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omments/modernComment_7FFFD227_E8B03098.xml" ContentType="application/vnd.ms-powerpoint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0" r:id="rId4"/>
    <p:sldMasterId id="2147483772" r:id="rId5"/>
  </p:sldMasterIdLst>
  <p:notesMasterIdLst>
    <p:notesMasterId r:id="rId22"/>
  </p:notesMasterIdLst>
  <p:handoutMasterIdLst>
    <p:handoutMasterId r:id="rId23"/>
  </p:handoutMasterIdLst>
  <p:sldIdLst>
    <p:sldId id="307" r:id="rId6"/>
    <p:sldId id="2147471829" r:id="rId7"/>
    <p:sldId id="2147471789" r:id="rId8"/>
    <p:sldId id="2147376995" r:id="rId9"/>
    <p:sldId id="2147471919" r:id="rId10"/>
    <p:sldId id="2147471935" r:id="rId11"/>
    <p:sldId id="2147377575" r:id="rId12"/>
    <p:sldId id="274" r:id="rId13"/>
    <p:sldId id="2147471911" r:id="rId14"/>
    <p:sldId id="2147471910" r:id="rId15"/>
    <p:sldId id="2147471807" r:id="rId16"/>
    <p:sldId id="2147471861" r:id="rId17"/>
    <p:sldId id="2147471905" r:id="rId18"/>
    <p:sldId id="2147471912" r:id="rId19"/>
    <p:sldId id="2147471937" r:id="rId20"/>
    <p:sldId id="2147471916" r:id="rId21"/>
  </p:sldIdLst>
  <p:sldSz cx="18288000" cy="10287000"/>
  <p:notesSz cx="6858000" cy="9144000"/>
  <p:defaultTextStyle>
    <a:defPPr>
      <a:defRPr lang="en-US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53" userDrawn="1">
          <p15:clr>
            <a:srgbClr val="A4A3A4"/>
          </p15:clr>
        </p15:guide>
        <p15:guide id="2" pos="58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C22F12-8DBF-30E6-ECBC-19B976DF69F7}" name="Fernando Maceda" initials="" userId="S::fernando.maceda@h2.pe::9c79fb30-cc9e-4e42-b960-c081b340afef" providerId="AD"/>
  <p188:author id="{18C82035-6B02-7C27-D2C1-3365EC394B4D}" name="Ariana  Sotelo" initials="AS" userId="S::ariana.sotelo@h2.pe::37f21cb3-7324-4974-ae56-3b18b2abd9f0" providerId="AD"/>
  <p188:author id="{3B9CE6C4-7910-C6BF-E824-075CA2869495}" name="Daniel Cámac" initials="DC" userId="S::daniel.camac@h2.pe::64d37b33-36e0-4d03-bd68-cdaaf2401fa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92AD"/>
    <a:srgbClr val="707070"/>
    <a:srgbClr val="68F394"/>
    <a:srgbClr val="AF6AB1"/>
    <a:srgbClr val="FFF45A"/>
    <a:srgbClr val="FF754B"/>
    <a:srgbClr val="00ADA1"/>
    <a:srgbClr val="49D3FF"/>
    <a:srgbClr val="3E7AD3"/>
    <a:srgbClr val="4DDE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9DD04E-249F-4EFD-B4FB-E0F36206868D}" v="68" dt="2024-09-09T02:43:46.7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336" autoAdjust="0"/>
    <p:restoredTop sz="95033" autoAdjust="0"/>
  </p:normalViewPr>
  <p:slideViewPr>
    <p:cSldViewPr snapToGrid="0">
      <p:cViewPr varScale="1">
        <p:scale>
          <a:sx n="72" d="100"/>
          <a:sy n="72" d="100"/>
        </p:scale>
        <p:origin x="306" y="204"/>
      </p:cViewPr>
      <p:guideLst>
        <p:guide orient="horz" pos="3353"/>
        <p:guide pos="589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81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Cámac" userId="64d37b33-36e0-4d03-bd68-cdaaf2401fab" providerId="ADAL" clId="{099DD04E-249F-4EFD-B4FB-E0F36206868D}"/>
    <pc:docChg chg="undo redo custSel addSld delSld modSld sldOrd">
      <pc:chgData name="Daniel Cámac" userId="64d37b33-36e0-4d03-bd68-cdaaf2401fab" providerId="ADAL" clId="{099DD04E-249F-4EFD-B4FB-E0F36206868D}" dt="2024-09-09T02:52:49.583" v="3565" actId="404"/>
      <pc:docMkLst>
        <pc:docMk/>
      </pc:docMkLst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4175144649" sldId="262"/>
        </pc:sldMkLst>
      </pc:sldChg>
      <pc:sldChg chg="addSp delSp modSp mod ord">
        <pc:chgData name="Daniel Cámac" userId="64d37b33-36e0-4d03-bd68-cdaaf2401fab" providerId="ADAL" clId="{099DD04E-249F-4EFD-B4FB-E0F36206868D}" dt="2024-09-09T02:07:09.433" v="2137" actId="1076"/>
        <pc:sldMkLst>
          <pc:docMk/>
          <pc:sldMk cId="2389709643" sldId="274"/>
        </pc:sldMkLst>
        <pc:spChg chg="mod">
          <ac:chgData name="Daniel Cámac" userId="64d37b33-36e0-4d03-bd68-cdaaf2401fab" providerId="ADAL" clId="{099DD04E-249F-4EFD-B4FB-E0F36206868D}" dt="2024-09-07T14:20:40.754" v="1662" actId="1076"/>
          <ac:spMkLst>
            <pc:docMk/>
            <pc:sldMk cId="2389709643" sldId="274"/>
            <ac:spMk id="2" creationId="{9ED34D77-B392-2C39-A122-7C0CC454C627}"/>
          </ac:spMkLst>
        </pc:spChg>
        <pc:spChg chg="mod">
          <ac:chgData name="Daniel Cámac" userId="64d37b33-36e0-4d03-bd68-cdaaf2401fab" providerId="ADAL" clId="{099DD04E-249F-4EFD-B4FB-E0F36206868D}" dt="2024-09-09T01:52:08.979" v="1727" actId="1076"/>
          <ac:spMkLst>
            <pc:docMk/>
            <pc:sldMk cId="2389709643" sldId="274"/>
            <ac:spMk id="3" creationId="{3BE4A858-D6A3-E120-ABDF-6679019A076F}"/>
          </ac:spMkLst>
        </pc:spChg>
        <pc:spChg chg="mod">
          <ac:chgData name="Daniel Cámac" userId="64d37b33-36e0-4d03-bd68-cdaaf2401fab" providerId="ADAL" clId="{099DD04E-249F-4EFD-B4FB-E0F36206868D}" dt="2024-09-07T14:14:42.057" v="1617" actId="14100"/>
          <ac:spMkLst>
            <pc:docMk/>
            <pc:sldMk cId="2389709643" sldId="274"/>
            <ac:spMk id="4" creationId="{2A1F2886-C000-99DB-D96F-36BEE5C409A6}"/>
          </ac:spMkLst>
        </pc:spChg>
        <pc:spChg chg="mod">
          <ac:chgData name="Daniel Cámac" userId="64d37b33-36e0-4d03-bd68-cdaaf2401fab" providerId="ADAL" clId="{099DD04E-249F-4EFD-B4FB-E0F36206868D}" dt="2024-09-09T01:52:28.742" v="1729" actId="1076"/>
          <ac:spMkLst>
            <pc:docMk/>
            <pc:sldMk cId="2389709643" sldId="274"/>
            <ac:spMk id="6" creationId="{5F3FFDED-1B2F-E735-6A8F-159ABBDD0979}"/>
          </ac:spMkLst>
        </pc:spChg>
        <pc:spChg chg="mod">
          <ac:chgData name="Daniel Cámac" userId="64d37b33-36e0-4d03-bd68-cdaaf2401fab" providerId="ADAL" clId="{099DD04E-249F-4EFD-B4FB-E0F36206868D}" dt="2024-09-09T01:52:21.518" v="1728" actId="1076"/>
          <ac:spMkLst>
            <pc:docMk/>
            <pc:sldMk cId="2389709643" sldId="274"/>
            <ac:spMk id="8" creationId="{9117FF4D-D2B1-EC2E-AC61-BF975FB91C9C}"/>
          </ac:spMkLst>
        </pc:spChg>
        <pc:spChg chg="mod">
          <ac:chgData name="Daniel Cámac" userId="64d37b33-36e0-4d03-bd68-cdaaf2401fab" providerId="ADAL" clId="{099DD04E-249F-4EFD-B4FB-E0F36206868D}" dt="2024-09-07T14:20:40.754" v="1662" actId="1076"/>
          <ac:spMkLst>
            <pc:docMk/>
            <pc:sldMk cId="2389709643" sldId="274"/>
            <ac:spMk id="9" creationId="{DD93DFA8-3F0E-8F76-AC04-33710996AFF9}"/>
          </ac:spMkLst>
        </pc:spChg>
        <pc:spChg chg="mod">
          <ac:chgData name="Daniel Cámac" userId="64d37b33-36e0-4d03-bd68-cdaaf2401fab" providerId="ADAL" clId="{099DD04E-249F-4EFD-B4FB-E0F36206868D}" dt="2024-09-09T01:53:04.802" v="1734" actId="1076"/>
          <ac:spMkLst>
            <pc:docMk/>
            <pc:sldMk cId="2389709643" sldId="274"/>
            <ac:spMk id="10" creationId="{F4F1BC5D-819F-F027-9307-FF82A710C870}"/>
          </ac:spMkLst>
        </pc:spChg>
        <pc:spChg chg="mod">
          <ac:chgData name="Daniel Cámac" userId="64d37b33-36e0-4d03-bd68-cdaaf2401fab" providerId="ADAL" clId="{099DD04E-249F-4EFD-B4FB-E0F36206868D}" dt="2024-09-09T01:52:58.748" v="1733" actId="1076"/>
          <ac:spMkLst>
            <pc:docMk/>
            <pc:sldMk cId="2389709643" sldId="274"/>
            <ac:spMk id="11" creationId="{B68A4CC0-D4DC-2AB2-9EDE-CCBA0D3B9E22}"/>
          </ac:spMkLst>
        </pc:spChg>
        <pc:spChg chg="add del">
          <ac:chgData name="Daniel Cámac" userId="64d37b33-36e0-4d03-bd68-cdaaf2401fab" providerId="ADAL" clId="{099DD04E-249F-4EFD-B4FB-E0F36206868D}" dt="2024-09-09T02:01:02.965" v="1785" actId="478"/>
          <ac:spMkLst>
            <pc:docMk/>
            <pc:sldMk cId="2389709643" sldId="274"/>
            <ac:spMk id="13" creationId="{D1F05158-51D0-D737-6ED4-286A8311FD73}"/>
          </ac:spMkLst>
        </pc:spChg>
        <pc:spChg chg="add mod ord">
          <ac:chgData name="Daniel Cámac" userId="64d37b33-36e0-4d03-bd68-cdaaf2401fab" providerId="ADAL" clId="{099DD04E-249F-4EFD-B4FB-E0F36206868D}" dt="2024-09-07T14:20:56.060" v="1664" actId="167"/>
          <ac:spMkLst>
            <pc:docMk/>
            <pc:sldMk cId="2389709643" sldId="274"/>
            <ac:spMk id="16" creationId="{15BC9816-A31E-71D0-F1B2-993BD5C8D4A9}"/>
          </ac:spMkLst>
        </pc:spChg>
        <pc:spChg chg="add del mod">
          <ac:chgData name="Daniel Cámac" userId="64d37b33-36e0-4d03-bd68-cdaaf2401fab" providerId="ADAL" clId="{099DD04E-249F-4EFD-B4FB-E0F36206868D}" dt="2024-09-09T02:07:09.433" v="2137" actId="1076"/>
          <ac:spMkLst>
            <pc:docMk/>
            <pc:sldMk cId="2389709643" sldId="274"/>
            <ac:spMk id="19" creationId="{9B7797B8-266D-D1F3-FE53-2C742617D162}"/>
          </ac:spMkLst>
        </pc:spChg>
        <pc:picChg chg="mod">
          <ac:chgData name="Daniel Cámac" userId="64d37b33-36e0-4d03-bd68-cdaaf2401fab" providerId="ADAL" clId="{099DD04E-249F-4EFD-B4FB-E0F36206868D}" dt="2024-09-07T14:14:44.222" v="1618" actId="1076"/>
          <ac:picMkLst>
            <pc:docMk/>
            <pc:sldMk cId="2389709643" sldId="274"/>
            <ac:picMk id="5" creationId="{6F00FD8A-0A07-B873-3F12-8C14EC53F3CC}"/>
          </ac:picMkLst>
        </pc:picChg>
        <pc:picChg chg="mod">
          <ac:chgData name="Daniel Cámac" userId="64d37b33-36e0-4d03-bd68-cdaaf2401fab" providerId="ADAL" clId="{099DD04E-249F-4EFD-B4FB-E0F36206868D}" dt="2024-09-07T14:21:15.170" v="1668" actId="1076"/>
          <ac:picMkLst>
            <pc:docMk/>
            <pc:sldMk cId="2389709643" sldId="274"/>
            <ac:picMk id="7" creationId="{626C125D-1DF8-4A3D-4F1D-AA0322801C65}"/>
          </ac:picMkLst>
        </pc:picChg>
        <pc:picChg chg="add del mod">
          <ac:chgData name="Daniel Cámac" userId="64d37b33-36e0-4d03-bd68-cdaaf2401fab" providerId="ADAL" clId="{099DD04E-249F-4EFD-B4FB-E0F36206868D}" dt="2024-09-07T14:15:31.570" v="1624" actId="478"/>
          <ac:picMkLst>
            <pc:docMk/>
            <pc:sldMk cId="2389709643" sldId="274"/>
            <ac:picMk id="12" creationId="{FD43D4F3-3A0D-4E28-C286-55F2F0839581}"/>
          </ac:picMkLst>
        </pc:picChg>
        <pc:picChg chg="add del mod ord">
          <ac:chgData name="Daniel Cámac" userId="64d37b33-36e0-4d03-bd68-cdaaf2401fab" providerId="ADAL" clId="{099DD04E-249F-4EFD-B4FB-E0F36206868D}" dt="2024-09-07T14:15:01.322" v="1621" actId="478"/>
          <ac:picMkLst>
            <pc:docMk/>
            <pc:sldMk cId="2389709643" sldId="274"/>
            <ac:picMk id="13" creationId="{A47F12E7-9880-8D69-279B-B18181A91827}"/>
          </ac:picMkLst>
        </pc:picChg>
        <pc:picChg chg="add mod">
          <ac:chgData name="Daniel Cámac" userId="64d37b33-36e0-4d03-bd68-cdaaf2401fab" providerId="ADAL" clId="{099DD04E-249F-4EFD-B4FB-E0F36206868D}" dt="2024-09-07T14:15:28.871" v="1623" actId="1076"/>
          <ac:picMkLst>
            <pc:docMk/>
            <pc:sldMk cId="2389709643" sldId="274"/>
            <ac:picMk id="14" creationId="{7C3AF6E9-C57D-5832-108F-7011B1C84946}"/>
          </ac:picMkLst>
        </pc:picChg>
        <pc:picChg chg="add mod">
          <ac:chgData name="Daniel Cámac" userId="64d37b33-36e0-4d03-bd68-cdaaf2401fab" providerId="ADAL" clId="{099DD04E-249F-4EFD-B4FB-E0F36206868D}" dt="2024-09-09T01:53:38.795" v="1737" actId="14100"/>
          <ac:picMkLst>
            <pc:docMk/>
            <pc:sldMk cId="2389709643" sldId="274"/>
            <ac:picMk id="15" creationId="{26BBD5C0-1C85-51B7-2811-F0403B0AFB5E}"/>
          </ac:picMkLst>
        </pc:picChg>
        <pc:picChg chg="add mod">
          <ac:chgData name="Daniel Cámac" userId="64d37b33-36e0-4d03-bd68-cdaaf2401fab" providerId="ADAL" clId="{099DD04E-249F-4EFD-B4FB-E0F36206868D}" dt="2024-09-07T14:19:07.335" v="1654" actId="1076"/>
          <ac:picMkLst>
            <pc:docMk/>
            <pc:sldMk cId="2389709643" sldId="274"/>
            <ac:picMk id="17" creationId="{6062C329-A832-8530-B992-D14B38F90DD8}"/>
          </ac:picMkLst>
        </pc:picChg>
        <pc:picChg chg="add mod">
          <ac:chgData name="Daniel Cámac" userId="64d37b33-36e0-4d03-bd68-cdaaf2401fab" providerId="ADAL" clId="{099DD04E-249F-4EFD-B4FB-E0F36206868D}" dt="2024-09-09T01:53:24.097" v="1735" actId="14100"/>
          <ac:picMkLst>
            <pc:docMk/>
            <pc:sldMk cId="2389709643" sldId="274"/>
            <ac:picMk id="18" creationId="{FADE7EC5-A38D-7BE8-FE9E-44C715A462EF}"/>
          </ac:picMkLst>
        </pc:picChg>
      </pc:sldChg>
      <pc:sldChg chg="addSp delSp modSp mod">
        <pc:chgData name="Daniel Cámac" userId="64d37b33-36e0-4d03-bd68-cdaaf2401fab" providerId="ADAL" clId="{099DD04E-249F-4EFD-B4FB-E0F36206868D}" dt="2024-09-09T01:45:51.344" v="1696" actId="14100"/>
        <pc:sldMkLst>
          <pc:docMk/>
          <pc:sldMk cId="3916440340" sldId="307"/>
        </pc:sldMkLst>
        <pc:spChg chg="mod">
          <ac:chgData name="Daniel Cámac" userId="64d37b33-36e0-4d03-bd68-cdaaf2401fab" providerId="ADAL" clId="{099DD04E-249F-4EFD-B4FB-E0F36206868D}" dt="2024-09-09T01:44:36.486" v="1687" actId="404"/>
          <ac:spMkLst>
            <pc:docMk/>
            <pc:sldMk cId="3916440340" sldId="307"/>
            <ac:spMk id="2" creationId="{9F7780C7-A69C-9E89-0A62-21E019914C3F}"/>
          </ac:spMkLst>
        </pc:spChg>
        <pc:spChg chg="add del mod">
          <ac:chgData name="Daniel Cámac" userId="64d37b33-36e0-4d03-bd68-cdaaf2401fab" providerId="ADAL" clId="{099DD04E-249F-4EFD-B4FB-E0F36206868D}" dt="2024-09-09T01:45:51.344" v="1696" actId="14100"/>
          <ac:spMkLst>
            <pc:docMk/>
            <pc:sldMk cId="3916440340" sldId="307"/>
            <ac:spMk id="11" creationId="{57DA4291-E807-B024-92F8-948BFB965D31}"/>
          </ac:spMkLst>
        </pc:spChg>
        <pc:picChg chg="mod">
          <ac:chgData name="Daniel Cámac" userId="64d37b33-36e0-4d03-bd68-cdaaf2401fab" providerId="ADAL" clId="{099DD04E-249F-4EFD-B4FB-E0F36206868D}" dt="2024-09-09T01:41:08.776" v="1670" actId="1076"/>
          <ac:picMkLst>
            <pc:docMk/>
            <pc:sldMk cId="3916440340" sldId="307"/>
            <ac:picMk id="3" creationId="{3EA48B8E-121E-A640-1DF8-7F0247C686A2}"/>
          </ac:picMkLst>
        </pc:picChg>
        <pc:picChg chg="add del mod">
          <ac:chgData name="Daniel Cámac" userId="64d37b33-36e0-4d03-bd68-cdaaf2401fab" providerId="ADAL" clId="{099DD04E-249F-4EFD-B4FB-E0F36206868D}" dt="2024-09-09T01:42:54.370" v="1675" actId="478"/>
          <ac:picMkLst>
            <pc:docMk/>
            <pc:sldMk cId="3916440340" sldId="307"/>
            <ac:picMk id="4" creationId="{FD6493D8-2023-1A8C-8183-BBB9D3FE1371}"/>
          </ac:picMkLst>
        </pc:picChg>
        <pc:picChg chg="add mod">
          <ac:chgData name="Daniel Cámac" userId="64d37b33-36e0-4d03-bd68-cdaaf2401fab" providerId="ADAL" clId="{099DD04E-249F-4EFD-B4FB-E0F36206868D}" dt="2024-09-09T01:44:00.393" v="1678" actId="1076"/>
          <ac:picMkLst>
            <pc:docMk/>
            <pc:sldMk cId="3916440340" sldId="307"/>
            <ac:picMk id="6" creationId="{F0A967CD-2161-E4CC-4DA1-6689BD5EC317}"/>
          </ac:picMkLst>
        </pc:picChg>
        <pc:picChg chg="mod">
          <ac:chgData name="Daniel Cámac" userId="64d37b33-36e0-4d03-bd68-cdaaf2401fab" providerId="ADAL" clId="{099DD04E-249F-4EFD-B4FB-E0F36206868D}" dt="2024-09-09T01:45:47.422" v="1695" actId="14100"/>
          <ac:picMkLst>
            <pc:docMk/>
            <pc:sldMk cId="3916440340" sldId="307"/>
            <ac:picMk id="2050" creationId="{9BB37784-3A53-4822-86CF-31193397AB4D}"/>
          </ac:picMkLst>
        </pc:picChg>
      </pc:sldChg>
      <pc:sldChg chg="add del">
        <pc:chgData name="Daniel Cámac" userId="64d37b33-36e0-4d03-bd68-cdaaf2401fab" providerId="ADAL" clId="{099DD04E-249F-4EFD-B4FB-E0F36206868D}" dt="2024-09-07T14:12:58.676" v="1606" actId="47"/>
        <pc:sldMkLst>
          <pc:docMk/>
          <pc:sldMk cId="236463983" sldId="2147376802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3752149335" sldId="2147376905"/>
        </pc:sldMkLst>
      </pc:sldChg>
      <pc:sldChg chg="addSp delSp modSp mod ord">
        <pc:chgData name="Daniel Cámac" userId="64d37b33-36e0-4d03-bd68-cdaaf2401fab" providerId="ADAL" clId="{099DD04E-249F-4EFD-B4FB-E0F36206868D}" dt="2024-09-09T02:03:17.580" v="1801" actId="14100"/>
        <pc:sldMkLst>
          <pc:docMk/>
          <pc:sldMk cId="3019432568" sldId="2147376995"/>
        </pc:sldMkLst>
        <pc:spChg chg="add mod">
          <ac:chgData name="Daniel Cámac" userId="64d37b33-36e0-4d03-bd68-cdaaf2401fab" providerId="ADAL" clId="{099DD04E-249F-4EFD-B4FB-E0F36206868D}" dt="2024-09-07T12:55:41.161" v="601" actId="1076"/>
          <ac:spMkLst>
            <pc:docMk/>
            <pc:sldMk cId="3019432568" sldId="2147376995"/>
            <ac:spMk id="5" creationId="{441EDA95-D464-6D93-6D4C-75BA0BA6F7DE}"/>
          </ac:spMkLst>
        </pc:spChg>
        <pc:spChg chg="add del mod">
          <ac:chgData name="Daniel Cámac" userId="64d37b33-36e0-4d03-bd68-cdaaf2401fab" providerId="ADAL" clId="{099DD04E-249F-4EFD-B4FB-E0F36206868D}" dt="2024-09-07T12:49:39.857" v="544" actId="478"/>
          <ac:spMkLst>
            <pc:docMk/>
            <pc:sldMk cId="3019432568" sldId="2147376995"/>
            <ac:spMk id="7" creationId="{1274DB72-8F6E-B830-6CE0-88A570C7892F}"/>
          </ac:spMkLst>
        </pc:spChg>
        <pc:spChg chg="mod">
          <ac:chgData name="Daniel Cámac" userId="64d37b33-36e0-4d03-bd68-cdaaf2401fab" providerId="ADAL" clId="{099DD04E-249F-4EFD-B4FB-E0F36206868D}" dt="2024-09-09T02:03:17.580" v="1801" actId="14100"/>
          <ac:spMkLst>
            <pc:docMk/>
            <pc:sldMk cId="3019432568" sldId="2147376995"/>
            <ac:spMk id="10" creationId="{6B2AA715-7AF4-47AB-96D6-B408B0B53C2B}"/>
          </ac:spMkLst>
        </pc:spChg>
        <pc:spChg chg="add del mod ord">
          <ac:chgData name="Daniel Cámac" userId="64d37b33-36e0-4d03-bd68-cdaaf2401fab" providerId="ADAL" clId="{099DD04E-249F-4EFD-B4FB-E0F36206868D}" dt="2024-09-07T12:57:16.674" v="609" actId="11529"/>
          <ac:spMkLst>
            <pc:docMk/>
            <pc:sldMk cId="3019432568" sldId="2147376995"/>
            <ac:spMk id="11" creationId="{951D67FA-7347-7979-5BF4-4772F41D7E3B}"/>
          </ac:spMkLst>
        </pc:spChg>
        <pc:spChg chg="mod">
          <ac:chgData name="Daniel Cámac" userId="64d37b33-36e0-4d03-bd68-cdaaf2401fab" providerId="ADAL" clId="{099DD04E-249F-4EFD-B4FB-E0F36206868D}" dt="2024-09-07T12:53:10.802" v="597" actId="14100"/>
          <ac:spMkLst>
            <pc:docMk/>
            <pc:sldMk cId="3019432568" sldId="2147376995"/>
            <ac:spMk id="12" creationId="{98F4CB4B-96A7-B960-8DF0-C5922CF15787}"/>
          </ac:spMkLst>
        </pc:spChg>
        <pc:spChg chg="add mod">
          <ac:chgData name="Daniel Cámac" userId="64d37b33-36e0-4d03-bd68-cdaaf2401fab" providerId="ADAL" clId="{099DD04E-249F-4EFD-B4FB-E0F36206868D}" dt="2024-09-07T12:57:51.927" v="616" actId="1076"/>
          <ac:spMkLst>
            <pc:docMk/>
            <pc:sldMk cId="3019432568" sldId="2147376995"/>
            <ac:spMk id="14" creationId="{5F499B83-7774-CF9A-6BB1-37C2BFFF6626}"/>
          </ac:spMkLst>
        </pc:spChg>
        <pc:spChg chg="mod">
          <ac:chgData name="Daniel Cámac" userId="64d37b33-36e0-4d03-bd68-cdaaf2401fab" providerId="ADAL" clId="{099DD04E-249F-4EFD-B4FB-E0F36206868D}" dt="2024-09-07T12:29:21.097" v="459" actId="1076"/>
          <ac:spMkLst>
            <pc:docMk/>
            <pc:sldMk cId="3019432568" sldId="2147376995"/>
            <ac:spMk id="28" creationId="{81714401-D73E-4EAB-8934-C2EEFA45AFE8}"/>
          </ac:spMkLst>
        </pc:spChg>
        <pc:spChg chg="mod">
          <ac:chgData name="Daniel Cámac" userId="64d37b33-36e0-4d03-bd68-cdaaf2401fab" providerId="ADAL" clId="{099DD04E-249F-4EFD-B4FB-E0F36206868D}" dt="2024-09-07T12:28:39.261" v="445" actId="1076"/>
          <ac:spMkLst>
            <pc:docMk/>
            <pc:sldMk cId="3019432568" sldId="2147376995"/>
            <ac:spMk id="30" creationId="{57BD982B-A986-4E44-8D0B-167CBA15B590}"/>
          </ac:spMkLst>
        </pc:spChg>
        <pc:spChg chg="mod">
          <ac:chgData name="Daniel Cámac" userId="64d37b33-36e0-4d03-bd68-cdaaf2401fab" providerId="ADAL" clId="{099DD04E-249F-4EFD-B4FB-E0F36206868D}" dt="2024-09-07T12:28:28.392" v="443" actId="404"/>
          <ac:spMkLst>
            <pc:docMk/>
            <pc:sldMk cId="3019432568" sldId="2147376995"/>
            <ac:spMk id="33" creationId="{66E503B2-5CE3-4F69-BF2E-99281F9DEC00}"/>
          </ac:spMkLst>
        </pc:spChg>
        <pc:spChg chg="mod">
          <ac:chgData name="Daniel Cámac" userId="64d37b33-36e0-4d03-bd68-cdaaf2401fab" providerId="ADAL" clId="{099DD04E-249F-4EFD-B4FB-E0F36206868D}" dt="2024-09-07T12:25:52.361" v="283" actId="207"/>
          <ac:spMkLst>
            <pc:docMk/>
            <pc:sldMk cId="3019432568" sldId="2147376995"/>
            <ac:spMk id="42" creationId="{17DA80B3-BC66-401E-84F9-9F2BA3B7156D}"/>
          </ac:spMkLst>
        </pc:spChg>
        <pc:spChg chg="mod">
          <ac:chgData name="Daniel Cámac" userId="64d37b33-36e0-4d03-bd68-cdaaf2401fab" providerId="ADAL" clId="{099DD04E-249F-4EFD-B4FB-E0F36206868D}" dt="2024-09-07T12:22:39.174" v="179" actId="20577"/>
          <ac:spMkLst>
            <pc:docMk/>
            <pc:sldMk cId="3019432568" sldId="2147376995"/>
            <ac:spMk id="46" creationId="{EFAC8BB2-4CEE-412F-846F-429560CA3BA7}"/>
          </ac:spMkLst>
        </pc:spChg>
        <pc:spChg chg="mod">
          <ac:chgData name="Daniel Cámac" userId="64d37b33-36e0-4d03-bd68-cdaaf2401fab" providerId="ADAL" clId="{099DD04E-249F-4EFD-B4FB-E0F36206868D}" dt="2024-09-07T12:52:37.363" v="595" actId="1076"/>
          <ac:spMkLst>
            <pc:docMk/>
            <pc:sldMk cId="3019432568" sldId="2147376995"/>
            <ac:spMk id="49" creationId="{A0134A1B-A50D-4C5D-9FA6-314D6B8B8F25}"/>
          </ac:spMkLst>
        </pc:spChg>
        <pc:spChg chg="mod">
          <ac:chgData name="Daniel Cámac" userId="64d37b33-36e0-4d03-bd68-cdaaf2401fab" providerId="ADAL" clId="{099DD04E-249F-4EFD-B4FB-E0F36206868D}" dt="2024-09-07T12:56:20.804" v="603" actId="255"/>
          <ac:spMkLst>
            <pc:docMk/>
            <pc:sldMk cId="3019432568" sldId="2147376995"/>
            <ac:spMk id="51" creationId="{B6E52E84-3F55-4738-BCA4-8D339DF67A45}"/>
          </ac:spMkLst>
        </pc:spChg>
        <pc:spChg chg="mod">
          <ac:chgData name="Daniel Cámac" userId="64d37b33-36e0-4d03-bd68-cdaaf2401fab" providerId="ADAL" clId="{099DD04E-249F-4EFD-B4FB-E0F36206868D}" dt="2024-09-07T12:56:20.804" v="603" actId="255"/>
          <ac:spMkLst>
            <pc:docMk/>
            <pc:sldMk cId="3019432568" sldId="2147376995"/>
            <ac:spMk id="52" creationId="{9F8EEEEB-C4DE-4189-8A77-8CC13533F4E7}"/>
          </ac:spMkLst>
        </pc:spChg>
        <pc:spChg chg="mod">
          <ac:chgData name="Daniel Cámac" userId="64d37b33-36e0-4d03-bd68-cdaaf2401fab" providerId="ADAL" clId="{099DD04E-249F-4EFD-B4FB-E0F36206868D}" dt="2024-09-07T12:56:20.804" v="603" actId="255"/>
          <ac:spMkLst>
            <pc:docMk/>
            <pc:sldMk cId="3019432568" sldId="2147376995"/>
            <ac:spMk id="55" creationId="{4702B0C6-D3DF-4484-BDFB-3E6073EAE469}"/>
          </ac:spMkLst>
        </pc:spChg>
        <pc:spChg chg="mod">
          <ac:chgData name="Daniel Cámac" userId="64d37b33-36e0-4d03-bd68-cdaaf2401fab" providerId="ADAL" clId="{099DD04E-249F-4EFD-B4FB-E0F36206868D}" dt="2024-09-07T12:57:26.114" v="611" actId="1076"/>
          <ac:spMkLst>
            <pc:docMk/>
            <pc:sldMk cId="3019432568" sldId="2147376995"/>
            <ac:spMk id="56" creationId="{9344A7C3-FE85-4B6B-80A5-E1C625780529}"/>
          </ac:spMkLst>
        </pc:spChg>
        <pc:spChg chg="mod">
          <ac:chgData name="Daniel Cámac" userId="64d37b33-36e0-4d03-bd68-cdaaf2401fab" providerId="ADAL" clId="{099DD04E-249F-4EFD-B4FB-E0F36206868D}" dt="2024-09-07T12:56:10.232" v="602" actId="403"/>
          <ac:spMkLst>
            <pc:docMk/>
            <pc:sldMk cId="3019432568" sldId="2147376995"/>
            <ac:spMk id="57" creationId="{7A166591-0075-49F0-8BA4-F1A9CB3B9920}"/>
          </ac:spMkLst>
        </pc:spChg>
        <pc:spChg chg="mod">
          <ac:chgData name="Daniel Cámac" userId="64d37b33-36e0-4d03-bd68-cdaaf2401fab" providerId="ADAL" clId="{099DD04E-249F-4EFD-B4FB-E0F36206868D}" dt="2024-09-07T12:51:23.136" v="575" actId="20577"/>
          <ac:spMkLst>
            <pc:docMk/>
            <pc:sldMk cId="3019432568" sldId="2147376995"/>
            <ac:spMk id="59" creationId="{C95533CC-A8E7-4623-ACCB-5FFD021553FC}"/>
          </ac:spMkLst>
        </pc:spChg>
        <pc:spChg chg="mod">
          <ac:chgData name="Daniel Cámac" userId="64d37b33-36e0-4d03-bd68-cdaaf2401fab" providerId="ADAL" clId="{099DD04E-249F-4EFD-B4FB-E0F36206868D}" dt="2024-09-07T12:31:15.135" v="517" actId="404"/>
          <ac:spMkLst>
            <pc:docMk/>
            <pc:sldMk cId="3019432568" sldId="2147376995"/>
            <ac:spMk id="61" creationId="{4248F461-DA44-4473-9F78-DA29D8D9833B}"/>
          </ac:spMkLst>
        </pc:spChg>
        <pc:spChg chg="mod">
          <ac:chgData name="Daniel Cámac" userId="64d37b33-36e0-4d03-bd68-cdaaf2401fab" providerId="ADAL" clId="{099DD04E-249F-4EFD-B4FB-E0F36206868D}" dt="2024-09-07T12:36:47.086" v="540" actId="1076"/>
          <ac:spMkLst>
            <pc:docMk/>
            <pc:sldMk cId="3019432568" sldId="2147376995"/>
            <ac:spMk id="62" creationId="{E0E43C08-3E01-4650-9492-DC301F30AD5A}"/>
          </ac:spMkLst>
        </pc:spChg>
        <pc:spChg chg="mod">
          <ac:chgData name="Daniel Cámac" userId="64d37b33-36e0-4d03-bd68-cdaaf2401fab" providerId="ADAL" clId="{099DD04E-249F-4EFD-B4FB-E0F36206868D}" dt="2024-09-07T12:57:55.626" v="617" actId="1076"/>
          <ac:spMkLst>
            <pc:docMk/>
            <pc:sldMk cId="3019432568" sldId="2147376995"/>
            <ac:spMk id="63" creationId="{888F45DC-B876-4D5F-B4CF-D2FDE6831359}"/>
          </ac:spMkLst>
        </pc:spChg>
        <pc:spChg chg="mod">
          <ac:chgData name="Daniel Cámac" userId="64d37b33-36e0-4d03-bd68-cdaaf2401fab" providerId="ADAL" clId="{099DD04E-249F-4EFD-B4FB-E0F36206868D}" dt="2024-09-07T12:30:55.671" v="511" actId="1076"/>
          <ac:spMkLst>
            <pc:docMk/>
            <pc:sldMk cId="3019432568" sldId="2147376995"/>
            <ac:spMk id="64" creationId="{71C09EB7-693E-4A0A-A197-1F66B979FD0C}"/>
          </ac:spMkLst>
        </pc:spChg>
        <pc:grpChg chg="mod">
          <ac:chgData name="Daniel Cámac" userId="64d37b33-36e0-4d03-bd68-cdaaf2401fab" providerId="ADAL" clId="{099DD04E-249F-4EFD-B4FB-E0F36206868D}" dt="2024-09-07T12:53:01.098" v="596" actId="14100"/>
          <ac:grpSpMkLst>
            <pc:docMk/>
            <pc:sldMk cId="3019432568" sldId="2147376995"/>
            <ac:grpSpMk id="43" creationId="{80C1E0CF-D0EA-4359-A766-4AB682BB59AA}"/>
          </ac:grpSpMkLst>
        </pc:grpChg>
        <pc:graphicFrameChg chg="mod">
          <ac:chgData name="Daniel Cámac" userId="64d37b33-36e0-4d03-bd68-cdaaf2401fab" providerId="ADAL" clId="{099DD04E-249F-4EFD-B4FB-E0F36206868D}" dt="2024-09-07T12:32:00.453" v="526" actId="108"/>
          <ac:graphicFrameMkLst>
            <pc:docMk/>
            <pc:sldMk cId="3019432568" sldId="2147376995"/>
            <ac:graphicFrameMk id="48" creationId="{8559B96D-208E-4C41-9D1D-34B4D57BBCA8}"/>
          </ac:graphicFrameMkLst>
        </pc:graphicFrameChg>
        <pc:picChg chg="add del mod">
          <ac:chgData name="Daniel Cámac" userId="64d37b33-36e0-4d03-bd68-cdaaf2401fab" providerId="ADAL" clId="{099DD04E-249F-4EFD-B4FB-E0F36206868D}" dt="2024-09-07T12:52:01.657" v="588" actId="478"/>
          <ac:picMkLst>
            <pc:docMk/>
            <pc:sldMk cId="3019432568" sldId="2147376995"/>
            <ac:picMk id="9" creationId="{9BB32CF7-0D8C-22F6-BBDE-596A6F8AF236}"/>
          </ac:picMkLst>
        </pc:picChg>
        <pc:picChg chg="mod">
          <ac:chgData name="Daniel Cámac" userId="64d37b33-36e0-4d03-bd68-cdaaf2401fab" providerId="ADAL" clId="{099DD04E-249F-4EFD-B4FB-E0F36206868D}" dt="2024-09-07T12:23:25.325" v="183" actId="1076"/>
          <ac:picMkLst>
            <pc:docMk/>
            <pc:sldMk cId="3019432568" sldId="2147376995"/>
            <ac:picMk id="13" creationId="{A228A75E-3697-0C97-8936-C560ACA90342}"/>
          </ac:picMkLst>
        </pc:picChg>
      </pc:sldChg>
      <pc:sldChg chg="add del">
        <pc:chgData name="Daniel Cámac" userId="64d37b33-36e0-4d03-bd68-cdaaf2401fab" providerId="ADAL" clId="{099DD04E-249F-4EFD-B4FB-E0F36206868D}" dt="2024-09-07T14:13:05.203" v="1607" actId="47"/>
        <pc:sldMkLst>
          <pc:docMk/>
          <pc:sldMk cId="3994167351" sldId="2147377058"/>
        </pc:sldMkLst>
      </pc:sldChg>
      <pc:sldChg chg="addSp delSp modSp mod ord modClrScheme chgLayout">
        <pc:chgData name="Daniel Cámac" userId="64d37b33-36e0-4d03-bd68-cdaaf2401fab" providerId="ADAL" clId="{099DD04E-249F-4EFD-B4FB-E0F36206868D}" dt="2024-09-09T02:02:25.014" v="1794" actId="14100"/>
        <pc:sldMkLst>
          <pc:docMk/>
          <pc:sldMk cId="54833910" sldId="2147377575"/>
        </pc:sldMkLst>
        <pc:spChg chg="del mod">
          <ac:chgData name="Daniel Cámac" userId="64d37b33-36e0-4d03-bd68-cdaaf2401fab" providerId="ADAL" clId="{099DD04E-249F-4EFD-B4FB-E0F36206868D}" dt="2024-09-09T01:49:00.482" v="1716" actId="478"/>
          <ac:spMkLst>
            <pc:docMk/>
            <pc:sldMk cId="54833910" sldId="2147377575"/>
            <ac:spMk id="2" creationId="{36B9A5E0-5BF7-2CF3-AEA4-824C340E2301}"/>
          </ac:spMkLst>
        </pc:spChg>
        <pc:spChg chg="add del mod ord">
          <ac:chgData name="Daniel Cámac" userId="64d37b33-36e0-4d03-bd68-cdaaf2401fab" providerId="ADAL" clId="{099DD04E-249F-4EFD-B4FB-E0F36206868D}" dt="2024-09-09T01:51:11.732" v="1719" actId="478"/>
          <ac:spMkLst>
            <pc:docMk/>
            <pc:sldMk cId="54833910" sldId="2147377575"/>
            <ac:spMk id="3" creationId="{D3D74D5C-6B0F-9486-87B1-2FC9FDAFF18A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3" creationId="{F9D6B831-B377-218C-90DE-2DACBD7D375A}"/>
          </ac:spMkLst>
        </pc:spChg>
        <pc:spChg chg="mod">
          <ac:chgData name="Daniel Cámac" userId="64d37b33-36e0-4d03-bd68-cdaaf2401fab" providerId="ADAL" clId="{099DD04E-249F-4EFD-B4FB-E0F36206868D}" dt="2024-09-07T13:43:25.264" v="1526" actId="20577"/>
          <ac:spMkLst>
            <pc:docMk/>
            <pc:sldMk cId="54833910" sldId="2147377575"/>
            <ac:spMk id="6" creationId="{450AFB09-36ED-BD94-ECB6-E175F16710AD}"/>
          </ac:spMkLst>
        </pc:spChg>
        <pc:spChg chg="add del mod ord">
          <ac:chgData name="Daniel Cámac" userId="64d37b33-36e0-4d03-bd68-cdaaf2401fab" providerId="ADAL" clId="{099DD04E-249F-4EFD-B4FB-E0F36206868D}" dt="2024-09-09T01:51:22.373" v="1721" actId="478"/>
          <ac:spMkLst>
            <pc:docMk/>
            <pc:sldMk cId="54833910" sldId="2147377575"/>
            <ac:spMk id="8" creationId="{2DCB3583-69BA-FFB1-3C20-959A0D43E070}"/>
          </ac:spMkLst>
        </pc:spChg>
        <pc:spChg chg="add del mod">
          <ac:chgData name="Daniel Cámac" userId="64d37b33-36e0-4d03-bd68-cdaaf2401fab" providerId="ADAL" clId="{099DD04E-249F-4EFD-B4FB-E0F36206868D}" dt="2024-09-07T13:50:19.220" v="1553" actId="478"/>
          <ac:spMkLst>
            <pc:docMk/>
            <pc:sldMk cId="54833910" sldId="2147377575"/>
            <ac:spMk id="10" creationId="{30D30838-DFF3-8E0B-3623-F42269CFF886}"/>
          </ac:spMkLst>
        </pc:spChg>
        <pc:spChg chg="add mod">
          <ac:chgData name="Daniel Cámac" userId="64d37b33-36e0-4d03-bd68-cdaaf2401fab" providerId="ADAL" clId="{099DD04E-249F-4EFD-B4FB-E0F36206868D}" dt="2024-09-09T01:58:46.899" v="1781" actId="11"/>
          <ac:spMkLst>
            <pc:docMk/>
            <pc:sldMk cId="54833910" sldId="2147377575"/>
            <ac:spMk id="10" creationId="{CF0892B5-9621-0350-DE5B-895E09A37FB2}"/>
          </ac:spMkLst>
        </pc:spChg>
        <pc:spChg chg="add mod">
          <ac:chgData name="Daniel Cámac" userId="64d37b33-36e0-4d03-bd68-cdaaf2401fab" providerId="ADAL" clId="{099DD04E-249F-4EFD-B4FB-E0F36206868D}" dt="2024-09-09T02:02:01.389" v="1791" actId="14100"/>
          <ac:spMkLst>
            <pc:docMk/>
            <pc:sldMk cId="54833910" sldId="2147377575"/>
            <ac:spMk id="13" creationId="{82AACEC0-DE69-F7F8-67FB-026B87B41BC7}"/>
          </ac:spMkLst>
        </pc:spChg>
        <pc:spChg chg="add mod">
          <ac:chgData name="Daniel Cámac" userId="64d37b33-36e0-4d03-bd68-cdaaf2401fab" providerId="ADAL" clId="{099DD04E-249F-4EFD-B4FB-E0F36206868D}" dt="2024-09-09T02:02:25.014" v="1794" actId="14100"/>
          <ac:spMkLst>
            <pc:docMk/>
            <pc:sldMk cId="54833910" sldId="2147377575"/>
            <ac:spMk id="14" creationId="{AF903F6C-EA75-6F37-6D0C-7D0491A576D1}"/>
          </ac:spMkLst>
        </pc:spChg>
        <pc:spChg chg="add del mod">
          <ac:chgData name="Daniel Cámac" userId="64d37b33-36e0-4d03-bd68-cdaaf2401fab" providerId="ADAL" clId="{099DD04E-249F-4EFD-B4FB-E0F36206868D}" dt="2024-09-07T14:16:20.353" v="1633" actId="21"/>
          <ac:spMkLst>
            <pc:docMk/>
            <pc:sldMk cId="54833910" sldId="2147377575"/>
            <ac:spMk id="15" creationId="{768DD900-F09A-DCBE-8A9D-1B8A29167DFB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54" creationId="{5B2D3BC2-5603-D126-34BA-98F3355FC3E3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55" creationId="{934B838B-8742-4FC5-C3FE-F8015D9177D7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57" creationId="{3640415C-9ABF-8CB8-303C-00E511CC6A75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0" creationId="{9A189B9B-7C77-F7BC-5420-60399AFDC5CF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1" creationId="{26302812-6FA3-3B18-0C5A-DE2A9B90AD7F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2" creationId="{7921E86B-A03F-B6B5-7DED-4F5C78FE2679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3" creationId="{C878D348-C93A-21E1-7126-E64F5EC56B93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4" creationId="{133F65F7-3944-DDCD-ECB0-4E8E03A572BA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5" creationId="{CCF4D680-6D85-CB83-3C20-026C5EAB67F2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7" creationId="{1CEBD5E9-6B7C-9311-EC40-3B30FCCA3CD5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8" creationId="{2A1C1AB2-8816-D33A-F798-29F5BFFACB8A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69" creationId="{18FE69FD-F67A-FD89-9867-4295AF06812F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71" creationId="{C21E9F06-EAB5-7324-2ADB-F1DCE34A0F4B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72" creationId="{413B2F27-6FE7-7F8C-ED04-2F560BEEBB84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73" creationId="{1E9911A4-D80F-5A1E-D0B9-FD7290D21FDC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74" creationId="{62966692-E1B0-538D-BA59-8E40843E007B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77" creationId="{F1F655BB-326E-3103-E0B3-37BA559913FB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78" creationId="{1860A68D-78BE-3E7A-7BDC-D936CE10A18D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79" creationId="{C710DDAC-06E1-002E-F858-0D8D440DF199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0" creationId="{0A810207-5705-7E0B-36BF-9374393057BB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1" creationId="{8A4F8388-059C-349D-E5D7-D95CE40DCC25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2" creationId="{9C976E2A-47D2-4749-6A78-A7C25757B13A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3" creationId="{7A7F8830-5EEF-4861-531F-C45A4180443A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4" creationId="{9FDB4CB7-FDF2-5AB3-2DA7-3F77C0DB0BD2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5" creationId="{557B4148-F6A4-4566-27AE-118912B10053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8" creationId="{4A93024B-F50A-749E-2E70-6568AC812677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89" creationId="{7C0C039C-779A-5B78-21E3-C7C4EB0BFADD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0" creationId="{0B400443-5E63-7C9B-844E-CE446B431331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1" creationId="{9FF47A6E-E422-5311-E70C-8A91B122D2DC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2" creationId="{396D6A7C-99D4-FD45-59A6-1A982D4456EC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3" creationId="{D1B897CA-A814-9203-EBF9-F3F15B41D40A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4" creationId="{161C6B9C-2653-E6D8-7B4F-ED35B3DBD224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5" creationId="{1357AA9F-80AD-7C5D-0F52-887DCC31FB2E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6" creationId="{5F17086D-3063-7CEA-A0E4-836238607798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7" creationId="{ADE43865-B3C9-FE72-1A3E-4E3104928A7F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8" creationId="{E93A1BF3-BFB4-CB2E-20A9-B2EDFDD4D3FB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99" creationId="{D7F14B05-1F3F-E2D8-1518-0BF757FFE254}"/>
          </ac:spMkLst>
        </pc:spChg>
        <pc:spChg chg="mod">
          <ac:chgData name="Daniel Cámac" userId="64d37b33-36e0-4d03-bd68-cdaaf2401fab" providerId="ADAL" clId="{099DD04E-249F-4EFD-B4FB-E0F36206868D}" dt="2024-09-07T13:41:48.187" v="1401" actId="404"/>
          <ac:spMkLst>
            <pc:docMk/>
            <pc:sldMk cId="54833910" sldId="2147377575"/>
            <ac:spMk id="101" creationId="{585805D1-AAA6-23DD-8FC2-B6DA524FC7BF}"/>
          </ac:spMkLst>
        </pc:spChg>
        <pc:grpChg chg="del mod">
          <ac:chgData name="Daniel Cámac" userId="64d37b33-36e0-4d03-bd68-cdaaf2401fab" providerId="ADAL" clId="{099DD04E-249F-4EFD-B4FB-E0F36206868D}" dt="2024-09-07T13:43:51.930" v="1530" actId="478"/>
          <ac:grpSpMkLst>
            <pc:docMk/>
            <pc:sldMk cId="54833910" sldId="2147377575"/>
            <ac:grpSpMk id="9" creationId="{78437C45-5DFD-5C81-973F-644ABDDEBEC2}"/>
          </ac:grpSpMkLst>
        </pc:grpChg>
        <pc:picChg chg="add mod ord">
          <ac:chgData name="Daniel Cámac" userId="64d37b33-36e0-4d03-bd68-cdaaf2401fab" providerId="ADAL" clId="{099DD04E-249F-4EFD-B4FB-E0F36206868D}" dt="2024-09-09T02:01:54.290" v="1789" actId="167"/>
          <ac:picMkLst>
            <pc:docMk/>
            <pc:sldMk cId="54833910" sldId="2147377575"/>
            <ac:picMk id="7" creationId="{1F0C7549-AB56-527A-2B52-8852F42B1868}"/>
          </ac:picMkLst>
        </pc:picChg>
        <pc:picChg chg="add del mod">
          <ac:chgData name="Daniel Cámac" userId="64d37b33-36e0-4d03-bd68-cdaaf2401fab" providerId="ADAL" clId="{099DD04E-249F-4EFD-B4FB-E0F36206868D}" dt="2024-09-07T13:52:11.196" v="1585" actId="21"/>
          <ac:picMkLst>
            <pc:docMk/>
            <pc:sldMk cId="54833910" sldId="2147377575"/>
            <ac:picMk id="8" creationId="{B2FE475E-3C2C-9888-2E3A-860832C7D81A}"/>
          </ac:picMkLst>
        </pc:picChg>
        <pc:picChg chg="add del mod">
          <ac:chgData name="Daniel Cámac" userId="64d37b33-36e0-4d03-bd68-cdaaf2401fab" providerId="ADAL" clId="{099DD04E-249F-4EFD-B4FB-E0F36206868D}" dt="2024-09-07T13:52:09.280" v="1584" actId="478"/>
          <ac:picMkLst>
            <pc:docMk/>
            <pc:sldMk cId="54833910" sldId="2147377575"/>
            <ac:picMk id="11" creationId="{24B1BAD0-E912-B8AB-6494-0D944F012108}"/>
          </ac:picMkLst>
        </pc:picChg>
        <pc:picChg chg="add del mod ord">
          <ac:chgData name="Daniel Cámac" userId="64d37b33-36e0-4d03-bd68-cdaaf2401fab" providerId="ADAL" clId="{099DD04E-249F-4EFD-B4FB-E0F36206868D}" dt="2024-09-07T13:52:25.400" v="1587" actId="21"/>
          <ac:picMkLst>
            <pc:docMk/>
            <pc:sldMk cId="54833910" sldId="2147377575"/>
            <ac:picMk id="12" creationId="{A47F12E7-9880-8D69-279B-B18181A91827}"/>
          </ac:picMkLst>
        </pc:pic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2873117810" sldId="2147471783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504536640" sldId="2147471788"/>
        </pc:sldMkLst>
      </pc:sldChg>
      <pc:sldChg chg="delSp modSp mod">
        <pc:chgData name="Daniel Cámac" userId="64d37b33-36e0-4d03-bd68-cdaaf2401fab" providerId="ADAL" clId="{099DD04E-249F-4EFD-B4FB-E0F36206868D}" dt="2024-09-07T13:03:40.302" v="759" actId="1076"/>
        <pc:sldMkLst>
          <pc:docMk/>
          <pc:sldMk cId="2536448171" sldId="2147471789"/>
        </pc:sldMkLst>
        <pc:spChg chg="mod">
          <ac:chgData name="Daniel Cámac" userId="64d37b33-36e0-4d03-bd68-cdaaf2401fab" providerId="ADAL" clId="{099DD04E-249F-4EFD-B4FB-E0F36206868D}" dt="2024-09-07T12:18:45.381" v="164" actId="1076"/>
          <ac:spMkLst>
            <pc:docMk/>
            <pc:sldMk cId="2536448171" sldId="2147471789"/>
            <ac:spMk id="6" creationId="{60C7B37D-9486-7752-428A-AB5E5F8AA95B}"/>
          </ac:spMkLst>
        </pc:spChg>
        <pc:spChg chg="del mod">
          <ac:chgData name="Daniel Cámac" userId="64d37b33-36e0-4d03-bd68-cdaaf2401fab" providerId="ADAL" clId="{099DD04E-249F-4EFD-B4FB-E0F36206868D}" dt="2024-09-07T12:17:56.422" v="156" actId="478"/>
          <ac:spMkLst>
            <pc:docMk/>
            <pc:sldMk cId="2536448171" sldId="2147471789"/>
            <ac:spMk id="7" creationId="{DB99C3EA-E35E-42EA-A592-CDD8F436597B}"/>
          </ac:spMkLst>
        </pc:spChg>
        <pc:spChg chg="mod">
          <ac:chgData name="Daniel Cámac" userId="64d37b33-36e0-4d03-bd68-cdaaf2401fab" providerId="ADAL" clId="{099DD04E-249F-4EFD-B4FB-E0F36206868D}" dt="2024-09-07T13:02:11.460" v="649" actId="1076"/>
          <ac:spMkLst>
            <pc:docMk/>
            <pc:sldMk cId="2536448171" sldId="2147471789"/>
            <ac:spMk id="8" creationId="{EFD8C343-D269-4D75-9590-59697A15EC05}"/>
          </ac:spMkLst>
        </pc:spChg>
        <pc:spChg chg="mod">
          <ac:chgData name="Daniel Cámac" userId="64d37b33-36e0-4d03-bd68-cdaaf2401fab" providerId="ADAL" clId="{099DD04E-249F-4EFD-B4FB-E0F36206868D}" dt="2024-09-07T13:03:24.449" v="754" actId="20577"/>
          <ac:spMkLst>
            <pc:docMk/>
            <pc:sldMk cId="2536448171" sldId="2147471789"/>
            <ac:spMk id="12" creationId="{0C85F87D-25B2-6422-9C5D-56D6AF277B04}"/>
          </ac:spMkLst>
        </pc:spChg>
        <pc:spChg chg="mod">
          <ac:chgData name="Daniel Cámac" userId="64d37b33-36e0-4d03-bd68-cdaaf2401fab" providerId="ADAL" clId="{099DD04E-249F-4EFD-B4FB-E0F36206868D}" dt="2024-09-07T12:14:52.174" v="138" actId="20577"/>
          <ac:spMkLst>
            <pc:docMk/>
            <pc:sldMk cId="2536448171" sldId="2147471789"/>
            <ac:spMk id="17" creationId="{6923C90E-A8AE-C88E-2A10-45FE2FC7DC43}"/>
          </ac:spMkLst>
        </pc:spChg>
        <pc:spChg chg="mod">
          <ac:chgData name="Daniel Cámac" userId="64d37b33-36e0-4d03-bd68-cdaaf2401fab" providerId="ADAL" clId="{099DD04E-249F-4EFD-B4FB-E0F36206868D}" dt="2024-09-07T12:15:35.517" v="144" actId="14100"/>
          <ac:spMkLst>
            <pc:docMk/>
            <pc:sldMk cId="2536448171" sldId="2147471789"/>
            <ac:spMk id="21" creationId="{B79382C9-E5B2-45A8-05FD-44E993771A18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22" creationId="{87814E67-AC84-77CE-B67B-D3CCE59819C3}"/>
          </ac:spMkLst>
        </pc:spChg>
        <pc:spChg chg="mod">
          <ac:chgData name="Daniel Cámac" userId="64d37b33-36e0-4d03-bd68-cdaaf2401fab" providerId="ADAL" clId="{099DD04E-249F-4EFD-B4FB-E0F36206868D}" dt="2024-09-07T12:15:13.779" v="140" actId="14100"/>
          <ac:spMkLst>
            <pc:docMk/>
            <pc:sldMk cId="2536448171" sldId="2147471789"/>
            <ac:spMk id="24" creationId="{FC291EBC-11D1-29A5-DAB6-F0DEA9BED507}"/>
          </ac:spMkLst>
        </pc:spChg>
        <pc:spChg chg="mod">
          <ac:chgData name="Daniel Cámac" userId="64d37b33-36e0-4d03-bd68-cdaaf2401fab" providerId="ADAL" clId="{099DD04E-249F-4EFD-B4FB-E0F36206868D}" dt="2024-09-07T12:18:53.352" v="165" actId="14100"/>
          <ac:spMkLst>
            <pc:docMk/>
            <pc:sldMk cId="2536448171" sldId="2147471789"/>
            <ac:spMk id="26" creationId="{720599E7-302C-D729-7E5C-3B89FAB60D15}"/>
          </ac:spMkLst>
        </pc:spChg>
        <pc:spChg chg="mod">
          <ac:chgData name="Daniel Cámac" userId="64d37b33-36e0-4d03-bd68-cdaaf2401fab" providerId="ADAL" clId="{099DD04E-249F-4EFD-B4FB-E0F36206868D}" dt="2024-09-07T12:07:13.480" v="23" actId="6549"/>
          <ac:spMkLst>
            <pc:docMk/>
            <pc:sldMk cId="2536448171" sldId="2147471789"/>
            <ac:spMk id="31" creationId="{9EB2DD6E-3BD9-B4B5-3C01-AD603A7ABD74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34" creationId="{631E2DAF-5C60-2322-BC44-AC46B2192DE8}"/>
          </ac:spMkLst>
        </pc:spChg>
        <pc:spChg chg="mod">
          <ac:chgData name="Daniel Cámac" userId="64d37b33-36e0-4d03-bd68-cdaaf2401fab" providerId="ADAL" clId="{099DD04E-249F-4EFD-B4FB-E0F36206868D}" dt="2024-09-07T12:07:22.562" v="26" actId="6549"/>
          <ac:spMkLst>
            <pc:docMk/>
            <pc:sldMk cId="2536448171" sldId="2147471789"/>
            <ac:spMk id="36" creationId="{6502ADB4-4980-C30F-9C45-65A29BB90194}"/>
          </ac:spMkLst>
        </pc:spChg>
        <pc:spChg chg="mod">
          <ac:chgData name="Daniel Cámac" userId="64d37b33-36e0-4d03-bd68-cdaaf2401fab" providerId="ADAL" clId="{099DD04E-249F-4EFD-B4FB-E0F36206868D}" dt="2024-09-07T12:18:41.975" v="163" actId="403"/>
          <ac:spMkLst>
            <pc:docMk/>
            <pc:sldMk cId="2536448171" sldId="2147471789"/>
            <ac:spMk id="37" creationId="{56990F4B-ECB2-836D-443F-B5CA6C625234}"/>
          </ac:spMkLst>
        </pc:spChg>
        <pc:spChg chg="mod">
          <ac:chgData name="Daniel Cámac" userId="64d37b33-36e0-4d03-bd68-cdaaf2401fab" providerId="ADAL" clId="{099DD04E-249F-4EFD-B4FB-E0F36206868D}" dt="2024-09-07T12:16:52.506" v="151" actId="790"/>
          <ac:spMkLst>
            <pc:docMk/>
            <pc:sldMk cId="2536448171" sldId="2147471789"/>
            <ac:spMk id="39" creationId="{82DCD42F-DC1D-60A9-F375-714B88D8A934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40" creationId="{5FA71B1C-322A-7F64-197A-3318C72D8DA0}"/>
          </ac:spMkLst>
        </pc:spChg>
        <pc:spChg chg="mod">
          <ac:chgData name="Daniel Cámac" userId="64d37b33-36e0-4d03-bd68-cdaaf2401fab" providerId="ADAL" clId="{099DD04E-249F-4EFD-B4FB-E0F36206868D}" dt="2024-09-07T12:16:25.505" v="147" actId="313"/>
          <ac:spMkLst>
            <pc:docMk/>
            <pc:sldMk cId="2536448171" sldId="2147471789"/>
            <ac:spMk id="41" creationId="{B003BA2D-1948-9BA2-07B4-541238B1C90B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42" creationId="{F8A2CB83-F87E-EDE9-5F5F-242F2E7F6D1C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43" creationId="{BCB94210-AF1E-2B42-1E84-AB4F4EF28FD3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45" creationId="{A3D1DD72-6A32-F57E-4FB2-82201CF681C2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47" creationId="{85B7DA58-63BC-460E-726D-FA77E8253363}"/>
          </ac:spMkLst>
        </pc:spChg>
        <pc:spChg chg="mod">
          <ac:chgData name="Daniel Cámac" userId="64d37b33-36e0-4d03-bd68-cdaaf2401fab" providerId="ADAL" clId="{099DD04E-249F-4EFD-B4FB-E0F36206868D}" dt="2024-09-07T12:16:21.128" v="146" actId="790"/>
          <ac:spMkLst>
            <pc:docMk/>
            <pc:sldMk cId="2536448171" sldId="2147471789"/>
            <ac:spMk id="48" creationId="{038AA642-ED89-EB2F-615A-9C10B9E15C8C}"/>
          </ac:spMkLst>
        </pc:spChg>
        <pc:spChg chg="mod">
          <ac:chgData name="Daniel Cámac" userId="64d37b33-36e0-4d03-bd68-cdaaf2401fab" providerId="ADAL" clId="{099DD04E-249F-4EFD-B4FB-E0F36206868D}" dt="2024-09-07T12:19:24.947" v="168" actId="207"/>
          <ac:spMkLst>
            <pc:docMk/>
            <pc:sldMk cId="2536448171" sldId="2147471789"/>
            <ac:spMk id="50" creationId="{3BABAB65-56C6-0C11-2864-578FC9E44826}"/>
          </ac:spMkLst>
        </pc:spChg>
        <pc:spChg chg="mod">
          <ac:chgData name="Daniel Cámac" userId="64d37b33-36e0-4d03-bd68-cdaaf2401fab" providerId="ADAL" clId="{099DD04E-249F-4EFD-B4FB-E0F36206868D}" dt="2024-09-07T13:03:40.302" v="759" actId="1076"/>
          <ac:spMkLst>
            <pc:docMk/>
            <pc:sldMk cId="2536448171" sldId="2147471789"/>
            <ac:spMk id="51" creationId="{1E3A97B8-6FCE-A5FA-4E9E-84EB9EE72BB6}"/>
          </ac:spMkLst>
        </pc:spChg>
        <pc:spChg chg="mod">
          <ac:chgData name="Daniel Cámac" userId="64d37b33-36e0-4d03-bd68-cdaaf2401fab" providerId="ADAL" clId="{099DD04E-249F-4EFD-B4FB-E0F36206868D}" dt="2024-09-07T12:07:09.876" v="22" actId="6549"/>
          <ac:spMkLst>
            <pc:docMk/>
            <pc:sldMk cId="2536448171" sldId="2147471789"/>
            <ac:spMk id="53" creationId="{AC7B23D1-5F27-A2D4-1349-314131D235CA}"/>
          </ac:spMkLst>
        </pc:spChg>
        <pc:spChg chg="mod">
          <ac:chgData name="Daniel Cámac" userId="64d37b33-36e0-4d03-bd68-cdaaf2401fab" providerId="ADAL" clId="{099DD04E-249F-4EFD-B4FB-E0F36206868D}" dt="2024-09-07T12:07:16.434" v="24" actId="6549"/>
          <ac:spMkLst>
            <pc:docMk/>
            <pc:sldMk cId="2536448171" sldId="2147471789"/>
            <ac:spMk id="54" creationId="{9F7D2439-9B8F-B847-AC80-0303332A4EA1}"/>
          </ac:spMkLst>
        </pc:spChg>
        <pc:spChg chg="mod">
          <ac:chgData name="Daniel Cámac" userId="64d37b33-36e0-4d03-bd68-cdaaf2401fab" providerId="ADAL" clId="{099DD04E-249F-4EFD-B4FB-E0F36206868D}" dt="2024-09-07T12:07:25.317" v="27" actId="6549"/>
          <ac:spMkLst>
            <pc:docMk/>
            <pc:sldMk cId="2536448171" sldId="2147471789"/>
            <ac:spMk id="55" creationId="{477D0755-3C5E-A9F3-57BF-DDB7355EC609}"/>
          </ac:spMkLst>
        </pc:spChg>
        <pc:spChg chg="del mod">
          <ac:chgData name="Daniel Cámac" userId="64d37b33-36e0-4d03-bd68-cdaaf2401fab" providerId="ADAL" clId="{099DD04E-249F-4EFD-B4FB-E0F36206868D}" dt="2024-09-07T12:18:29.685" v="161" actId="478"/>
          <ac:spMkLst>
            <pc:docMk/>
            <pc:sldMk cId="2536448171" sldId="2147471789"/>
            <ac:spMk id="56" creationId="{6EA8A316-2DCA-BD64-11A3-97D66C38C3FE}"/>
          </ac:spMkLst>
        </pc:spChg>
        <pc:grpChg chg="mod">
          <ac:chgData name="Daniel Cámac" userId="64d37b33-36e0-4d03-bd68-cdaaf2401fab" providerId="ADAL" clId="{099DD04E-249F-4EFD-B4FB-E0F36206868D}" dt="2024-09-07T12:09:43.010" v="65" actId="1076"/>
          <ac:grpSpMkLst>
            <pc:docMk/>
            <pc:sldMk cId="2536448171" sldId="2147471789"/>
            <ac:grpSpMk id="9" creationId="{E7C06887-A888-0A71-5677-90F0D354DFC5}"/>
          </ac:grpSpMkLst>
        </pc:grp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1361278989" sldId="2147471790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887225430" sldId="2147471791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611939438" sldId="2147471797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4240613732" sldId="2147471799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910288797" sldId="2147471800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1178484212" sldId="2147471803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1028962499" sldId="2147471804"/>
        </pc:sldMkLst>
      </pc:sldChg>
      <pc:sldChg chg="add del">
        <pc:chgData name="Daniel Cámac" userId="64d37b33-36e0-4d03-bd68-cdaaf2401fab" providerId="ADAL" clId="{099DD04E-249F-4EFD-B4FB-E0F36206868D}" dt="2024-09-09T02:50:09.478" v="3539" actId="47"/>
        <pc:sldMkLst>
          <pc:docMk/>
          <pc:sldMk cId="677625014" sldId="2147471805"/>
        </pc:sldMkLst>
      </pc:sldChg>
      <pc:sldChg chg="addSp delSp modSp del mod">
        <pc:chgData name="Daniel Cámac" userId="64d37b33-36e0-4d03-bd68-cdaaf2401fab" providerId="ADAL" clId="{099DD04E-249F-4EFD-B4FB-E0F36206868D}" dt="2024-09-07T13:28:05.349" v="1223" actId="2696"/>
        <pc:sldMkLst>
          <pc:docMk/>
          <pc:sldMk cId="3169330096" sldId="2147471805"/>
        </pc:sldMkLst>
        <pc:spChg chg="del">
          <ac:chgData name="Daniel Cámac" userId="64d37b33-36e0-4d03-bd68-cdaaf2401fab" providerId="ADAL" clId="{099DD04E-249F-4EFD-B4FB-E0F36206868D}" dt="2024-09-07T13:18:53.630" v="1066" actId="21"/>
          <ac:spMkLst>
            <pc:docMk/>
            <pc:sldMk cId="3169330096" sldId="2147471805"/>
            <ac:spMk id="4" creationId="{BE8E40CC-AFF0-F1AD-7B1C-498E0C5ECF49}"/>
          </ac:spMkLst>
        </pc:spChg>
        <pc:spChg chg="add del">
          <ac:chgData name="Daniel Cámac" userId="64d37b33-36e0-4d03-bd68-cdaaf2401fab" providerId="ADAL" clId="{099DD04E-249F-4EFD-B4FB-E0F36206868D}" dt="2024-09-07T13:18:53.630" v="1066" actId="21"/>
          <ac:spMkLst>
            <pc:docMk/>
            <pc:sldMk cId="3169330096" sldId="2147471805"/>
            <ac:spMk id="32" creationId="{0C670DB3-11A0-794E-99D4-83F8A7AD415F}"/>
          </ac:spMkLst>
        </pc:spChg>
        <pc:spChg chg="del mod">
          <ac:chgData name="Daniel Cámac" userId="64d37b33-36e0-4d03-bd68-cdaaf2401fab" providerId="ADAL" clId="{099DD04E-249F-4EFD-B4FB-E0F36206868D}" dt="2024-09-07T13:25:13.776" v="1185"/>
          <ac:spMkLst>
            <pc:docMk/>
            <pc:sldMk cId="3169330096" sldId="2147471805"/>
            <ac:spMk id="15426" creationId="{33D9AD71-520D-AC8C-3126-68BC6781DECF}"/>
          </ac:spMkLst>
        </pc:spChg>
        <pc:grpChg chg="add del">
          <ac:chgData name="Daniel Cámac" userId="64d37b33-36e0-4d03-bd68-cdaaf2401fab" providerId="ADAL" clId="{099DD04E-249F-4EFD-B4FB-E0F36206868D}" dt="2024-09-07T13:18:53.630" v="1066" actId="21"/>
          <ac:grpSpMkLst>
            <pc:docMk/>
            <pc:sldMk cId="3169330096" sldId="2147471805"/>
            <ac:grpSpMk id="30" creationId="{146DD9AD-31A3-F791-7FE4-1B19767AA540}"/>
          </ac:grpSpMkLst>
        </pc:grpChg>
      </pc:sldChg>
      <pc:sldChg chg="modSp mod">
        <pc:chgData name="Daniel Cámac" userId="64d37b33-36e0-4d03-bd68-cdaaf2401fab" providerId="ADAL" clId="{099DD04E-249F-4EFD-B4FB-E0F36206868D}" dt="2024-09-09T02:23:21.330" v="2566" actId="20577"/>
        <pc:sldMkLst>
          <pc:docMk/>
          <pc:sldMk cId="1764966532" sldId="2147471807"/>
        </pc:sldMkLst>
        <pc:spChg chg="mod">
          <ac:chgData name="Daniel Cámac" userId="64d37b33-36e0-4d03-bd68-cdaaf2401fab" providerId="ADAL" clId="{099DD04E-249F-4EFD-B4FB-E0F36206868D}" dt="2024-09-09T02:22:56.178" v="2555" actId="207"/>
          <ac:spMkLst>
            <pc:docMk/>
            <pc:sldMk cId="1764966532" sldId="2147471807"/>
            <ac:spMk id="4" creationId="{D55E5F7D-D0A7-1C83-A089-FF5C4BA22E61}"/>
          </ac:spMkLst>
        </pc:spChg>
        <pc:spChg chg="mod">
          <ac:chgData name="Daniel Cámac" userId="64d37b33-36e0-4d03-bd68-cdaaf2401fab" providerId="ADAL" clId="{099DD04E-249F-4EFD-B4FB-E0F36206868D}" dt="2024-09-09T02:23:21.330" v="2566" actId="20577"/>
          <ac:spMkLst>
            <pc:docMk/>
            <pc:sldMk cId="1764966532" sldId="2147471807"/>
            <ac:spMk id="9" creationId="{01C3A4A5-4A6B-72F2-F182-4C60A698D5CD}"/>
          </ac:spMkLst>
        </pc:spChg>
        <pc:spChg chg="mod">
          <ac:chgData name="Daniel Cámac" userId="64d37b33-36e0-4d03-bd68-cdaaf2401fab" providerId="ADAL" clId="{099DD04E-249F-4EFD-B4FB-E0F36206868D}" dt="2024-09-09T02:22:59.106" v="2556" actId="207"/>
          <ac:spMkLst>
            <pc:docMk/>
            <pc:sldMk cId="1764966532" sldId="2147471807"/>
            <ac:spMk id="11" creationId="{2DAA5C31-C3C9-1A89-DFD1-FE316787D22D}"/>
          </ac:spMkLst>
        </pc:spChg>
      </pc:sldChg>
      <pc:sldChg chg="modSp mod">
        <pc:chgData name="Daniel Cámac" userId="64d37b33-36e0-4d03-bd68-cdaaf2401fab" providerId="ADAL" clId="{099DD04E-249F-4EFD-B4FB-E0F36206868D}" dt="2024-09-07T12:05:05.683" v="14" actId="1076"/>
        <pc:sldMkLst>
          <pc:docMk/>
          <pc:sldMk cId="0" sldId="2147471829"/>
        </pc:sldMkLst>
        <pc:spChg chg="mod">
          <ac:chgData name="Daniel Cámac" userId="64d37b33-36e0-4d03-bd68-cdaaf2401fab" providerId="ADAL" clId="{099DD04E-249F-4EFD-B4FB-E0F36206868D}" dt="2024-09-07T12:04:29.066" v="1" actId="113"/>
          <ac:spMkLst>
            <pc:docMk/>
            <pc:sldMk cId="0" sldId="2147471829"/>
            <ac:spMk id="7" creationId="{3D800A9D-1E7C-CBF1-9723-5FD528E813D3}"/>
          </ac:spMkLst>
        </pc:spChg>
        <pc:spChg chg="mod">
          <ac:chgData name="Daniel Cámac" userId="64d37b33-36e0-4d03-bd68-cdaaf2401fab" providerId="ADAL" clId="{099DD04E-249F-4EFD-B4FB-E0F36206868D}" dt="2024-09-07T12:04:49.100" v="7" actId="14100"/>
          <ac:spMkLst>
            <pc:docMk/>
            <pc:sldMk cId="0" sldId="2147471829"/>
            <ac:spMk id="490" creationId="{00000000-0000-0000-0000-000000000000}"/>
          </ac:spMkLst>
        </pc:spChg>
        <pc:spChg chg="mod">
          <ac:chgData name="Daniel Cámac" userId="64d37b33-36e0-4d03-bd68-cdaaf2401fab" providerId="ADAL" clId="{099DD04E-249F-4EFD-B4FB-E0F36206868D}" dt="2024-09-07T12:05:05.683" v="14" actId="1076"/>
          <ac:spMkLst>
            <pc:docMk/>
            <pc:sldMk cId="0" sldId="2147471829"/>
            <ac:spMk id="492" creationId="{00000000-0000-0000-0000-000000000000}"/>
          </ac:spMkLst>
        </pc:spChg>
      </pc:sldChg>
      <pc:sldChg chg="addSp modSp mod">
        <pc:chgData name="Daniel Cámac" userId="64d37b33-36e0-4d03-bd68-cdaaf2401fab" providerId="ADAL" clId="{099DD04E-249F-4EFD-B4FB-E0F36206868D}" dt="2024-09-09T02:29:20.516" v="3041" actId="1076"/>
        <pc:sldMkLst>
          <pc:docMk/>
          <pc:sldMk cId="4187569646" sldId="2147471861"/>
        </pc:sldMkLst>
        <pc:spChg chg="add mod">
          <ac:chgData name="Daniel Cámac" userId="64d37b33-36e0-4d03-bd68-cdaaf2401fab" providerId="ADAL" clId="{099DD04E-249F-4EFD-B4FB-E0F36206868D}" dt="2024-09-09T02:29:20.516" v="3041" actId="1076"/>
          <ac:spMkLst>
            <pc:docMk/>
            <pc:sldMk cId="4187569646" sldId="2147471861"/>
            <ac:spMk id="3" creationId="{6DD4AD59-8202-5533-117F-3DD72810EB13}"/>
          </ac:spMkLst>
        </pc:spChg>
        <pc:spChg chg="mod">
          <ac:chgData name="Daniel Cámac" userId="64d37b33-36e0-4d03-bd68-cdaaf2401fab" providerId="ADAL" clId="{099DD04E-249F-4EFD-B4FB-E0F36206868D}" dt="2024-09-09T02:27:33.489" v="2957" actId="1076"/>
          <ac:spMkLst>
            <pc:docMk/>
            <pc:sldMk cId="4187569646" sldId="2147471861"/>
            <ac:spMk id="23" creationId="{744B6FBE-2A62-228B-04BD-A22A041B5BF8}"/>
          </ac:spMkLst>
        </pc:spChg>
        <pc:spChg chg="mod">
          <ac:chgData name="Daniel Cámac" userId="64d37b33-36e0-4d03-bd68-cdaaf2401fab" providerId="ADAL" clId="{099DD04E-249F-4EFD-B4FB-E0F36206868D}" dt="2024-09-09T02:29:15.864" v="3040" actId="404"/>
          <ac:spMkLst>
            <pc:docMk/>
            <pc:sldMk cId="4187569646" sldId="2147471861"/>
            <ac:spMk id="26" creationId="{D352853A-2445-7203-1562-2CB4D7A583FF}"/>
          </ac:spMkLst>
        </pc:spChg>
        <pc:spChg chg="mod">
          <ac:chgData name="Daniel Cámac" userId="64d37b33-36e0-4d03-bd68-cdaaf2401fab" providerId="ADAL" clId="{099DD04E-249F-4EFD-B4FB-E0F36206868D}" dt="2024-09-09T02:25:05.443" v="2741" actId="14100"/>
          <ac:spMkLst>
            <pc:docMk/>
            <pc:sldMk cId="4187569646" sldId="2147471861"/>
            <ac:spMk id="51" creationId="{F1691113-F0AF-622F-35BE-4D07D7897FF7}"/>
          </ac:spMkLst>
        </pc:spChg>
        <pc:picChg chg="mod">
          <ac:chgData name="Daniel Cámac" userId="64d37b33-36e0-4d03-bd68-cdaaf2401fab" providerId="ADAL" clId="{099DD04E-249F-4EFD-B4FB-E0F36206868D}" dt="2024-09-09T02:25:35.980" v="2746" actId="1076"/>
          <ac:picMkLst>
            <pc:docMk/>
            <pc:sldMk cId="4187569646" sldId="2147471861"/>
            <ac:picMk id="25" creationId="{2C1FBFD7-E8B0-3C05-3210-39EEF47D31A0}"/>
          </ac:picMkLst>
        </pc:pic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21962426" sldId="2147471864"/>
        </pc:sldMkLst>
      </pc:sldChg>
      <pc:sldChg chg="modSp mod">
        <pc:chgData name="Daniel Cámac" userId="64d37b33-36e0-4d03-bd68-cdaaf2401fab" providerId="ADAL" clId="{099DD04E-249F-4EFD-B4FB-E0F36206868D}" dt="2024-09-09T02:35:04.372" v="3318" actId="20577"/>
        <pc:sldMkLst>
          <pc:docMk/>
          <pc:sldMk cId="884788886" sldId="2147471905"/>
        </pc:sldMkLst>
        <pc:spChg chg="mod">
          <ac:chgData name="Daniel Cámac" userId="64d37b33-36e0-4d03-bd68-cdaaf2401fab" providerId="ADAL" clId="{099DD04E-249F-4EFD-B4FB-E0F36206868D}" dt="2024-09-09T02:34:28.201" v="3287" actId="14100"/>
          <ac:spMkLst>
            <pc:docMk/>
            <pc:sldMk cId="884788886" sldId="2147471905"/>
            <ac:spMk id="2" creationId="{E94CEF21-3509-15B4-49AD-5F24D5201DB4}"/>
          </ac:spMkLst>
        </pc:spChg>
        <pc:spChg chg="mod">
          <ac:chgData name="Daniel Cámac" userId="64d37b33-36e0-4d03-bd68-cdaaf2401fab" providerId="ADAL" clId="{099DD04E-249F-4EFD-B4FB-E0F36206868D}" dt="2024-09-09T02:30:20.298" v="3053" actId="1076"/>
          <ac:spMkLst>
            <pc:docMk/>
            <pc:sldMk cId="884788886" sldId="2147471905"/>
            <ac:spMk id="7" creationId="{EF41296C-BEFC-4801-4AD4-C06A4B2299E4}"/>
          </ac:spMkLst>
        </pc:spChg>
        <pc:spChg chg="mod">
          <ac:chgData name="Daniel Cámac" userId="64d37b33-36e0-4d03-bd68-cdaaf2401fab" providerId="ADAL" clId="{099DD04E-249F-4EFD-B4FB-E0F36206868D}" dt="2024-09-09T02:35:04.372" v="3318" actId="20577"/>
          <ac:spMkLst>
            <pc:docMk/>
            <pc:sldMk cId="884788886" sldId="2147471905"/>
            <ac:spMk id="12" creationId="{265744E9-B8C8-C692-1EEC-2EA0DE47A64B}"/>
          </ac:spMkLst>
        </pc:spChg>
        <pc:picChg chg="mod ord">
          <ac:chgData name="Daniel Cámac" userId="64d37b33-36e0-4d03-bd68-cdaaf2401fab" providerId="ADAL" clId="{099DD04E-249F-4EFD-B4FB-E0F36206868D}" dt="2024-09-09T02:34:34.267" v="3288" actId="167"/>
          <ac:picMkLst>
            <pc:docMk/>
            <pc:sldMk cId="884788886" sldId="2147471905"/>
            <ac:picMk id="9" creationId="{B5CA2BB5-E6DB-CF7C-258A-530C8755A4F0}"/>
          </ac:picMkLst>
        </pc:pic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3822902012" sldId="2147471908"/>
        </pc:sldMkLst>
      </pc:sldChg>
      <pc:sldChg chg="modSp mod">
        <pc:chgData name="Daniel Cámac" userId="64d37b33-36e0-4d03-bd68-cdaaf2401fab" providerId="ADAL" clId="{099DD04E-249F-4EFD-B4FB-E0F36206868D}" dt="2024-09-09T02:22:11.903" v="2554" actId="14100"/>
        <pc:sldMkLst>
          <pc:docMk/>
          <pc:sldMk cId="760273459" sldId="2147471910"/>
        </pc:sldMkLst>
        <pc:spChg chg="mod">
          <ac:chgData name="Daniel Cámac" userId="64d37b33-36e0-4d03-bd68-cdaaf2401fab" providerId="ADAL" clId="{099DD04E-249F-4EFD-B4FB-E0F36206868D}" dt="2024-09-09T02:22:11.903" v="2554" actId="14100"/>
          <ac:spMkLst>
            <pc:docMk/>
            <pc:sldMk cId="760273459" sldId="2147471910"/>
            <ac:spMk id="5" creationId="{7151AF45-B18E-83F3-2993-53515140F2C2}"/>
          </ac:spMkLst>
        </pc:spChg>
        <pc:spChg chg="mod">
          <ac:chgData name="Daniel Cámac" userId="64d37b33-36e0-4d03-bd68-cdaaf2401fab" providerId="ADAL" clId="{099DD04E-249F-4EFD-B4FB-E0F36206868D}" dt="2024-09-09T02:21:38.695" v="2553" actId="20577"/>
          <ac:spMkLst>
            <pc:docMk/>
            <pc:sldMk cId="760273459" sldId="2147471910"/>
            <ac:spMk id="6" creationId="{B92E33F6-2CB7-A05C-A2D5-51E5E4302D58}"/>
          </ac:spMkLst>
        </pc:spChg>
      </pc:sldChg>
      <pc:sldChg chg="delSp modSp mod modCm">
        <pc:chgData name="Daniel Cámac" userId="64d37b33-36e0-4d03-bd68-cdaaf2401fab" providerId="ADAL" clId="{099DD04E-249F-4EFD-B4FB-E0F36206868D}" dt="2024-09-09T02:18:19.723" v="2383" actId="14100"/>
        <pc:sldMkLst>
          <pc:docMk/>
          <pc:sldMk cId="3903860888" sldId="2147471911"/>
        </pc:sldMkLst>
        <pc:spChg chg="mod">
          <ac:chgData name="Daniel Cámac" userId="64d37b33-36e0-4d03-bd68-cdaaf2401fab" providerId="ADAL" clId="{099DD04E-249F-4EFD-B4FB-E0F36206868D}" dt="2024-09-09T02:17:33.024" v="2375" actId="1076"/>
          <ac:spMkLst>
            <pc:docMk/>
            <pc:sldMk cId="3903860888" sldId="2147471911"/>
            <ac:spMk id="2" creationId="{000172AB-F6B4-13D4-D037-3E73D83EB937}"/>
          </ac:spMkLst>
        </pc:spChg>
        <pc:spChg chg="mod">
          <ac:chgData name="Daniel Cámac" userId="64d37b33-36e0-4d03-bd68-cdaaf2401fab" providerId="ADAL" clId="{099DD04E-249F-4EFD-B4FB-E0F36206868D}" dt="2024-09-09T02:15:26.566" v="2355" actId="1076"/>
          <ac:spMkLst>
            <pc:docMk/>
            <pc:sldMk cId="3903860888" sldId="2147471911"/>
            <ac:spMk id="5" creationId="{CD8B2E85-EA92-E467-8188-A5BAB5102999}"/>
          </ac:spMkLst>
        </pc:spChg>
        <pc:spChg chg="mod">
          <ac:chgData name="Daniel Cámac" userId="64d37b33-36e0-4d03-bd68-cdaaf2401fab" providerId="ADAL" clId="{099DD04E-249F-4EFD-B4FB-E0F36206868D}" dt="2024-09-09T02:17:59.697" v="2381" actId="20577"/>
          <ac:spMkLst>
            <pc:docMk/>
            <pc:sldMk cId="3903860888" sldId="2147471911"/>
            <ac:spMk id="6" creationId="{593F0EA6-988B-BBD7-E6E3-ECF459D573A5}"/>
          </ac:spMkLst>
        </pc:spChg>
        <pc:spChg chg="del mod">
          <ac:chgData name="Daniel Cámac" userId="64d37b33-36e0-4d03-bd68-cdaaf2401fab" providerId="ADAL" clId="{099DD04E-249F-4EFD-B4FB-E0F36206868D}" dt="2024-09-09T02:09:18.526" v="2283" actId="478"/>
          <ac:spMkLst>
            <pc:docMk/>
            <pc:sldMk cId="3903860888" sldId="2147471911"/>
            <ac:spMk id="11" creationId="{6AAE804D-8797-8BBC-6FD3-E569199947DF}"/>
          </ac:spMkLst>
        </pc:spChg>
        <pc:spChg chg="mod">
          <ac:chgData name="Daniel Cámac" userId="64d37b33-36e0-4d03-bd68-cdaaf2401fab" providerId="ADAL" clId="{099DD04E-249F-4EFD-B4FB-E0F36206868D}" dt="2024-09-09T02:16:45.022" v="2370" actId="1076"/>
          <ac:spMkLst>
            <pc:docMk/>
            <pc:sldMk cId="3903860888" sldId="2147471911"/>
            <ac:spMk id="14" creationId="{0D497559-A71D-6697-01CF-5836C5B3F48B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6" creationId="{F79378EF-04D5-8201-3721-4B1B5542B387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7" creationId="{040B3847-3B8C-1F77-10A5-653562326C17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8" creationId="{91D2FCC8-7680-BFE3-FB30-780E459A5776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9" creationId="{AA555417-A7A2-05D1-5594-9725D3AB9A1F}"/>
          </ac:spMkLst>
        </pc:spChg>
        <pc:spChg chg="mod">
          <ac:chgData name="Daniel Cámac" userId="64d37b33-36e0-4d03-bd68-cdaaf2401fab" providerId="ADAL" clId="{099DD04E-249F-4EFD-B4FB-E0F36206868D}" dt="2024-09-09T02:18:19.723" v="2383" actId="14100"/>
          <ac:spMkLst>
            <pc:docMk/>
            <pc:sldMk cId="3903860888" sldId="2147471911"/>
            <ac:spMk id="20" creationId="{7675547E-BC1C-C5FA-F787-57F48530A52B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1" creationId="{CDD701F1-DC53-D436-B805-6127071826E7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2" creationId="{489D0064-8AC5-6111-EA69-1962DD8310C5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3" creationId="{3363C3B7-34DD-5F8D-072E-C1B98760D142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4" creationId="{565DC3D5-FC77-5F9B-4738-363C829A9E2A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5" creationId="{7F9AFBED-E221-88AA-ADDF-544A52AF9D55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6" creationId="{04707EE6-8379-1E1C-1E8D-4345CFB85B02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7" creationId="{9F294944-22A4-7877-9C17-92D67137AA01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28" creationId="{CA434D88-9472-01DA-83AA-EF10C629197B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45" creationId="{AB604C05-6CE9-829F-AACF-1E47D1673821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46" creationId="{84DC0658-B3F7-46F8-8940-C55EE01BCF7D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47" creationId="{41DC6D50-6F33-0174-AE3E-C36D3E4FD17F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48" creationId="{61DC705F-7B52-CAFB-23AE-3D4856FECA6A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49" creationId="{70A4974C-0C4C-6100-3CC7-1DC73B62D727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50" creationId="{03733DB6-3B7C-BEF1-3333-FB7AB0ABF304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51" creationId="{470C64E3-FF80-5113-EECD-7CF8E09028A7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52" creationId="{F5E7A92E-4644-2FA0-0F6C-8B8FD7F31743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53" creationId="{EE52B4A2-EA1A-5F3C-AA6F-5464347A86AB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54" creationId="{BC1AFD7A-5568-C111-2A94-D8370A503007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59" creationId="{E175F7EE-6B36-8128-CB6D-0321B3343225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60" creationId="{439C7DE7-97CD-000B-1B76-923491DFF882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61" creationId="{34E91DA8-A344-05B4-E4D0-4F0D670363E2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62" creationId="{4BE74DA7-FD04-9C32-C825-4A4F2BD77980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63" creationId="{F71E3A1D-3FBA-121D-162A-D9E2D1605791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35" creationId="{51DC12D5-6758-0554-394C-CAF677C38F5E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36" creationId="{2469799B-8EDB-D453-9692-0C7C47EF2655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39" creationId="{93C73AB4-418E-73FE-120F-B8F06D639225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43" creationId="{DE8A694F-F229-3439-9257-20D6ED26A2AE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45" creationId="{C04B795C-41AA-6B0A-8D85-C0EA53D4E5B8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46" creationId="{9709DB04-5A80-902C-C719-744BA6562ACC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47" creationId="{1980C62F-8228-092C-9086-8CD49E19B6B0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48" creationId="{5133879C-3383-48A9-79EF-C6E71993D7E8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49" creationId="{411CC80D-4854-CA7B-1CB6-53FE449EF203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50" creationId="{1DD9161B-E4EB-6A02-9397-DB8AACA748BF}"/>
          </ac:spMkLst>
        </pc:spChg>
        <pc:spChg chg="mod">
          <ac:chgData name="Daniel Cámac" userId="64d37b33-36e0-4d03-bd68-cdaaf2401fab" providerId="ADAL" clId="{099DD04E-249F-4EFD-B4FB-E0F36206868D}" dt="2024-09-09T02:17:15.124" v="2371" actId="790"/>
          <ac:spMkLst>
            <pc:docMk/>
            <pc:sldMk cId="3903860888" sldId="2147471911"/>
            <ac:spMk id="1052" creationId="{7C2C8B60-348C-392C-99FC-DA863436FBAD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53" creationId="{3EB485F4-05DD-B459-6714-2D626D5B7695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54" creationId="{9D0A3A53-6FAD-37FA-6708-0B841A92531A}"/>
          </ac:spMkLst>
        </pc:spChg>
        <pc:spChg chg="mod">
          <ac:chgData name="Daniel Cámac" userId="64d37b33-36e0-4d03-bd68-cdaaf2401fab" providerId="ADAL" clId="{099DD04E-249F-4EFD-B4FB-E0F36206868D}" dt="2024-09-09T02:16:31.031" v="2367" actId="403"/>
          <ac:spMkLst>
            <pc:docMk/>
            <pc:sldMk cId="3903860888" sldId="2147471911"/>
            <ac:spMk id="1055" creationId="{9A0ECC83-922F-3D8D-DA14-369F5D5CEC17}"/>
          </ac:spMkLst>
        </pc:spChg>
        <pc:grpChg chg="mod">
          <ac:chgData name="Daniel Cámac" userId="64d37b33-36e0-4d03-bd68-cdaaf2401fab" providerId="ADAL" clId="{099DD04E-249F-4EFD-B4FB-E0F36206868D}" dt="2024-09-09T02:16:38.915" v="2368" actId="14100"/>
          <ac:grpSpMkLst>
            <pc:docMk/>
            <pc:sldMk cId="3903860888" sldId="2147471911"/>
            <ac:grpSpMk id="15" creationId="{D58241B2-B9BE-CAE3-511A-92302FA0C587}"/>
          </ac:grpSpMkLst>
        </pc:grpChg>
        <pc:graphicFrameChg chg="mod modGraphic">
          <ac:chgData name="Daniel Cámac" userId="64d37b33-36e0-4d03-bd68-cdaaf2401fab" providerId="ADAL" clId="{099DD04E-249F-4EFD-B4FB-E0F36206868D}" dt="2024-09-09T02:14:48.484" v="2344" actId="790"/>
          <ac:graphicFrameMkLst>
            <pc:docMk/>
            <pc:sldMk cId="3903860888" sldId="2147471911"/>
            <ac:graphicFrameMk id="8" creationId="{D65DAFC9-89D7-B34C-842D-B329FB9EDCD3}"/>
          </ac:graphicFrameMkLst>
        </pc:graphicFrameChg>
        <pc:graphicFrameChg chg="mod modGraphic">
          <ac:chgData name="Daniel Cámac" userId="64d37b33-36e0-4d03-bd68-cdaaf2401fab" providerId="ADAL" clId="{099DD04E-249F-4EFD-B4FB-E0F36206868D}" dt="2024-09-09T02:14:40.117" v="2343" actId="790"/>
          <ac:graphicFrameMkLst>
            <pc:docMk/>
            <pc:sldMk cId="3903860888" sldId="2147471911"/>
            <ac:graphicFrameMk id="1056" creationId="{3E68A02A-7A3A-A07F-605A-F67110CC5DCF}"/>
          </ac:graphicFrameMkLst>
        </pc:graphicFrameChg>
        <pc:picChg chg="mod">
          <ac:chgData name="Daniel Cámac" userId="64d37b33-36e0-4d03-bd68-cdaaf2401fab" providerId="ADAL" clId="{099DD04E-249F-4EFD-B4FB-E0F36206868D}" dt="2024-09-09T02:17:42.419" v="2379" actId="14100"/>
          <ac:picMkLst>
            <pc:docMk/>
            <pc:sldMk cId="3903860888" sldId="2147471911"/>
            <ac:picMk id="4" creationId="{6FE61E9D-9C6B-4D41-2F57-BB0ABD178371}"/>
          </ac:picMkLst>
        </pc:picChg>
        <pc:picChg chg="mod">
          <ac:chgData name="Daniel Cámac" userId="64d37b33-36e0-4d03-bd68-cdaaf2401fab" providerId="ADAL" clId="{099DD04E-249F-4EFD-B4FB-E0F36206868D}" dt="2024-09-09T02:18:06.512" v="2382" actId="1076"/>
          <ac:picMkLst>
            <pc:docMk/>
            <pc:sldMk cId="3903860888" sldId="2147471911"/>
            <ac:picMk id="29" creationId="{ADA43DB9-CB05-91DA-BCB9-E5E867EF9F96}"/>
          </ac:picMkLst>
        </pc:picChg>
        <pc:picChg chg="mod">
          <ac:chgData name="Daniel Cámac" userId="64d37b33-36e0-4d03-bd68-cdaaf2401fab" providerId="ADAL" clId="{099DD04E-249F-4EFD-B4FB-E0F36206868D}" dt="2024-09-09T02:12:26.272" v="2326" actId="14100"/>
          <ac:picMkLst>
            <pc:docMk/>
            <pc:sldMk cId="3903860888" sldId="2147471911"/>
            <ac:picMk id="1026" creationId="{6E2D5391-0511-682D-4953-81B05CF26A59}"/>
          </ac:picMkLst>
        </pc:picChg>
        <pc:picChg chg="mod">
          <ac:chgData name="Daniel Cámac" userId="64d37b33-36e0-4d03-bd68-cdaaf2401fab" providerId="ADAL" clId="{099DD04E-249F-4EFD-B4FB-E0F36206868D}" dt="2024-09-09T02:12:22.949" v="2325" actId="1076"/>
          <ac:picMkLst>
            <pc:docMk/>
            <pc:sldMk cId="3903860888" sldId="2147471911"/>
            <ac:picMk id="1028" creationId="{A8020937-C3F2-47B7-946F-C40D1E4795D9}"/>
          </ac:picMkLst>
        </pc:picChg>
        <pc:picChg chg="mod">
          <ac:chgData name="Daniel Cámac" userId="64d37b33-36e0-4d03-bd68-cdaaf2401fab" providerId="ADAL" clId="{099DD04E-249F-4EFD-B4FB-E0F36206868D}" dt="2024-09-09T02:15:33.912" v="2356" actId="1076"/>
          <ac:picMkLst>
            <pc:docMk/>
            <pc:sldMk cId="3903860888" sldId="2147471911"/>
            <ac:picMk id="1032" creationId="{6166ED02-4102-CC8A-5C62-C22269890137}"/>
          </ac:picMkLst>
        </pc:picChg>
        <pc:picChg chg="mod">
          <ac:chgData name="Daniel Cámac" userId="64d37b33-36e0-4d03-bd68-cdaaf2401fab" providerId="ADAL" clId="{099DD04E-249F-4EFD-B4FB-E0F36206868D}" dt="2024-09-09T02:13:58.081" v="2341" actId="1076"/>
          <ac:picMkLst>
            <pc:docMk/>
            <pc:sldMk cId="3903860888" sldId="2147471911"/>
            <ac:picMk id="1034" creationId="{5206C01D-963C-F74F-E62F-7B452FEF141B}"/>
          </ac:picMkLst>
        </pc:picChg>
        <pc:picChg chg="mod">
          <ac:chgData name="Daniel Cámac" userId="64d37b33-36e0-4d03-bd68-cdaaf2401fab" providerId="ADAL" clId="{099DD04E-249F-4EFD-B4FB-E0F36206868D}" dt="2024-09-09T02:13:39.641" v="2338" actId="1076"/>
          <ac:picMkLst>
            <pc:docMk/>
            <pc:sldMk cId="3903860888" sldId="2147471911"/>
            <ac:picMk id="1038" creationId="{546DAB9E-0A3E-53D0-BA5F-9D5C72A792B1}"/>
          </ac:picMkLst>
        </pc:picChg>
        <pc:picChg chg="mod">
          <ac:chgData name="Daniel Cámac" userId="64d37b33-36e0-4d03-bd68-cdaaf2401fab" providerId="ADAL" clId="{099DD04E-249F-4EFD-B4FB-E0F36206868D}" dt="2024-09-09T02:13:30.135" v="2335" actId="14100"/>
          <ac:picMkLst>
            <pc:docMk/>
            <pc:sldMk cId="3903860888" sldId="2147471911"/>
            <ac:picMk id="1040" creationId="{D8FCDD3A-CFCF-7A00-B29A-6C2B0467ACB6}"/>
          </ac:picMkLst>
        </pc:picChg>
        <pc:cxnChg chg="mod">
          <ac:chgData name="Daniel Cámac" userId="64d37b33-36e0-4d03-bd68-cdaaf2401fab" providerId="ADAL" clId="{099DD04E-249F-4EFD-B4FB-E0F36206868D}" dt="2024-09-09T02:16:41.863" v="2369" actId="1076"/>
          <ac:cxnSpMkLst>
            <pc:docMk/>
            <pc:sldMk cId="3903860888" sldId="2147471911"/>
            <ac:cxnSpMk id="12" creationId="{DA43EFA0-2233-F3A5-E2B8-37E48AFC1C39}"/>
          </ac:cxnSpMkLst>
        </pc:cxnChg>
        <pc:cxnChg chg="mod">
          <ac:chgData name="Daniel Cámac" userId="64d37b33-36e0-4d03-bd68-cdaaf2401fab" providerId="ADAL" clId="{099DD04E-249F-4EFD-B4FB-E0F36206868D}" dt="2024-09-09T02:16:31.031" v="2367" actId="403"/>
          <ac:cxnSpMkLst>
            <pc:docMk/>
            <pc:sldMk cId="3903860888" sldId="2147471911"/>
            <ac:cxnSpMk id="1051" creationId="{62B14FD3-3C19-B1DF-F1CA-DC75CFD618E1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Daniel Cámac" userId="64d37b33-36e0-4d03-bd68-cdaaf2401fab" providerId="ADAL" clId="{099DD04E-249F-4EFD-B4FB-E0F36206868D}" dt="2024-09-09T02:08:44.785" v="2281" actId="20577"/>
              <pc2:cmMkLst xmlns:pc2="http://schemas.microsoft.com/office/powerpoint/2019/9/main/command">
                <pc:docMk/>
                <pc:sldMk cId="3903860888" sldId="2147471911"/>
                <pc2:cmMk id="{6E31C16C-BE1D-1E43-8597-85E5B3406719}"/>
              </pc2:cmMkLst>
            </pc226:cmChg>
          </p:ext>
        </pc:extLst>
      </pc:sldChg>
      <pc:sldChg chg="delSp modSp mod">
        <pc:chgData name="Daniel Cámac" userId="64d37b33-36e0-4d03-bd68-cdaaf2401fab" providerId="ADAL" clId="{099DD04E-249F-4EFD-B4FB-E0F36206868D}" dt="2024-09-09T02:43:51.295" v="3538" actId="1076"/>
        <pc:sldMkLst>
          <pc:docMk/>
          <pc:sldMk cId="1196328774" sldId="2147471912"/>
        </pc:sldMkLst>
        <pc:spChg chg="mod">
          <ac:chgData name="Daniel Cámac" userId="64d37b33-36e0-4d03-bd68-cdaaf2401fab" providerId="ADAL" clId="{099DD04E-249F-4EFD-B4FB-E0F36206868D}" dt="2024-09-09T02:41:48.188" v="3535" actId="20577"/>
          <ac:spMkLst>
            <pc:docMk/>
            <pc:sldMk cId="1196328774" sldId="2147471912"/>
            <ac:spMk id="9" creationId="{6433BB93-4824-60B1-138E-92002104873A}"/>
          </ac:spMkLst>
        </pc:spChg>
        <pc:spChg chg="mod">
          <ac:chgData name="Daniel Cámac" userId="64d37b33-36e0-4d03-bd68-cdaaf2401fab" providerId="ADAL" clId="{099DD04E-249F-4EFD-B4FB-E0F36206868D}" dt="2024-09-09T02:37:15.547" v="3328" actId="1076"/>
          <ac:spMkLst>
            <pc:docMk/>
            <pc:sldMk cId="1196328774" sldId="2147471912"/>
            <ac:spMk id="16" creationId="{1788851B-5313-86A7-8E99-1DB4FFDDD304}"/>
          </ac:spMkLst>
        </pc:spChg>
        <pc:spChg chg="mod">
          <ac:chgData name="Daniel Cámac" userId="64d37b33-36e0-4d03-bd68-cdaaf2401fab" providerId="ADAL" clId="{099DD04E-249F-4EFD-B4FB-E0F36206868D}" dt="2024-09-09T02:37:10.193" v="3327" actId="1076"/>
          <ac:spMkLst>
            <pc:docMk/>
            <pc:sldMk cId="1196328774" sldId="2147471912"/>
            <ac:spMk id="17" creationId="{6FD0AA34-7ACA-1F9B-A1D8-4C58A128E704}"/>
          </ac:spMkLst>
        </pc:spChg>
        <pc:spChg chg="mod">
          <ac:chgData name="Daniel Cámac" userId="64d37b33-36e0-4d03-bd68-cdaaf2401fab" providerId="ADAL" clId="{099DD04E-249F-4EFD-B4FB-E0F36206868D}" dt="2024-09-09T02:43:51.295" v="3538" actId="1076"/>
          <ac:spMkLst>
            <pc:docMk/>
            <pc:sldMk cId="1196328774" sldId="2147471912"/>
            <ac:spMk id="27" creationId="{524BACF3-8AB5-A4E9-8A50-6E7E446C58F0}"/>
          </ac:spMkLst>
        </pc:spChg>
        <pc:spChg chg="del">
          <ac:chgData name="Daniel Cámac" userId="64d37b33-36e0-4d03-bd68-cdaaf2401fab" providerId="ADAL" clId="{099DD04E-249F-4EFD-B4FB-E0F36206868D}" dt="2024-09-09T02:36:32.031" v="3320" actId="478"/>
          <ac:spMkLst>
            <pc:docMk/>
            <pc:sldMk cId="1196328774" sldId="2147471912"/>
            <ac:spMk id="30" creationId="{E8E4EB15-9598-AB20-C1EB-486ED5FF5945}"/>
          </ac:spMkLst>
        </pc:spChg>
        <pc:grpChg chg="ord">
          <ac:chgData name="Daniel Cámac" userId="64d37b33-36e0-4d03-bd68-cdaaf2401fab" providerId="ADAL" clId="{099DD04E-249F-4EFD-B4FB-E0F36206868D}" dt="2024-09-09T02:37:48.012" v="3332" actId="166"/>
          <ac:grpSpMkLst>
            <pc:docMk/>
            <pc:sldMk cId="1196328774" sldId="2147471912"/>
            <ac:grpSpMk id="25" creationId="{78B143D0-6EA0-7F3B-8DFC-6439148204E2}"/>
          </ac:grpSpMkLst>
        </pc:grpChg>
        <pc:grpChg chg="del">
          <ac:chgData name="Daniel Cámac" userId="64d37b33-36e0-4d03-bd68-cdaaf2401fab" providerId="ADAL" clId="{099DD04E-249F-4EFD-B4FB-E0F36206868D}" dt="2024-09-09T02:36:26.807" v="3319" actId="478"/>
          <ac:grpSpMkLst>
            <pc:docMk/>
            <pc:sldMk cId="1196328774" sldId="2147471912"/>
            <ac:grpSpMk id="26" creationId="{4497ED89-8570-39A0-B087-E2FB1E756671}"/>
          </ac:grpSpMkLst>
        </pc:grpChg>
        <pc:picChg chg="mod">
          <ac:chgData name="Daniel Cámac" userId="64d37b33-36e0-4d03-bd68-cdaaf2401fab" providerId="ADAL" clId="{099DD04E-249F-4EFD-B4FB-E0F36206868D}" dt="2024-09-09T02:36:58.489" v="3326" actId="1076"/>
          <ac:picMkLst>
            <pc:docMk/>
            <pc:sldMk cId="1196328774" sldId="2147471912"/>
            <ac:picMk id="1043" creationId="{8BF79831-F428-6289-4B72-985F9E422FC9}"/>
          </ac:picMkLst>
        </pc:picChg>
        <pc:picChg chg="del">
          <ac:chgData name="Daniel Cámac" userId="64d37b33-36e0-4d03-bd68-cdaaf2401fab" providerId="ADAL" clId="{099DD04E-249F-4EFD-B4FB-E0F36206868D}" dt="2024-09-09T02:36:49.943" v="3324" actId="478"/>
          <ac:picMkLst>
            <pc:docMk/>
            <pc:sldMk cId="1196328774" sldId="2147471912"/>
            <ac:picMk id="1047" creationId="{23CCF68D-CF1C-46F4-E11B-318600940C72}"/>
          </ac:picMkLst>
        </pc:picChg>
        <pc:picChg chg="del">
          <ac:chgData name="Daniel Cámac" userId="64d37b33-36e0-4d03-bd68-cdaaf2401fab" providerId="ADAL" clId="{099DD04E-249F-4EFD-B4FB-E0F36206868D}" dt="2024-09-09T02:36:40.333" v="3322" actId="478"/>
          <ac:picMkLst>
            <pc:docMk/>
            <pc:sldMk cId="1196328774" sldId="2147471912"/>
            <ac:picMk id="1055" creationId="{42F9B9E3-9F12-1581-72D7-D90A3DD5C056}"/>
          </ac:picMkLst>
        </pc:picChg>
        <pc:picChg chg="mod">
          <ac:chgData name="Daniel Cámac" userId="64d37b33-36e0-4d03-bd68-cdaaf2401fab" providerId="ADAL" clId="{099DD04E-249F-4EFD-B4FB-E0F36206868D}" dt="2024-09-09T02:36:47.209" v="3323" actId="1076"/>
          <ac:picMkLst>
            <pc:docMk/>
            <pc:sldMk cId="1196328774" sldId="2147471912"/>
            <ac:picMk id="1059" creationId="{026E1D9C-FBF2-5DAE-4AD9-9F418CAF4150}"/>
          </ac:picMkLst>
        </pc:picChg>
        <pc:cxnChg chg="del mod">
          <ac:chgData name="Daniel Cámac" userId="64d37b33-36e0-4d03-bd68-cdaaf2401fab" providerId="ADAL" clId="{099DD04E-249F-4EFD-B4FB-E0F36206868D}" dt="2024-09-09T02:36:35.325" v="3321" actId="478"/>
          <ac:cxnSpMkLst>
            <pc:docMk/>
            <pc:sldMk cId="1196328774" sldId="2147471912"/>
            <ac:cxnSpMk id="38" creationId="{F3BA4980-4408-973A-70E2-22A1504F22E9}"/>
          </ac:cxnSpMkLst>
        </pc:cxnChg>
        <pc:cxnChg chg="mod">
          <ac:chgData name="Daniel Cámac" userId="64d37b33-36e0-4d03-bd68-cdaaf2401fab" providerId="ADAL" clId="{099DD04E-249F-4EFD-B4FB-E0F36206868D}" dt="2024-09-09T02:37:42.108" v="3331" actId="14100"/>
          <ac:cxnSpMkLst>
            <pc:docMk/>
            <pc:sldMk cId="1196328774" sldId="2147471912"/>
            <ac:cxnSpMk id="45" creationId="{746B8A62-415C-12BF-5382-CF99210564E0}"/>
          </ac:cxnSpMkLst>
        </pc:cxnChg>
        <pc:cxnChg chg="mod">
          <ac:chgData name="Daniel Cámac" userId="64d37b33-36e0-4d03-bd68-cdaaf2401fab" providerId="ADAL" clId="{099DD04E-249F-4EFD-B4FB-E0F36206868D}" dt="2024-09-09T02:43:51.295" v="3538" actId="1076"/>
          <ac:cxnSpMkLst>
            <pc:docMk/>
            <pc:sldMk cId="1196328774" sldId="2147471912"/>
            <ac:cxnSpMk id="49" creationId="{F0E8E00B-911E-4F18-A1EB-6CE7F183B45E}"/>
          </ac:cxnSpMkLst>
        </pc:cxn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4274180278" sldId="2147471913"/>
        </pc:sldMkLst>
      </pc:sldChg>
      <pc:sldChg chg="modSp mod">
        <pc:chgData name="Daniel Cámac" userId="64d37b33-36e0-4d03-bd68-cdaaf2401fab" providerId="ADAL" clId="{099DD04E-249F-4EFD-B4FB-E0F36206868D}" dt="2024-09-09T02:52:49.583" v="3565" actId="404"/>
        <pc:sldMkLst>
          <pc:docMk/>
          <pc:sldMk cId="4001874447" sldId="2147471916"/>
        </pc:sldMkLst>
        <pc:spChg chg="mod">
          <ac:chgData name="Daniel Cámac" userId="64d37b33-36e0-4d03-bd68-cdaaf2401fab" providerId="ADAL" clId="{099DD04E-249F-4EFD-B4FB-E0F36206868D}" dt="2024-09-09T02:51:12.707" v="3561" actId="20577"/>
          <ac:spMkLst>
            <pc:docMk/>
            <pc:sldMk cId="4001874447" sldId="2147471916"/>
            <ac:spMk id="5" creationId="{2A957A1C-F0F5-407F-DD89-8DBEBC2077D0}"/>
          </ac:spMkLst>
        </pc:spChg>
        <pc:spChg chg="mod">
          <ac:chgData name="Daniel Cámac" userId="64d37b33-36e0-4d03-bd68-cdaaf2401fab" providerId="ADAL" clId="{099DD04E-249F-4EFD-B4FB-E0F36206868D}" dt="2024-09-09T02:52:49.583" v="3565" actId="404"/>
          <ac:spMkLst>
            <pc:docMk/>
            <pc:sldMk cId="4001874447" sldId="2147471916"/>
            <ac:spMk id="12" creationId="{556B0AB0-4482-C895-381E-255F2D3B9D0E}"/>
          </ac:spMkLst>
        </pc:spChg>
        <pc:picChg chg="mod">
          <ac:chgData name="Daniel Cámac" userId="64d37b33-36e0-4d03-bd68-cdaaf2401fab" providerId="ADAL" clId="{099DD04E-249F-4EFD-B4FB-E0F36206868D}" dt="2024-09-09T02:52:45.028" v="3564" actId="1076"/>
          <ac:picMkLst>
            <pc:docMk/>
            <pc:sldMk cId="4001874447" sldId="2147471916"/>
            <ac:picMk id="14" creationId="{356F9E76-0118-B5B3-28B2-BBE62A3B1D6F}"/>
          </ac:picMkLst>
        </pc:picChg>
      </pc:sldChg>
      <pc:sldChg chg="addSp modSp mod ord">
        <pc:chgData name="Daniel Cámac" userId="64d37b33-36e0-4d03-bd68-cdaaf2401fab" providerId="ADAL" clId="{099DD04E-249F-4EFD-B4FB-E0F36206868D}" dt="2024-09-07T13:30:03.474" v="1390" actId="20577"/>
        <pc:sldMkLst>
          <pc:docMk/>
          <pc:sldMk cId="2972724408" sldId="2147471919"/>
        </pc:sldMkLst>
        <pc:spChg chg="mod">
          <ac:chgData name="Daniel Cámac" userId="64d37b33-36e0-4d03-bd68-cdaaf2401fab" providerId="ADAL" clId="{099DD04E-249F-4EFD-B4FB-E0F36206868D}" dt="2024-09-07T13:18:05.666" v="1063" actId="1076"/>
          <ac:spMkLst>
            <pc:docMk/>
            <pc:sldMk cId="2972724408" sldId="2147471919"/>
            <ac:spMk id="3" creationId="{9AAB384E-BC17-8A42-1456-1C1BEF4512C5}"/>
          </ac:spMkLst>
        </pc:spChg>
        <pc:spChg chg="mod">
          <ac:chgData name="Daniel Cámac" userId="64d37b33-36e0-4d03-bd68-cdaaf2401fab" providerId="ADAL" clId="{099DD04E-249F-4EFD-B4FB-E0F36206868D}" dt="2024-09-07T13:15:53.523" v="1046" actId="404"/>
          <ac:spMkLst>
            <pc:docMk/>
            <pc:sldMk cId="2972724408" sldId="2147471919"/>
            <ac:spMk id="4" creationId="{35CEDD8C-A1DA-DC16-5C9B-5E11420C37D3}"/>
          </ac:spMkLst>
        </pc:spChg>
        <pc:spChg chg="mod">
          <ac:chgData name="Daniel Cámac" userId="64d37b33-36e0-4d03-bd68-cdaaf2401fab" providerId="ADAL" clId="{099DD04E-249F-4EFD-B4FB-E0F36206868D}" dt="2024-09-07T13:15:35.578" v="1041" actId="14100"/>
          <ac:spMkLst>
            <pc:docMk/>
            <pc:sldMk cId="2972724408" sldId="2147471919"/>
            <ac:spMk id="6" creationId="{AD4E383B-3468-C0DE-B80A-C48742C8ED58}"/>
          </ac:spMkLst>
        </pc:spChg>
        <pc:spChg chg="mod">
          <ac:chgData name="Daniel Cámac" userId="64d37b33-36e0-4d03-bd68-cdaaf2401fab" providerId="ADAL" clId="{099DD04E-249F-4EFD-B4FB-E0F36206868D}" dt="2024-09-07T13:11:23.254" v="986" actId="1076"/>
          <ac:spMkLst>
            <pc:docMk/>
            <pc:sldMk cId="2972724408" sldId="2147471919"/>
            <ac:spMk id="8" creationId="{C1A7CD1F-86E2-A325-7998-7DBC5644FD22}"/>
          </ac:spMkLst>
        </pc:spChg>
        <pc:spChg chg="mod">
          <ac:chgData name="Daniel Cámac" userId="64d37b33-36e0-4d03-bd68-cdaaf2401fab" providerId="ADAL" clId="{099DD04E-249F-4EFD-B4FB-E0F36206868D}" dt="2024-09-07T13:23:46.925" v="1113" actId="1076"/>
          <ac:spMkLst>
            <pc:docMk/>
            <pc:sldMk cId="2972724408" sldId="2147471919"/>
            <ac:spMk id="9" creationId="{9D78FFF1-E5F4-92A9-854A-81FBD1299AEC}"/>
          </ac:spMkLst>
        </pc:spChg>
        <pc:spChg chg="mod">
          <ac:chgData name="Daniel Cámac" userId="64d37b33-36e0-4d03-bd68-cdaaf2401fab" providerId="ADAL" clId="{099DD04E-249F-4EFD-B4FB-E0F36206868D}" dt="2024-09-07T13:23:46.925" v="1113" actId="1076"/>
          <ac:spMkLst>
            <pc:docMk/>
            <pc:sldMk cId="2972724408" sldId="2147471919"/>
            <ac:spMk id="10" creationId="{2D114AF6-FCE1-8C3E-B555-79D7BD552E77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16" creationId="{EFD24971-B2EE-508D-0590-6CF601A73EC6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17" creationId="{58DF9692-C37B-B4A9-907E-3EB4F6D15789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18" creationId="{AE5C77F4-ACEE-BA06-45E3-51460F79D9A4}"/>
          </ac:spMkLst>
        </pc:spChg>
        <pc:spChg chg="mod">
          <ac:chgData name="Daniel Cámac" userId="64d37b33-36e0-4d03-bd68-cdaaf2401fab" providerId="ADAL" clId="{099DD04E-249F-4EFD-B4FB-E0F36206868D}" dt="2024-09-07T13:22:55.364" v="1107" actId="113"/>
          <ac:spMkLst>
            <pc:docMk/>
            <pc:sldMk cId="2972724408" sldId="2147471919"/>
            <ac:spMk id="20" creationId="{B59C1D35-B71B-F226-D6CA-F9431E0F2FA8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1" creationId="{300AB2D4-796B-263C-17D8-C18561202D44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2" creationId="{56129F2C-1E81-78FE-3017-FFA810E73DDB}"/>
          </ac:spMkLst>
        </pc:spChg>
        <pc:spChg chg="mod">
          <ac:chgData name="Daniel Cámac" userId="64d37b33-36e0-4d03-bd68-cdaaf2401fab" providerId="ADAL" clId="{099DD04E-249F-4EFD-B4FB-E0F36206868D}" dt="2024-09-07T13:30:03.474" v="1390" actId="20577"/>
          <ac:spMkLst>
            <pc:docMk/>
            <pc:sldMk cId="2972724408" sldId="2147471919"/>
            <ac:spMk id="23" creationId="{78D3C928-2153-E7AD-B3E1-AEA8E3A68D66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4" creationId="{98909BF1-9096-64D1-4EA0-FDAAC074BD36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5" creationId="{F79BAC2F-C2A2-0D0C-4EC5-4541FC59482F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6" creationId="{E2370F37-59BF-F581-82AE-8D637FF234BC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7" creationId="{351A4BE7-30DD-0DC1-942F-F9C5EAB456F4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8" creationId="{7BE3CCE3-B740-C968-91F7-B4C53B8389B9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29" creationId="{F27EA51A-88AD-70FB-493F-F4D08AA7B73D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30" creationId="{FA15972D-6077-B6F4-08DD-CA1BA4C81F3E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31" creationId="{1061F4B3-0F9A-3594-C515-20369DBB0325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32" creationId="{150DA6B4-23AA-856F-BA87-DC094035B7D4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33" creationId="{789BE082-DD36-84DF-86D9-73901BDC8423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34" creationId="{8FA8C23F-0FA5-EA06-A587-E7582BA4D50D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35" creationId="{1AEEC935-EA7C-CCD7-65FF-DA5742CAA170}"/>
          </ac:spMkLst>
        </pc:spChg>
        <pc:spChg chg="mod">
          <ac:chgData name="Daniel Cámac" userId="64d37b33-36e0-4d03-bd68-cdaaf2401fab" providerId="ADAL" clId="{099DD04E-249F-4EFD-B4FB-E0F36206868D}" dt="2024-09-07T13:22:18.178" v="1103" actId="790"/>
          <ac:spMkLst>
            <pc:docMk/>
            <pc:sldMk cId="2972724408" sldId="2147471919"/>
            <ac:spMk id="36" creationId="{B12CCFD4-D9BA-57B0-6B20-29DA167FFB66}"/>
          </ac:spMkLst>
        </pc:spChg>
        <pc:spChg chg="add mod">
          <ac:chgData name="Daniel Cámac" userId="64d37b33-36e0-4d03-bd68-cdaaf2401fab" providerId="ADAL" clId="{099DD04E-249F-4EFD-B4FB-E0F36206868D}" dt="2024-09-07T13:23:39.863" v="1112" actId="1076"/>
          <ac:spMkLst>
            <pc:docMk/>
            <pc:sldMk cId="2972724408" sldId="2147471919"/>
            <ac:spMk id="37" creationId="{C40EC028-7983-386C-AAC1-633122472ABA}"/>
          </ac:spMkLst>
        </pc:spChg>
        <pc:spChg chg="add mod">
          <ac:chgData name="Daniel Cámac" userId="64d37b33-36e0-4d03-bd68-cdaaf2401fab" providerId="ADAL" clId="{099DD04E-249F-4EFD-B4FB-E0F36206868D}" dt="2024-09-07T13:23:46.925" v="1113" actId="1076"/>
          <ac:spMkLst>
            <pc:docMk/>
            <pc:sldMk cId="2972724408" sldId="2147471919"/>
            <ac:spMk id="38" creationId="{4244033E-AA41-2263-2126-76FBE3A27F18}"/>
          </ac:spMkLst>
        </pc:spChg>
        <pc:spChg chg="add mod">
          <ac:chgData name="Daniel Cámac" userId="64d37b33-36e0-4d03-bd68-cdaaf2401fab" providerId="ADAL" clId="{099DD04E-249F-4EFD-B4FB-E0F36206868D}" dt="2024-09-07T13:29:32.161" v="1373" actId="6549"/>
          <ac:spMkLst>
            <pc:docMk/>
            <pc:sldMk cId="2972724408" sldId="2147471919"/>
            <ac:spMk id="40" creationId="{822A09C2-E79C-6260-F5B5-86A32898341E}"/>
          </ac:spMkLst>
        </pc:spChg>
        <pc:spChg chg="mod">
          <ac:chgData name="Daniel Cámac" userId="64d37b33-36e0-4d03-bd68-cdaaf2401fab" providerId="ADAL" clId="{099DD04E-249F-4EFD-B4FB-E0F36206868D}" dt="2024-09-07T13:23:51.990" v="1115" actId="14100"/>
          <ac:spMkLst>
            <pc:docMk/>
            <pc:sldMk cId="2972724408" sldId="2147471919"/>
            <ac:spMk id="56" creationId="{FF503E30-948A-2326-4A64-E49CEB21A08C}"/>
          </ac:spMkLst>
        </pc:spChg>
        <pc:grpChg chg="add mod">
          <ac:chgData name="Daniel Cámac" userId="64d37b33-36e0-4d03-bd68-cdaaf2401fab" providerId="ADAL" clId="{099DD04E-249F-4EFD-B4FB-E0F36206868D}" dt="2024-09-07T13:23:46.925" v="1113" actId="1076"/>
          <ac:grpSpMkLst>
            <pc:docMk/>
            <pc:sldMk cId="2972724408" sldId="2147471919"/>
            <ac:grpSpMk id="14" creationId="{E82319EF-29E5-E438-3C3C-220345DC0570}"/>
          </ac:grpSpMkLst>
        </pc:grpChg>
        <pc:grpChg chg="mod">
          <ac:chgData name="Daniel Cámac" userId="64d37b33-36e0-4d03-bd68-cdaaf2401fab" providerId="ADAL" clId="{099DD04E-249F-4EFD-B4FB-E0F36206868D}" dt="2024-09-07T13:19:08.881" v="1068"/>
          <ac:grpSpMkLst>
            <pc:docMk/>
            <pc:sldMk cId="2972724408" sldId="2147471919"/>
            <ac:grpSpMk id="15" creationId="{678BD973-C8B4-012D-26C2-7736945E3AED}"/>
          </ac:grpSpMkLst>
        </pc:grpChg>
        <pc:grpChg chg="mod">
          <ac:chgData name="Daniel Cámac" userId="64d37b33-36e0-4d03-bd68-cdaaf2401fab" providerId="ADAL" clId="{099DD04E-249F-4EFD-B4FB-E0F36206868D}" dt="2024-09-07T13:19:08.881" v="1068"/>
          <ac:grpSpMkLst>
            <pc:docMk/>
            <pc:sldMk cId="2972724408" sldId="2147471919"/>
            <ac:grpSpMk id="19" creationId="{4C0E2CBA-ACAA-8913-CCE7-4A3855B8630C}"/>
          </ac:grpSpMkLst>
        </pc:grpChg>
        <pc:picChg chg="mod">
          <ac:chgData name="Daniel Cámac" userId="64d37b33-36e0-4d03-bd68-cdaaf2401fab" providerId="ADAL" clId="{099DD04E-249F-4EFD-B4FB-E0F36206868D}" dt="2024-09-07T13:17:32.527" v="1059" actId="14100"/>
          <ac:picMkLst>
            <pc:docMk/>
            <pc:sldMk cId="2972724408" sldId="2147471919"/>
            <ac:picMk id="2" creationId="{E8AD43C5-2ED1-1D96-D493-432399257175}"/>
          </ac:picMkLst>
        </pc:picChg>
        <pc:picChg chg="mod">
          <ac:chgData name="Daniel Cámac" userId="64d37b33-36e0-4d03-bd68-cdaaf2401fab" providerId="ADAL" clId="{099DD04E-249F-4EFD-B4FB-E0F36206868D}" dt="2024-09-07T13:15:39.161" v="1042" actId="1076"/>
          <ac:picMkLst>
            <pc:docMk/>
            <pc:sldMk cId="2972724408" sldId="2147471919"/>
            <ac:picMk id="7" creationId="{F915E078-A82B-8561-443E-2BB91E3B9C16}"/>
          </ac:picMkLst>
        </pc:picChg>
        <pc:picChg chg="mod">
          <ac:chgData name="Daniel Cámac" userId="64d37b33-36e0-4d03-bd68-cdaaf2401fab" providerId="ADAL" clId="{099DD04E-249F-4EFD-B4FB-E0F36206868D}" dt="2024-09-07T13:17:51.177" v="1062" actId="14100"/>
          <ac:picMkLst>
            <pc:docMk/>
            <pc:sldMk cId="2972724408" sldId="2147471919"/>
            <ac:picMk id="11" creationId="{72DF5DA8-61EC-F0C7-0ECE-57B33BAEBAD7}"/>
          </ac:picMkLst>
        </pc:picChg>
        <pc:picChg chg="add">
          <ac:chgData name="Daniel Cámac" userId="64d37b33-36e0-4d03-bd68-cdaaf2401fab" providerId="ADAL" clId="{099DD04E-249F-4EFD-B4FB-E0F36206868D}" dt="2024-09-07T13:19:02.427" v="1067"/>
          <ac:picMkLst>
            <pc:docMk/>
            <pc:sldMk cId="2972724408" sldId="2147471919"/>
            <ac:picMk id="12" creationId="{1919DD61-E89F-266A-4335-E3537027A56A}"/>
          </ac:picMkLst>
        </pc:pic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149534880" sldId="2147471929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2587843460" sldId="2147471931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4282958941" sldId="2147471933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125271189" sldId="2147471934"/>
        </pc:sldMkLst>
      </pc:sldChg>
      <pc:sldChg chg="modSp mod ord">
        <pc:chgData name="Daniel Cámac" userId="64d37b33-36e0-4d03-bd68-cdaaf2401fab" providerId="ADAL" clId="{099DD04E-249F-4EFD-B4FB-E0F36206868D}" dt="2024-09-07T13:05:23.803" v="926" actId="20577"/>
        <pc:sldMkLst>
          <pc:docMk/>
          <pc:sldMk cId="96114750" sldId="2147471935"/>
        </pc:sldMkLst>
        <pc:spChg chg="mod">
          <ac:chgData name="Daniel Cámac" userId="64d37b33-36e0-4d03-bd68-cdaaf2401fab" providerId="ADAL" clId="{099DD04E-249F-4EFD-B4FB-E0F36206868D}" dt="2024-09-07T13:05:23.803" v="926" actId="20577"/>
          <ac:spMkLst>
            <pc:docMk/>
            <pc:sldMk cId="96114750" sldId="2147471935"/>
            <ac:spMk id="10" creationId="{CBD4E985-D1FE-5A6D-A085-464073E0367D}"/>
          </ac:spMkLst>
        </pc:spChg>
        <pc:spChg chg="mod">
          <ac:chgData name="Daniel Cámac" userId="64d37b33-36e0-4d03-bd68-cdaaf2401fab" providerId="ADAL" clId="{099DD04E-249F-4EFD-B4FB-E0F36206868D}" dt="2024-09-07T12:59:33.270" v="624" actId="14100"/>
          <ac:spMkLst>
            <pc:docMk/>
            <pc:sldMk cId="96114750" sldId="2147471935"/>
            <ac:spMk id="56" creationId="{5B5CF04E-A47F-A619-64AC-4B315C8EAF4D}"/>
          </ac:spMkLst>
        </pc:spChg>
        <pc:spChg chg="mod">
          <ac:chgData name="Daniel Cámac" userId="64d37b33-36e0-4d03-bd68-cdaaf2401fab" providerId="ADAL" clId="{099DD04E-249F-4EFD-B4FB-E0F36206868D}" dt="2024-09-07T13:00:04.426" v="644" actId="6549"/>
          <ac:spMkLst>
            <pc:docMk/>
            <pc:sldMk cId="96114750" sldId="2147471935"/>
            <ac:spMk id="79" creationId="{3F2B0A8E-3D64-1B25-8DD1-F5AF2981FF89}"/>
          </ac:spMkLst>
        </pc:spChg>
        <pc:spChg chg="mod">
          <ac:chgData name="Daniel Cámac" userId="64d37b33-36e0-4d03-bd68-cdaaf2401fab" providerId="ADAL" clId="{099DD04E-249F-4EFD-B4FB-E0F36206868D}" dt="2024-09-07T13:00:35.899" v="645" actId="113"/>
          <ac:spMkLst>
            <pc:docMk/>
            <pc:sldMk cId="96114750" sldId="2147471935"/>
            <ac:spMk id="87" creationId="{B86A8806-AB55-9811-5302-48C62A40437A}"/>
          </ac:spMkLst>
        </pc:sp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3897842734" sldId="2147471936"/>
        </pc:sldMkLst>
      </pc:sldChg>
      <pc:sldChg chg="modSp mod">
        <pc:chgData name="Daniel Cámac" userId="64d37b33-36e0-4d03-bd68-cdaaf2401fab" providerId="ADAL" clId="{099DD04E-249F-4EFD-B4FB-E0F36206868D}" dt="2024-09-09T02:31:57.622" v="3085" actId="20577"/>
        <pc:sldMkLst>
          <pc:docMk/>
          <pc:sldMk cId="1088926820" sldId="2147471937"/>
        </pc:sldMkLst>
        <pc:spChg chg="mod">
          <ac:chgData name="Daniel Cámac" userId="64d37b33-36e0-4d03-bd68-cdaaf2401fab" providerId="ADAL" clId="{099DD04E-249F-4EFD-B4FB-E0F36206868D}" dt="2024-09-09T02:31:57.622" v="3085" actId="20577"/>
          <ac:spMkLst>
            <pc:docMk/>
            <pc:sldMk cId="1088926820" sldId="2147471937"/>
            <ac:spMk id="9" creationId="{27BB6302-42DA-4060-8C87-A737CC4DF5B2}"/>
          </ac:spMkLst>
        </pc:spChg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2858601254" sldId="2147471938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2937266797" sldId="2147471955"/>
        </pc:sldMkLst>
      </pc:sldChg>
      <pc:sldChg chg="del">
        <pc:chgData name="Daniel Cámac" userId="64d37b33-36e0-4d03-bd68-cdaaf2401fab" providerId="ADAL" clId="{099DD04E-249F-4EFD-B4FB-E0F36206868D}" dt="2024-09-09T02:50:09.478" v="3539" actId="47"/>
        <pc:sldMkLst>
          <pc:docMk/>
          <pc:sldMk cId="3332222929" sldId="2147471961"/>
        </pc:sldMkLst>
      </pc:sldChg>
      <pc:sldChg chg="add del">
        <pc:chgData name="Daniel Cámac" userId="64d37b33-36e0-4d03-bd68-cdaaf2401fab" providerId="ADAL" clId="{099DD04E-249F-4EFD-B4FB-E0F36206868D}" dt="2024-09-09T02:50:09.478" v="3539" actId="47"/>
        <pc:sldMkLst>
          <pc:docMk/>
          <pc:sldMk cId="1411644875" sldId="2147471962"/>
        </pc:sldMkLst>
      </pc:sldChg>
      <pc:sldChg chg="del">
        <pc:chgData name="Daniel Cámac" userId="64d37b33-36e0-4d03-bd68-cdaaf2401fab" providerId="ADAL" clId="{099DD04E-249F-4EFD-B4FB-E0F36206868D}" dt="2024-09-07T13:28:05.349" v="1223" actId="2696"/>
        <pc:sldMkLst>
          <pc:docMk/>
          <pc:sldMk cId="3656332900" sldId="2147471962"/>
        </pc:sldMkLst>
      </pc:sldChg>
      <pc:sldChg chg="del ord">
        <pc:chgData name="Daniel Cámac" userId="64d37b33-36e0-4d03-bd68-cdaaf2401fab" providerId="ADAL" clId="{099DD04E-249F-4EFD-B4FB-E0F36206868D}" dt="2024-09-09T02:50:09.478" v="3539" actId="47"/>
        <pc:sldMkLst>
          <pc:docMk/>
          <pc:sldMk cId="2099752919" sldId="2147471963"/>
        </pc:sldMkLst>
      </pc:sldChg>
      <pc:sldMasterChg chg="delSldLayout">
        <pc:chgData name="Daniel Cámac" userId="64d37b33-36e0-4d03-bd68-cdaaf2401fab" providerId="ADAL" clId="{099DD04E-249F-4EFD-B4FB-E0F36206868D}" dt="2024-09-09T02:50:09.478" v="3539" actId="47"/>
        <pc:sldMasterMkLst>
          <pc:docMk/>
          <pc:sldMasterMk cId="849420752" sldId="2147483770"/>
        </pc:sldMasterMkLst>
        <pc:sldLayoutChg chg="del">
          <pc:chgData name="Daniel Cámac" userId="64d37b33-36e0-4d03-bd68-cdaaf2401fab" providerId="ADAL" clId="{099DD04E-249F-4EFD-B4FB-E0F36206868D}" dt="2024-09-09T02:50:09.478" v="3539" actId="47"/>
          <pc:sldLayoutMkLst>
            <pc:docMk/>
            <pc:sldMasterMk cId="849420752" sldId="2147483770"/>
            <pc:sldLayoutMk cId="4222791720" sldId="2147483815"/>
          </pc:sldLayoutMkLst>
        </pc:sldLayoutChg>
        <pc:sldLayoutChg chg="del">
          <pc:chgData name="Daniel Cámac" userId="64d37b33-36e0-4d03-bd68-cdaaf2401fab" providerId="ADAL" clId="{099DD04E-249F-4EFD-B4FB-E0F36206868D}" dt="2024-09-07T14:12:58.676" v="1606" actId="47"/>
          <pc:sldLayoutMkLst>
            <pc:docMk/>
            <pc:sldMasterMk cId="849420752" sldId="2147483770"/>
            <pc:sldLayoutMk cId="2110713110" sldId="2147483819"/>
          </pc:sldLayoutMkLst>
        </pc:sldLayoutChg>
        <pc:sldLayoutChg chg="del">
          <pc:chgData name="Daniel Cámac" userId="64d37b33-36e0-4d03-bd68-cdaaf2401fab" providerId="ADAL" clId="{099DD04E-249F-4EFD-B4FB-E0F36206868D}" dt="2024-09-07T14:13:05.203" v="1607" actId="47"/>
          <pc:sldLayoutMkLst>
            <pc:docMk/>
            <pc:sldMasterMk cId="849420752" sldId="2147483770"/>
            <pc:sldLayoutMk cId="2454373871" sldId="214748382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5EB2F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808-4313-8ED2-A2E3C6695943}"/>
              </c:ext>
            </c:extLst>
          </c:dPt>
          <c:dPt>
            <c:idx val="1"/>
            <c:bubble3D val="0"/>
            <c:spPr>
              <a:solidFill>
                <a:srgbClr val="A374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808-4313-8ED2-A2E3C6695943}"/>
              </c:ext>
            </c:extLst>
          </c:dPt>
          <c:dPt>
            <c:idx val="2"/>
            <c:bubble3D val="0"/>
            <c:spPr>
              <a:solidFill>
                <a:srgbClr val="4DDE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808-4313-8ED2-A2E3C6695943}"/>
              </c:ext>
            </c:extLst>
          </c:dPt>
          <c:dPt>
            <c:idx val="3"/>
            <c:bubble3D val="0"/>
            <c:spPr>
              <a:solidFill>
                <a:srgbClr val="2D92A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808-4313-8ED2-A2E3C6695943}"/>
              </c:ext>
            </c:extLst>
          </c:dPt>
          <c:dPt>
            <c:idx val="4"/>
            <c:bubble3D val="0"/>
            <c:spPr>
              <a:solidFill>
                <a:srgbClr val="707070"/>
              </a:solidFill>
              <a:ln>
                <a:solidFill>
                  <a:srgbClr val="70707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808-4313-8ED2-A2E3C6695943}"/>
              </c:ext>
            </c:extLst>
          </c:dPt>
          <c:dPt>
            <c:idx val="5"/>
            <c:bubble3D val="0"/>
            <c:spPr>
              <a:solidFill>
                <a:srgbClr val="707070"/>
              </a:solidFill>
              <a:ln>
                <a:solidFill>
                  <a:srgbClr val="70707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808-4313-8ED2-A2E3C6695943}"/>
              </c:ext>
            </c:extLst>
          </c:dPt>
          <c:cat>
            <c:strRef>
              <c:f>Sheet1!$E$6:$E$11</c:f>
              <c:strCache>
                <c:ptCount val="6"/>
                <c:pt idx="0">
                  <c:v>Eficiencia energética</c:v>
                </c:pt>
                <c:pt idx="1">
                  <c:v>Energías renovables</c:v>
                </c:pt>
                <c:pt idx="2">
                  <c:v>Electrificación</c:v>
                </c:pt>
                <c:pt idx="3">
                  <c:v>Bioenergías con captura y almacenamiento de CO2</c:v>
                </c:pt>
                <c:pt idx="4">
                  <c:v>Hidrógeno</c:v>
                </c:pt>
                <c:pt idx="5">
                  <c:v>Combustibles fósiles con captura y almacenamiento de CO2</c:v>
                </c:pt>
              </c:strCache>
            </c:strRef>
          </c:cat>
          <c:val>
            <c:numRef>
              <c:f>Sheet1!$F$6:$F$11</c:f>
              <c:numCache>
                <c:formatCode>General</c:formatCode>
                <c:ptCount val="6"/>
                <c:pt idx="0">
                  <c:v>9225000000</c:v>
                </c:pt>
                <c:pt idx="1">
                  <c:v>9225000000</c:v>
                </c:pt>
                <c:pt idx="2">
                  <c:v>7380000000</c:v>
                </c:pt>
                <c:pt idx="3">
                  <c:v>5166000000.000001</c:v>
                </c:pt>
                <c:pt idx="4">
                  <c:v>3690000000</c:v>
                </c:pt>
                <c:pt idx="5">
                  <c:v>2214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808-4313-8ED2-A2E3C66959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800" b="1" kern="1200">
          <a:solidFill>
            <a:srgbClr val="2262A1"/>
          </a:solidFill>
          <a:latin typeface="Arial Nova" panose="020B0504020202020204" pitchFamily="34" charset="0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D227_E8B0309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E31C16C-BE1D-1E43-8597-85E5B3406719}" authorId="{EEC22F12-8DBF-30E6-ECBC-19B976DF69F7}" created="2024-09-06T17:26:17.36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903860888" sldId="2147471911"/>
      <ac:spMk id="11" creationId="{6AAE804D-8797-8BBC-6FD3-E569199947DF}"/>
      <ac:txMk cp="0">
        <ac:context len="1" hash="13"/>
      </ac:txMk>
    </ac:txMkLst>
    <p188:txBody>
      <a:bodyPr/>
      <a:lstStyle/>
      <a:p>
        <a:r>
          <a:rPr lang="es-ES"/>
          <a:t>Fusionar la lámina 20 con la 12. Incorporar gráfica de rutas de producción. 
Sugiero que en el encabezado pongamos el texto de la IEA así hacemos espacio. 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9-06T18:34:33.971" authorId="{18C82035-6B02-7C27-D2C1-3365EC394B4D}"/>
          </p223:rxn>
        </p223:reactions>
      </p:ext>
    </p188:extLst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E51126-A5EA-458D-B8C5-E22B43C1A529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8E299B-1866-4F57-BA38-DE88A74B8F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5129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CAADFB-D1D2-4EB6-A56F-8AC073D63AA2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D1987D-09FF-4EA5-994D-AE54F0780C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460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/>
              <a:t>Poner </a:t>
            </a:r>
            <a:r>
              <a:rPr lang="es-PE" err="1"/>
              <a:t>ppt</a:t>
            </a:r>
            <a:r>
              <a:rPr lang="es-PE"/>
              <a:t> inicial con logos de </a:t>
            </a:r>
            <a:r>
              <a:rPr lang="es-PE" err="1"/>
              <a:t>expomina</a:t>
            </a:r>
            <a:r>
              <a:rPr lang="es-PE"/>
              <a:t> (formato brindado)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1987D-09FF-4EA5-994D-AE54F0780CC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230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s-MX" sz="1200">
                <a:solidFill>
                  <a:srgbClr val="2262A1"/>
                </a:solidFill>
                <a:latin typeface="Arial Nova" panose="020B0504020202020204" pitchFamily="34" charset="0"/>
              </a:rPr>
              <a:t>Costos y Escalabilidad: A pesar de su potencial, la producción de hidrógeno verde enfrenta desafíos relacionados con los costos y la infraestructura necesaria para su distribución y almacenamiento.</a:t>
            </a:r>
          </a:p>
          <a:p>
            <a:pPr algn="just"/>
            <a:r>
              <a:rPr lang="es-MX" sz="1200">
                <a:solidFill>
                  <a:srgbClr val="2262A1"/>
                </a:solidFill>
                <a:latin typeface="Arial Nova" panose="020B0504020202020204" pitchFamily="34" charset="0"/>
              </a:rPr>
              <a:t>Iniciativas Globales: Se están desarrollando proyectos a nivel mundial para mejorar la producción y uso del hidrógeno verde, lo que podría facilitar su implementación en la minería</a:t>
            </a:r>
            <a:endParaRPr lang="es-PE" sz="1200">
              <a:solidFill>
                <a:srgbClr val="2262A1"/>
              </a:solidFill>
              <a:latin typeface="Arial Nova" panose="020B0504020202020204" pitchFamily="34" charset="0"/>
            </a:endParaRPr>
          </a:p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1987D-09FF-4EA5-994D-AE54F0780CC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424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1987D-09FF-4EA5-994D-AE54F0780CC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01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1" name="Google Shape;421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PE"/>
              <a:t>En febrero 2021 se crea H2 Perú, Asociación Peruana de Hidrógeno</a:t>
            </a:r>
            <a:r>
              <a:rPr lang="es-PE" i="0"/>
              <a:t>, </a:t>
            </a:r>
            <a:r>
              <a:rPr lang="es-PE" sz="1600" i="0">
                <a:effectLst/>
                <a:latin typeface="Arial Nova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ociación sin fines de lucro que reúne empresas y organizaciones de diferentes sectores con una visión unificada y una ambición a largo plazo de la descarbonización de la economía a través del uso del hidrógeno verde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PE" sz="1600" i="0">
                <a:effectLst/>
                <a:latin typeface="Arial Nova" panose="020B0504020202020204" pitchFamily="34" charset="0"/>
                <a:cs typeface="Times New Roman" panose="02020603050405020304" pitchFamily="18" charset="0"/>
              </a:rPr>
              <a:t>C</a:t>
            </a:r>
            <a:r>
              <a:rPr lang="es-PE"/>
              <a:t>on el motivo de impulsar esta energía sostenible, que es clave para una economía descarbonizada. Integrando a distintos actores para representar el ecosistema del hidrógeno verde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/>
              <a:t>El hidrógeno verde está llamado a ser un gran aliado para el cumplimiento de los Objetivos de Desarrollo Sostenible (ODS) 7, 8, 9, 11, 12, 13 y 17 y se postula como uno de los pilares en la transición energética</a:t>
            </a:r>
            <a:endParaRPr lang="es-PE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/>
          </a:p>
        </p:txBody>
      </p:sp>
      <p:sp>
        <p:nvSpPr>
          <p:cNvPr id="422" name="Google Shape;422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es-MX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2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/>
              <a:t>Juntar </a:t>
            </a:r>
            <a:r>
              <a:rPr lang="es-PE" err="1"/>
              <a:t>slides</a:t>
            </a:r>
            <a:r>
              <a:rPr lang="es-PE"/>
              <a:t> 4 y 3 (emisiones </a:t>
            </a:r>
            <a:r>
              <a:rPr lang="es-PE" err="1"/>
              <a:t>gei</a:t>
            </a:r>
            <a:r>
              <a:rPr lang="es-PE"/>
              <a:t> en sector minería y Perú). Emisiones del sector minero en Perú EMISIONES EN LA INDUSTRI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1987D-09FF-4EA5-994D-AE54F0780CC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9084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097B5A-B4B9-43AE-A699-DD70B4A71F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60871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 dirty="0"/>
              <a:t>https://www.bdo.co.uk/getmedia/55e96414-ffd9-4a1f-ae45-56168c7315d6/BDO-NR-Mining-Report-2024.pdf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1987D-09FF-4EA5-994D-AE54F0780CC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489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994D19-3E14-4357-97DB-26879A4FBC3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9437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994D19-3E14-4357-97DB-26879A4FBC3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4339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1987D-09FF-4EA5-994D-AE54F0780CC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5957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1987D-09FF-4EA5-994D-AE54F0780CC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057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4195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462290" y="568364"/>
            <a:ext cx="8778454" cy="8847047"/>
          </a:xfrm>
          <a:custGeom>
            <a:avLst/>
            <a:gdLst>
              <a:gd name="connsiteX0" fmla="*/ 2034392 w 8778454"/>
              <a:gd name="connsiteY0" fmla="*/ 8741213 h 8847047"/>
              <a:gd name="connsiteX1" fmla="*/ 2035364 w 8778454"/>
              <a:gd name="connsiteY1" fmla="*/ 8743866 h 8847047"/>
              <a:gd name="connsiteX2" fmla="*/ 2033668 w 8778454"/>
              <a:gd name="connsiteY2" fmla="*/ 8744747 h 8847047"/>
              <a:gd name="connsiteX3" fmla="*/ 2034392 w 8778454"/>
              <a:gd name="connsiteY3" fmla="*/ 8741213 h 8847047"/>
              <a:gd name="connsiteX4" fmla="*/ 4963236 w 8778454"/>
              <a:gd name="connsiteY4" fmla="*/ 6767031 h 8847047"/>
              <a:gd name="connsiteX5" fmla="*/ 4963165 w 8778454"/>
              <a:gd name="connsiteY5" fmla="*/ 6770785 h 8847047"/>
              <a:gd name="connsiteX6" fmla="*/ 4953352 w 8778454"/>
              <a:gd name="connsiteY6" fmla="*/ 6768776 h 8847047"/>
              <a:gd name="connsiteX7" fmla="*/ 5312436 w 8778454"/>
              <a:gd name="connsiteY7" fmla="*/ 4132377 h 8847047"/>
              <a:gd name="connsiteX8" fmla="*/ 5328339 w 8778454"/>
              <a:gd name="connsiteY8" fmla="*/ 4134839 h 8847047"/>
              <a:gd name="connsiteX9" fmla="*/ 5332062 w 8778454"/>
              <a:gd name="connsiteY9" fmla="*/ 4136395 h 8847047"/>
              <a:gd name="connsiteX10" fmla="*/ 5315301 w 8778454"/>
              <a:gd name="connsiteY10" fmla="*/ 4138034 h 8847047"/>
              <a:gd name="connsiteX11" fmla="*/ 5719613 w 8778454"/>
              <a:gd name="connsiteY11" fmla="*/ 3888555 h 8847047"/>
              <a:gd name="connsiteX12" fmla="*/ 5719553 w 8778454"/>
              <a:gd name="connsiteY12" fmla="*/ 3891710 h 8847047"/>
              <a:gd name="connsiteX13" fmla="*/ 5713011 w 8778454"/>
              <a:gd name="connsiteY13" fmla="*/ 3890371 h 8847047"/>
              <a:gd name="connsiteX14" fmla="*/ 7443816 w 8778454"/>
              <a:gd name="connsiteY14" fmla="*/ 2689547 h 8847047"/>
              <a:gd name="connsiteX15" fmla="*/ 7444459 w 8778454"/>
              <a:gd name="connsiteY15" fmla="*/ 2691047 h 8847047"/>
              <a:gd name="connsiteX16" fmla="*/ 7441189 w 8778454"/>
              <a:gd name="connsiteY16" fmla="*/ 2690377 h 8847047"/>
              <a:gd name="connsiteX17" fmla="*/ 4502093 w 8778454"/>
              <a:gd name="connsiteY17" fmla="*/ 2180747 h 8847047"/>
              <a:gd name="connsiteX18" fmla="*/ 4505364 w 8778454"/>
              <a:gd name="connsiteY18" fmla="*/ 2181416 h 8847047"/>
              <a:gd name="connsiteX19" fmla="*/ 4505364 w 8778454"/>
              <a:gd name="connsiteY19" fmla="*/ 2181416 h 8847047"/>
              <a:gd name="connsiteX20" fmla="*/ 4502093 w 8778454"/>
              <a:gd name="connsiteY20" fmla="*/ 2180747 h 8847047"/>
              <a:gd name="connsiteX21" fmla="*/ 2235648 w 8778454"/>
              <a:gd name="connsiteY21" fmla="*/ 2179418 h 8847047"/>
              <a:gd name="connsiteX22" fmla="*/ 2235996 w 8778454"/>
              <a:gd name="connsiteY22" fmla="*/ 2180700 h 8847047"/>
              <a:gd name="connsiteX23" fmla="*/ 2235721 w 8778454"/>
              <a:gd name="connsiteY23" fmla="*/ 2180709 h 8847047"/>
              <a:gd name="connsiteX24" fmla="*/ 2233896 w 8778454"/>
              <a:gd name="connsiteY24" fmla="*/ 2172972 h 8847047"/>
              <a:gd name="connsiteX25" fmla="*/ 2235351 w 8778454"/>
              <a:gd name="connsiteY25" fmla="*/ 2174190 h 8847047"/>
              <a:gd name="connsiteX26" fmla="*/ 2235648 w 8778454"/>
              <a:gd name="connsiteY26" fmla="*/ 2179418 h 8847047"/>
              <a:gd name="connsiteX27" fmla="*/ 2058114 w 8778454"/>
              <a:gd name="connsiteY27" fmla="*/ 1882932 h 8847047"/>
              <a:gd name="connsiteX28" fmla="*/ 2047986 w 8778454"/>
              <a:gd name="connsiteY28" fmla="*/ 1932406 h 8847047"/>
              <a:gd name="connsiteX29" fmla="*/ 2016376 w 8778454"/>
              <a:gd name="connsiteY29" fmla="*/ 1936981 h 8847047"/>
              <a:gd name="connsiteX30" fmla="*/ 2012036 w 8778454"/>
              <a:gd name="connsiteY30" fmla="*/ 1958183 h 8847047"/>
              <a:gd name="connsiteX31" fmla="*/ 2049526 w 8778454"/>
              <a:gd name="connsiteY31" fmla="*/ 2024769 h 8847047"/>
              <a:gd name="connsiteX32" fmla="*/ 2062548 w 8778454"/>
              <a:gd name="connsiteY32" fmla="*/ 1961160 h 8847047"/>
              <a:gd name="connsiteX33" fmla="*/ 2105794 w 8778454"/>
              <a:gd name="connsiteY33" fmla="*/ 1966332 h 8847047"/>
              <a:gd name="connsiteX34" fmla="*/ 2145330 w 8778454"/>
              <a:gd name="connsiteY34" fmla="*/ 1889741 h 8847047"/>
              <a:gd name="connsiteX35" fmla="*/ 2117369 w 8778454"/>
              <a:gd name="connsiteY35" fmla="*/ 1909790 h 8847047"/>
              <a:gd name="connsiteX36" fmla="*/ 2058114 w 8778454"/>
              <a:gd name="connsiteY36" fmla="*/ 1882932 h 8847047"/>
              <a:gd name="connsiteX37" fmla="*/ 5702319 w 8778454"/>
              <a:gd name="connsiteY37" fmla="*/ 940981 h 8847047"/>
              <a:gd name="connsiteX38" fmla="*/ 5698538 w 8778454"/>
              <a:gd name="connsiteY38" fmla="*/ 943180 h 8847047"/>
              <a:gd name="connsiteX39" fmla="*/ 5692441 w 8778454"/>
              <a:gd name="connsiteY39" fmla="*/ 944289 h 8847047"/>
              <a:gd name="connsiteX40" fmla="*/ 5306376 w 8778454"/>
              <a:gd name="connsiteY40" fmla="*/ 0 h 8847047"/>
              <a:gd name="connsiteX41" fmla="*/ 5348899 w 8778454"/>
              <a:gd name="connsiteY41" fmla="*/ 8705 h 8847047"/>
              <a:gd name="connsiteX42" fmla="*/ 5296310 w 8778454"/>
              <a:gd name="connsiteY42" fmla="*/ 115761 h 8847047"/>
              <a:gd name="connsiteX43" fmla="*/ 5323579 w 8778454"/>
              <a:gd name="connsiteY43" fmla="*/ 132389 h 8847047"/>
              <a:gd name="connsiteX44" fmla="*/ 5311280 w 8778454"/>
              <a:gd name="connsiteY44" fmla="*/ 192465 h 8847047"/>
              <a:gd name="connsiteX45" fmla="*/ 5264355 w 8778454"/>
              <a:gd name="connsiteY45" fmla="*/ 138675 h 8847047"/>
              <a:gd name="connsiteX46" fmla="*/ 5187768 w 8778454"/>
              <a:gd name="connsiteY46" fmla="*/ 229773 h 8847047"/>
              <a:gd name="connsiteX47" fmla="*/ 5176948 w 8778454"/>
              <a:gd name="connsiteY47" fmla="*/ 315924 h 8847047"/>
              <a:gd name="connsiteX48" fmla="*/ 5274732 w 8778454"/>
              <a:gd name="connsiteY48" fmla="*/ 354352 h 8847047"/>
              <a:gd name="connsiteX49" fmla="*/ 5344115 w 8778454"/>
              <a:gd name="connsiteY49" fmla="*/ 331736 h 8847047"/>
              <a:gd name="connsiteX50" fmla="*/ 5351065 w 8778454"/>
              <a:gd name="connsiteY50" fmla="*/ 381024 h 8847047"/>
              <a:gd name="connsiteX51" fmla="*/ 5455267 w 8778454"/>
              <a:gd name="connsiteY51" fmla="*/ 288216 h 8847047"/>
              <a:gd name="connsiteX52" fmla="*/ 5514869 w 8778454"/>
              <a:gd name="connsiteY52" fmla="*/ 296735 h 8847047"/>
              <a:gd name="connsiteX53" fmla="*/ 5547517 w 8778454"/>
              <a:gd name="connsiteY53" fmla="*/ 237144 h 8847047"/>
              <a:gd name="connsiteX54" fmla="*/ 5627814 w 8778454"/>
              <a:gd name="connsiteY54" fmla="*/ 227809 h 8847047"/>
              <a:gd name="connsiteX55" fmla="*/ 5580635 w 8778454"/>
              <a:gd name="connsiteY55" fmla="*/ 291789 h 8847047"/>
              <a:gd name="connsiteX56" fmla="*/ 5612622 w 8778454"/>
              <a:gd name="connsiteY56" fmla="*/ 302019 h 8847047"/>
              <a:gd name="connsiteX57" fmla="*/ 5716508 w 8778454"/>
              <a:gd name="connsiteY57" fmla="*/ 260693 h 8847047"/>
              <a:gd name="connsiteX58" fmla="*/ 5755352 w 8778454"/>
              <a:gd name="connsiteY58" fmla="*/ 220780 h 8847047"/>
              <a:gd name="connsiteX59" fmla="*/ 5700215 w 8778454"/>
              <a:gd name="connsiteY59" fmla="*/ 323633 h 8847047"/>
              <a:gd name="connsiteX60" fmla="*/ 5698831 w 8778454"/>
              <a:gd name="connsiteY60" fmla="*/ 396988 h 8847047"/>
              <a:gd name="connsiteX61" fmla="*/ 5677003 w 8778454"/>
              <a:gd name="connsiteY61" fmla="*/ 370428 h 8847047"/>
              <a:gd name="connsiteX62" fmla="*/ 5607620 w 8778454"/>
              <a:gd name="connsiteY62" fmla="*/ 393044 h 8847047"/>
              <a:gd name="connsiteX63" fmla="*/ 5581483 w 8778454"/>
              <a:gd name="connsiteY63" fmla="*/ 420831 h 8847047"/>
              <a:gd name="connsiteX64" fmla="*/ 5698831 w 8778454"/>
              <a:gd name="connsiteY64" fmla="*/ 396988 h 8847047"/>
              <a:gd name="connsiteX65" fmla="*/ 5711191 w 8778454"/>
              <a:gd name="connsiteY65" fmla="*/ 403201 h 8847047"/>
              <a:gd name="connsiteX66" fmla="*/ 5675996 w 8778454"/>
              <a:gd name="connsiteY66" fmla="*/ 458589 h 8847047"/>
              <a:gd name="connsiteX67" fmla="*/ 5736698 w 8778454"/>
              <a:gd name="connsiteY67" fmla="*/ 478379 h 8847047"/>
              <a:gd name="connsiteX68" fmla="*/ 5774912 w 8778454"/>
              <a:gd name="connsiteY68" fmla="*/ 541431 h 8847047"/>
              <a:gd name="connsiteX69" fmla="*/ 5747359 w 8778454"/>
              <a:gd name="connsiteY69" fmla="*/ 609430 h 8847047"/>
              <a:gd name="connsiteX70" fmla="*/ 5857095 w 8778454"/>
              <a:gd name="connsiteY70" fmla="*/ 606121 h 8847047"/>
              <a:gd name="connsiteX71" fmla="*/ 5787397 w 8778454"/>
              <a:gd name="connsiteY71" fmla="*/ 680219 h 8847047"/>
              <a:gd name="connsiteX72" fmla="*/ 5831398 w 8778454"/>
              <a:gd name="connsiteY72" fmla="*/ 715000 h 8847047"/>
              <a:gd name="connsiteX73" fmla="*/ 5821270 w 8778454"/>
              <a:gd name="connsiteY73" fmla="*/ 764474 h 8847047"/>
              <a:gd name="connsiteX74" fmla="*/ 5846715 w 8778454"/>
              <a:gd name="connsiteY74" fmla="*/ 773365 h 8847047"/>
              <a:gd name="connsiteX75" fmla="*/ 5879047 w 8778454"/>
              <a:gd name="connsiteY75" fmla="*/ 765256 h 8847047"/>
              <a:gd name="connsiteX76" fmla="*/ 5938680 w 8778454"/>
              <a:gd name="connsiteY76" fmla="*/ 806919 h 8847047"/>
              <a:gd name="connsiteX77" fmla="*/ 5957929 w 8778454"/>
              <a:gd name="connsiteY77" fmla="*/ 796132 h 8847047"/>
              <a:gd name="connsiteX78" fmla="*/ 5970667 w 8778454"/>
              <a:gd name="connsiteY78" fmla="*/ 817150 h 8847047"/>
              <a:gd name="connsiteX79" fmla="*/ 5987368 w 8778454"/>
              <a:gd name="connsiteY79" fmla="*/ 802159 h 8847047"/>
              <a:gd name="connsiteX80" fmla="*/ 6002684 w 8778454"/>
              <a:gd name="connsiteY80" fmla="*/ 860524 h 8847047"/>
              <a:gd name="connsiteX81" fmla="*/ 5947424 w 8778454"/>
              <a:gd name="connsiteY81" fmla="*/ 830801 h 8847047"/>
              <a:gd name="connsiteX82" fmla="*/ 5918016 w 8778454"/>
              <a:gd name="connsiteY82" fmla="*/ 857918 h 8847047"/>
              <a:gd name="connsiteX83" fmla="*/ 5836240 w 8778454"/>
              <a:gd name="connsiteY83" fmla="*/ 841178 h 8847047"/>
              <a:gd name="connsiteX84" fmla="*/ 5860931 w 8778454"/>
              <a:gd name="connsiteY84" fmla="*/ 820458 h 8847047"/>
              <a:gd name="connsiteX85" fmla="*/ 5839480 w 8778454"/>
              <a:gd name="connsiteY85" fmla="*/ 808703 h 8847047"/>
              <a:gd name="connsiteX86" fmla="*/ 5793025 w 8778454"/>
              <a:gd name="connsiteY86" fmla="*/ 869150 h 8847047"/>
              <a:gd name="connsiteX87" fmla="*/ 5771637 w 8778454"/>
              <a:gd name="connsiteY87" fmla="*/ 923683 h 8847047"/>
              <a:gd name="connsiteX88" fmla="*/ 5735310 w 8778454"/>
              <a:gd name="connsiteY88" fmla="*/ 934656 h 8847047"/>
              <a:gd name="connsiteX89" fmla="*/ 5712165 w 8778454"/>
              <a:gd name="connsiteY89" fmla="*/ 937684 h 8847047"/>
              <a:gd name="connsiteX90" fmla="*/ 5702319 w 8778454"/>
              <a:gd name="connsiteY90" fmla="*/ 940981 h 8847047"/>
              <a:gd name="connsiteX91" fmla="*/ 5718954 w 8778454"/>
              <a:gd name="connsiteY91" fmla="*/ 931307 h 8847047"/>
              <a:gd name="connsiteX92" fmla="*/ 5725465 w 8778454"/>
              <a:gd name="connsiteY92" fmla="*/ 899503 h 8847047"/>
              <a:gd name="connsiteX93" fmla="*/ 5679672 w 8778454"/>
              <a:gd name="connsiteY93" fmla="*/ 890128 h 8847047"/>
              <a:gd name="connsiteX94" fmla="*/ 5692441 w 8778454"/>
              <a:gd name="connsiteY94" fmla="*/ 944289 h 8847047"/>
              <a:gd name="connsiteX95" fmla="*/ 5696710 w 8778454"/>
              <a:gd name="connsiteY95" fmla="*/ 944243 h 8847047"/>
              <a:gd name="connsiteX96" fmla="*/ 5698538 w 8778454"/>
              <a:gd name="connsiteY96" fmla="*/ 943180 h 8847047"/>
              <a:gd name="connsiteX97" fmla="*/ 5707320 w 8778454"/>
              <a:gd name="connsiteY97" fmla="*/ 941582 h 8847047"/>
              <a:gd name="connsiteX98" fmla="*/ 5719332 w 8778454"/>
              <a:gd name="connsiteY98" fmla="*/ 946113 h 8847047"/>
              <a:gd name="connsiteX99" fmla="*/ 5735310 w 8778454"/>
              <a:gd name="connsiteY99" fmla="*/ 934656 h 8847047"/>
              <a:gd name="connsiteX100" fmla="*/ 5771637 w 8778454"/>
              <a:gd name="connsiteY100" fmla="*/ 923683 h 8847047"/>
              <a:gd name="connsiteX101" fmla="*/ 5811266 w 8778454"/>
              <a:gd name="connsiteY101" fmla="*/ 946523 h 8847047"/>
              <a:gd name="connsiteX102" fmla="*/ 5831584 w 8778454"/>
              <a:gd name="connsiteY102" fmla="*/ 913863 h 8847047"/>
              <a:gd name="connsiteX103" fmla="*/ 5837434 w 8778454"/>
              <a:gd name="connsiteY103" fmla="*/ 951880 h 8847047"/>
              <a:gd name="connsiteX104" fmla="*/ 5950788 w 8778454"/>
              <a:gd name="connsiteY104" fmla="*/ 930902 h 8847047"/>
              <a:gd name="connsiteX105" fmla="*/ 5952266 w 8778454"/>
              <a:gd name="connsiteY105" fmla="*/ 956978 h 8847047"/>
              <a:gd name="connsiteX106" fmla="*/ 5979534 w 8778454"/>
              <a:gd name="connsiteY106" fmla="*/ 973606 h 8847047"/>
              <a:gd name="connsiteX107" fmla="*/ 5946855 w 8778454"/>
              <a:gd name="connsiteY107" fmla="*/ 1000054 h 8847047"/>
              <a:gd name="connsiteX108" fmla="*/ 5934087 w 8778454"/>
              <a:gd name="connsiteY108" fmla="*/ 945893 h 8847047"/>
              <a:gd name="connsiteX109" fmla="*/ 5886153 w 8778454"/>
              <a:gd name="connsiteY109" fmla="*/ 980263 h 8847047"/>
              <a:gd name="connsiteX110" fmla="*/ 5904710 w 8778454"/>
              <a:gd name="connsiteY110" fmla="*/ 1006154 h 8847047"/>
              <a:gd name="connsiteX111" fmla="*/ 5912006 w 8778454"/>
              <a:gd name="connsiteY111" fmla="*/ 1037103 h 8847047"/>
              <a:gd name="connsiteX112" fmla="*/ 5841207 w 8778454"/>
              <a:gd name="connsiteY112" fmla="*/ 1099930 h 8847047"/>
              <a:gd name="connsiteX113" fmla="*/ 5850674 w 8778454"/>
              <a:gd name="connsiteY113" fmla="*/ 1120278 h 8847047"/>
              <a:gd name="connsiteX114" fmla="*/ 5787078 w 8778454"/>
              <a:gd name="connsiteY114" fmla="*/ 1114623 h 8847047"/>
              <a:gd name="connsiteX115" fmla="*/ 5748265 w 8778454"/>
              <a:gd name="connsiteY115" fmla="*/ 1187680 h 8847047"/>
              <a:gd name="connsiteX116" fmla="*/ 5761003 w 8778454"/>
              <a:gd name="connsiteY116" fmla="*/ 1208697 h 8847047"/>
              <a:gd name="connsiteX117" fmla="*/ 5673094 w 8778454"/>
              <a:gd name="connsiteY117" fmla="*/ 1238566 h 8847047"/>
              <a:gd name="connsiteX118" fmla="*/ 5673818 w 8778454"/>
              <a:gd name="connsiteY118" fmla="*/ 1235032 h 8847047"/>
              <a:gd name="connsiteX119" fmla="*/ 5666899 w 8778454"/>
              <a:gd name="connsiteY119" fmla="*/ 1218888 h 8847047"/>
              <a:gd name="connsiteX120" fmla="*/ 5658909 w 8778454"/>
              <a:gd name="connsiteY120" fmla="*/ 1224616 h 8847047"/>
              <a:gd name="connsiteX121" fmla="*/ 5673094 w 8778454"/>
              <a:gd name="connsiteY121" fmla="*/ 1238566 h 8847047"/>
              <a:gd name="connsiteX122" fmla="*/ 5648058 w 8778454"/>
              <a:gd name="connsiteY122" fmla="*/ 1277624 h 8847047"/>
              <a:gd name="connsiteX123" fmla="*/ 5590689 w 8778454"/>
              <a:gd name="connsiteY123" fmla="*/ 1324791 h 8847047"/>
              <a:gd name="connsiteX124" fmla="*/ 5614687 w 8778454"/>
              <a:gd name="connsiteY124" fmla="*/ 1340749 h 8847047"/>
              <a:gd name="connsiteX125" fmla="*/ 5524954 w 8778454"/>
              <a:gd name="connsiteY125" fmla="*/ 1362881 h 8847047"/>
              <a:gd name="connsiteX126" fmla="*/ 5545366 w 8778454"/>
              <a:gd name="connsiteY126" fmla="*/ 1429652 h 8847047"/>
              <a:gd name="connsiteX127" fmla="*/ 5530174 w 8778454"/>
              <a:gd name="connsiteY127" fmla="*/ 1503863 h 8847047"/>
              <a:gd name="connsiteX128" fmla="*/ 5494192 w 8778454"/>
              <a:gd name="connsiteY128" fmla="*/ 1496497 h 8847047"/>
              <a:gd name="connsiteX129" fmla="*/ 5513002 w 8778454"/>
              <a:gd name="connsiteY129" fmla="*/ 1404617 h 8847047"/>
              <a:gd name="connsiteX130" fmla="*/ 5396817 w 8778454"/>
              <a:gd name="connsiteY130" fmla="*/ 1506018 h 8847047"/>
              <a:gd name="connsiteX131" fmla="*/ 5335484 w 8778454"/>
              <a:gd name="connsiteY131" fmla="*/ 1589193 h 8847047"/>
              <a:gd name="connsiteX132" fmla="*/ 5296201 w 8778454"/>
              <a:gd name="connsiteY132" fmla="*/ 1548014 h 8847047"/>
              <a:gd name="connsiteX133" fmla="*/ 5266070 w 8778454"/>
              <a:gd name="connsiteY133" fmla="*/ 1578665 h 8847047"/>
              <a:gd name="connsiteX134" fmla="*/ 5260975 w 8778454"/>
              <a:gd name="connsiteY134" fmla="*/ 1570258 h 8847047"/>
              <a:gd name="connsiteX135" fmla="*/ 5226125 w 8778454"/>
              <a:gd name="connsiteY135" fmla="*/ 1607307 h 8847047"/>
              <a:gd name="connsiteX136" fmla="*/ 5258835 w 8778454"/>
              <a:gd name="connsiteY136" fmla="*/ 1614003 h 8847047"/>
              <a:gd name="connsiteX137" fmla="*/ 5266070 w 8778454"/>
              <a:gd name="connsiteY137" fmla="*/ 1578665 h 8847047"/>
              <a:gd name="connsiteX138" fmla="*/ 5318406 w 8778454"/>
              <a:gd name="connsiteY138" fmla="*/ 1589379 h 8847047"/>
              <a:gd name="connsiteX139" fmla="*/ 5288998 w 8778454"/>
              <a:gd name="connsiteY139" fmla="*/ 1616496 h 8847047"/>
              <a:gd name="connsiteX140" fmla="*/ 5300666 w 8778454"/>
              <a:gd name="connsiteY140" fmla="*/ 1659386 h 8847047"/>
              <a:gd name="connsiteX141" fmla="*/ 5271605 w 8778454"/>
              <a:gd name="connsiteY141" fmla="*/ 1668165 h 8847047"/>
              <a:gd name="connsiteX142" fmla="*/ 5252694 w 8778454"/>
              <a:gd name="connsiteY142" fmla="*/ 1652327 h 8847047"/>
              <a:gd name="connsiteX143" fmla="*/ 5226370 w 8778454"/>
              <a:gd name="connsiteY143" fmla="*/ 1630280 h 8847047"/>
              <a:gd name="connsiteX144" fmla="*/ 5228327 w 8778454"/>
              <a:gd name="connsiteY144" fmla="*/ 1629849 h 8847047"/>
              <a:gd name="connsiteX145" fmla="*/ 5225056 w 8778454"/>
              <a:gd name="connsiteY145" fmla="*/ 1629180 h 8847047"/>
              <a:gd name="connsiteX146" fmla="*/ 5226370 w 8778454"/>
              <a:gd name="connsiteY146" fmla="*/ 1630280 h 8847047"/>
              <a:gd name="connsiteX147" fmla="*/ 5167656 w 8778454"/>
              <a:gd name="connsiteY147" fmla="*/ 1643203 h 8847047"/>
              <a:gd name="connsiteX148" fmla="*/ 5163315 w 8778454"/>
              <a:gd name="connsiteY148" fmla="*/ 1664405 h 8847047"/>
              <a:gd name="connsiteX149" fmla="*/ 5190584 w 8778454"/>
              <a:gd name="connsiteY149" fmla="*/ 1681034 h 8847047"/>
              <a:gd name="connsiteX150" fmla="*/ 5105254 w 8778454"/>
              <a:gd name="connsiteY150" fmla="*/ 1748250 h 8847047"/>
              <a:gd name="connsiteX151" fmla="*/ 5081602 w 8778454"/>
              <a:gd name="connsiteY151" fmla="*/ 1713953 h 8847047"/>
              <a:gd name="connsiteX152" fmla="*/ 5087483 w 8778454"/>
              <a:gd name="connsiteY152" fmla="*/ 1785113 h 8847047"/>
              <a:gd name="connsiteX153" fmla="*/ 4979256 w 8778454"/>
              <a:gd name="connsiteY153" fmla="*/ 1847642 h 8847047"/>
              <a:gd name="connsiteX154" fmla="*/ 5041405 w 8778454"/>
              <a:gd name="connsiteY154" fmla="*/ 1860365 h 8847047"/>
              <a:gd name="connsiteX155" fmla="*/ 5050809 w 8778454"/>
              <a:gd name="connsiteY155" fmla="*/ 1814425 h 8847047"/>
              <a:gd name="connsiteX156" fmla="*/ 5077355 w 8778454"/>
              <a:gd name="connsiteY156" fmla="*/ 1834587 h 8847047"/>
              <a:gd name="connsiteX157" fmla="*/ 5087483 w 8778454"/>
              <a:gd name="connsiteY157" fmla="*/ 1785113 h 8847047"/>
              <a:gd name="connsiteX158" fmla="*/ 5152872 w 8778454"/>
              <a:gd name="connsiteY158" fmla="*/ 1765362 h 8847047"/>
              <a:gd name="connsiteX159" fmla="*/ 5191054 w 8778454"/>
              <a:gd name="connsiteY159" fmla="*/ 1795270 h 8847047"/>
              <a:gd name="connsiteX160" fmla="*/ 5104624 w 8778454"/>
              <a:gd name="connsiteY160" fmla="*/ 1851215 h 8847047"/>
              <a:gd name="connsiteX161" fmla="*/ 5014922 w 8778454"/>
              <a:gd name="connsiteY161" fmla="*/ 1906491 h 8847047"/>
              <a:gd name="connsiteX162" fmla="*/ 5029484 w 8778454"/>
              <a:gd name="connsiteY162" fmla="*/ 1935245 h 8847047"/>
              <a:gd name="connsiteX163" fmla="*/ 4964064 w 8778454"/>
              <a:gd name="connsiteY163" fmla="*/ 1921853 h 8847047"/>
              <a:gd name="connsiteX164" fmla="*/ 4966926 w 8778454"/>
              <a:gd name="connsiteY164" fmla="*/ 1874574 h 8847047"/>
              <a:gd name="connsiteX165" fmla="*/ 4891316 w 8778454"/>
              <a:gd name="connsiteY165" fmla="*/ 1844367 h 8847047"/>
              <a:gd name="connsiteX166" fmla="*/ 4916792 w 8778454"/>
              <a:gd name="connsiteY166" fmla="*/ 1886402 h 8847047"/>
              <a:gd name="connsiteX167" fmla="*/ 4892101 w 8778454"/>
              <a:gd name="connsiteY167" fmla="*/ 1907121 h 8847047"/>
              <a:gd name="connsiteX168" fmla="*/ 4910312 w 8778454"/>
              <a:gd name="connsiteY168" fmla="*/ 1951350 h 8847047"/>
              <a:gd name="connsiteX169" fmla="*/ 4933555 w 8778454"/>
              <a:gd name="connsiteY169" fmla="*/ 1937699 h 8847047"/>
              <a:gd name="connsiteX170" fmla="*/ 4892918 w 8778454"/>
              <a:gd name="connsiteY170" fmla="*/ 2003019 h 8847047"/>
              <a:gd name="connsiteX171" fmla="*/ 4792680 w 8778454"/>
              <a:gd name="connsiteY171" fmla="*/ 2059819 h 8847047"/>
              <a:gd name="connsiteX172" fmla="*/ 4823597 w 8778454"/>
              <a:gd name="connsiteY172" fmla="*/ 2091922 h 8847047"/>
              <a:gd name="connsiteX173" fmla="*/ 4751257 w 8778454"/>
              <a:gd name="connsiteY173" fmla="*/ 2062385 h 8847047"/>
              <a:gd name="connsiteX174" fmla="*/ 4781735 w 8778454"/>
              <a:gd name="connsiteY174" fmla="*/ 2013395 h 8847047"/>
              <a:gd name="connsiteX175" fmla="*/ 4720340 w 8778454"/>
              <a:gd name="connsiteY175" fmla="*/ 2030282 h 8847047"/>
              <a:gd name="connsiteX176" fmla="*/ 4740752 w 8778454"/>
              <a:gd name="connsiteY176" fmla="*/ 2097054 h 8847047"/>
              <a:gd name="connsiteX177" fmla="*/ 4679389 w 8778454"/>
              <a:gd name="connsiteY177" fmla="*/ 2147085 h 8847047"/>
              <a:gd name="connsiteX178" fmla="*/ 4613307 w 8778454"/>
              <a:gd name="connsiteY178" fmla="*/ 2203514 h 8847047"/>
              <a:gd name="connsiteX179" fmla="*/ 4546125 w 8778454"/>
              <a:gd name="connsiteY179" fmla="*/ 2248671 h 8847047"/>
              <a:gd name="connsiteX180" fmla="*/ 4547887 w 8778454"/>
              <a:gd name="connsiteY180" fmla="*/ 2190121 h 8847047"/>
              <a:gd name="connsiteX181" fmla="*/ 4505364 w 8778454"/>
              <a:gd name="connsiteY181" fmla="*/ 2181416 h 8847047"/>
              <a:gd name="connsiteX182" fmla="*/ 4498445 w 8778454"/>
              <a:gd name="connsiteY182" fmla="*/ 2165272 h 8847047"/>
              <a:gd name="connsiteX183" fmla="*/ 4491179 w 8778454"/>
              <a:gd name="connsiteY183" fmla="*/ 2167467 h 8847047"/>
              <a:gd name="connsiteX184" fmla="*/ 4502093 w 8778454"/>
              <a:gd name="connsiteY184" fmla="*/ 2180747 h 8847047"/>
              <a:gd name="connsiteX185" fmla="*/ 4438559 w 8778454"/>
              <a:gd name="connsiteY185" fmla="*/ 2241379 h 8847047"/>
              <a:gd name="connsiteX186" fmla="*/ 4533418 w 8778454"/>
              <a:gd name="connsiteY186" fmla="*/ 2260798 h 8847047"/>
              <a:gd name="connsiteX187" fmla="*/ 4363797 w 8778454"/>
              <a:gd name="connsiteY187" fmla="*/ 2340214 h 8847047"/>
              <a:gd name="connsiteX188" fmla="*/ 4378044 w 8778454"/>
              <a:gd name="connsiteY188" fmla="*/ 2420451 h 8847047"/>
              <a:gd name="connsiteX189" fmla="*/ 4332596 w 8778454"/>
              <a:gd name="connsiteY189" fmla="*/ 2392738 h 8847047"/>
              <a:gd name="connsiteX190" fmla="*/ 4316272 w 8778454"/>
              <a:gd name="connsiteY190" fmla="*/ 2422533 h 8847047"/>
              <a:gd name="connsiteX191" fmla="*/ 4255947 w 8778454"/>
              <a:gd name="connsiteY191" fmla="*/ 2417548 h 8847047"/>
              <a:gd name="connsiteX192" fmla="*/ 4263150 w 8778454"/>
              <a:gd name="connsiteY192" fmla="*/ 2349065 h 8847047"/>
              <a:gd name="connsiteX193" fmla="*/ 4223552 w 8778454"/>
              <a:gd name="connsiteY193" fmla="*/ 2359369 h 8847047"/>
              <a:gd name="connsiteX194" fmla="*/ 4255947 w 8778454"/>
              <a:gd name="connsiteY194" fmla="*/ 2417548 h 8847047"/>
              <a:gd name="connsiteX195" fmla="*/ 4264690 w 8778454"/>
              <a:gd name="connsiteY195" fmla="*/ 2441430 h 8847047"/>
              <a:gd name="connsiteX196" fmla="*/ 4249436 w 8778454"/>
              <a:gd name="connsiteY196" fmla="*/ 2449352 h 8847047"/>
              <a:gd name="connsiteX197" fmla="*/ 4256009 w 8778454"/>
              <a:gd name="connsiteY197" fmla="*/ 2483836 h 8847047"/>
              <a:gd name="connsiteX198" fmla="*/ 4193860 w 8778454"/>
              <a:gd name="connsiteY198" fmla="*/ 2471112 h 8847047"/>
              <a:gd name="connsiteX199" fmla="*/ 4218142 w 8778454"/>
              <a:gd name="connsiteY199" fmla="*/ 2402445 h 8847047"/>
              <a:gd name="connsiteX200" fmla="*/ 4107367 w 8778454"/>
              <a:gd name="connsiteY200" fmla="*/ 2460770 h 8847047"/>
              <a:gd name="connsiteX201" fmla="*/ 4137560 w 8778454"/>
              <a:gd name="connsiteY201" fmla="*/ 2496407 h 8847047"/>
              <a:gd name="connsiteX202" fmla="*/ 4128879 w 8778454"/>
              <a:gd name="connsiteY202" fmla="*/ 2538813 h 8847047"/>
              <a:gd name="connsiteX203" fmla="*/ 4129634 w 8778454"/>
              <a:gd name="connsiteY203" fmla="*/ 2568423 h 8847047"/>
              <a:gd name="connsiteX204" fmla="*/ 4082362 w 8778454"/>
              <a:gd name="connsiteY204" fmla="*/ 2532972 h 8847047"/>
              <a:gd name="connsiteX205" fmla="*/ 4086671 w 8778454"/>
              <a:gd name="connsiteY205" fmla="*/ 2478625 h 8847047"/>
              <a:gd name="connsiteX206" fmla="*/ 4039084 w 8778454"/>
              <a:gd name="connsiteY206" fmla="*/ 2494656 h 8847047"/>
              <a:gd name="connsiteX207" fmla="*/ 4077298 w 8778454"/>
              <a:gd name="connsiteY207" fmla="*/ 2557709 h 8847047"/>
              <a:gd name="connsiteX208" fmla="*/ 4050437 w 8778454"/>
              <a:gd name="connsiteY208" fmla="*/ 2589029 h 8847047"/>
              <a:gd name="connsiteX209" fmla="*/ 4027540 w 8778454"/>
              <a:gd name="connsiteY209" fmla="*/ 2584342 h 8847047"/>
              <a:gd name="connsiteX210" fmla="*/ 3957811 w 8778454"/>
              <a:gd name="connsiteY210" fmla="*/ 2625296 h 8847047"/>
              <a:gd name="connsiteX211" fmla="*/ 3964668 w 8778454"/>
              <a:gd name="connsiteY211" fmla="*/ 2575153 h 8847047"/>
              <a:gd name="connsiteX212" fmla="*/ 3915980 w 8778454"/>
              <a:gd name="connsiteY212" fmla="*/ 2579914 h 8847047"/>
              <a:gd name="connsiteX213" fmla="*/ 3919974 w 8778454"/>
              <a:gd name="connsiteY213" fmla="*/ 2577049 h 8847047"/>
              <a:gd name="connsiteX214" fmla="*/ 3913055 w 8778454"/>
              <a:gd name="connsiteY214" fmla="*/ 2560905 h 8847047"/>
              <a:gd name="connsiteX215" fmla="*/ 3905066 w 8778454"/>
              <a:gd name="connsiteY215" fmla="*/ 2566634 h 8847047"/>
              <a:gd name="connsiteX216" fmla="*/ 3915980 w 8778454"/>
              <a:gd name="connsiteY216" fmla="*/ 2579914 h 8847047"/>
              <a:gd name="connsiteX217" fmla="*/ 3886195 w 8778454"/>
              <a:gd name="connsiteY217" fmla="*/ 2592226 h 8847047"/>
              <a:gd name="connsiteX218" fmla="*/ 3862951 w 8778454"/>
              <a:gd name="connsiteY218" fmla="*/ 2605877 h 8847047"/>
              <a:gd name="connsiteX219" fmla="*/ 3860404 w 8778454"/>
              <a:gd name="connsiteY219" fmla="*/ 2601674 h 8847047"/>
              <a:gd name="connsiteX220" fmla="*/ 3844426 w 8778454"/>
              <a:gd name="connsiteY220" fmla="*/ 2613130 h 8847047"/>
              <a:gd name="connsiteX221" fmla="*/ 3849521 w 8778454"/>
              <a:gd name="connsiteY221" fmla="*/ 2621537 h 8847047"/>
              <a:gd name="connsiteX222" fmla="*/ 3862951 w 8778454"/>
              <a:gd name="connsiteY222" fmla="*/ 2605877 h 8847047"/>
              <a:gd name="connsiteX223" fmla="*/ 3877136 w 8778454"/>
              <a:gd name="connsiteY223" fmla="*/ 2619826 h 8847047"/>
              <a:gd name="connsiteX224" fmla="*/ 3829234 w 8778454"/>
              <a:gd name="connsiteY224" fmla="*/ 2687341 h 8847047"/>
              <a:gd name="connsiteX225" fmla="*/ 3831435 w 8778454"/>
              <a:gd name="connsiteY225" fmla="*/ 2709884 h 8847047"/>
              <a:gd name="connsiteX226" fmla="*/ 3875721 w 8778454"/>
              <a:gd name="connsiteY226" fmla="*/ 2660038 h 8847047"/>
              <a:gd name="connsiteX227" fmla="*/ 3908084 w 8778454"/>
              <a:gd name="connsiteY227" fmla="*/ 2685074 h 8847047"/>
              <a:gd name="connsiteX228" fmla="*/ 3932774 w 8778454"/>
              <a:gd name="connsiteY228" fmla="*/ 2664354 h 8847047"/>
              <a:gd name="connsiteX229" fmla="*/ 3894592 w 8778454"/>
              <a:gd name="connsiteY229" fmla="*/ 2634446 h 8847047"/>
              <a:gd name="connsiteX230" fmla="*/ 3957811 w 8778454"/>
              <a:gd name="connsiteY230" fmla="*/ 2625296 h 8847047"/>
              <a:gd name="connsiteX231" fmla="*/ 3954948 w 8778454"/>
              <a:gd name="connsiteY231" fmla="*/ 2672576 h 8847047"/>
              <a:gd name="connsiteX232" fmla="*/ 4058457 w 8778454"/>
              <a:gd name="connsiteY232" fmla="*/ 2616445 h 8847047"/>
              <a:gd name="connsiteX233" fmla="*/ 4050437 w 8778454"/>
              <a:gd name="connsiteY233" fmla="*/ 2589029 h 8847047"/>
              <a:gd name="connsiteX234" fmla="*/ 4097332 w 8778454"/>
              <a:gd name="connsiteY234" fmla="*/ 2609675 h 8847047"/>
              <a:gd name="connsiteX235" fmla="*/ 4288373 w 8778454"/>
              <a:gd name="connsiteY235" fmla="*/ 2508871 h 8847047"/>
              <a:gd name="connsiteX236" fmla="*/ 4307999 w 8778454"/>
              <a:gd name="connsiteY236" fmla="*/ 2512889 h 8847047"/>
              <a:gd name="connsiteX237" fmla="*/ 4550244 w 8778454"/>
              <a:gd name="connsiteY237" fmla="*/ 2378383 h 8847047"/>
              <a:gd name="connsiteX238" fmla="*/ 4573865 w 8778454"/>
              <a:gd name="connsiteY238" fmla="*/ 2379536 h 8847047"/>
              <a:gd name="connsiteX239" fmla="*/ 4742763 w 8778454"/>
              <a:gd name="connsiteY239" fmla="*/ 2303654 h 8847047"/>
              <a:gd name="connsiteX240" fmla="*/ 4944340 w 8778454"/>
              <a:gd name="connsiteY240" fmla="*/ 2201325 h 8847047"/>
              <a:gd name="connsiteX241" fmla="*/ 5011176 w 8778454"/>
              <a:gd name="connsiteY241" fmla="*/ 2174506 h 8847047"/>
              <a:gd name="connsiteX242" fmla="*/ 5170985 w 8778454"/>
              <a:gd name="connsiteY242" fmla="*/ 2093081 h 8847047"/>
              <a:gd name="connsiteX243" fmla="*/ 5321012 w 8778454"/>
              <a:gd name="connsiteY243" fmla="*/ 2042791 h 8847047"/>
              <a:gd name="connsiteX244" fmla="*/ 5542215 w 8778454"/>
              <a:gd name="connsiteY244" fmla="*/ 1944479 h 8847047"/>
              <a:gd name="connsiteX245" fmla="*/ 5602918 w 8778454"/>
              <a:gd name="connsiteY245" fmla="*/ 1964270 h 8847047"/>
              <a:gd name="connsiteX246" fmla="*/ 5699507 w 8778454"/>
              <a:gd name="connsiteY246" fmla="*/ 1891995 h 8847047"/>
              <a:gd name="connsiteX247" fmla="*/ 5728947 w 8778454"/>
              <a:gd name="connsiteY247" fmla="*/ 1898022 h 8847047"/>
              <a:gd name="connsiteX248" fmla="*/ 5906557 w 8778454"/>
              <a:gd name="connsiteY248" fmla="*/ 1812877 h 8847047"/>
              <a:gd name="connsiteX249" fmla="*/ 6070737 w 8778454"/>
              <a:gd name="connsiteY249" fmla="*/ 1743393 h 8847047"/>
              <a:gd name="connsiteX250" fmla="*/ 6239636 w 8778454"/>
              <a:gd name="connsiteY250" fmla="*/ 1667511 h 8847047"/>
              <a:gd name="connsiteX251" fmla="*/ 6273038 w 8778454"/>
              <a:gd name="connsiteY251" fmla="*/ 1637530 h 8847047"/>
              <a:gd name="connsiteX252" fmla="*/ 6521164 w 8778454"/>
              <a:gd name="connsiteY252" fmla="*/ 1574185 h 8847047"/>
              <a:gd name="connsiteX253" fmla="*/ 6530662 w 8778454"/>
              <a:gd name="connsiteY253" fmla="*/ 1627676 h 8847047"/>
              <a:gd name="connsiteX254" fmla="*/ 6548748 w 8778454"/>
              <a:gd name="connsiteY254" fmla="*/ 1539330 h 8847047"/>
              <a:gd name="connsiteX255" fmla="*/ 6627914 w 8778454"/>
              <a:gd name="connsiteY255" fmla="*/ 1485580 h 8847047"/>
              <a:gd name="connsiteX256" fmla="*/ 6667543 w 8778454"/>
              <a:gd name="connsiteY256" fmla="*/ 1508420 h 8847047"/>
              <a:gd name="connsiteX257" fmla="*/ 6746331 w 8778454"/>
              <a:gd name="connsiteY257" fmla="*/ 1439865 h 8847047"/>
              <a:gd name="connsiteX258" fmla="*/ 6798667 w 8778454"/>
              <a:gd name="connsiteY258" fmla="*/ 1450579 h 8847047"/>
              <a:gd name="connsiteX259" fmla="*/ 6911958 w 8778454"/>
              <a:gd name="connsiteY259" fmla="*/ 1363313 h 8847047"/>
              <a:gd name="connsiteX260" fmla="*/ 7074030 w 8778454"/>
              <a:gd name="connsiteY260" fmla="*/ 1370718 h 8847047"/>
              <a:gd name="connsiteX261" fmla="*/ 7094726 w 8778454"/>
              <a:gd name="connsiteY261" fmla="*/ 1352863 h 8847047"/>
              <a:gd name="connsiteX262" fmla="*/ 7104854 w 8778454"/>
              <a:gd name="connsiteY262" fmla="*/ 1303390 h 8847047"/>
              <a:gd name="connsiteX263" fmla="*/ 7233085 w 8778454"/>
              <a:gd name="connsiteY263" fmla="*/ 1259684 h 8847047"/>
              <a:gd name="connsiteX264" fmla="*/ 7249817 w 8778454"/>
              <a:gd name="connsiteY264" fmla="*/ 1277837 h 8847047"/>
              <a:gd name="connsiteX265" fmla="*/ 7364964 w 8778454"/>
              <a:gd name="connsiteY265" fmla="*/ 1231452 h 8847047"/>
              <a:gd name="connsiteX266" fmla="*/ 7378802 w 8778454"/>
              <a:gd name="connsiteY266" fmla="*/ 1263741 h 8847047"/>
              <a:gd name="connsiteX267" fmla="*/ 7344361 w 8778454"/>
              <a:gd name="connsiteY267" fmla="*/ 1348739 h 8847047"/>
              <a:gd name="connsiteX268" fmla="*/ 7355275 w 8778454"/>
              <a:gd name="connsiteY268" fmla="*/ 1362019 h 8847047"/>
              <a:gd name="connsiteX269" fmla="*/ 7367951 w 8778454"/>
              <a:gd name="connsiteY269" fmla="*/ 1316748 h 8847047"/>
              <a:gd name="connsiteX270" fmla="*/ 7383960 w 8778454"/>
              <a:gd name="connsiteY270" fmla="*/ 1338435 h 8847047"/>
              <a:gd name="connsiteX271" fmla="*/ 7399152 w 8778454"/>
              <a:gd name="connsiteY271" fmla="*/ 1264225 h 8847047"/>
              <a:gd name="connsiteX272" fmla="*/ 7463817 w 8778454"/>
              <a:gd name="connsiteY272" fmla="*/ 1248007 h 8847047"/>
              <a:gd name="connsiteX273" fmla="*/ 7508071 w 8778454"/>
              <a:gd name="connsiteY273" fmla="*/ 1165018 h 8847047"/>
              <a:gd name="connsiteX274" fmla="*/ 7525904 w 8778454"/>
              <a:gd name="connsiteY274" fmla="*/ 1194443 h 8847047"/>
              <a:gd name="connsiteX275" fmla="*/ 7596735 w 8778454"/>
              <a:gd name="connsiteY275" fmla="*/ 1164759 h 8847047"/>
              <a:gd name="connsiteX276" fmla="*/ 7676056 w 8778454"/>
              <a:gd name="connsiteY276" fmla="*/ 1276728 h 8847047"/>
              <a:gd name="connsiteX277" fmla="*/ 7712006 w 8778454"/>
              <a:gd name="connsiteY277" fmla="*/ 1250950 h 8847047"/>
              <a:gd name="connsiteX278" fmla="*/ 7675363 w 8778454"/>
              <a:gd name="connsiteY278" fmla="*/ 1313406 h 8847047"/>
              <a:gd name="connsiteX279" fmla="*/ 7612491 w 8778454"/>
              <a:gd name="connsiteY279" fmla="*/ 1304217 h 8847047"/>
              <a:gd name="connsiteX280" fmla="*/ 7623844 w 8778454"/>
              <a:gd name="connsiteY280" fmla="*/ 1398589 h 8847047"/>
              <a:gd name="connsiteX281" fmla="*/ 7657623 w 8778454"/>
              <a:gd name="connsiteY281" fmla="*/ 1383413 h 8847047"/>
              <a:gd name="connsiteX282" fmla="*/ 7704172 w 8778454"/>
              <a:gd name="connsiteY282" fmla="*/ 1422397 h 8847047"/>
              <a:gd name="connsiteX283" fmla="*/ 7665737 w 8778454"/>
              <a:gd name="connsiteY283" fmla="*/ 1510260 h 8847047"/>
              <a:gd name="connsiteX284" fmla="*/ 7828532 w 8778454"/>
              <a:gd name="connsiteY284" fmla="*/ 1514131 h 8847047"/>
              <a:gd name="connsiteX285" fmla="*/ 7848851 w 8778454"/>
              <a:gd name="connsiteY285" fmla="*/ 1481471 h 8847047"/>
              <a:gd name="connsiteX286" fmla="*/ 7865583 w 8778454"/>
              <a:gd name="connsiteY286" fmla="*/ 1499624 h 8847047"/>
              <a:gd name="connsiteX287" fmla="*/ 7913139 w 8778454"/>
              <a:gd name="connsiteY287" fmla="*/ 1450449 h 8847047"/>
              <a:gd name="connsiteX288" fmla="*/ 7904836 w 8778454"/>
              <a:gd name="connsiteY288" fmla="*/ 1507660 h 8847047"/>
              <a:gd name="connsiteX289" fmla="*/ 7796577 w 8778454"/>
              <a:gd name="connsiteY289" fmla="*/ 1537045 h 8847047"/>
              <a:gd name="connsiteX290" fmla="*/ 7784279 w 8778454"/>
              <a:gd name="connsiteY290" fmla="*/ 1597120 h 8847047"/>
              <a:gd name="connsiteX291" fmla="*/ 7741756 w 8778454"/>
              <a:gd name="connsiteY291" fmla="*/ 1588415 h 8847047"/>
              <a:gd name="connsiteX292" fmla="*/ 7736629 w 8778454"/>
              <a:gd name="connsiteY292" fmla="*/ 1546864 h 8847047"/>
              <a:gd name="connsiteX293" fmla="*/ 7716657 w 8778454"/>
              <a:gd name="connsiteY293" fmla="*/ 1561185 h 8847047"/>
              <a:gd name="connsiteX294" fmla="*/ 7685017 w 8778454"/>
              <a:gd name="connsiteY294" fmla="*/ 1532616 h 8847047"/>
              <a:gd name="connsiteX295" fmla="*/ 7702535 w 8778454"/>
              <a:gd name="connsiteY295" fmla="*/ 1613523 h 8847047"/>
              <a:gd name="connsiteX296" fmla="*/ 7773427 w 8778454"/>
              <a:gd name="connsiteY296" fmla="*/ 1650128 h 8847047"/>
              <a:gd name="connsiteX297" fmla="*/ 7811987 w 8778454"/>
              <a:gd name="connsiteY297" fmla="*/ 1694841 h 8847047"/>
              <a:gd name="connsiteX298" fmla="*/ 7884641 w 8778454"/>
              <a:gd name="connsiteY298" fmla="*/ 1672895 h 8847047"/>
              <a:gd name="connsiteX299" fmla="*/ 7942450 w 8778454"/>
              <a:gd name="connsiteY299" fmla="*/ 1706821 h 8847047"/>
              <a:gd name="connsiteX300" fmla="*/ 7889799 w 8778454"/>
              <a:gd name="connsiteY300" fmla="*/ 1747590 h 8847047"/>
              <a:gd name="connsiteX301" fmla="*/ 7808370 w 8778454"/>
              <a:gd name="connsiteY301" fmla="*/ 1712510 h 8847047"/>
              <a:gd name="connsiteX302" fmla="*/ 7735054 w 8778454"/>
              <a:gd name="connsiteY302" fmla="*/ 1804277 h 8847047"/>
              <a:gd name="connsiteX303" fmla="*/ 7669004 w 8778454"/>
              <a:gd name="connsiteY303" fmla="*/ 1893850 h 8847047"/>
              <a:gd name="connsiteX304" fmla="*/ 7701745 w 8778454"/>
              <a:gd name="connsiteY304" fmla="*/ 1933690 h 8847047"/>
              <a:gd name="connsiteX305" fmla="*/ 7677055 w 8778454"/>
              <a:gd name="connsiteY305" fmla="*/ 1954410 h 8847047"/>
              <a:gd name="connsiteX306" fmla="*/ 7659347 w 8778454"/>
              <a:gd name="connsiteY306" fmla="*/ 2057561 h 8847047"/>
              <a:gd name="connsiteX307" fmla="*/ 7706272 w 8778454"/>
              <a:gd name="connsiteY307" fmla="*/ 2111350 h 8847047"/>
              <a:gd name="connsiteX308" fmla="*/ 7749865 w 8778454"/>
              <a:gd name="connsiteY308" fmla="*/ 2098183 h 8847047"/>
              <a:gd name="connsiteX309" fmla="*/ 7758546 w 8778454"/>
              <a:gd name="connsiteY309" fmla="*/ 2055777 h 8847047"/>
              <a:gd name="connsiteX310" fmla="*/ 7808335 w 8778454"/>
              <a:gd name="connsiteY310" fmla="*/ 2062287 h 8847047"/>
              <a:gd name="connsiteX311" fmla="*/ 7840730 w 8778454"/>
              <a:gd name="connsiteY311" fmla="*/ 2120466 h 8847047"/>
              <a:gd name="connsiteX312" fmla="*/ 7803710 w 8778454"/>
              <a:gd name="connsiteY312" fmla="*/ 2168117 h 8847047"/>
              <a:gd name="connsiteX313" fmla="*/ 7843717 w 8778454"/>
              <a:gd name="connsiteY313" fmla="*/ 2205763 h 8847047"/>
              <a:gd name="connsiteX314" fmla="*/ 7834281 w 8778454"/>
              <a:gd name="connsiteY314" fmla="*/ 2218559 h 8847047"/>
              <a:gd name="connsiteX315" fmla="*/ 7892782 w 8778454"/>
              <a:gd name="connsiteY315" fmla="*/ 2215807 h 8847047"/>
              <a:gd name="connsiteX316" fmla="*/ 7886271 w 8778454"/>
              <a:gd name="connsiteY316" fmla="*/ 2247611 h 8847047"/>
              <a:gd name="connsiteX317" fmla="*/ 7771156 w 8778454"/>
              <a:gd name="connsiteY317" fmla="*/ 2327140 h 8847047"/>
              <a:gd name="connsiteX318" fmla="*/ 7764645 w 8778454"/>
              <a:gd name="connsiteY318" fmla="*/ 2358944 h 8847047"/>
              <a:gd name="connsiteX319" fmla="*/ 7628110 w 8778454"/>
              <a:gd name="connsiteY319" fmla="*/ 2459862 h 8847047"/>
              <a:gd name="connsiteX320" fmla="*/ 7588952 w 8778454"/>
              <a:gd name="connsiteY320" fmla="*/ 2551258 h 8847047"/>
              <a:gd name="connsiteX321" fmla="*/ 7528689 w 8778454"/>
              <a:gd name="connsiteY321" fmla="*/ 2612560 h 8847047"/>
              <a:gd name="connsiteX322" fmla="*/ 7533846 w 8778454"/>
              <a:gd name="connsiteY322" fmla="*/ 2687254 h 8847047"/>
              <a:gd name="connsiteX323" fmla="*/ 7463734 w 8778454"/>
              <a:gd name="connsiteY323" fmla="*/ 2683257 h 8847047"/>
              <a:gd name="connsiteX324" fmla="*/ 7443816 w 8778454"/>
              <a:gd name="connsiteY324" fmla="*/ 2689547 h 8847047"/>
              <a:gd name="connsiteX325" fmla="*/ 7437540 w 8778454"/>
              <a:gd name="connsiteY325" fmla="*/ 2674902 h 8847047"/>
              <a:gd name="connsiteX326" fmla="*/ 7430275 w 8778454"/>
              <a:gd name="connsiteY326" fmla="*/ 2677097 h 8847047"/>
              <a:gd name="connsiteX327" fmla="*/ 7441189 w 8778454"/>
              <a:gd name="connsiteY327" fmla="*/ 2690377 h 8847047"/>
              <a:gd name="connsiteX328" fmla="*/ 7401621 w 8778454"/>
              <a:gd name="connsiteY328" fmla="*/ 2733824 h 8847047"/>
              <a:gd name="connsiteX329" fmla="*/ 7388599 w 8778454"/>
              <a:gd name="connsiteY329" fmla="*/ 2797434 h 8847047"/>
              <a:gd name="connsiteX330" fmla="*/ 7355921 w 8778454"/>
              <a:gd name="connsiteY330" fmla="*/ 2823881 h 8847047"/>
              <a:gd name="connsiteX331" fmla="*/ 7356959 w 8778454"/>
              <a:gd name="connsiteY331" fmla="*/ 2768865 h 8847047"/>
              <a:gd name="connsiteX332" fmla="*/ 7301352 w 8778454"/>
              <a:gd name="connsiteY332" fmla="*/ 2757481 h 8847047"/>
              <a:gd name="connsiteX333" fmla="*/ 7268704 w 8778454"/>
              <a:gd name="connsiteY333" fmla="*/ 2817072 h 8847047"/>
              <a:gd name="connsiteX334" fmla="*/ 7291695 w 8778454"/>
              <a:gd name="connsiteY334" fmla="*/ 2921191 h 8847047"/>
              <a:gd name="connsiteX335" fmla="*/ 7248794 w 8778454"/>
              <a:gd name="connsiteY335" fmla="*/ 2897681 h 8847047"/>
              <a:gd name="connsiteX336" fmla="*/ 7236371 w 8778454"/>
              <a:gd name="connsiteY336" fmla="*/ 2825181 h 8847047"/>
              <a:gd name="connsiteX337" fmla="*/ 7214260 w 8778454"/>
              <a:gd name="connsiteY337" fmla="*/ 2883248 h 8847047"/>
              <a:gd name="connsiteX338" fmla="*/ 7194257 w 8778454"/>
              <a:gd name="connsiteY338" fmla="*/ 2864425 h 8847047"/>
              <a:gd name="connsiteX339" fmla="*/ 7179286 w 8778454"/>
              <a:gd name="connsiteY339" fmla="*/ 2787721 h 8847047"/>
              <a:gd name="connsiteX340" fmla="*/ 7046715 w 8778454"/>
              <a:gd name="connsiteY340" fmla="*/ 2852630 h 8847047"/>
              <a:gd name="connsiteX341" fmla="*/ 7091408 w 8778454"/>
              <a:gd name="connsiteY341" fmla="*/ 2850734 h 8847047"/>
              <a:gd name="connsiteX342" fmla="*/ 7132831 w 8778454"/>
              <a:gd name="connsiteY342" fmla="*/ 2848168 h 8847047"/>
              <a:gd name="connsiteX343" fmla="*/ 7145600 w 8778454"/>
              <a:gd name="connsiteY343" fmla="*/ 2902329 h 8847047"/>
              <a:gd name="connsiteX344" fmla="*/ 7068574 w 8778454"/>
              <a:gd name="connsiteY344" fmla="*/ 2912334 h 8847047"/>
              <a:gd name="connsiteX345" fmla="*/ 7034825 w 8778454"/>
              <a:gd name="connsiteY345" fmla="*/ 2960655 h 8847047"/>
              <a:gd name="connsiteX346" fmla="*/ 7076656 w 8778454"/>
              <a:gd name="connsiteY346" fmla="*/ 3006038 h 8847047"/>
              <a:gd name="connsiteX347" fmla="*/ 7056684 w 8778454"/>
              <a:gd name="connsiteY347" fmla="*/ 3020359 h 8847047"/>
              <a:gd name="connsiteX348" fmla="*/ 7042876 w 8778454"/>
              <a:gd name="connsiteY348" fmla="*/ 3021214 h 8847047"/>
              <a:gd name="connsiteX349" fmla="*/ 7022589 w 8778454"/>
              <a:gd name="connsiteY349" fmla="*/ 3087018 h 8847047"/>
              <a:gd name="connsiteX350" fmla="*/ 6976795 w 8778454"/>
              <a:gd name="connsiteY350" fmla="*/ 3077643 h 8847047"/>
              <a:gd name="connsiteX351" fmla="*/ 6980789 w 8778454"/>
              <a:gd name="connsiteY351" fmla="*/ 3074778 h 8847047"/>
              <a:gd name="connsiteX352" fmla="*/ 6970599 w 8778454"/>
              <a:gd name="connsiteY352" fmla="*/ 3057965 h 8847047"/>
              <a:gd name="connsiteX353" fmla="*/ 6965881 w 8778454"/>
              <a:gd name="connsiteY353" fmla="*/ 3064363 h 8847047"/>
              <a:gd name="connsiteX354" fmla="*/ 6976795 w 8778454"/>
              <a:gd name="connsiteY354" fmla="*/ 3077643 h 8847047"/>
              <a:gd name="connsiteX355" fmla="*/ 6987362 w 8778454"/>
              <a:gd name="connsiteY355" fmla="*/ 3109262 h 8847047"/>
              <a:gd name="connsiteX356" fmla="*/ 6915809 w 8778454"/>
              <a:gd name="connsiteY356" fmla="*/ 3142479 h 8847047"/>
              <a:gd name="connsiteX357" fmla="*/ 6903856 w 8778454"/>
              <a:gd name="connsiteY357" fmla="*/ 3184215 h 8847047"/>
              <a:gd name="connsiteX358" fmla="*/ 6849727 w 8778454"/>
              <a:gd name="connsiteY358" fmla="*/ 3198908 h 8847047"/>
              <a:gd name="connsiteX359" fmla="*/ 6827176 w 8778454"/>
              <a:gd name="connsiteY359" fmla="*/ 3175882 h 8847047"/>
              <a:gd name="connsiteX360" fmla="*/ 6805726 w 8778454"/>
              <a:gd name="connsiteY360" fmla="*/ 3164126 h 8847047"/>
              <a:gd name="connsiteX361" fmla="*/ 6831486 w 8778454"/>
              <a:gd name="connsiteY361" fmla="*/ 3121535 h 8847047"/>
              <a:gd name="connsiteX362" fmla="*/ 6834757 w 8778454"/>
              <a:gd name="connsiteY362" fmla="*/ 3122204 h 8847047"/>
              <a:gd name="connsiteX363" fmla="*/ 6850011 w 8778454"/>
              <a:gd name="connsiteY363" fmla="*/ 3114281 h 8847047"/>
              <a:gd name="connsiteX364" fmla="*/ 6848187 w 8778454"/>
              <a:gd name="connsiteY364" fmla="*/ 3106544 h 8847047"/>
              <a:gd name="connsiteX365" fmla="*/ 6831486 w 8778454"/>
              <a:gd name="connsiteY365" fmla="*/ 3121535 h 8847047"/>
              <a:gd name="connsiteX366" fmla="*/ 6782767 w 8778454"/>
              <a:gd name="connsiteY366" fmla="*/ 3093151 h 8847047"/>
              <a:gd name="connsiteX367" fmla="*/ 6762834 w 8778454"/>
              <a:gd name="connsiteY367" fmla="*/ 3101037 h 8847047"/>
              <a:gd name="connsiteX368" fmla="*/ 6737927 w 8778454"/>
              <a:gd name="connsiteY368" fmla="*/ 3111289 h 8847047"/>
              <a:gd name="connsiteX369" fmla="*/ 6738451 w 8778454"/>
              <a:gd name="connsiteY369" fmla="*/ 3109853 h 8847047"/>
              <a:gd name="connsiteX370" fmla="*/ 6734457 w 8778454"/>
              <a:gd name="connsiteY370" fmla="*/ 3112717 h 8847047"/>
              <a:gd name="connsiteX371" fmla="*/ 6737927 w 8778454"/>
              <a:gd name="connsiteY371" fmla="*/ 3111289 h 8847047"/>
              <a:gd name="connsiteX372" fmla="*/ 6699669 w 8778454"/>
              <a:gd name="connsiteY372" fmla="*/ 3216053 h 8847047"/>
              <a:gd name="connsiteX373" fmla="*/ 6711307 w 8778454"/>
              <a:gd name="connsiteY373" fmla="*/ 3225800 h 8847047"/>
              <a:gd name="connsiteX374" fmla="*/ 6695737 w 8778454"/>
              <a:gd name="connsiteY374" fmla="*/ 3285206 h 8847047"/>
              <a:gd name="connsiteX375" fmla="*/ 6666706 w 8778454"/>
              <a:gd name="connsiteY375" fmla="*/ 3327128 h 8847047"/>
              <a:gd name="connsiteX376" fmla="*/ 6630725 w 8778454"/>
              <a:gd name="connsiteY376" fmla="*/ 3319762 h 8847047"/>
              <a:gd name="connsiteX377" fmla="*/ 6614779 w 8778454"/>
              <a:gd name="connsiteY377" fmla="*/ 3364362 h 8847047"/>
              <a:gd name="connsiteX378" fmla="*/ 6468715 w 8778454"/>
              <a:gd name="connsiteY378" fmla="*/ 3378644 h 8847047"/>
              <a:gd name="connsiteX379" fmla="*/ 6498563 w 8778454"/>
              <a:gd name="connsiteY379" fmla="*/ 3432620 h 8847047"/>
              <a:gd name="connsiteX380" fmla="*/ 6434998 w 8778454"/>
              <a:gd name="connsiteY380" fmla="*/ 3460108 h 8847047"/>
              <a:gd name="connsiteX381" fmla="*/ 6382285 w 8778454"/>
              <a:gd name="connsiteY381" fmla="*/ 3434589 h 8847047"/>
              <a:gd name="connsiteX382" fmla="*/ 6388795 w 8778454"/>
              <a:gd name="connsiteY382" fmla="*/ 3402785 h 8847047"/>
              <a:gd name="connsiteX383" fmla="*/ 6344102 w 8778454"/>
              <a:gd name="connsiteY383" fmla="*/ 3404681 h 8847047"/>
              <a:gd name="connsiteX384" fmla="*/ 6330640 w 8778454"/>
              <a:gd name="connsiteY384" fmla="*/ 3387198 h 8847047"/>
              <a:gd name="connsiteX385" fmla="*/ 6290350 w 8778454"/>
              <a:gd name="connsiteY385" fmla="*/ 3434179 h 8847047"/>
              <a:gd name="connsiteX386" fmla="*/ 6218388 w 8778454"/>
              <a:gd name="connsiteY386" fmla="*/ 3419447 h 8847047"/>
              <a:gd name="connsiteX387" fmla="*/ 6198855 w 8778454"/>
              <a:gd name="connsiteY387" fmla="*/ 3514861 h 8847047"/>
              <a:gd name="connsiteX388" fmla="*/ 6094529 w 8778454"/>
              <a:gd name="connsiteY388" fmla="*/ 3475094 h 8847047"/>
              <a:gd name="connsiteX389" fmla="*/ 6053138 w 8778454"/>
              <a:gd name="connsiteY389" fmla="*/ 3510803 h 8847047"/>
              <a:gd name="connsiteX390" fmla="*/ 6060434 w 8778454"/>
              <a:gd name="connsiteY390" fmla="*/ 3541753 h 8847047"/>
              <a:gd name="connsiteX391" fmla="*/ 6024485 w 8778454"/>
              <a:gd name="connsiteY391" fmla="*/ 3567531 h 8847047"/>
              <a:gd name="connsiteX392" fmla="*/ 6012439 w 8778454"/>
              <a:gd name="connsiteY392" fmla="*/ 3509836 h 8847047"/>
              <a:gd name="connsiteX393" fmla="*/ 5992120 w 8778454"/>
              <a:gd name="connsiteY393" fmla="*/ 3542496 h 8847047"/>
              <a:gd name="connsiteX394" fmla="*/ 5992183 w 8778454"/>
              <a:gd name="connsiteY394" fmla="*/ 3608783 h 8847047"/>
              <a:gd name="connsiteX395" fmla="*/ 5979161 w 8778454"/>
              <a:gd name="connsiteY395" fmla="*/ 3672392 h 8847047"/>
              <a:gd name="connsiteX396" fmla="*/ 5963183 w 8778454"/>
              <a:gd name="connsiteY396" fmla="*/ 3683849 h 8847047"/>
              <a:gd name="connsiteX397" fmla="*/ 5955856 w 8778454"/>
              <a:gd name="connsiteY397" fmla="*/ 3619756 h 8847047"/>
              <a:gd name="connsiteX398" fmla="*/ 5928618 w 8778454"/>
              <a:gd name="connsiteY398" fmla="*/ 3636272 h 8847047"/>
              <a:gd name="connsiteX399" fmla="*/ 5902419 w 8778454"/>
              <a:gd name="connsiteY399" fmla="*/ 3597771 h 8847047"/>
              <a:gd name="connsiteX400" fmla="*/ 5882447 w 8778454"/>
              <a:gd name="connsiteY400" fmla="*/ 3612092 h 8847047"/>
              <a:gd name="connsiteX401" fmla="*/ 5883232 w 8778454"/>
              <a:gd name="connsiteY401" fmla="*/ 3674846 h 8847047"/>
              <a:gd name="connsiteX402" fmla="*/ 5804067 w 8778454"/>
              <a:gd name="connsiteY402" fmla="*/ 3728596 h 8847047"/>
              <a:gd name="connsiteX403" fmla="*/ 5765192 w 8778454"/>
              <a:gd name="connsiteY403" fmla="*/ 3735366 h 8847047"/>
              <a:gd name="connsiteX404" fmla="*/ 5764814 w 8778454"/>
              <a:gd name="connsiteY404" fmla="*/ 3720561 h 8847047"/>
              <a:gd name="connsiteX405" fmla="*/ 5748837 w 8778454"/>
              <a:gd name="connsiteY405" fmla="*/ 3732018 h 8847047"/>
              <a:gd name="connsiteX406" fmla="*/ 5716819 w 8778454"/>
              <a:gd name="connsiteY406" fmla="*/ 3688644 h 8847047"/>
              <a:gd name="connsiteX407" fmla="*/ 5644573 w 8778454"/>
              <a:gd name="connsiteY407" fmla="*/ 3758538 h 8847047"/>
              <a:gd name="connsiteX408" fmla="*/ 5684895 w 8778454"/>
              <a:gd name="connsiteY408" fmla="*/ 3744701 h 8847047"/>
              <a:gd name="connsiteX409" fmla="*/ 5732136 w 8778454"/>
              <a:gd name="connsiteY409" fmla="*/ 3747008 h 8847047"/>
              <a:gd name="connsiteX410" fmla="*/ 5689706 w 8778454"/>
              <a:gd name="connsiteY410" fmla="*/ 3837735 h 8847047"/>
              <a:gd name="connsiteX411" fmla="*/ 5723485 w 8778454"/>
              <a:gd name="connsiteY411" fmla="*/ 3822558 h 8847047"/>
              <a:gd name="connsiteX412" fmla="*/ 5774406 w 8778454"/>
              <a:gd name="connsiteY412" fmla="*/ 3873484 h 8847047"/>
              <a:gd name="connsiteX413" fmla="*/ 5719613 w 8778454"/>
              <a:gd name="connsiteY413" fmla="*/ 3888555 h 8847047"/>
              <a:gd name="connsiteX414" fmla="*/ 5720246 w 8778454"/>
              <a:gd name="connsiteY414" fmla="*/ 3855033 h 8847047"/>
              <a:gd name="connsiteX415" fmla="*/ 5709709 w 8778454"/>
              <a:gd name="connsiteY415" fmla="*/ 3856557 h 8847047"/>
              <a:gd name="connsiteX416" fmla="*/ 5713011 w 8778454"/>
              <a:gd name="connsiteY416" fmla="*/ 3890371 h 8847047"/>
              <a:gd name="connsiteX417" fmla="*/ 5658913 w 8778454"/>
              <a:gd name="connsiteY417" fmla="*/ 3938207 h 8847047"/>
              <a:gd name="connsiteX418" fmla="*/ 5596449 w 8778454"/>
              <a:gd name="connsiteY418" fmla="*/ 3976967 h 8847047"/>
              <a:gd name="connsiteX419" fmla="*/ 5548893 w 8778454"/>
              <a:gd name="connsiteY419" fmla="*/ 4026143 h 8847047"/>
              <a:gd name="connsiteX420" fmla="*/ 5534331 w 8778454"/>
              <a:gd name="connsiteY420" fmla="*/ 3997388 h 8847047"/>
              <a:gd name="connsiteX421" fmla="*/ 5417423 w 8778454"/>
              <a:gd name="connsiteY421" fmla="*/ 4102323 h 8847047"/>
              <a:gd name="connsiteX422" fmla="*/ 5375969 w 8778454"/>
              <a:gd name="connsiteY422" fmla="*/ 4071745 h 8847047"/>
              <a:gd name="connsiteX423" fmla="*/ 5410787 w 8778454"/>
              <a:gd name="connsiteY423" fmla="*/ 4001552 h 8847047"/>
              <a:gd name="connsiteX424" fmla="*/ 5384965 w 8778454"/>
              <a:gd name="connsiteY424" fmla="*/ 3977856 h 8847047"/>
              <a:gd name="connsiteX425" fmla="*/ 5369365 w 8778454"/>
              <a:gd name="connsiteY425" fmla="*/ 4004118 h 8847047"/>
              <a:gd name="connsiteX426" fmla="*/ 5329390 w 8778454"/>
              <a:gd name="connsiteY426" fmla="*/ 3999617 h 8847047"/>
              <a:gd name="connsiteX427" fmla="*/ 5284066 w 8778454"/>
              <a:gd name="connsiteY427" fmla="*/ 4104478 h 8847047"/>
              <a:gd name="connsiteX428" fmla="*/ 5328382 w 8778454"/>
              <a:gd name="connsiteY428" fmla="*/ 4087777 h 8847047"/>
              <a:gd name="connsiteX429" fmla="*/ 5357129 w 8778454"/>
              <a:gd name="connsiteY429" fmla="*/ 4130481 h 8847047"/>
              <a:gd name="connsiteX430" fmla="*/ 5340102 w 8778454"/>
              <a:gd name="connsiteY430" fmla="*/ 4136661 h 8847047"/>
              <a:gd name="connsiteX431" fmla="*/ 5328339 w 8778454"/>
              <a:gd name="connsiteY431" fmla="*/ 4134839 h 8847047"/>
              <a:gd name="connsiteX432" fmla="*/ 5319111 w 8778454"/>
              <a:gd name="connsiteY432" fmla="*/ 4130983 h 8847047"/>
              <a:gd name="connsiteX433" fmla="*/ 5312436 w 8778454"/>
              <a:gd name="connsiteY433" fmla="*/ 4132377 h 8847047"/>
              <a:gd name="connsiteX434" fmla="*/ 5307718 w 8778454"/>
              <a:gd name="connsiteY434" fmla="*/ 4138775 h 8847047"/>
              <a:gd name="connsiteX435" fmla="*/ 5315301 w 8778454"/>
              <a:gd name="connsiteY435" fmla="*/ 4138034 h 8847047"/>
              <a:gd name="connsiteX436" fmla="*/ 5325177 w 8778454"/>
              <a:gd name="connsiteY436" fmla="*/ 4157538 h 8847047"/>
              <a:gd name="connsiteX437" fmla="*/ 5324827 w 8778454"/>
              <a:gd name="connsiteY437" fmla="*/ 4171734 h 8847047"/>
              <a:gd name="connsiteX438" fmla="*/ 5239404 w 8778454"/>
              <a:gd name="connsiteY438" fmla="*/ 4139518 h 8847047"/>
              <a:gd name="connsiteX439" fmla="*/ 5249279 w 8778454"/>
              <a:gd name="connsiteY439" fmla="*/ 4207815 h 8847047"/>
              <a:gd name="connsiteX440" fmla="*/ 5133786 w 8778454"/>
              <a:gd name="connsiteY440" fmla="*/ 4272538 h 8847047"/>
              <a:gd name="connsiteX441" fmla="*/ 5128283 w 8778454"/>
              <a:gd name="connsiteY441" fmla="*/ 4216183 h 8847047"/>
              <a:gd name="connsiteX442" fmla="*/ 5229214 w 8778454"/>
              <a:gd name="connsiteY442" fmla="*/ 4122704 h 8847047"/>
              <a:gd name="connsiteX443" fmla="*/ 5144922 w 8778454"/>
              <a:gd name="connsiteY443" fmla="*/ 4134904 h 8847047"/>
              <a:gd name="connsiteX444" fmla="*/ 5157659 w 8778454"/>
              <a:gd name="connsiteY444" fmla="*/ 4155921 h 8847047"/>
              <a:gd name="connsiteX445" fmla="*/ 5116269 w 8778454"/>
              <a:gd name="connsiteY445" fmla="*/ 4191631 h 8847047"/>
              <a:gd name="connsiteX446" fmla="*/ 5128283 w 8778454"/>
              <a:gd name="connsiteY446" fmla="*/ 4216183 h 8847047"/>
              <a:gd name="connsiteX447" fmla="*/ 5133786 w 8778454"/>
              <a:gd name="connsiteY447" fmla="*/ 4272538 h 8847047"/>
              <a:gd name="connsiteX448" fmla="*/ 5123627 w 8778454"/>
              <a:gd name="connsiteY448" fmla="*/ 4288868 h 8847047"/>
              <a:gd name="connsiteX449" fmla="*/ 5076355 w 8778454"/>
              <a:gd name="connsiteY449" fmla="*/ 4253417 h 8847047"/>
              <a:gd name="connsiteX450" fmla="*/ 5097397 w 8778454"/>
              <a:gd name="connsiteY450" fmla="*/ 4217224 h 8847047"/>
              <a:gd name="connsiteX451" fmla="*/ 5092302 w 8778454"/>
              <a:gd name="connsiteY451" fmla="*/ 4208817 h 8847047"/>
              <a:gd name="connsiteX452" fmla="*/ 4898713 w 8778454"/>
              <a:gd name="connsiteY452" fmla="*/ 4305418 h 8847047"/>
              <a:gd name="connsiteX453" fmla="*/ 4858800 w 8778454"/>
              <a:gd name="connsiteY453" fmla="*/ 4367204 h 8847047"/>
              <a:gd name="connsiteX454" fmla="*/ 4843514 w 8778454"/>
              <a:gd name="connsiteY454" fmla="*/ 4341983 h 8847047"/>
              <a:gd name="connsiteX455" fmla="*/ 4809766 w 8778454"/>
              <a:gd name="connsiteY455" fmla="*/ 4390303 h 8847047"/>
              <a:gd name="connsiteX456" fmla="*/ 4752743 w 8778454"/>
              <a:gd name="connsiteY456" fmla="*/ 4419131 h 8847047"/>
              <a:gd name="connsiteX457" fmla="*/ 4730192 w 8778454"/>
              <a:gd name="connsiteY457" fmla="*/ 4396105 h 8847047"/>
              <a:gd name="connsiteX458" fmla="*/ 4701885 w 8778454"/>
              <a:gd name="connsiteY458" fmla="*/ 4434493 h 8847047"/>
              <a:gd name="connsiteX459" fmla="*/ 4716447 w 8778454"/>
              <a:gd name="connsiteY459" fmla="*/ 4463248 h 8847047"/>
              <a:gd name="connsiteX460" fmla="*/ 4756769 w 8778454"/>
              <a:gd name="connsiteY460" fmla="*/ 4449411 h 8847047"/>
              <a:gd name="connsiteX461" fmla="*/ 4759347 w 8778454"/>
              <a:gd name="connsiteY461" fmla="*/ 4486758 h 8847047"/>
              <a:gd name="connsiteX462" fmla="*/ 5015777 w 8778454"/>
              <a:gd name="connsiteY462" fmla="*/ 4366202 h 8847047"/>
              <a:gd name="connsiteX463" fmla="*/ 4989232 w 8778454"/>
              <a:gd name="connsiteY463" fmla="*/ 4346040 h 8847047"/>
              <a:gd name="connsiteX464" fmla="*/ 4989578 w 8778454"/>
              <a:gd name="connsiteY464" fmla="*/ 4327701 h 8847047"/>
              <a:gd name="connsiteX465" fmla="*/ 5014268 w 8778454"/>
              <a:gd name="connsiteY465" fmla="*/ 4306982 h 8847047"/>
              <a:gd name="connsiteX466" fmla="*/ 5092772 w 8778454"/>
              <a:gd name="connsiteY466" fmla="*/ 4323053 h 8847047"/>
              <a:gd name="connsiteX467" fmla="*/ 5040090 w 8778454"/>
              <a:gd name="connsiteY467" fmla="*/ 4330678 h 8847047"/>
              <a:gd name="connsiteX468" fmla="*/ 5034303 w 8778454"/>
              <a:gd name="connsiteY468" fmla="*/ 4358949 h 8847047"/>
              <a:gd name="connsiteX469" fmla="*/ 5053205 w 8778454"/>
              <a:gd name="connsiteY469" fmla="*/ 4366500 h 8847047"/>
              <a:gd name="connsiteX470" fmla="*/ 5417516 w 8778454"/>
              <a:gd name="connsiteY470" fmla="*/ 4201754 h 8847047"/>
              <a:gd name="connsiteX471" fmla="*/ 5532285 w 8778454"/>
              <a:gd name="connsiteY471" fmla="*/ 4140565 h 8847047"/>
              <a:gd name="connsiteX472" fmla="*/ 5666681 w 8778454"/>
              <a:gd name="connsiteY472" fmla="*/ 4083393 h 8847047"/>
              <a:gd name="connsiteX473" fmla="*/ 5685929 w 8778454"/>
              <a:gd name="connsiteY473" fmla="*/ 4072606 h 8847047"/>
              <a:gd name="connsiteX474" fmla="*/ 5839573 w 8778454"/>
              <a:gd name="connsiteY474" fmla="*/ 4004647 h 8847047"/>
              <a:gd name="connsiteX475" fmla="*/ 5903862 w 8778454"/>
              <a:gd name="connsiteY475" fmla="*/ 3973624 h 8847047"/>
              <a:gd name="connsiteX476" fmla="*/ 5919116 w 8778454"/>
              <a:gd name="connsiteY476" fmla="*/ 3965701 h 8847047"/>
              <a:gd name="connsiteX477" fmla="*/ 6097104 w 8778454"/>
              <a:gd name="connsiteY477" fmla="*/ 3895362 h 8847047"/>
              <a:gd name="connsiteX478" fmla="*/ 6126543 w 8778454"/>
              <a:gd name="connsiteY478" fmla="*/ 3901388 h 8847047"/>
              <a:gd name="connsiteX479" fmla="*/ 6206809 w 8778454"/>
              <a:gd name="connsiteY479" fmla="*/ 3858909 h 8847047"/>
              <a:gd name="connsiteX480" fmla="*/ 6282703 w 8778454"/>
              <a:gd name="connsiteY480" fmla="*/ 3804489 h 8847047"/>
              <a:gd name="connsiteX481" fmla="*/ 6441820 w 8778454"/>
              <a:gd name="connsiteY481" fmla="*/ 3759742 h 8847047"/>
              <a:gd name="connsiteX482" fmla="*/ 6620154 w 8778454"/>
              <a:gd name="connsiteY482" fmla="*/ 3671064 h 8847047"/>
              <a:gd name="connsiteX483" fmla="*/ 6639780 w 8778454"/>
              <a:gd name="connsiteY483" fmla="*/ 3675082 h 8847047"/>
              <a:gd name="connsiteX484" fmla="*/ 7005160 w 8778454"/>
              <a:gd name="connsiteY484" fmla="*/ 3488463 h 8847047"/>
              <a:gd name="connsiteX485" fmla="*/ 7034600 w 8778454"/>
              <a:gd name="connsiteY485" fmla="*/ 3494490 h 8847047"/>
              <a:gd name="connsiteX486" fmla="*/ 7253255 w 8778454"/>
              <a:gd name="connsiteY486" fmla="*/ 3391975 h 8847047"/>
              <a:gd name="connsiteX487" fmla="*/ 7472288 w 8778454"/>
              <a:gd name="connsiteY487" fmla="*/ 3304264 h 8847047"/>
              <a:gd name="connsiteX488" fmla="*/ 7627033 w 8778454"/>
              <a:gd name="connsiteY488" fmla="*/ 3247576 h 8847047"/>
              <a:gd name="connsiteX489" fmla="*/ 7648830 w 8778454"/>
              <a:gd name="connsiteY489" fmla="*/ 3240993 h 8847047"/>
              <a:gd name="connsiteX490" fmla="*/ 7754917 w 8778454"/>
              <a:gd name="connsiteY490" fmla="*/ 3222209 h 8847047"/>
              <a:gd name="connsiteX491" fmla="*/ 7706984 w 8778454"/>
              <a:gd name="connsiteY491" fmla="*/ 3256580 h 8847047"/>
              <a:gd name="connsiteX492" fmla="*/ 7656849 w 8778454"/>
              <a:gd name="connsiteY492" fmla="*/ 3268408 h 8847047"/>
              <a:gd name="connsiteX493" fmla="*/ 7607815 w 8778454"/>
              <a:gd name="connsiteY493" fmla="*/ 3291507 h 8847047"/>
              <a:gd name="connsiteX494" fmla="*/ 7530821 w 8778454"/>
              <a:gd name="connsiteY494" fmla="*/ 3334656 h 8847047"/>
              <a:gd name="connsiteX495" fmla="*/ 7418945 w 8778454"/>
              <a:gd name="connsiteY495" fmla="*/ 3381711 h 8847047"/>
              <a:gd name="connsiteX496" fmla="*/ 7416051 w 8778454"/>
              <a:gd name="connsiteY496" fmla="*/ 3395846 h 8847047"/>
              <a:gd name="connsiteX497" fmla="*/ 7156696 w 8778454"/>
              <a:gd name="connsiteY497" fmla="*/ 3497393 h 8847047"/>
              <a:gd name="connsiteX498" fmla="*/ 7129836 w 8778454"/>
              <a:gd name="connsiteY498" fmla="*/ 3528714 h 8847047"/>
              <a:gd name="connsiteX499" fmla="*/ 7022301 w 8778454"/>
              <a:gd name="connsiteY499" fmla="*/ 3554565 h 8847047"/>
              <a:gd name="connsiteX500" fmla="*/ 6899543 w 8778454"/>
              <a:gd name="connsiteY500" fmla="*/ 3621483 h 8847047"/>
              <a:gd name="connsiteX501" fmla="*/ 6878439 w 8778454"/>
              <a:gd name="connsiteY501" fmla="*/ 3591389 h 8847047"/>
              <a:gd name="connsiteX502" fmla="*/ 6801475 w 8778454"/>
              <a:gd name="connsiteY502" fmla="*/ 3667682 h 8847047"/>
              <a:gd name="connsiteX503" fmla="*/ 6764771 w 8778454"/>
              <a:gd name="connsiteY503" fmla="*/ 3663850 h 8847047"/>
              <a:gd name="connsiteX504" fmla="*/ 6731022 w 8778454"/>
              <a:gd name="connsiteY504" fmla="*/ 3712170 h 8847047"/>
              <a:gd name="connsiteX505" fmla="*/ 6694695 w 8778454"/>
              <a:gd name="connsiteY505" fmla="*/ 3723143 h 8847047"/>
              <a:gd name="connsiteX506" fmla="*/ 6632546 w 8778454"/>
              <a:gd name="connsiteY506" fmla="*/ 3710420 h 8847047"/>
              <a:gd name="connsiteX507" fmla="*/ 6442228 w 8778454"/>
              <a:gd name="connsiteY507" fmla="*/ 3807691 h 8847047"/>
              <a:gd name="connsiteX508" fmla="*/ 6390300 w 8778454"/>
              <a:gd name="connsiteY508" fmla="*/ 3844926 h 8847047"/>
              <a:gd name="connsiteX509" fmla="*/ 6315822 w 8778454"/>
              <a:gd name="connsiteY509" fmla="*/ 3859134 h 8847047"/>
              <a:gd name="connsiteX510" fmla="*/ 6228636 w 8778454"/>
              <a:gd name="connsiteY510" fmla="*/ 3885469 h 8847047"/>
              <a:gd name="connsiteX511" fmla="*/ 6178533 w 8778454"/>
              <a:gd name="connsiteY511" fmla="*/ 3930441 h 8847047"/>
              <a:gd name="connsiteX512" fmla="*/ 6129468 w 8778454"/>
              <a:gd name="connsiteY512" fmla="*/ 3920397 h 8847047"/>
              <a:gd name="connsiteX513" fmla="*/ 5982019 w 8778454"/>
              <a:gd name="connsiteY513" fmla="*/ 4008034 h 8847047"/>
              <a:gd name="connsiteX514" fmla="*/ 5846178 w 8778454"/>
              <a:gd name="connsiteY514" fmla="*/ 4072274 h 8847047"/>
              <a:gd name="connsiteX515" fmla="*/ 5691056 w 8778454"/>
              <a:gd name="connsiteY515" fmla="*/ 4114157 h 8847047"/>
              <a:gd name="connsiteX516" fmla="*/ 5618809 w 8778454"/>
              <a:gd name="connsiteY516" fmla="*/ 4184051 h 8847047"/>
              <a:gd name="connsiteX517" fmla="*/ 5569021 w 8778454"/>
              <a:gd name="connsiteY517" fmla="*/ 4177541 h 8847047"/>
              <a:gd name="connsiteX518" fmla="*/ 5459347 w 8778454"/>
              <a:gd name="connsiteY518" fmla="*/ 4247137 h 8847047"/>
              <a:gd name="connsiteX519" fmla="*/ 5455730 w 8778454"/>
              <a:gd name="connsiteY519" fmla="*/ 4264806 h 8847047"/>
              <a:gd name="connsiteX520" fmla="*/ 5383452 w 8778454"/>
              <a:gd name="connsiteY520" fmla="*/ 4301557 h 8847047"/>
              <a:gd name="connsiteX521" fmla="*/ 5259217 w 8778454"/>
              <a:gd name="connsiteY521" fmla="*/ 4342399 h 8847047"/>
              <a:gd name="connsiteX522" fmla="*/ 5251982 w 8778454"/>
              <a:gd name="connsiteY522" fmla="*/ 4377738 h 8847047"/>
              <a:gd name="connsiteX523" fmla="*/ 5365367 w 8778454"/>
              <a:gd name="connsiteY523" fmla="*/ 4389903 h 8847047"/>
              <a:gd name="connsiteX524" fmla="*/ 5351528 w 8778454"/>
              <a:gd name="connsiteY524" fmla="*/ 4357615 h 8847047"/>
              <a:gd name="connsiteX525" fmla="*/ 5383452 w 8778454"/>
              <a:gd name="connsiteY525" fmla="*/ 4301557 h 8847047"/>
              <a:gd name="connsiteX526" fmla="*/ 5455730 w 8778454"/>
              <a:gd name="connsiteY526" fmla="*/ 4264806 h 8847047"/>
              <a:gd name="connsiteX527" fmla="*/ 5479004 w 8778454"/>
              <a:gd name="connsiteY527" fmla="*/ 4284299 h 8847047"/>
              <a:gd name="connsiteX528" fmla="*/ 5591226 w 8778454"/>
              <a:gd name="connsiteY528" fmla="*/ 4218906 h 8847047"/>
              <a:gd name="connsiteX529" fmla="*/ 5930847 w 8778454"/>
              <a:gd name="connsiteY529" fmla="*/ 4074879 h 8847047"/>
              <a:gd name="connsiteX530" fmla="*/ 5942452 w 8778454"/>
              <a:gd name="connsiteY530" fmla="*/ 4051481 h 8847047"/>
              <a:gd name="connsiteX531" fmla="*/ 5981705 w 8778454"/>
              <a:gd name="connsiteY531" fmla="*/ 4059517 h 8847047"/>
              <a:gd name="connsiteX532" fmla="*/ 6031808 w 8778454"/>
              <a:gd name="connsiteY532" fmla="*/ 4014545 h 8847047"/>
              <a:gd name="connsiteX533" fmla="*/ 6240682 w 8778454"/>
              <a:gd name="connsiteY533" fmla="*/ 3943164 h 8847047"/>
              <a:gd name="connsiteX534" fmla="*/ 6266912 w 8778454"/>
              <a:gd name="connsiteY534" fmla="*/ 4014809 h 8847047"/>
              <a:gd name="connsiteX535" fmla="*/ 6311544 w 8778454"/>
              <a:gd name="connsiteY535" fmla="*/ 3946625 h 8847047"/>
              <a:gd name="connsiteX536" fmla="*/ 6392879 w 8778454"/>
              <a:gd name="connsiteY536" fmla="*/ 3882273 h 8847047"/>
              <a:gd name="connsiteX537" fmla="*/ 6463363 w 8778454"/>
              <a:gd name="connsiteY537" fmla="*/ 3870929 h 8847047"/>
              <a:gd name="connsiteX538" fmla="*/ 6470598 w 8778454"/>
              <a:gd name="connsiteY538" fmla="*/ 3835590 h 8847047"/>
              <a:gd name="connsiteX539" fmla="*/ 6689631 w 8778454"/>
              <a:gd name="connsiteY539" fmla="*/ 3747880 h 8847047"/>
              <a:gd name="connsiteX540" fmla="*/ 6694695 w 8778454"/>
              <a:gd name="connsiteY540" fmla="*/ 3723143 h 8847047"/>
              <a:gd name="connsiteX541" fmla="*/ 6731022 w 8778454"/>
              <a:gd name="connsiteY541" fmla="*/ 3712170 h 8847047"/>
              <a:gd name="connsiteX542" fmla="*/ 6863247 w 8778454"/>
              <a:gd name="connsiteY542" fmla="*/ 3665600 h 8847047"/>
              <a:gd name="connsiteX543" fmla="*/ 7032145 w 8778454"/>
              <a:gd name="connsiteY543" fmla="*/ 3589718 h 8847047"/>
              <a:gd name="connsiteX544" fmla="*/ 7171636 w 8778454"/>
              <a:gd name="connsiteY544" fmla="*/ 3540953 h 8847047"/>
              <a:gd name="connsiteX545" fmla="*/ 7240642 w 8778454"/>
              <a:gd name="connsiteY545" fmla="*/ 3503532 h 8847047"/>
              <a:gd name="connsiteX546" fmla="*/ 7247561 w 8778454"/>
              <a:gd name="connsiteY546" fmla="*/ 3519677 h 8847047"/>
              <a:gd name="connsiteX547" fmla="*/ 7431337 w 8778454"/>
              <a:gd name="connsiteY547" fmla="*/ 3421067 h 8847047"/>
              <a:gd name="connsiteX548" fmla="*/ 7393625 w 8778454"/>
              <a:gd name="connsiteY548" fmla="*/ 3505395 h 8847047"/>
              <a:gd name="connsiteX549" fmla="*/ 7401267 w 8778454"/>
              <a:gd name="connsiteY549" fmla="*/ 3518006 h 8847047"/>
              <a:gd name="connsiteX550" fmla="*/ 7422309 w 8778454"/>
              <a:gd name="connsiteY550" fmla="*/ 3481811 h 8847047"/>
              <a:gd name="connsiteX551" fmla="*/ 7429952 w 8778454"/>
              <a:gd name="connsiteY551" fmla="*/ 3494422 h 8847047"/>
              <a:gd name="connsiteX552" fmla="*/ 7444421 w 8778454"/>
              <a:gd name="connsiteY552" fmla="*/ 3423745 h 8847047"/>
              <a:gd name="connsiteX553" fmla="*/ 7511980 w 8778454"/>
              <a:gd name="connsiteY553" fmla="*/ 3393392 h 8847047"/>
              <a:gd name="connsiteX554" fmla="*/ 7533808 w 8778454"/>
              <a:gd name="connsiteY554" fmla="*/ 3419952 h 8847047"/>
              <a:gd name="connsiteX555" fmla="*/ 7653640 w 8778454"/>
              <a:gd name="connsiteY555" fmla="*/ 3334026 h 8847047"/>
              <a:gd name="connsiteX556" fmla="*/ 7740480 w 8778454"/>
              <a:gd name="connsiteY556" fmla="*/ 3326030 h 8847047"/>
              <a:gd name="connsiteX557" fmla="*/ 7784765 w 8778454"/>
              <a:gd name="connsiteY557" fmla="*/ 3276184 h 8847047"/>
              <a:gd name="connsiteX558" fmla="*/ 7796779 w 8778454"/>
              <a:gd name="connsiteY558" fmla="*/ 3300736 h 8847047"/>
              <a:gd name="connsiteX559" fmla="*/ 7873805 w 8778454"/>
              <a:gd name="connsiteY559" fmla="*/ 3290730 h 8847047"/>
              <a:gd name="connsiteX560" fmla="*/ 7959859 w 8778454"/>
              <a:gd name="connsiteY560" fmla="*/ 3219981 h 8847047"/>
              <a:gd name="connsiteX561" fmla="*/ 8030059 w 8778454"/>
              <a:gd name="connsiteY561" fmla="*/ 3293262 h 8847047"/>
              <a:gd name="connsiteX562" fmla="*/ 8068557 w 8778454"/>
              <a:gd name="connsiteY562" fmla="*/ 3271688 h 8847047"/>
              <a:gd name="connsiteX563" fmla="*/ 8113974 w 8778454"/>
              <a:gd name="connsiteY563" fmla="*/ 3266258 h 8847047"/>
              <a:gd name="connsiteX564" fmla="*/ 8131367 w 8778454"/>
              <a:gd name="connsiteY564" fmla="*/ 3214590 h 8847047"/>
              <a:gd name="connsiteX565" fmla="*/ 8146684 w 8778454"/>
              <a:gd name="connsiteY565" fmla="*/ 3272954 h 8847047"/>
              <a:gd name="connsiteX566" fmla="*/ 8126711 w 8778454"/>
              <a:gd name="connsiteY566" fmla="*/ 3287275 h 8847047"/>
              <a:gd name="connsiteX567" fmla="*/ 8136210 w 8778454"/>
              <a:gd name="connsiteY567" fmla="*/ 3340767 h 8847047"/>
              <a:gd name="connsiteX568" fmla="*/ 8062485 w 8778454"/>
              <a:gd name="connsiteY568" fmla="*/ 3384585 h 8847047"/>
              <a:gd name="connsiteX569" fmla="*/ 8067581 w 8778454"/>
              <a:gd name="connsiteY569" fmla="*/ 3392992 h 8847047"/>
              <a:gd name="connsiteX570" fmla="*/ 7994327 w 8778454"/>
              <a:gd name="connsiteY570" fmla="*/ 3551047 h 8847047"/>
              <a:gd name="connsiteX571" fmla="*/ 8059654 w 8778454"/>
              <a:gd name="connsiteY571" fmla="*/ 3465008 h 8847047"/>
              <a:gd name="connsiteX572" fmla="*/ 8121803 w 8778454"/>
              <a:gd name="connsiteY572" fmla="*/ 3477732 h 8847047"/>
              <a:gd name="connsiteX573" fmla="*/ 8137718 w 8778454"/>
              <a:gd name="connsiteY573" fmla="*/ 3399987 h 8847047"/>
              <a:gd name="connsiteX574" fmla="*/ 8194427 w 8778454"/>
              <a:gd name="connsiteY574" fmla="*/ 3422642 h 8847047"/>
              <a:gd name="connsiteX575" fmla="*/ 8256545 w 8778454"/>
              <a:gd name="connsiteY575" fmla="*/ 3402221 h 8847047"/>
              <a:gd name="connsiteX576" fmla="*/ 8225343 w 8778454"/>
              <a:gd name="connsiteY576" fmla="*/ 3454744 h 8847047"/>
              <a:gd name="connsiteX577" fmla="*/ 8159954 w 8778454"/>
              <a:gd name="connsiteY577" fmla="*/ 3474496 h 8847047"/>
              <a:gd name="connsiteX578" fmla="*/ 8149103 w 8778454"/>
              <a:gd name="connsiteY578" fmla="*/ 3527503 h 8847047"/>
              <a:gd name="connsiteX579" fmla="*/ 8182945 w 8778454"/>
              <a:gd name="connsiteY579" fmla="*/ 3578615 h 8847047"/>
              <a:gd name="connsiteX580" fmla="*/ 8263180 w 8778454"/>
              <a:gd name="connsiteY580" fmla="*/ 3502991 h 8847047"/>
              <a:gd name="connsiteX581" fmla="*/ 8291549 w 8778454"/>
              <a:gd name="connsiteY581" fmla="*/ 3530891 h 8847047"/>
              <a:gd name="connsiteX582" fmla="*/ 8361972 w 8778454"/>
              <a:gd name="connsiteY582" fmla="*/ 3453259 h 8847047"/>
              <a:gd name="connsiteX583" fmla="*/ 8425598 w 8778454"/>
              <a:gd name="connsiteY583" fmla="*/ 3492058 h 8847047"/>
              <a:gd name="connsiteX584" fmla="*/ 8390780 w 8778454"/>
              <a:gd name="connsiteY584" fmla="*/ 3562251 h 8847047"/>
              <a:gd name="connsiteX585" fmla="*/ 8499416 w 8778454"/>
              <a:gd name="connsiteY585" fmla="*/ 3547671 h 8847047"/>
              <a:gd name="connsiteX586" fmla="*/ 8524168 w 8778454"/>
              <a:gd name="connsiteY586" fmla="*/ 3593239 h 8847047"/>
              <a:gd name="connsiteX587" fmla="*/ 8452960 w 8778454"/>
              <a:gd name="connsiteY587" fmla="*/ 3608117 h 8847047"/>
              <a:gd name="connsiteX588" fmla="*/ 8442108 w 8778454"/>
              <a:gd name="connsiteY588" fmla="*/ 3661125 h 8847047"/>
              <a:gd name="connsiteX589" fmla="*/ 8549990 w 8778454"/>
              <a:gd name="connsiteY589" fmla="*/ 3616935 h 8847047"/>
              <a:gd name="connsiteX590" fmla="*/ 8524984 w 8778454"/>
              <a:gd name="connsiteY590" fmla="*/ 3689137 h 8847047"/>
              <a:gd name="connsiteX591" fmla="*/ 8529388 w 8778454"/>
              <a:gd name="connsiteY591" fmla="*/ 3734222 h 8847047"/>
              <a:gd name="connsiteX592" fmla="*/ 8441856 w 8778454"/>
              <a:gd name="connsiteY592" fmla="*/ 3778895 h 8847047"/>
              <a:gd name="connsiteX593" fmla="*/ 8455694 w 8778454"/>
              <a:gd name="connsiteY593" fmla="*/ 3811184 h 8847047"/>
              <a:gd name="connsiteX594" fmla="*/ 8342058 w 8778454"/>
              <a:gd name="connsiteY594" fmla="*/ 3916789 h 8847047"/>
              <a:gd name="connsiteX595" fmla="*/ 8375144 w 8778454"/>
              <a:gd name="connsiteY595" fmla="*/ 3938290 h 8847047"/>
              <a:gd name="connsiteX596" fmla="*/ 8391468 w 8778454"/>
              <a:gd name="connsiteY596" fmla="*/ 3908494 h 8847047"/>
              <a:gd name="connsiteX597" fmla="*/ 8600720 w 8778454"/>
              <a:gd name="connsiteY597" fmla="*/ 3851919 h 8847047"/>
              <a:gd name="connsiteX598" fmla="*/ 8702468 w 8778454"/>
              <a:gd name="connsiteY598" fmla="*/ 3854338 h 8847047"/>
              <a:gd name="connsiteX599" fmla="*/ 8727566 w 8778454"/>
              <a:gd name="connsiteY599" fmla="*/ 3881568 h 8847047"/>
              <a:gd name="connsiteX600" fmla="*/ 8757350 w 8778454"/>
              <a:gd name="connsiteY600" fmla="*/ 3869256 h 8847047"/>
              <a:gd name="connsiteX601" fmla="*/ 8778454 w 8778454"/>
              <a:gd name="connsiteY601" fmla="*/ 3899350 h 8847047"/>
              <a:gd name="connsiteX602" fmla="*/ 8734138 w 8778454"/>
              <a:gd name="connsiteY602" fmla="*/ 3916051 h 8847047"/>
              <a:gd name="connsiteX603" fmla="*/ 8745430 w 8778454"/>
              <a:gd name="connsiteY603" fmla="*/ 3944136 h 8847047"/>
              <a:gd name="connsiteX604" fmla="*/ 8709134 w 8778454"/>
              <a:gd name="connsiteY604" fmla="*/ 3988253 h 8847047"/>
              <a:gd name="connsiteX605" fmla="*/ 8703346 w 8778454"/>
              <a:gd name="connsiteY605" fmla="*/ 4016524 h 8847047"/>
              <a:gd name="connsiteX606" fmla="*/ 8667366 w 8778454"/>
              <a:gd name="connsiteY606" fmla="*/ 4009158 h 8847047"/>
              <a:gd name="connsiteX607" fmla="*/ 8629244 w 8778454"/>
              <a:gd name="connsiteY607" fmla="*/ 4045537 h 8847047"/>
              <a:gd name="connsiteX608" fmla="*/ 8629968 w 8778454"/>
              <a:gd name="connsiteY608" fmla="*/ 4042003 h 8847047"/>
              <a:gd name="connsiteX609" fmla="*/ 8623050 w 8778454"/>
              <a:gd name="connsiteY609" fmla="*/ 4025859 h 8847047"/>
              <a:gd name="connsiteX610" fmla="*/ 8618332 w 8778454"/>
              <a:gd name="connsiteY610" fmla="*/ 4032257 h 8847047"/>
              <a:gd name="connsiteX611" fmla="*/ 8629244 w 8778454"/>
              <a:gd name="connsiteY611" fmla="*/ 4045537 h 8847047"/>
              <a:gd name="connsiteX612" fmla="*/ 8594804 w 8778454"/>
              <a:gd name="connsiteY612" fmla="*/ 4130535 h 8847047"/>
              <a:gd name="connsiteX613" fmla="*/ 8558192 w 8778454"/>
              <a:gd name="connsiteY613" fmla="*/ 4226135 h 8847047"/>
              <a:gd name="connsiteX614" fmla="*/ 8586562 w 8778454"/>
              <a:gd name="connsiteY614" fmla="*/ 4254034 h 8847047"/>
              <a:gd name="connsiteX615" fmla="*/ 8572094 w 8778454"/>
              <a:gd name="connsiteY615" fmla="*/ 4324711 h 8847047"/>
              <a:gd name="connsiteX616" fmla="*/ 8637514 w 8778454"/>
              <a:gd name="connsiteY616" fmla="*/ 4338103 h 8847047"/>
              <a:gd name="connsiteX617" fmla="*/ 8667644 w 8778454"/>
              <a:gd name="connsiteY617" fmla="*/ 4307452 h 8847047"/>
              <a:gd name="connsiteX618" fmla="*/ 8632104 w 8778454"/>
              <a:gd name="connsiteY618" fmla="*/ 4381179 h 8847047"/>
              <a:gd name="connsiteX619" fmla="*/ 8605558 w 8778454"/>
              <a:gd name="connsiteY619" fmla="*/ 4361017 h 8847047"/>
              <a:gd name="connsiteX620" fmla="*/ 8551430 w 8778454"/>
              <a:gd name="connsiteY620" fmla="*/ 4375709 h 8847047"/>
              <a:gd name="connsiteX621" fmla="*/ 8535420 w 8778454"/>
              <a:gd name="connsiteY621" fmla="*/ 4354023 h 8847047"/>
              <a:gd name="connsiteX622" fmla="*/ 8493652 w 8778454"/>
              <a:gd name="connsiteY622" fmla="*/ 4374927 h 8847047"/>
              <a:gd name="connsiteX623" fmla="*/ 8510762 w 8778454"/>
              <a:gd name="connsiteY623" fmla="*/ 4407885 h 8847047"/>
              <a:gd name="connsiteX624" fmla="*/ 8421406 w 8778454"/>
              <a:gd name="connsiteY624" fmla="*/ 4444822 h 8847047"/>
              <a:gd name="connsiteX625" fmla="*/ 8385424 w 8778454"/>
              <a:gd name="connsiteY625" fmla="*/ 4437456 h 8847047"/>
              <a:gd name="connsiteX626" fmla="*/ 8365138 w 8778454"/>
              <a:gd name="connsiteY626" fmla="*/ 4503260 h 8847047"/>
              <a:gd name="connsiteX627" fmla="*/ 8333528 w 8778454"/>
              <a:gd name="connsiteY627" fmla="*/ 4507835 h 8847047"/>
              <a:gd name="connsiteX628" fmla="*/ 8363406 w 8778454"/>
              <a:gd name="connsiteY628" fmla="*/ 4594954 h 8847047"/>
              <a:gd name="connsiteX629" fmla="*/ 8340164 w 8778454"/>
              <a:gd name="connsiteY629" fmla="*/ 4608606 h 8847047"/>
              <a:gd name="connsiteX630" fmla="*/ 8287072 w 8778454"/>
              <a:gd name="connsiteY630" fmla="*/ 4568282 h 8847047"/>
              <a:gd name="connsiteX631" fmla="*/ 8323840 w 8778454"/>
              <a:gd name="connsiteY631" fmla="*/ 4638401 h 8847047"/>
              <a:gd name="connsiteX632" fmla="*/ 8295878 w 8778454"/>
              <a:gd name="connsiteY632" fmla="*/ 4658451 h 8847047"/>
              <a:gd name="connsiteX633" fmla="*/ 8230458 w 8778454"/>
              <a:gd name="connsiteY633" fmla="*/ 4645058 h 8847047"/>
              <a:gd name="connsiteX634" fmla="*/ 8185072 w 8778454"/>
              <a:gd name="connsiteY634" fmla="*/ 4683632 h 8847047"/>
              <a:gd name="connsiteX635" fmla="*/ 8225425 w 8778454"/>
              <a:gd name="connsiteY635" fmla="*/ 4702939 h 8847047"/>
              <a:gd name="connsiteX636" fmla="*/ 8079801 w 8778454"/>
              <a:gd name="connsiteY636" fmla="*/ 4798313 h 8847047"/>
              <a:gd name="connsiteX637" fmla="*/ 8065585 w 8778454"/>
              <a:gd name="connsiteY637" fmla="*/ 4751220 h 8847047"/>
              <a:gd name="connsiteX638" fmla="*/ 8082287 w 8778454"/>
              <a:gd name="connsiteY638" fmla="*/ 4736229 h 8847047"/>
              <a:gd name="connsiteX639" fmla="*/ 8050646 w 8778454"/>
              <a:gd name="connsiteY639" fmla="*/ 4707660 h 8847047"/>
              <a:gd name="connsiteX640" fmla="*/ 8009601 w 8778454"/>
              <a:gd name="connsiteY640" fmla="*/ 4725031 h 8847047"/>
              <a:gd name="connsiteX641" fmla="*/ 8038725 w 8778454"/>
              <a:gd name="connsiteY641" fmla="*/ 4782541 h 8847047"/>
              <a:gd name="connsiteX642" fmla="*/ 8018029 w 8778454"/>
              <a:gd name="connsiteY642" fmla="*/ 4800395 h 8847047"/>
              <a:gd name="connsiteX643" fmla="*/ 8054387 w 8778454"/>
              <a:gd name="connsiteY643" fmla="*/ 4822566 h 8847047"/>
              <a:gd name="connsiteX644" fmla="*/ 8012619 w 8778454"/>
              <a:gd name="connsiteY644" fmla="*/ 4843471 h 8847047"/>
              <a:gd name="connsiteX645" fmla="*/ 8008971 w 8778454"/>
              <a:gd name="connsiteY645" fmla="*/ 4827997 h 8847047"/>
              <a:gd name="connsiteX646" fmla="*/ 7996264 w 8778454"/>
              <a:gd name="connsiteY646" fmla="*/ 4840123 h 8847047"/>
              <a:gd name="connsiteX647" fmla="*/ 7980947 w 8778454"/>
              <a:gd name="connsiteY647" fmla="*/ 4781758 h 8847047"/>
              <a:gd name="connsiteX648" fmla="*/ 7964592 w 8778454"/>
              <a:gd name="connsiteY648" fmla="*/ 4778410 h 8847047"/>
              <a:gd name="connsiteX649" fmla="*/ 7955157 w 8778454"/>
              <a:gd name="connsiteY649" fmla="*/ 4791206 h 8847047"/>
              <a:gd name="connsiteX650" fmla="*/ 7961730 w 8778454"/>
              <a:gd name="connsiteY650" fmla="*/ 4825689 h 8847047"/>
              <a:gd name="connsiteX651" fmla="*/ 7931221 w 8778454"/>
              <a:gd name="connsiteY651" fmla="*/ 4841536 h 8847047"/>
              <a:gd name="connsiteX652" fmla="*/ 7935278 w 8778454"/>
              <a:gd name="connsiteY652" fmla="*/ 4904959 h 8847047"/>
              <a:gd name="connsiteX653" fmla="*/ 7836140 w 8778454"/>
              <a:gd name="connsiteY653" fmla="*/ 4973031 h 8847047"/>
              <a:gd name="connsiteX654" fmla="*/ 7827019 w 8778454"/>
              <a:gd name="connsiteY654" fmla="*/ 4934344 h 8847047"/>
              <a:gd name="connsiteX655" fmla="*/ 7837494 w 8778454"/>
              <a:gd name="connsiteY655" fmla="*/ 4866531 h 8847047"/>
              <a:gd name="connsiteX656" fmla="*/ 7804815 w 8778454"/>
              <a:gd name="connsiteY656" fmla="*/ 4892979 h 8847047"/>
              <a:gd name="connsiteX657" fmla="*/ 7809972 w 8778454"/>
              <a:gd name="connsiteY657" fmla="*/ 4967674 h 8847047"/>
              <a:gd name="connsiteX658" fmla="*/ 7836140 w 8778454"/>
              <a:gd name="connsiteY658" fmla="*/ 4973031 h 8847047"/>
              <a:gd name="connsiteX659" fmla="*/ 7662932 w 8778454"/>
              <a:gd name="connsiteY659" fmla="*/ 5103260 h 8847047"/>
              <a:gd name="connsiteX660" fmla="*/ 7650918 w 8778454"/>
              <a:gd name="connsiteY660" fmla="*/ 5078708 h 8847047"/>
              <a:gd name="connsiteX661" fmla="*/ 7606602 w 8778454"/>
              <a:gd name="connsiteY661" fmla="*/ 5095410 h 8847047"/>
              <a:gd name="connsiteX662" fmla="*/ 7610596 w 8778454"/>
              <a:gd name="connsiteY662" fmla="*/ 5092546 h 8847047"/>
              <a:gd name="connsiteX663" fmla="*/ 7600406 w 8778454"/>
              <a:gd name="connsiteY663" fmla="*/ 5075731 h 8847047"/>
              <a:gd name="connsiteX664" fmla="*/ 7596411 w 8778454"/>
              <a:gd name="connsiteY664" fmla="*/ 5078596 h 8847047"/>
              <a:gd name="connsiteX665" fmla="*/ 7606602 w 8778454"/>
              <a:gd name="connsiteY665" fmla="*/ 5095410 h 8847047"/>
              <a:gd name="connsiteX666" fmla="*/ 7603708 w 8778454"/>
              <a:gd name="connsiteY666" fmla="*/ 5109545 h 8847047"/>
              <a:gd name="connsiteX667" fmla="*/ 7558291 w 8778454"/>
              <a:gd name="connsiteY667" fmla="*/ 5114975 h 8847047"/>
              <a:gd name="connsiteX668" fmla="*/ 7550618 w 8778454"/>
              <a:gd name="connsiteY668" fmla="*/ 5069221 h 8847047"/>
              <a:gd name="connsiteX669" fmla="*/ 7537596 w 8778454"/>
              <a:gd name="connsiteY669" fmla="*/ 5132830 h 8847047"/>
              <a:gd name="connsiteX670" fmla="*/ 7580119 w 8778454"/>
              <a:gd name="connsiteY670" fmla="*/ 5141535 h 8847047"/>
              <a:gd name="connsiteX671" fmla="*/ 7567066 w 8778454"/>
              <a:gd name="connsiteY671" fmla="*/ 5172001 h 8847047"/>
              <a:gd name="connsiteX672" fmla="*/ 7489725 w 8778454"/>
              <a:gd name="connsiteY672" fmla="*/ 5233488 h 8847047"/>
              <a:gd name="connsiteX673" fmla="*/ 7430847 w 8778454"/>
              <a:gd name="connsiteY673" fmla="*/ 5221435 h 8847047"/>
              <a:gd name="connsiteX674" fmla="*/ 7416378 w 8778454"/>
              <a:gd name="connsiteY674" fmla="*/ 5292112 h 8847047"/>
              <a:gd name="connsiteX675" fmla="*/ 7354228 w 8778454"/>
              <a:gd name="connsiteY675" fmla="*/ 5279389 h 8847047"/>
              <a:gd name="connsiteX676" fmla="*/ 7365803 w 8778454"/>
              <a:gd name="connsiteY676" fmla="*/ 5222847 h 8847047"/>
              <a:gd name="connsiteX677" fmla="*/ 7351619 w 8778454"/>
              <a:gd name="connsiteY677" fmla="*/ 5208898 h 8847047"/>
              <a:gd name="connsiteX678" fmla="*/ 7276008 w 8778454"/>
              <a:gd name="connsiteY678" fmla="*/ 5178692 h 8847047"/>
              <a:gd name="connsiteX679" fmla="*/ 7260754 w 8778454"/>
              <a:gd name="connsiteY679" fmla="*/ 5186614 h 8847047"/>
              <a:gd name="connsiteX680" fmla="*/ 7217823 w 8778454"/>
              <a:gd name="connsiteY680" fmla="*/ 5129961 h 8847047"/>
              <a:gd name="connsiteX681" fmla="*/ 7198290 w 8778454"/>
              <a:gd name="connsiteY681" fmla="*/ 5225374 h 8847047"/>
              <a:gd name="connsiteX682" fmla="*/ 7200837 w 8778454"/>
              <a:gd name="connsiteY682" fmla="*/ 5229578 h 8847047"/>
              <a:gd name="connsiteX683" fmla="*/ 7208103 w 8778454"/>
              <a:gd name="connsiteY683" fmla="*/ 5227383 h 8847047"/>
              <a:gd name="connsiteX684" fmla="*/ 7223357 w 8778454"/>
              <a:gd name="connsiteY684" fmla="*/ 5219460 h 8847047"/>
              <a:gd name="connsiteX685" fmla="*/ 7195458 w 8778454"/>
              <a:gd name="connsiteY685" fmla="*/ 5305797 h 8847047"/>
              <a:gd name="connsiteX686" fmla="*/ 7162371 w 8778454"/>
              <a:gd name="connsiteY686" fmla="*/ 5284296 h 8847047"/>
              <a:gd name="connsiteX687" fmla="*/ 7131831 w 8778454"/>
              <a:gd name="connsiteY687" fmla="*/ 5266998 h 8847047"/>
              <a:gd name="connsiteX688" fmla="*/ 7172153 w 8778454"/>
              <a:gd name="connsiteY688" fmla="*/ 5253161 h 8847047"/>
              <a:gd name="connsiteX689" fmla="*/ 7174670 w 8778454"/>
              <a:gd name="connsiteY689" fmla="*/ 5224221 h 8847047"/>
              <a:gd name="connsiteX690" fmla="*/ 7151426 w 8778454"/>
              <a:gd name="connsiteY690" fmla="*/ 5237872 h 8847047"/>
              <a:gd name="connsiteX691" fmla="*/ 7129945 w 8778454"/>
              <a:gd name="connsiteY691" fmla="*/ 5192973 h 8847047"/>
              <a:gd name="connsiteX692" fmla="*/ 7118747 w 8778454"/>
              <a:gd name="connsiteY692" fmla="*/ 5264320 h 8847047"/>
              <a:gd name="connsiteX693" fmla="*/ 7076664 w 8778454"/>
              <a:gd name="connsiteY693" fmla="*/ 5336707 h 8847047"/>
              <a:gd name="connsiteX694" fmla="*/ 7025397 w 8778454"/>
              <a:gd name="connsiteY694" fmla="*/ 5304120 h 8847047"/>
              <a:gd name="connsiteX695" fmla="*/ 6936073 w 8778454"/>
              <a:gd name="connsiteY695" fmla="*/ 5374201 h 8847047"/>
              <a:gd name="connsiteX696" fmla="*/ 7006210 w 8778454"/>
              <a:gd name="connsiteY696" fmla="*/ 5381195 h 8847047"/>
              <a:gd name="connsiteX697" fmla="*/ 6917987 w 8778454"/>
              <a:gd name="connsiteY697" fmla="*/ 5462547 h 8847047"/>
              <a:gd name="connsiteX698" fmla="*/ 6971423 w 8778454"/>
              <a:gd name="connsiteY698" fmla="*/ 5484532 h 8847047"/>
              <a:gd name="connsiteX699" fmla="*/ 6959125 w 8778454"/>
              <a:gd name="connsiteY699" fmla="*/ 5544607 h 8847047"/>
              <a:gd name="connsiteX700" fmla="*/ 6931164 w 8778454"/>
              <a:gd name="connsiteY700" fmla="*/ 5564657 h 8847047"/>
              <a:gd name="connsiteX701" fmla="*/ 6918426 w 8778454"/>
              <a:gd name="connsiteY701" fmla="*/ 5543640 h 8847047"/>
              <a:gd name="connsiteX702" fmla="*/ 6846149 w 8778454"/>
              <a:gd name="connsiteY702" fmla="*/ 5580390 h 8847047"/>
              <a:gd name="connsiteX703" fmla="*/ 6859264 w 8778454"/>
              <a:gd name="connsiteY703" fmla="*/ 5616213 h 8847047"/>
              <a:gd name="connsiteX704" fmla="*/ 6830579 w 8778454"/>
              <a:gd name="connsiteY704" fmla="*/ 5639796 h 8847047"/>
              <a:gd name="connsiteX705" fmla="*/ 6792397 w 8778454"/>
              <a:gd name="connsiteY705" fmla="*/ 5609888 h 8847047"/>
              <a:gd name="connsiteX706" fmla="*/ 6741916 w 8778454"/>
              <a:gd name="connsiteY706" fmla="*/ 5640055 h 8847047"/>
              <a:gd name="connsiteX707" fmla="*/ 6746226 w 8778454"/>
              <a:gd name="connsiteY707" fmla="*/ 5585708 h 8847047"/>
              <a:gd name="connsiteX708" fmla="*/ 6537414 w 8778454"/>
              <a:gd name="connsiteY708" fmla="*/ 5723376 h 8847047"/>
              <a:gd name="connsiteX709" fmla="*/ 6488726 w 8778454"/>
              <a:gd name="connsiteY709" fmla="*/ 5728137 h 8847047"/>
              <a:gd name="connsiteX710" fmla="*/ 6466899 w 8778454"/>
              <a:gd name="connsiteY710" fmla="*/ 5701577 h 8847047"/>
              <a:gd name="connsiteX711" fmla="*/ 6410661 w 8778454"/>
              <a:gd name="connsiteY711" fmla="*/ 5793158 h 8847047"/>
              <a:gd name="connsiteX712" fmla="*/ 6347412 w 8778454"/>
              <a:gd name="connsiteY712" fmla="*/ 5769164 h 8847047"/>
              <a:gd name="connsiteX713" fmla="*/ 6287557 w 8778454"/>
              <a:gd name="connsiteY713" fmla="*/ 5878415 h 8847047"/>
              <a:gd name="connsiteX714" fmla="*/ 6285010 w 8778454"/>
              <a:gd name="connsiteY714" fmla="*/ 5874212 h 8847047"/>
              <a:gd name="connsiteX715" fmla="*/ 6269032 w 8778454"/>
              <a:gd name="connsiteY715" fmla="*/ 5885669 h 8847047"/>
              <a:gd name="connsiteX716" fmla="*/ 6274851 w 8778454"/>
              <a:gd name="connsiteY716" fmla="*/ 5890542 h 8847047"/>
              <a:gd name="connsiteX717" fmla="*/ 6287557 w 8778454"/>
              <a:gd name="connsiteY717" fmla="*/ 5878415 h 8847047"/>
              <a:gd name="connsiteX718" fmla="*/ 6300641 w 8778454"/>
              <a:gd name="connsiteY718" fmla="*/ 5881094 h 8847047"/>
              <a:gd name="connsiteX719" fmla="*/ 6334044 w 8778454"/>
              <a:gd name="connsiteY719" fmla="*/ 5851112 h 8847047"/>
              <a:gd name="connsiteX720" fmla="*/ 6370371 w 8778454"/>
              <a:gd name="connsiteY720" fmla="*/ 5840139 h 8847047"/>
              <a:gd name="connsiteX721" fmla="*/ 6402327 w 8778454"/>
              <a:gd name="connsiteY721" fmla="*/ 5817226 h 8847047"/>
              <a:gd name="connsiteX722" fmla="*/ 6470263 w 8778454"/>
              <a:gd name="connsiteY722" fmla="*/ 5801678 h 8847047"/>
              <a:gd name="connsiteX723" fmla="*/ 6408207 w 8778454"/>
              <a:gd name="connsiteY723" fmla="*/ 5888387 h 8847047"/>
              <a:gd name="connsiteX724" fmla="*/ 6377290 w 8778454"/>
              <a:gd name="connsiteY724" fmla="*/ 5856284 h 8847047"/>
              <a:gd name="connsiteX725" fmla="*/ 6376252 w 8778454"/>
              <a:gd name="connsiteY725" fmla="*/ 5911300 h 8847047"/>
              <a:gd name="connsiteX726" fmla="*/ 6273120 w 8778454"/>
              <a:gd name="connsiteY726" fmla="*/ 5982236 h 8847047"/>
              <a:gd name="connsiteX727" fmla="*/ 6239687 w 8778454"/>
              <a:gd name="connsiteY727" fmla="*/ 5979074 h 8847047"/>
              <a:gd name="connsiteX728" fmla="*/ 6192508 w 8778454"/>
              <a:gd name="connsiteY728" fmla="*/ 6043054 h 8847047"/>
              <a:gd name="connsiteX729" fmla="*/ 6153255 w 8778454"/>
              <a:gd name="connsiteY729" fmla="*/ 6035019 h 8847047"/>
              <a:gd name="connsiteX730" fmla="*/ 6167724 w 8778454"/>
              <a:gd name="connsiteY730" fmla="*/ 5964342 h 8847047"/>
              <a:gd name="connsiteX731" fmla="*/ 6068556 w 8778454"/>
              <a:gd name="connsiteY731" fmla="*/ 5999270 h 8847047"/>
              <a:gd name="connsiteX732" fmla="*/ 6055818 w 8778454"/>
              <a:gd name="connsiteY732" fmla="*/ 5978252 h 8847047"/>
              <a:gd name="connsiteX733" fmla="*/ 6047829 w 8778454"/>
              <a:gd name="connsiteY733" fmla="*/ 5983981 h 8847047"/>
              <a:gd name="connsiteX734" fmla="*/ 6031252 w 8778454"/>
              <a:gd name="connsiteY734" fmla="*/ 6131547 h 8847047"/>
              <a:gd name="connsiteX735" fmla="*/ 5863832 w 8778454"/>
              <a:gd name="connsiteY735" fmla="*/ 6233505 h 8847047"/>
              <a:gd name="connsiteX736" fmla="*/ 5827850 w 8778454"/>
              <a:gd name="connsiteY736" fmla="*/ 6226139 h 8847047"/>
              <a:gd name="connsiteX737" fmla="*/ 5831122 w 8778454"/>
              <a:gd name="connsiteY737" fmla="*/ 6226808 h 8847047"/>
              <a:gd name="connsiteX738" fmla="*/ 5820931 w 8778454"/>
              <a:gd name="connsiteY738" fmla="*/ 6209994 h 8847047"/>
              <a:gd name="connsiteX739" fmla="*/ 5816936 w 8778454"/>
              <a:gd name="connsiteY739" fmla="*/ 6212859 h 8847047"/>
              <a:gd name="connsiteX740" fmla="*/ 5827850 w 8778454"/>
              <a:gd name="connsiteY740" fmla="*/ 6226139 h 8847047"/>
              <a:gd name="connsiteX741" fmla="*/ 5793756 w 8778454"/>
              <a:gd name="connsiteY741" fmla="*/ 6292798 h 8847047"/>
              <a:gd name="connsiteX742" fmla="*/ 5714905 w 8778454"/>
              <a:gd name="connsiteY742" fmla="*/ 6295066 h 8847047"/>
              <a:gd name="connsiteX743" fmla="*/ 5711257 w 8778454"/>
              <a:gd name="connsiteY743" fmla="*/ 6279591 h 8847047"/>
              <a:gd name="connsiteX744" fmla="*/ 5698551 w 8778454"/>
              <a:gd name="connsiteY744" fmla="*/ 6291718 h 8847047"/>
              <a:gd name="connsiteX745" fmla="*/ 5689146 w 8778454"/>
              <a:gd name="connsiteY745" fmla="*/ 6337657 h 8847047"/>
              <a:gd name="connsiteX746" fmla="*/ 5610704 w 8778454"/>
              <a:gd name="connsiteY746" fmla="*/ 6387874 h 8847047"/>
              <a:gd name="connsiteX747" fmla="*/ 5611427 w 8778454"/>
              <a:gd name="connsiteY747" fmla="*/ 6384340 h 8847047"/>
              <a:gd name="connsiteX748" fmla="*/ 5604508 w 8778454"/>
              <a:gd name="connsiteY748" fmla="*/ 6368196 h 8847047"/>
              <a:gd name="connsiteX749" fmla="*/ 5596519 w 8778454"/>
              <a:gd name="connsiteY749" fmla="*/ 6373924 h 8847047"/>
              <a:gd name="connsiteX750" fmla="*/ 5610704 w 8778454"/>
              <a:gd name="connsiteY750" fmla="*/ 6387874 h 8847047"/>
              <a:gd name="connsiteX751" fmla="*/ 5514114 w 8778454"/>
              <a:gd name="connsiteY751" fmla="*/ 6460149 h 8847047"/>
              <a:gd name="connsiteX752" fmla="*/ 5478856 w 8778454"/>
              <a:gd name="connsiteY752" fmla="*/ 6449249 h 8847047"/>
              <a:gd name="connsiteX753" fmla="*/ 5487538 w 8778454"/>
              <a:gd name="connsiteY753" fmla="*/ 6406843 h 8847047"/>
              <a:gd name="connsiteX754" fmla="*/ 5471560 w 8778454"/>
              <a:gd name="connsiteY754" fmla="*/ 6418300 h 8847047"/>
              <a:gd name="connsiteX755" fmla="*/ 5470428 w 8778454"/>
              <a:gd name="connsiteY755" fmla="*/ 6373885 h 8847047"/>
              <a:gd name="connsiteX756" fmla="*/ 5465710 w 8778454"/>
              <a:gd name="connsiteY756" fmla="*/ 6380283 h 8847047"/>
              <a:gd name="connsiteX757" fmla="*/ 5448347 w 8778454"/>
              <a:gd name="connsiteY757" fmla="*/ 6465095 h 8847047"/>
              <a:gd name="connsiteX758" fmla="*/ 5478856 w 8778454"/>
              <a:gd name="connsiteY758" fmla="*/ 6449249 h 8847047"/>
              <a:gd name="connsiteX759" fmla="*/ 5385160 w 8778454"/>
              <a:gd name="connsiteY759" fmla="*/ 6507389 h 8847047"/>
              <a:gd name="connsiteX760" fmla="*/ 5406202 w 8778454"/>
              <a:gd name="connsiteY760" fmla="*/ 6471195 h 8847047"/>
              <a:gd name="connsiteX761" fmla="*/ 5408749 w 8778454"/>
              <a:gd name="connsiteY761" fmla="*/ 6475399 h 8847047"/>
              <a:gd name="connsiteX762" fmla="*/ 5424003 w 8778454"/>
              <a:gd name="connsiteY762" fmla="*/ 6467476 h 8847047"/>
              <a:gd name="connsiteX763" fmla="*/ 5422180 w 8778454"/>
              <a:gd name="connsiteY763" fmla="*/ 6459739 h 8847047"/>
              <a:gd name="connsiteX764" fmla="*/ 5406202 w 8778454"/>
              <a:gd name="connsiteY764" fmla="*/ 6471195 h 8847047"/>
              <a:gd name="connsiteX765" fmla="*/ 5377801 w 8778454"/>
              <a:gd name="connsiteY765" fmla="*/ 6410152 h 8847047"/>
              <a:gd name="connsiteX766" fmla="*/ 5267058 w 8778454"/>
              <a:gd name="connsiteY766" fmla="*/ 6501621 h 8847047"/>
              <a:gd name="connsiteX767" fmla="*/ 5277625 w 8778454"/>
              <a:gd name="connsiteY767" fmla="*/ 6533240 h 8847047"/>
              <a:gd name="connsiteX768" fmla="*/ 5239536 w 8778454"/>
              <a:gd name="connsiteY768" fmla="*/ 6602764 h 8847047"/>
              <a:gd name="connsiteX769" fmla="*/ 5219910 w 8778454"/>
              <a:gd name="connsiteY769" fmla="*/ 6598746 h 8847047"/>
              <a:gd name="connsiteX770" fmla="*/ 5223465 w 8778454"/>
              <a:gd name="connsiteY770" fmla="*/ 6514789 h 8847047"/>
              <a:gd name="connsiteX771" fmla="*/ 5109073 w 8778454"/>
              <a:gd name="connsiteY771" fmla="*/ 6590784 h 8847047"/>
              <a:gd name="connsiteX772" fmla="*/ 5190817 w 8778454"/>
              <a:gd name="connsiteY772" fmla="*/ 6574381 h 8847047"/>
              <a:gd name="connsiteX773" fmla="*/ 5206857 w 8778454"/>
              <a:gd name="connsiteY773" fmla="*/ 6629211 h 8847047"/>
              <a:gd name="connsiteX774" fmla="*/ 5131686 w 8778454"/>
              <a:gd name="connsiteY774" fmla="*/ 6680097 h 8847047"/>
              <a:gd name="connsiteX775" fmla="*/ 5095705 w 8778454"/>
              <a:gd name="connsiteY775" fmla="*/ 6672731 h 8847047"/>
              <a:gd name="connsiteX776" fmla="*/ 5109543 w 8778454"/>
              <a:gd name="connsiteY776" fmla="*/ 6705020 h 8847047"/>
              <a:gd name="connsiteX777" fmla="*/ 5062303 w 8778454"/>
              <a:gd name="connsiteY777" fmla="*/ 6702713 h 8847047"/>
              <a:gd name="connsiteX778" fmla="*/ 4988213 w 8778454"/>
              <a:gd name="connsiteY778" fmla="*/ 6762623 h 8847047"/>
              <a:gd name="connsiteX779" fmla="*/ 4963236 w 8778454"/>
              <a:gd name="connsiteY779" fmla="*/ 6767031 h 8847047"/>
              <a:gd name="connsiteX780" fmla="*/ 4963857 w 8778454"/>
              <a:gd name="connsiteY780" fmla="*/ 6734107 h 8847047"/>
              <a:gd name="connsiteX781" fmla="*/ 4953321 w 8778454"/>
              <a:gd name="connsiteY781" fmla="*/ 6735631 h 8847047"/>
              <a:gd name="connsiteX782" fmla="*/ 4953352 w 8778454"/>
              <a:gd name="connsiteY782" fmla="*/ 6768776 h 8847047"/>
              <a:gd name="connsiteX783" fmla="*/ 4952660 w 8778454"/>
              <a:gd name="connsiteY783" fmla="*/ 6805453 h 8847047"/>
              <a:gd name="connsiteX784" fmla="*/ 4901708 w 8778454"/>
              <a:gd name="connsiteY784" fmla="*/ 6721384 h 8847047"/>
              <a:gd name="connsiteX785" fmla="*/ 4904256 w 8778454"/>
              <a:gd name="connsiteY785" fmla="*/ 6725587 h 8847047"/>
              <a:gd name="connsiteX786" fmla="*/ 4920233 w 8778454"/>
              <a:gd name="connsiteY786" fmla="*/ 6714130 h 8847047"/>
              <a:gd name="connsiteX787" fmla="*/ 4914415 w 8778454"/>
              <a:gd name="connsiteY787" fmla="*/ 6709257 h 8847047"/>
              <a:gd name="connsiteX788" fmla="*/ 4901708 w 8778454"/>
              <a:gd name="connsiteY788" fmla="*/ 6721384 h 8847047"/>
              <a:gd name="connsiteX789" fmla="*/ 4839559 w 8778454"/>
              <a:gd name="connsiteY789" fmla="*/ 6708661 h 8847047"/>
              <a:gd name="connsiteX790" fmla="*/ 4830532 w 8778454"/>
              <a:gd name="connsiteY790" fmla="*/ 6769406 h 8847047"/>
              <a:gd name="connsiteX791" fmla="*/ 4806156 w 8778454"/>
              <a:gd name="connsiteY791" fmla="*/ 6738642 h 8847047"/>
              <a:gd name="connsiteX792" fmla="*/ 4772439 w 8778454"/>
              <a:gd name="connsiteY792" fmla="*/ 6820106 h 8847047"/>
              <a:gd name="connsiteX793" fmla="*/ 4830532 w 8778454"/>
              <a:gd name="connsiteY793" fmla="*/ 6769406 h 8847047"/>
              <a:gd name="connsiteX794" fmla="*/ 4874502 w 8778454"/>
              <a:gd name="connsiteY794" fmla="*/ 6771043 h 8847047"/>
              <a:gd name="connsiteX795" fmla="*/ 4906173 w 8778454"/>
              <a:gd name="connsiteY795" fmla="*/ 6832756 h 8847047"/>
              <a:gd name="connsiteX796" fmla="*/ 4952660 w 8778454"/>
              <a:gd name="connsiteY796" fmla="*/ 6805453 h 8847047"/>
              <a:gd name="connsiteX797" fmla="*/ 5067114 w 8778454"/>
              <a:gd name="connsiteY797" fmla="*/ 6795746 h 8847047"/>
              <a:gd name="connsiteX798" fmla="*/ 5180782 w 8778454"/>
              <a:gd name="connsiteY798" fmla="*/ 6723285 h 8847047"/>
              <a:gd name="connsiteX799" fmla="*/ 5253437 w 8778454"/>
              <a:gd name="connsiteY799" fmla="*/ 6701340 h 8847047"/>
              <a:gd name="connsiteX800" fmla="*/ 5338421 w 8778454"/>
              <a:gd name="connsiteY800" fmla="*/ 6652462 h 8847047"/>
              <a:gd name="connsiteX801" fmla="*/ 5427053 w 8778454"/>
              <a:gd name="connsiteY801" fmla="*/ 6619059 h 8847047"/>
              <a:gd name="connsiteX802" fmla="*/ 5600669 w 8778454"/>
              <a:gd name="connsiteY802" fmla="*/ 6536780 h 8847047"/>
              <a:gd name="connsiteX803" fmla="*/ 5743431 w 8778454"/>
              <a:gd name="connsiteY803" fmla="*/ 6488684 h 8847047"/>
              <a:gd name="connsiteX804" fmla="*/ 5782682 w 8778454"/>
              <a:gd name="connsiteY804" fmla="*/ 6496720 h 8847047"/>
              <a:gd name="connsiteX805" fmla="*/ 5917424 w 8778454"/>
              <a:gd name="connsiteY805" fmla="*/ 6421209 h 8847047"/>
              <a:gd name="connsiteX806" fmla="*/ 6006056 w 8778454"/>
              <a:gd name="connsiteY806" fmla="*/ 6387806 h 8847047"/>
              <a:gd name="connsiteX807" fmla="*/ 6083051 w 8778454"/>
              <a:gd name="connsiteY807" fmla="*/ 6344657 h 8847047"/>
              <a:gd name="connsiteX808" fmla="*/ 6176779 w 8778454"/>
              <a:gd name="connsiteY808" fmla="*/ 6319662 h 8847047"/>
              <a:gd name="connsiteX809" fmla="*/ 6256699 w 8778454"/>
              <a:gd name="connsiteY809" fmla="*/ 6295521 h 8847047"/>
              <a:gd name="connsiteX810" fmla="*/ 6425597 w 8778454"/>
              <a:gd name="connsiteY810" fmla="*/ 6219639 h 8847047"/>
              <a:gd name="connsiteX811" fmla="*/ 6445569 w 8778454"/>
              <a:gd name="connsiteY811" fmla="*/ 6205318 h 8847047"/>
              <a:gd name="connsiteX812" fmla="*/ 6594149 w 8778454"/>
              <a:gd name="connsiteY812" fmla="*/ 6162096 h 8847047"/>
              <a:gd name="connsiteX813" fmla="*/ 6630476 w 8778454"/>
              <a:gd name="connsiteY813" fmla="*/ 6151123 h 8847047"/>
              <a:gd name="connsiteX814" fmla="*/ 6733671 w 8778454"/>
              <a:gd name="connsiteY814" fmla="*/ 6146475 h 8847047"/>
              <a:gd name="connsiteX815" fmla="*/ 6810666 w 8778454"/>
              <a:gd name="connsiteY815" fmla="*/ 6103326 h 8847047"/>
              <a:gd name="connsiteX816" fmla="*/ 6914930 w 8778454"/>
              <a:gd name="connsiteY816" fmla="*/ 6076805 h 8847047"/>
              <a:gd name="connsiteX817" fmla="*/ 6968335 w 8778454"/>
              <a:gd name="connsiteY817" fmla="*/ 6065646 h 8847047"/>
              <a:gd name="connsiteX818" fmla="*/ 7138019 w 8778454"/>
              <a:gd name="connsiteY818" fmla="*/ 6052518 h 8847047"/>
              <a:gd name="connsiteX819" fmla="*/ 7174315 w 8778454"/>
              <a:gd name="connsiteY819" fmla="*/ 6008401 h 8847047"/>
              <a:gd name="connsiteX820" fmla="*/ 7206679 w 8778454"/>
              <a:gd name="connsiteY820" fmla="*/ 6033437 h 8847047"/>
              <a:gd name="connsiteX821" fmla="*/ 7179127 w 8778454"/>
              <a:gd name="connsiteY821" fmla="*/ 6101435 h 8847047"/>
              <a:gd name="connsiteX822" fmla="*/ 7302293 w 8778454"/>
              <a:gd name="connsiteY822" fmla="*/ 6082466 h 8847047"/>
              <a:gd name="connsiteX823" fmla="*/ 7312421 w 8778454"/>
              <a:gd name="connsiteY823" fmla="*/ 6032992 h 8847047"/>
              <a:gd name="connsiteX824" fmla="*/ 7369413 w 8778454"/>
              <a:gd name="connsiteY824" fmla="*/ 5971020 h 8847047"/>
              <a:gd name="connsiteX825" fmla="*/ 7379949 w 8778454"/>
              <a:gd name="connsiteY825" fmla="*/ 5969495 h 8847047"/>
              <a:gd name="connsiteX826" fmla="*/ 7528530 w 8778454"/>
              <a:gd name="connsiteY826" fmla="*/ 5926273 h 8847047"/>
              <a:gd name="connsiteX827" fmla="*/ 7580488 w 8778454"/>
              <a:gd name="connsiteY827" fmla="*/ 5922182 h 8847047"/>
              <a:gd name="connsiteX828" fmla="*/ 7756022 w 8778454"/>
              <a:gd name="connsiteY828" fmla="*/ 5947071 h 8847047"/>
              <a:gd name="connsiteX829" fmla="*/ 7721142 w 8778454"/>
              <a:gd name="connsiteY829" fmla="*/ 5950976 h 8847047"/>
              <a:gd name="connsiteX830" fmla="*/ 7708120 w 8778454"/>
              <a:gd name="connsiteY830" fmla="*/ 6014585 h 8847047"/>
              <a:gd name="connsiteX831" fmla="*/ 7787725 w 8778454"/>
              <a:gd name="connsiteY831" fmla="*/ 6041928 h 8847047"/>
              <a:gd name="connsiteX832" fmla="*/ 7639491 w 8778454"/>
              <a:gd name="connsiteY832" fmla="*/ 6066811 h 8847047"/>
              <a:gd name="connsiteX833" fmla="*/ 7664997 w 8778454"/>
              <a:gd name="connsiteY833" fmla="*/ 6141990 h 8847047"/>
              <a:gd name="connsiteX834" fmla="*/ 7623638 w 8778454"/>
              <a:gd name="connsiteY834" fmla="*/ 6210843 h 8847047"/>
              <a:gd name="connsiteX835" fmla="*/ 7511669 w 8778454"/>
              <a:gd name="connsiteY835" fmla="*/ 6158466 h 8847047"/>
              <a:gd name="connsiteX836" fmla="*/ 7468485 w 8778454"/>
              <a:gd name="connsiteY836" fmla="*/ 6219582 h 8847047"/>
              <a:gd name="connsiteX837" fmla="*/ 7582277 w 8778454"/>
              <a:gd name="connsiteY837" fmla="*/ 6279697 h 8847047"/>
              <a:gd name="connsiteX838" fmla="*/ 7576490 w 8778454"/>
              <a:gd name="connsiteY838" fmla="*/ 6307968 h 8847047"/>
              <a:gd name="connsiteX839" fmla="*/ 7517297 w 8778454"/>
              <a:gd name="connsiteY839" fmla="*/ 6347397 h 8847047"/>
              <a:gd name="connsiteX840" fmla="*/ 7566362 w 8778454"/>
              <a:gd name="connsiteY840" fmla="*/ 6357441 h 8847047"/>
              <a:gd name="connsiteX841" fmla="*/ 7576490 w 8778454"/>
              <a:gd name="connsiteY841" fmla="*/ 6307968 h 8847047"/>
              <a:gd name="connsiteX842" fmla="*/ 7602658 w 8778454"/>
              <a:gd name="connsiteY842" fmla="*/ 6313325 h 8847047"/>
              <a:gd name="connsiteX843" fmla="*/ 7669117 w 8778454"/>
              <a:gd name="connsiteY843" fmla="*/ 6271701 h 8847047"/>
              <a:gd name="connsiteX844" fmla="*/ 7709123 w 8778454"/>
              <a:gd name="connsiteY844" fmla="*/ 6309346 h 8847047"/>
              <a:gd name="connsiteX845" fmla="*/ 7677514 w 8778454"/>
              <a:gd name="connsiteY845" fmla="*/ 6313921 h 8847047"/>
              <a:gd name="connsiteX846" fmla="*/ 7695724 w 8778454"/>
              <a:gd name="connsiteY846" fmla="*/ 6358150 h 8847047"/>
              <a:gd name="connsiteX847" fmla="*/ 7730227 w 8778454"/>
              <a:gd name="connsiteY847" fmla="*/ 6339440 h 8847047"/>
              <a:gd name="connsiteX848" fmla="*/ 7756427 w 8778454"/>
              <a:gd name="connsiteY848" fmla="*/ 6377941 h 8847047"/>
              <a:gd name="connsiteX849" fmla="*/ 7811310 w 8778454"/>
              <a:gd name="connsiteY849" fmla="*/ 6392858 h 8847047"/>
              <a:gd name="connsiteX850" fmla="*/ 7767748 w 8778454"/>
              <a:gd name="connsiteY850" fmla="*/ 6439170 h 8847047"/>
              <a:gd name="connsiteX851" fmla="*/ 7789607 w 8778454"/>
              <a:gd name="connsiteY851" fmla="*/ 6498873 h 8847047"/>
              <a:gd name="connsiteX852" fmla="*/ 7864148 w 8778454"/>
              <a:gd name="connsiteY852" fmla="*/ 6550953 h 8847047"/>
              <a:gd name="connsiteX853" fmla="*/ 7851850 w 8778454"/>
              <a:gd name="connsiteY853" fmla="*/ 6611028 h 8847047"/>
              <a:gd name="connsiteX854" fmla="*/ 7747271 w 8778454"/>
              <a:gd name="connsiteY854" fmla="*/ 6689031 h 8847047"/>
              <a:gd name="connsiteX855" fmla="*/ 7770482 w 8778454"/>
              <a:gd name="connsiteY855" fmla="*/ 6642236 h 8847047"/>
              <a:gd name="connsiteX856" fmla="*/ 7833262 w 8778454"/>
              <a:gd name="connsiteY856" fmla="*/ 6551994 h 8847047"/>
              <a:gd name="connsiteX857" fmla="*/ 7722456 w 8778454"/>
              <a:gd name="connsiteY857" fmla="*/ 6577175 h 8847047"/>
              <a:gd name="connsiteX858" fmla="*/ 7702453 w 8778454"/>
              <a:gd name="connsiteY858" fmla="*/ 6558353 h 8847047"/>
              <a:gd name="connsiteX859" fmla="*/ 7705755 w 8778454"/>
              <a:gd name="connsiteY859" fmla="*/ 6592166 h 8847047"/>
              <a:gd name="connsiteX860" fmla="*/ 7673830 w 8778454"/>
              <a:gd name="connsiteY860" fmla="*/ 6648224 h 8847047"/>
              <a:gd name="connsiteX861" fmla="*/ 7647001 w 8778454"/>
              <a:gd name="connsiteY861" fmla="*/ 6712688 h 8847047"/>
              <a:gd name="connsiteX862" fmla="*/ 7644454 w 8778454"/>
              <a:gd name="connsiteY862" fmla="*/ 6708484 h 8847047"/>
              <a:gd name="connsiteX863" fmla="*/ 7629199 w 8778454"/>
              <a:gd name="connsiteY863" fmla="*/ 6716408 h 8847047"/>
              <a:gd name="connsiteX864" fmla="*/ 7634294 w 8778454"/>
              <a:gd name="connsiteY864" fmla="*/ 6724815 h 8847047"/>
              <a:gd name="connsiteX865" fmla="*/ 7647001 w 8778454"/>
              <a:gd name="connsiteY865" fmla="*/ 6712688 h 8847047"/>
              <a:gd name="connsiteX866" fmla="*/ 7667004 w 8778454"/>
              <a:gd name="connsiteY866" fmla="*/ 6731511 h 8847047"/>
              <a:gd name="connsiteX867" fmla="*/ 7693519 w 8778454"/>
              <a:gd name="connsiteY867" fmla="*/ 6718529 h 8847047"/>
              <a:gd name="connsiteX868" fmla="*/ 7673263 w 8778454"/>
              <a:gd name="connsiteY868" fmla="*/ 6817477 h 8847047"/>
              <a:gd name="connsiteX869" fmla="*/ 7643761 w 8778454"/>
              <a:gd name="connsiteY869" fmla="*/ 6745162 h 8847047"/>
              <a:gd name="connsiteX870" fmla="*/ 7627091 w 8778454"/>
              <a:gd name="connsiteY870" fmla="*/ 6793297 h 8847047"/>
              <a:gd name="connsiteX871" fmla="*/ 7565697 w 8778454"/>
              <a:gd name="connsiteY871" fmla="*/ 6810184 h 8847047"/>
              <a:gd name="connsiteX872" fmla="*/ 7519996 w 8778454"/>
              <a:gd name="connsiteY872" fmla="*/ 6900241 h 8847047"/>
              <a:gd name="connsiteX873" fmla="*/ 7330779 w 8778454"/>
              <a:gd name="connsiteY873" fmla="*/ 7008782 h 8847047"/>
              <a:gd name="connsiteX874" fmla="*/ 7129202 w 8778454"/>
              <a:gd name="connsiteY874" fmla="*/ 7111112 h 8847047"/>
              <a:gd name="connsiteX875" fmla="*/ 7093598 w 8778454"/>
              <a:gd name="connsiteY875" fmla="*/ 7118551 h 8847047"/>
              <a:gd name="connsiteX876" fmla="*/ 6984648 w 8778454"/>
              <a:gd name="connsiteY876" fmla="*/ 7184614 h 8847047"/>
              <a:gd name="connsiteX877" fmla="*/ 6885133 w 8778454"/>
              <a:gd name="connsiteY877" fmla="*/ 7237880 h 8847047"/>
              <a:gd name="connsiteX878" fmla="*/ 6778352 w 8778454"/>
              <a:gd name="connsiteY878" fmla="*/ 7293342 h 8847047"/>
              <a:gd name="connsiteX879" fmla="*/ 6682832 w 8778454"/>
              <a:gd name="connsiteY879" fmla="*/ 7343744 h 8847047"/>
              <a:gd name="connsiteX880" fmla="*/ 6553909 w 8778454"/>
              <a:gd name="connsiteY880" fmla="*/ 7424127 h 8847047"/>
              <a:gd name="connsiteX881" fmla="*/ 6648014 w 8778454"/>
              <a:gd name="connsiteY881" fmla="*/ 7413937 h 8847047"/>
              <a:gd name="connsiteX882" fmla="*/ 6683995 w 8778454"/>
              <a:gd name="connsiteY882" fmla="*/ 7421303 h 8847047"/>
              <a:gd name="connsiteX883" fmla="*/ 6866354 w 8778454"/>
              <a:gd name="connsiteY883" fmla="*/ 7362904 h 8847047"/>
              <a:gd name="connsiteX884" fmla="*/ 7010971 w 8778454"/>
              <a:gd name="connsiteY884" fmla="*/ 7355690 h 8847047"/>
              <a:gd name="connsiteX885" fmla="*/ 7191161 w 8778454"/>
              <a:gd name="connsiteY885" fmla="*/ 7307893 h 8847047"/>
              <a:gd name="connsiteX886" fmla="*/ 7327411 w 8778454"/>
              <a:gd name="connsiteY886" fmla="*/ 7291602 h 8847047"/>
              <a:gd name="connsiteX887" fmla="*/ 7357196 w 8778454"/>
              <a:gd name="connsiteY887" fmla="*/ 7279290 h 8847047"/>
              <a:gd name="connsiteX888" fmla="*/ 7468064 w 8778454"/>
              <a:gd name="connsiteY888" fmla="*/ 7320396 h 8847047"/>
              <a:gd name="connsiteX889" fmla="*/ 7528483 w 8778454"/>
              <a:gd name="connsiteY889" fmla="*/ 7424813 h 8847047"/>
              <a:gd name="connsiteX890" fmla="*/ 7551726 w 8778454"/>
              <a:gd name="connsiteY890" fmla="*/ 7411162 h 8847047"/>
              <a:gd name="connsiteX891" fmla="*/ 7541598 w 8778454"/>
              <a:gd name="connsiteY891" fmla="*/ 7460636 h 8847047"/>
              <a:gd name="connsiteX892" fmla="*/ 7501999 w 8778454"/>
              <a:gd name="connsiteY892" fmla="*/ 7470939 h 8847047"/>
              <a:gd name="connsiteX893" fmla="*/ 7552889 w 8778454"/>
              <a:gd name="connsiteY893" fmla="*/ 7488721 h 8847047"/>
              <a:gd name="connsiteX894" fmla="*/ 7431231 w 8778454"/>
              <a:gd name="connsiteY894" fmla="*/ 7566910 h 8847047"/>
              <a:gd name="connsiteX895" fmla="*/ 7449127 w 8778454"/>
              <a:gd name="connsiteY895" fmla="*/ 7662622 h 8847047"/>
              <a:gd name="connsiteX896" fmla="*/ 7413523 w 8778454"/>
              <a:gd name="connsiteY896" fmla="*/ 7670061 h 8847047"/>
              <a:gd name="connsiteX897" fmla="*/ 7454630 w 8778454"/>
              <a:gd name="connsiteY897" fmla="*/ 7718978 h 8847047"/>
              <a:gd name="connsiteX898" fmla="*/ 7417296 w 8778454"/>
              <a:gd name="connsiteY898" fmla="*/ 7818111 h 8847047"/>
              <a:gd name="connsiteX899" fmla="*/ 7444910 w 8778454"/>
              <a:gd name="connsiteY899" fmla="*/ 7816400 h 8847047"/>
              <a:gd name="connsiteX900" fmla="*/ 7467808 w 8778454"/>
              <a:gd name="connsiteY900" fmla="*/ 7821087 h 8847047"/>
              <a:gd name="connsiteX901" fmla="*/ 7497593 w 8778454"/>
              <a:gd name="connsiteY901" fmla="*/ 7808776 h 8847047"/>
              <a:gd name="connsiteX902" fmla="*/ 7470732 w 8778454"/>
              <a:gd name="connsiteY902" fmla="*/ 7840096 h 8847047"/>
              <a:gd name="connsiteX903" fmla="*/ 7439185 w 8778454"/>
              <a:gd name="connsiteY903" fmla="*/ 7910958 h 8847047"/>
              <a:gd name="connsiteX904" fmla="*/ 7395624 w 8778454"/>
              <a:gd name="connsiteY904" fmla="*/ 7957270 h 8847047"/>
              <a:gd name="connsiteX905" fmla="*/ 7353163 w 8778454"/>
              <a:gd name="connsiteY905" fmla="*/ 8014852 h 8847047"/>
              <a:gd name="connsiteX906" fmla="*/ 7323377 w 8778454"/>
              <a:gd name="connsiteY906" fmla="*/ 8027164 h 8847047"/>
              <a:gd name="connsiteX907" fmla="*/ 7215150 w 8778454"/>
              <a:gd name="connsiteY907" fmla="*/ 8089693 h 8847047"/>
              <a:gd name="connsiteX908" fmla="*/ 7196687 w 8778454"/>
              <a:gd name="connsiteY908" fmla="*/ 8163235 h 8847047"/>
              <a:gd name="connsiteX909" fmla="*/ 7052164 w 8778454"/>
              <a:gd name="connsiteY909" fmla="*/ 8269880 h 8847047"/>
              <a:gd name="connsiteX910" fmla="*/ 7006370 w 8778454"/>
              <a:gd name="connsiteY910" fmla="*/ 8260505 h 8847047"/>
              <a:gd name="connsiteX911" fmla="*/ 7062669 w 8778454"/>
              <a:gd name="connsiteY911" fmla="*/ 8235211 h 8847047"/>
              <a:gd name="connsiteX912" fmla="*/ 7074244 w 8778454"/>
              <a:gd name="connsiteY912" fmla="*/ 8178669 h 8847047"/>
              <a:gd name="connsiteX913" fmla="*/ 7139225 w 8778454"/>
              <a:gd name="connsiteY913" fmla="*/ 8110970 h 8847047"/>
              <a:gd name="connsiteX914" fmla="*/ 7000143 w 8778454"/>
              <a:gd name="connsiteY914" fmla="*/ 8207683 h 8847047"/>
              <a:gd name="connsiteX915" fmla="*/ 6950354 w 8778454"/>
              <a:gd name="connsiteY915" fmla="*/ 8201173 h 8847047"/>
              <a:gd name="connsiteX916" fmla="*/ 6954349 w 8778454"/>
              <a:gd name="connsiteY916" fmla="*/ 8198309 h 8847047"/>
              <a:gd name="connsiteX917" fmla="*/ 6961583 w 8778454"/>
              <a:gd name="connsiteY917" fmla="*/ 8162970 h 8847047"/>
              <a:gd name="connsiteX918" fmla="*/ 6928873 w 8778454"/>
              <a:gd name="connsiteY918" fmla="*/ 8156274 h 8847047"/>
              <a:gd name="connsiteX919" fmla="*/ 6950354 w 8778454"/>
              <a:gd name="connsiteY919" fmla="*/ 8201173 h 8847047"/>
              <a:gd name="connsiteX920" fmla="*/ 6940195 w 8778454"/>
              <a:gd name="connsiteY920" fmla="*/ 8217503 h 8847047"/>
              <a:gd name="connsiteX921" fmla="*/ 6991839 w 8778454"/>
              <a:gd name="connsiteY921" fmla="*/ 8264894 h 8847047"/>
              <a:gd name="connsiteX922" fmla="*/ 6891223 w 8778454"/>
              <a:gd name="connsiteY922" fmla="*/ 8306890 h 8847047"/>
              <a:gd name="connsiteX923" fmla="*/ 6858860 w 8778454"/>
              <a:gd name="connsiteY923" fmla="*/ 8281855 h 8847047"/>
              <a:gd name="connsiteX924" fmla="*/ 6804793 w 8778454"/>
              <a:gd name="connsiteY924" fmla="*/ 8362835 h 8847047"/>
              <a:gd name="connsiteX925" fmla="*/ 6837880 w 8778454"/>
              <a:gd name="connsiteY925" fmla="*/ 8384336 h 8847047"/>
              <a:gd name="connsiteX926" fmla="*/ 6798313 w 8778454"/>
              <a:gd name="connsiteY926" fmla="*/ 8427783 h 8847047"/>
              <a:gd name="connsiteX927" fmla="*/ 6769220 w 8778454"/>
              <a:gd name="connsiteY927" fmla="*/ 8403418 h 8847047"/>
              <a:gd name="connsiteX928" fmla="*/ 6732200 w 8778454"/>
              <a:gd name="connsiteY928" fmla="*/ 8451068 h 8847047"/>
              <a:gd name="connsiteX929" fmla="*/ 6748587 w 8778454"/>
              <a:gd name="connsiteY929" fmla="*/ 8487560 h 8847047"/>
              <a:gd name="connsiteX930" fmla="*/ 6727167 w 8778454"/>
              <a:gd name="connsiteY930" fmla="*/ 8508949 h 8847047"/>
              <a:gd name="connsiteX931" fmla="*/ 6719400 w 8778454"/>
              <a:gd name="connsiteY931" fmla="*/ 8363763 h 8847047"/>
              <a:gd name="connsiteX932" fmla="*/ 6668542 w 8778454"/>
              <a:gd name="connsiteY932" fmla="*/ 8379126 h 8847047"/>
              <a:gd name="connsiteX933" fmla="*/ 6669705 w 8778454"/>
              <a:gd name="connsiteY933" fmla="*/ 8456684 h 8847047"/>
              <a:gd name="connsiteX934" fmla="*/ 6595981 w 8778454"/>
              <a:gd name="connsiteY934" fmla="*/ 8500503 h 8847047"/>
              <a:gd name="connsiteX935" fmla="*/ 6600353 w 8778454"/>
              <a:gd name="connsiteY935" fmla="*/ 8512444 h 8847047"/>
              <a:gd name="connsiteX936" fmla="*/ 6561101 w 8778454"/>
              <a:gd name="connsiteY936" fmla="*/ 8504408 h 8847047"/>
              <a:gd name="connsiteX937" fmla="*/ 6529020 w 8778454"/>
              <a:gd name="connsiteY937" fmla="*/ 8394747 h 8847047"/>
              <a:gd name="connsiteX938" fmla="*/ 6568148 w 8778454"/>
              <a:gd name="connsiteY938" fmla="*/ 8270206 h 8847047"/>
              <a:gd name="connsiteX939" fmla="*/ 6552863 w 8778454"/>
              <a:gd name="connsiteY939" fmla="*/ 8244986 h 8847047"/>
              <a:gd name="connsiteX940" fmla="*/ 6464545 w 8778454"/>
              <a:gd name="connsiteY940" fmla="*/ 8226906 h 8847047"/>
              <a:gd name="connsiteX941" fmla="*/ 6424255 w 8778454"/>
              <a:gd name="connsiteY941" fmla="*/ 8273887 h 8847047"/>
              <a:gd name="connsiteX942" fmla="*/ 6342480 w 8778454"/>
              <a:gd name="connsiteY942" fmla="*/ 8257146 h 8847047"/>
              <a:gd name="connsiteX943" fmla="*/ 6272750 w 8778454"/>
              <a:gd name="connsiteY943" fmla="*/ 8298101 h 8847047"/>
              <a:gd name="connsiteX944" fmla="*/ 6212079 w 8778454"/>
              <a:gd name="connsiteY944" fmla="*/ 8311454 h 8847047"/>
              <a:gd name="connsiteX945" fmla="*/ 6196825 w 8778454"/>
              <a:gd name="connsiteY945" fmla="*/ 8319377 h 8847047"/>
              <a:gd name="connsiteX946" fmla="*/ 6035507 w 8778454"/>
              <a:gd name="connsiteY946" fmla="*/ 8341582 h 8847047"/>
              <a:gd name="connsiteX947" fmla="*/ 5903628 w 8778454"/>
              <a:gd name="connsiteY947" fmla="*/ 8369813 h 8847047"/>
              <a:gd name="connsiteX948" fmla="*/ 5895986 w 8778454"/>
              <a:gd name="connsiteY948" fmla="*/ 8357203 h 8847047"/>
              <a:gd name="connsiteX949" fmla="*/ 5844058 w 8778454"/>
              <a:gd name="connsiteY949" fmla="*/ 8394438 h 8847047"/>
              <a:gd name="connsiteX950" fmla="*/ 5798264 w 8778454"/>
              <a:gd name="connsiteY950" fmla="*/ 8385063 h 8847047"/>
              <a:gd name="connsiteX951" fmla="*/ 5738347 w 8778454"/>
              <a:gd name="connsiteY951" fmla="*/ 8428026 h 8847047"/>
              <a:gd name="connsiteX952" fmla="*/ 5728157 w 8778454"/>
              <a:gd name="connsiteY952" fmla="*/ 8411212 h 8847047"/>
              <a:gd name="connsiteX953" fmla="*/ 5632636 w 8778454"/>
              <a:gd name="connsiteY953" fmla="*/ 8461614 h 8847047"/>
              <a:gd name="connsiteX954" fmla="*/ 5598794 w 8778454"/>
              <a:gd name="connsiteY954" fmla="*/ 8410503 h 8847047"/>
              <a:gd name="connsiteX955" fmla="*/ 5549792 w 8778454"/>
              <a:gd name="connsiteY955" fmla="*/ 8466746 h 8847047"/>
              <a:gd name="connsiteX956" fmla="*/ 5524316 w 8778454"/>
              <a:gd name="connsiteY956" fmla="*/ 8424712 h 8847047"/>
              <a:gd name="connsiteX957" fmla="*/ 5608199 w 8778454"/>
              <a:gd name="connsiteY957" fmla="*/ 8364563 h 8847047"/>
              <a:gd name="connsiteX958" fmla="*/ 5680853 w 8778454"/>
              <a:gd name="connsiteY958" fmla="*/ 8342617 h 8847047"/>
              <a:gd name="connsiteX959" fmla="*/ 5875574 w 8778454"/>
              <a:gd name="connsiteY959" fmla="*/ 8290431 h 8847047"/>
              <a:gd name="connsiteX960" fmla="*/ 5911901 w 8778454"/>
              <a:gd name="connsiteY960" fmla="*/ 8279458 h 8847047"/>
              <a:gd name="connsiteX961" fmla="*/ 5915172 w 8778454"/>
              <a:gd name="connsiteY961" fmla="*/ 8280128 h 8847047"/>
              <a:gd name="connsiteX962" fmla="*/ 5930426 w 8778454"/>
              <a:gd name="connsiteY962" fmla="*/ 8272205 h 8847047"/>
              <a:gd name="connsiteX963" fmla="*/ 5925331 w 8778454"/>
              <a:gd name="connsiteY963" fmla="*/ 8263798 h 8847047"/>
              <a:gd name="connsiteX964" fmla="*/ 5911901 w 8778454"/>
              <a:gd name="connsiteY964" fmla="*/ 8279458 h 8847047"/>
              <a:gd name="connsiteX965" fmla="*/ 5875574 w 8778454"/>
              <a:gd name="connsiteY965" fmla="*/ 8290431 h 8847047"/>
              <a:gd name="connsiteX966" fmla="*/ 5810154 w 8778454"/>
              <a:gd name="connsiteY966" fmla="*/ 8277039 h 8847047"/>
              <a:gd name="connsiteX967" fmla="*/ 5724069 w 8778454"/>
              <a:gd name="connsiteY967" fmla="*/ 8314645 h 8847047"/>
              <a:gd name="connsiteX968" fmla="*/ 5680853 w 8778454"/>
              <a:gd name="connsiteY968" fmla="*/ 8342617 h 8847047"/>
              <a:gd name="connsiteX969" fmla="*/ 5608199 w 8778454"/>
              <a:gd name="connsiteY969" fmla="*/ 8364563 h 8847047"/>
              <a:gd name="connsiteX970" fmla="*/ 5523499 w 8778454"/>
              <a:gd name="connsiteY970" fmla="*/ 8328814 h 8847047"/>
              <a:gd name="connsiteX971" fmla="*/ 5477390 w 8778454"/>
              <a:gd name="connsiteY971" fmla="*/ 8370922 h 8847047"/>
              <a:gd name="connsiteX972" fmla="*/ 5413479 w 8778454"/>
              <a:gd name="connsiteY972" fmla="*/ 8416749 h 8847047"/>
              <a:gd name="connsiteX973" fmla="*/ 5481069 w 8778454"/>
              <a:gd name="connsiteY973" fmla="*/ 8419540 h 8847047"/>
              <a:gd name="connsiteX974" fmla="*/ 5522900 w 8778454"/>
              <a:gd name="connsiteY974" fmla="*/ 8464923 h 8847047"/>
              <a:gd name="connsiteX975" fmla="*/ 5419013 w 8778454"/>
              <a:gd name="connsiteY975" fmla="*/ 8506249 h 8847047"/>
              <a:gd name="connsiteX976" fmla="*/ 5398287 w 8778454"/>
              <a:gd name="connsiteY976" fmla="*/ 8490960 h 8847047"/>
              <a:gd name="connsiteX977" fmla="*/ 5402281 w 8778454"/>
              <a:gd name="connsiteY977" fmla="*/ 8488096 h 8847047"/>
              <a:gd name="connsiteX978" fmla="*/ 5392091 w 8778454"/>
              <a:gd name="connsiteY978" fmla="*/ 8471282 h 8847047"/>
              <a:gd name="connsiteX979" fmla="*/ 5388096 w 8778454"/>
              <a:gd name="connsiteY979" fmla="*/ 8474146 h 8847047"/>
              <a:gd name="connsiteX980" fmla="*/ 5398287 w 8778454"/>
              <a:gd name="connsiteY980" fmla="*/ 8490960 h 8847047"/>
              <a:gd name="connsiteX981" fmla="*/ 5368155 w 8778454"/>
              <a:gd name="connsiteY981" fmla="*/ 8521611 h 8847047"/>
              <a:gd name="connsiteX982" fmla="*/ 5329942 w 8778454"/>
              <a:gd name="connsiteY982" fmla="*/ 8458559 h 8847047"/>
              <a:gd name="connsiteX983" fmla="*/ 5396400 w 8778454"/>
              <a:gd name="connsiteY983" fmla="*/ 8416935 h 8847047"/>
              <a:gd name="connsiteX984" fmla="*/ 5241154 w 8778454"/>
              <a:gd name="connsiteY984" fmla="*/ 8326243 h 8847047"/>
              <a:gd name="connsiteX985" fmla="*/ 5221874 w 8778454"/>
              <a:gd name="connsiteY985" fmla="*/ 8303886 h 8847047"/>
              <a:gd name="connsiteX986" fmla="*/ 5212092 w 8778454"/>
              <a:gd name="connsiteY986" fmla="*/ 8335021 h 8847047"/>
              <a:gd name="connsiteX987" fmla="*/ 5262258 w 8778454"/>
              <a:gd name="connsiteY987" fmla="*/ 8356337 h 8847047"/>
              <a:gd name="connsiteX988" fmla="*/ 5219766 w 8778454"/>
              <a:gd name="connsiteY988" fmla="*/ 8380775 h 8847047"/>
              <a:gd name="connsiteX989" fmla="*/ 5220489 w 8778454"/>
              <a:gd name="connsiteY989" fmla="*/ 8377241 h 8847047"/>
              <a:gd name="connsiteX990" fmla="*/ 5213570 w 8778454"/>
              <a:gd name="connsiteY990" fmla="*/ 8361097 h 8847047"/>
              <a:gd name="connsiteX991" fmla="*/ 5206305 w 8778454"/>
              <a:gd name="connsiteY991" fmla="*/ 8363292 h 8847047"/>
              <a:gd name="connsiteX992" fmla="*/ 5219766 w 8778454"/>
              <a:gd name="connsiteY992" fmla="*/ 8380775 h 8847047"/>
              <a:gd name="connsiteX993" fmla="*/ 5227094 w 8778454"/>
              <a:gd name="connsiteY993" fmla="*/ 8444868 h 8847047"/>
              <a:gd name="connsiteX994" fmla="*/ 5184948 w 8778454"/>
              <a:gd name="connsiteY994" fmla="*/ 8450968 h 8847047"/>
              <a:gd name="connsiteX995" fmla="*/ 5190074 w 8778454"/>
              <a:gd name="connsiteY995" fmla="*/ 8492519 h 8847047"/>
              <a:gd name="connsiteX996" fmla="*/ 5179192 w 8778454"/>
              <a:gd name="connsiteY996" fmla="*/ 8512383 h 8847047"/>
              <a:gd name="connsiteX997" fmla="*/ 5206460 w 8778454"/>
              <a:gd name="connsiteY997" fmla="*/ 8529011 h 8847047"/>
              <a:gd name="connsiteX998" fmla="*/ 5102920 w 8778454"/>
              <a:gd name="connsiteY998" fmla="*/ 8551997 h 8847047"/>
              <a:gd name="connsiteX999" fmla="*/ 5084709 w 8778454"/>
              <a:gd name="connsiteY999" fmla="*/ 8507768 h 8847047"/>
              <a:gd name="connsiteX1000" fmla="*/ 4972488 w 8778454"/>
              <a:gd name="connsiteY1000" fmla="*/ 8573161 h 8847047"/>
              <a:gd name="connsiteX1001" fmla="*/ 4958933 w 8778454"/>
              <a:gd name="connsiteY1001" fmla="*/ 8456247 h 8847047"/>
              <a:gd name="connsiteX1002" fmla="*/ 4900495 w 8778454"/>
              <a:gd name="connsiteY1002" fmla="*/ 8525286 h 8847047"/>
              <a:gd name="connsiteX1003" fmla="*/ 4849827 w 8778454"/>
              <a:gd name="connsiteY1003" fmla="*/ 8356590 h 8847047"/>
              <a:gd name="connsiteX1004" fmla="*/ 4819318 w 8778454"/>
              <a:gd name="connsiteY1004" fmla="*/ 8372436 h 8847047"/>
              <a:gd name="connsiteX1005" fmla="*/ 4805133 w 8778454"/>
              <a:gd name="connsiteY1005" fmla="*/ 8358486 h 8847047"/>
              <a:gd name="connsiteX1006" fmla="*/ 4785131 w 8778454"/>
              <a:gd name="connsiteY1006" fmla="*/ 8339664 h 8847047"/>
              <a:gd name="connsiteX1007" fmla="*/ 4716155 w 8778454"/>
              <a:gd name="connsiteY1007" fmla="*/ 8410228 h 8847047"/>
              <a:gd name="connsiteX1008" fmla="*/ 4689579 w 8778454"/>
              <a:gd name="connsiteY1008" fmla="*/ 8356922 h 8847047"/>
              <a:gd name="connsiteX1009" fmla="*/ 4635827 w 8778454"/>
              <a:gd name="connsiteY1009" fmla="*/ 8386420 h 8847047"/>
              <a:gd name="connsiteX1010" fmla="*/ 4608496 w 8778454"/>
              <a:gd name="connsiteY1010" fmla="*/ 8303504 h 8847047"/>
              <a:gd name="connsiteX1011" fmla="*/ 4654982 w 8778454"/>
              <a:gd name="connsiteY1011" fmla="*/ 8276201 h 8847047"/>
              <a:gd name="connsiteX1012" fmla="*/ 4610950 w 8778454"/>
              <a:gd name="connsiteY1012" fmla="*/ 8208276 h 8847047"/>
              <a:gd name="connsiteX1013" fmla="*/ 4681718 w 8778454"/>
              <a:gd name="connsiteY1013" fmla="*/ 8112305 h 8847047"/>
              <a:gd name="connsiteX1014" fmla="*/ 4725595 w 8778454"/>
              <a:gd name="connsiteY1014" fmla="*/ 8014511 h 8847047"/>
              <a:gd name="connsiteX1015" fmla="*/ 4672566 w 8778454"/>
              <a:gd name="connsiteY1015" fmla="*/ 8040475 h 8847047"/>
              <a:gd name="connsiteX1016" fmla="*/ 4669642 w 8778454"/>
              <a:gd name="connsiteY1016" fmla="*/ 8021466 h 8847047"/>
              <a:gd name="connsiteX1017" fmla="*/ 4677977 w 8778454"/>
              <a:gd name="connsiteY1017" fmla="*/ 7997399 h 8847047"/>
              <a:gd name="connsiteX1018" fmla="*/ 4704114 w 8778454"/>
              <a:gd name="connsiteY1018" fmla="*/ 7969612 h 8847047"/>
              <a:gd name="connsiteX1019" fmla="*/ 4732483 w 8778454"/>
              <a:gd name="connsiteY1019" fmla="*/ 7997511 h 8847047"/>
              <a:gd name="connsiteX1020" fmla="*/ 4789098 w 8778454"/>
              <a:gd name="connsiteY1020" fmla="*/ 7920734 h 8847047"/>
              <a:gd name="connsiteX1021" fmla="*/ 4753116 w 8778454"/>
              <a:gd name="connsiteY1021" fmla="*/ 7913368 h 8847047"/>
              <a:gd name="connsiteX1022" fmla="*/ 4694647 w 8778454"/>
              <a:gd name="connsiteY1022" fmla="*/ 7949264 h 8847047"/>
              <a:gd name="connsiteX1023" fmla="*/ 4626710 w 8778454"/>
              <a:gd name="connsiteY1023" fmla="*/ 7964812 h 8847047"/>
              <a:gd name="connsiteX1024" fmla="*/ 4644543 w 8778454"/>
              <a:gd name="connsiteY1024" fmla="*/ 7994236 h 8847047"/>
              <a:gd name="connsiteX1025" fmla="*/ 4596956 w 8778454"/>
              <a:gd name="connsiteY1025" fmla="*/ 8010268 h 8847047"/>
              <a:gd name="connsiteX1026" fmla="*/ 4538833 w 8778454"/>
              <a:gd name="connsiteY1026" fmla="*/ 8027825 h 8847047"/>
              <a:gd name="connsiteX1027" fmla="*/ 4498102 w 8778454"/>
              <a:gd name="connsiteY1027" fmla="*/ 7993713 h 8847047"/>
              <a:gd name="connsiteX1028" fmla="*/ 4490114 w 8778454"/>
              <a:gd name="connsiteY1028" fmla="*/ 7999441 h 8847047"/>
              <a:gd name="connsiteX1029" fmla="*/ 4434191 w 8778454"/>
              <a:gd name="connsiteY1029" fmla="*/ 8039541 h 8847047"/>
              <a:gd name="connsiteX1030" fmla="*/ 4345590 w 8778454"/>
              <a:gd name="connsiteY1030" fmla="*/ 8106087 h 8847047"/>
              <a:gd name="connsiteX1031" fmla="*/ 4332129 w 8778454"/>
              <a:gd name="connsiteY1031" fmla="*/ 8088604 h 8847047"/>
              <a:gd name="connsiteX1032" fmla="*/ 4220977 w 8778454"/>
              <a:gd name="connsiteY1032" fmla="*/ 8132124 h 8847047"/>
              <a:gd name="connsiteX1033" fmla="*/ 4108032 w 8778454"/>
              <a:gd name="connsiteY1033" fmla="*/ 8201051 h 8847047"/>
              <a:gd name="connsiteX1034" fmla="*/ 4011379 w 8778454"/>
              <a:gd name="connsiteY1034" fmla="*/ 8207038 h 8847047"/>
              <a:gd name="connsiteX1035" fmla="*/ 3964547 w 8778454"/>
              <a:gd name="connsiteY1035" fmla="*/ 8252680 h 8847047"/>
              <a:gd name="connsiteX1036" fmla="*/ 3916268 w 8778454"/>
              <a:gd name="connsiteY1036" fmla="*/ 8305389 h 8847047"/>
              <a:gd name="connsiteX1037" fmla="*/ 3953349 w 8778454"/>
              <a:gd name="connsiteY1037" fmla="*/ 8324027 h 8847047"/>
              <a:gd name="connsiteX1038" fmla="*/ 3903246 w 8778454"/>
              <a:gd name="connsiteY1038" fmla="*/ 8368999 h 8847047"/>
              <a:gd name="connsiteX1039" fmla="*/ 3854904 w 8778454"/>
              <a:gd name="connsiteY1039" fmla="*/ 8355421 h 8847047"/>
              <a:gd name="connsiteX1040" fmla="*/ 3886860 w 8778454"/>
              <a:gd name="connsiteY1040" fmla="*/ 8332506 h 8847047"/>
              <a:gd name="connsiteX1041" fmla="*/ 3875915 w 8778454"/>
              <a:gd name="connsiteY1041" fmla="*/ 8286083 h 8847047"/>
              <a:gd name="connsiteX1042" fmla="*/ 3878462 w 8778454"/>
              <a:gd name="connsiteY1042" fmla="*/ 8290286 h 8847047"/>
              <a:gd name="connsiteX1043" fmla="*/ 3893717 w 8778454"/>
              <a:gd name="connsiteY1043" fmla="*/ 8282363 h 8847047"/>
              <a:gd name="connsiteX1044" fmla="*/ 3888621 w 8778454"/>
              <a:gd name="connsiteY1044" fmla="*/ 8273956 h 8847047"/>
              <a:gd name="connsiteX1045" fmla="*/ 3875915 w 8778454"/>
              <a:gd name="connsiteY1045" fmla="*/ 8286083 h 8847047"/>
              <a:gd name="connsiteX1046" fmla="*/ 3825057 w 8778454"/>
              <a:gd name="connsiteY1046" fmla="*/ 8301445 h 8847047"/>
              <a:gd name="connsiteX1047" fmla="*/ 3783319 w 8778454"/>
              <a:gd name="connsiteY1047" fmla="*/ 8355493 h 8847047"/>
              <a:gd name="connsiteX1048" fmla="*/ 3809864 w 8778454"/>
              <a:gd name="connsiteY1048" fmla="*/ 8375656 h 8847047"/>
              <a:gd name="connsiteX1049" fmla="*/ 3707079 w 8778454"/>
              <a:gd name="connsiteY1049" fmla="*/ 8428252 h 8847047"/>
              <a:gd name="connsiteX1050" fmla="*/ 3772783 w 8778454"/>
              <a:gd name="connsiteY1050" fmla="*/ 8357018 h 8847047"/>
              <a:gd name="connsiteX1051" fmla="*/ 3725919 w 8778454"/>
              <a:gd name="connsiteY1051" fmla="*/ 8369516 h 8847047"/>
              <a:gd name="connsiteX1052" fmla="*/ 3733153 w 8778454"/>
              <a:gd name="connsiteY1052" fmla="*/ 8334178 h 8847047"/>
              <a:gd name="connsiteX1053" fmla="*/ 3646691 w 8778454"/>
              <a:gd name="connsiteY1053" fmla="*/ 8356979 h 8847047"/>
              <a:gd name="connsiteX1054" fmla="*/ 3631468 w 8778454"/>
              <a:gd name="connsiteY1054" fmla="*/ 8398046 h 8847047"/>
              <a:gd name="connsiteX1055" fmla="*/ 3627474 w 8778454"/>
              <a:gd name="connsiteY1055" fmla="*/ 8400910 h 8847047"/>
              <a:gd name="connsiteX1056" fmla="*/ 3589291 w 8778454"/>
              <a:gd name="connsiteY1056" fmla="*/ 8371002 h 8847047"/>
              <a:gd name="connsiteX1057" fmla="*/ 3494872 w 8778454"/>
              <a:gd name="connsiteY1057" fmla="*/ 8432676 h 8847047"/>
              <a:gd name="connsiteX1058" fmla="*/ 3456720 w 8778454"/>
              <a:gd name="connsiteY1058" fmla="*/ 8435911 h 8847047"/>
              <a:gd name="connsiteX1059" fmla="*/ 3419670 w 8778454"/>
              <a:gd name="connsiteY1059" fmla="*/ 8450418 h 8847047"/>
              <a:gd name="connsiteX1060" fmla="*/ 3336478 w 8778454"/>
              <a:gd name="connsiteY1060" fmla="*/ 8473889 h 8847047"/>
              <a:gd name="connsiteX1061" fmla="*/ 3167926 w 8778454"/>
              <a:gd name="connsiteY1061" fmla="*/ 8531432 h 8847047"/>
              <a:gd name="connsiteX1062" fmla="*/ 3119270 w 8778454"/>
              <a:gd name="connsiteY1062" fmla="*/ 8569337 h 8847047"/>
              <a:gd name="connsiteX1063" fmla="*/ 2967010 w 8778454"/>
              <a:gd name="connsiteY1063" fmla="*/ 8563940 h 8847047"/>
              <a:gd name="connsiteX1064" fmla="*/ 2949963 w 8778454"/>
              <a:gd name="connsiteY1064" fmla="*/ 8597270 h 8847047"/>
              <a:gd name="connsiteX1065" fmla="*/ 2917253 w 8778454"/>
              <a:gd name="connsiteY1065" fmla="*/ 8590574 h 8847047"/>
              <a:gd name="connsiteX1066" fmla="*/ 2843906 w 8778454"/>
              <a:gd name="connsiteY1066" fmla="*/ 8649197 h 8847047"/>
              <a:gd name="connsiteX1067" fmla="*/ 2765402 w 8778454"/>
              <a:gd name="connsiteY1067" fmla="*/ 8633125 h 8847047"/>
              <a:gd name="connsiteX1068" fmla="*/ 2604839 w 8778454"/>
              <a:gd name="connsiteY1068" fmla="*/ 8684940 h 8847047"/>
              <a:gd name="connsiteX1069" fmla="*/ 2570367 w 8778454"/>
              <a:gd name="connsiteY1069" fmla="*/ 8736794 h 8847047"/>
              <a:gd name="connsiteX1070" fmla="*/ 2526774 w 8778454"/>
              <a:gd name="connsiteY1070" fmla="*/ 8749962 h 8847047"/>
              <a:gd name="connsiteX1071" fmla="*/ 2454434 w 8778454"/>
              <a:gd name="connsiteY1071" fmla="*/ 8720426 h 8847047"/>
              <a:gd name="connsiteX1072" fmla="*/ 2471544 w 8778454"/>
              <a:gd name="connsiteY1072" fmla="*/ 8753384 h 8847047"/>
              <a:gd name="connsiteX1073" fmla="*/ 2408356 w 8778454"/>
              <a:gd name="connsiteY1073" fmla="*/ 8795677 h 8847047"/>
              <a:gd name="connsiteX1074" fmla="*/ 2353535 w 8778454"/>
              <a:gd name="connsiteY1074" fmla="*/ 8847047 h 8847047"/>
              <a:gd name="connsiteX1075" fmla="*/ 2357121 w 8778454"/>
              <a:gd name="connsiteY1075" fmla="*/ 8796234 h 8847047"/>
              <a:gd name="connsiteX1076" fmla="*/ 2330198 w 8778454"/>
              <a:gd name="connsiteY1076" fmla="*/ 8761267 h 8847047"/>
              <a:gd name="connsiteX1077" fmla="*/ 2362154 w 8778454"/>
              <a:gd name="connsiteY1077" fmla="*/ 8738353 h 8847047"/>
              <a:gd name="connsiteX1078" fmla="*/ 2378163 w 8778454"/>
              <a:gd name="connsiteY1078" fmla="*/ 8760041 h 8847047"/>
              <a:gd name="connsiteX1079" fmla="*/ 2394110 w 8778454"/>
              <a:gd name="connsiteY1079" fmla="*/ 8715440 h 8847047"/>
              <a:gd name="connsiteX1080" fmla="*/ 2283650 w 8778454"/>
              <a:gd name="connsiteY1080" fmla="*/ 8722282 h 8847047"/>
              <a:gd name="connsiteX1081" fmla="*/ 2315290 w 8778454"/>
              <a:gd name="connsiteY1081" fmla="*/ 8750852 h 8847047"/>
              <a:gd name="connsiteX1082" fmla="*/ 2194325 w 8778454"/>
              <a:gd name="connsiteY1082" fmla="*/ 8792363 h 8847047"/>
              <a:gd name="connsiteX1083" fmla="*/ 2148154 w 8778454"/>
              <a:gd name="connsiteY1083" fmla="*/ 8768183 h 8847047"/>
              <a:gd name="connsiteX1084" fmla="*/ 2161899 w 8778454"/>
              <a:gd name="connsiteY1084" fmla="*/ 8701040 h 8847047"/>
              <a:gd name="connsiteX1085" fmla="*/ 2150262 w 8778454"/>
              <a:gd name="connsiteY1085" fmla="*/ 8691294 h 8847047"/>
              <a:gd name="connsiteX1086" fmla="*/ 2129943 w 8778454"/>
              <a:gd name="connsiteY1086" fmla="*/ 8723954 h 8847047"/>
              <a:gd name="connsiteX1087" fmla="*/ 2124848 w 8778454"/>
              <a:gd name="connsiteY1087" fmla="*/ 8715547 h 8847047"/>
              <a:gd name="connsiteX1088" fmla="*/ 2113997 w 8778454"/>
              <a:gd name="connsiteY1088" fmla="*/ 8768555 h 8847047"/>
              <a:gd name="connsiteX1089" fmla="*/ 2047507 w 8778454"/>
              <a:gd name="connsiteY1089" fmla="*/ 8777035 h 8847047"/>
              <a:gd name="connsiteX1090" fmla="*/ 2035364 w 8778454"/>
              <a:gd name="connsiteY1090" fmla="*/ 8743866 h 8847047"/>
              <a:gd name="connsiteX1091" fmla="*/ 2048923 w 8778454"/>
              <a:gd name="connsiteY1091" fmla="*/ 8736823 h 8847047"/>
              <a:gd name="connsiteX1092" fmla="*/ 2047099 w 8778454"/>
              <a:gd name="connsiteY1092" fmla="*/ 8729086 h 8847047"/>
              <a:gd name="connsiteX1093" fmla="*/ 2034392 w 8778454"/>
              <a:gd name="connsiteY1093" fmla="*/ 8741213 h 8847047"/>
              <a:gd name="connsiteX1094" fmla="*/ 2005676 w 8778454"/>
              <a:gd name="connsiteY1094" fmla="*/ 8731651 h 8847047"/>
              <a:gd name="connsiteX1095" fmla="*/ 1959789 w 8778454"/>
              <a:gd name="connsiteY1095" fmla="*/ 8622846 h 8847047"/>
              <a:gd name="connsiteX1096" fmla="*/ 1844580 w 8778454"/>
              <a:gd name="connsiteY1096" fmla="*/ 8602942 h 8847047"/>
              <a:gd name="connsiteX1097" fmla="*/ 1870278 w 8778454"/>
              <a:gd name="connsiteY1097" fmla="*/ 8494063 h 8847047"/>
              <a:gd name="connsiteX1098" fmla="*/ 1884369 w 8778454"/>
              <a:gd name="connsiteY1098" fmla="*/ 8408581 h 8847047"/>
              <a:gd name="connsiteX1099" fmla="*/ 1924691 w 8778454"/>
              <a:gd name="connsiteY1099" fmla="*/ 8394744 h 8847047"/>
              <a:gd name="connsiteX1100" fmla="*/ 1907927 w 8778454"/>
              <a:gd name="connsiteY1100" fmla="*/ 8343447 h 8847047"/>
              <a:gd name="connsiteX1101" fmla="*/ 1878897 w 8778454"/>
              <a:gd name="connsiteY1101" fmla="*/ 8385369 h 8847047"/>
              <a:gd name="connsiteX1102" fmla="*/ 1795235 w 8778454"/>
              <a:gd name="connsiteY1102" fmla="*/ 8294603 h 8847047"/>
              <a:gd name="connsiteX1103" fmla="*/ 1853012 w 8778454"/>
              <a:gd name="connsiteY1103" fmla="*/ 8295386 h 8847047"/>
              <a:gd name="connsiteX1104" fmla="*/ 1862794 w 8778454"/>
              <a:gd name="connsiteY1104" fmla="*/ 8264251 h 8847047"/>
              <a:gd name="connsiteX1105" fmla="*/ 1790832 w 8778454"/>
              <a:gd name="connsiteY1105" fmla="*/ 8249519 h 8847047"/>
              <a:gd name="connsiteX1106" fmla="*/ 1858392 w 8778454"/>
              <a:gd name="connsiteY1106" fmla="*/ 8219166 h 8847047"/>
              <a:gd name="connsiteX1107" fmla="*/ 1826028 w 8778454"/>
              <a:gd name="connsiteY1107" fmla="*/ 8194131 h 8847047"/>
              <a:gd name="connsiteX1108" fmla="*/ 1830368 w 8778454"/>
              <a:gd name="connsiteY1108" fmla="*/ 8172928 h 8847047"/>
              <a:gd name="connsiteX1109" fmla="*/ 1865972 w 8778454"/>
              <a:gd name="connsiteY1109" fmla="*/ 8165489 h 8847047"/>
              <a:gd name="connsiteX1110" fmla="*/ 1837571 w 8778454"/>
              <a:gd name="connsiteY1110" fmla="*/ 8104445 h 8847047"/>
              <a:gd name="connsiteX1111" fmla="*/ 1880441 w 8778454"/>
              <a:gd name="connsiteY1111" fmla="*/ 8094812 h 8847047"/>
              <a:gd name="connsiteX1112" fmla="*/ 1862576 w 8778454"/>
              <a:gd name="connsiteY1112" fmla="*/ 8032244 h 8847047"/>
              <a:gd name="connsiteX1113" fmla="*/ 1902521 w 8778454"/>
              <a:gd name="connsiteY1113" fmla="*/ 8003602 h 8847047"/>
              <a:gd name="connsiteX1114" fmla="*/ 1904220 w 8778454"/>
              <a:gd name="connsiteY1114" fmla="*/ 7878764 h 8847047"/>
              <a:gd name="connsiteX1115" fmla="*/ 1849399 w 8778454"/>
              <a:gd name="connsiteY1115" fmla="*/ 7930134 h 8847047"/>
              <a:gd name="connsiteX1116" fmla="*/ 1803667 w 8778454"/>
              <a:gd name="connsiteY1116" fmla="*/ 7987046 h 8847047"/>
              <a:gd name="connsiteX1117" fmla="*/ 1788098 w 8778454"/>
              <a:gd name="connsiteY1117" fmla="*/ 8046453 h 8847047"/>
              <a:gd name="connsiteX1118" fmla="*/ 1754727 w 8778454"/>
              <a:gd name="connsiteY1118" fmla="*/ 8109578 h 8847047"/>
              <a:gd name="connsiteX1119" fmla="*/ 1705599 w 8778454"/>
              <a:gd name="connsiteY1119" fmla="*/ 8033246 h 8847047"/>
              <a:gd name="connsiteX1120" fmla="*/ 1733183 w 8778454"/>
              <a:gd name="connsiteY1120" fmla="*/ 7998391 h 8847047"/>
              <a:gd name="connsiteX1121" fmla="*/ 1722962 w 8778454"/>
              <a:gd name="connsiteY1121" fmla="*/ 7948434 h 8847047"/>
              <a:gd name="connsiteX1122" fmla="*/ 1757842 w 8778454"/>
              <a:gd name="connsiteY1122" fmla="*/ 7944528 h 8847047"/>
              <a:gd name="connsiteX1123" fmla="*/ 1765800 w 8778454"/>
              <a:gd name="connsiteY1123" fmla="*/ 7905656 h 8847047"/>
              <a:gd name="connsiteX1124" fmla="*/ 1810462 w 8778454"/>
              <a:gd name="connsiteY1124" fmla="*/ 7870616 h 8847047"/>
              <a:gd name="connsiteX1125" fmla="*/ 1866952 w 8778454"/>
              <a:gd name="connsiteY1125" fmla="*/ 7661264 h 8847047"/>
              <a:gd name="connsiteX1126" fmla="*/ 1891296 w 8778454"/>
              <a:gd name="connsiteY1126" fmla="*/ 7658884 h 8847047"/>
              <a:gd name="connsiteX1127" fmla="*/ 1953352 w 8778454"/>
              <a:gd name="connsiteY1127" fmla="*/ 7572175 h 8847047"/>
              <a:gd name="connsiteX1128" fmla="*/ 1964203 w 8778454"/>
              <a:gd name="connsiteY1128" fmla="*/ 7519167 h 8847047"/>
              <a:gd name="connsiteX1129" fmla="*/ 2004148 w 8778454"/>
              <a:gd name="connsiteY1129" fmla="*/ 7490525 h 8847047"/>
              <a:gd name="connsiteX1130" fmla="*/ 2018994 w 8778454"/>
              <a:gd name="connsiteY1130" fmla="*/ 7434653 h 8847047"/>
              <a:gd name="connsiteX1131" fmla="*/ 2069852 w 8778454"/>
              <a:gd name="connsiteY1131" fmla="*/ 7419291 h 8847047"/>
              <a:gd name="connsiteX1132" fmla="*/ 2256459 w 8778454"/>
              <a:gd name="connsiteY1132" fmla="*/ 7240258 h 8847047"/>
              <a:gd name="connsiteX1133" fmla="*/ 2283319 w 8778454"/>
              <a:gd name="connsiteY1133" fmla="*/ 7208937 h 8847047"/>
              <a:gd name="connsiteX1134" fmla="*/ 2370820 w 8778454"/>
              <a:gd name="connsiteY1134" fmla="*/ 7131120 h 8847047"/>
              <a:gd name="connsiteX1135" fmla="*/ 2449293 w 8778454"/>
              <a:gd name="connsiteY1135" fmla="*/ 7114047 h 8847047"/>
              <a:gd name="connsiteX1136" fmla="*/ 2462692 w 8778454"/>
              <a:gd name="connsiteY1136" fmla="*/ 7065243 h 8847047"/>
              <a:gd name="connsiteX1137" fmla="*/ 2518991 w 8778454"/>
              <a:gd name="connsiteY1137" fmla="*/ 7039949 h 8847047"/>
              <a:gd name="connsiteX1138" fmla="*/ 2449199 w 8778454"/>
              <a:gd name="connsiteY1138" fmla="*/ 7014616 h 8847047"/>
              <a:gd name="connsiteX1139" fmla="*/ 2420075 w 8778454"/>
              <a:gd name="connsiteY1139" fmla="*/ 6957106 h 8847047"/>
              <a:gd name="connsiteX1140" fmla="*/ 2407053 w 8778454"/>
              <a:gd name="connsiteY1140" fmla="*/ 7020715 h 8847047"/>
              <a:gd name="connsiteX1141" fmla="*/ 2429982 w 8778454"/>
              <a:gd name="connsiteY1141" fmla="*/ 7058546 h 8847047"/>
              <a:gd name="connsiteX1142" fmla="*/ 2397649 w 8778454"/>
              <a:gd name="connsiteY1142" fmla="*/ 7066655 h 8847047"/>
              <a:gd name="connsiteX1143" fmla="*/ 2385666 w 8778454"/>
              <a:gd name="connsiteY1143" fmla="*/ 7075248 h 8847047"/>
              <a:gd name="connsiteX1144" fmla="*/ 2341633 w 8778454"/>
              <a:gd name="connsiteY1144" fmla="*/ 7007323 h 8847047"/>
              <a:gd name="connsiteX1145" fmla="*/ 2326441 w 8778454"/>
              <a:gd name="connsiteY1145" fmla="*/ 7081533 h 8847047"/>
              <a:gd name="connsiteX1146" fmla="*/ 2266840 w 8778454"/>
              <a:gd name="connsiteY1146" fmla="*/ 7073014 h 8847047"/>
              <a:gd name="connsiteX1147" fmla="*/ 2230166 w 8778454"/>
              <a:gd name="connsiteY1147" fmla="*/ 7102326 h 8847047"/>
              <a:gd name="connsiteX1148" fmla="*/ 2273821 w 8778454"/>
              <a:gd name="connsiteY1148" fmla="*/ 7155446 h 8847047"/>
              <a:gd name="connsiteX1149" fmla="*/ 2226580 w 8778454"/>
              <a:gd name="connsiteY1149" fmla="*/ 7153139 h 8847047"/>
              <a:gd name="connsiteX1150" fmla="*/ 2171288 w 8778454"/>
              <a:gd name="connsiteY1150" fmla="*/ 7090272 h 8847047"/>
              <a:gd name="connsiteX1151" fmla="*/ 2181856 w 8778454"/>
              <a:gd name="connsiteY1151" fmla="*/ 7121891 h 8847047"/>
              <a:gd name="connsiteX1152" fmla="*/ 2158266 w 8778454"/>
              <a:gd name="connsiteY1152" fmla="*/ 7153882 h 8847047"/>
              <a:gd name="connsiteX1153" fmla="*/ 2188083 w 8778454"/>
              <a:gd name="connsiteY1153" fmla="*/ 7174713 h 8847047"/>
              <a:gd name="connsiteX1154" fmla="*/ 2159776 w 8778454"/>
              <a:gd name="connsiteY1154" fmla="*/ 7213102 h 8847047"/>
              <a:gd name="connsiteX1155" fmla="*/ 2110679 w 8778454"/>
              <a:gd name="connsiteY1155" fmla="*/ 7169914 h 8847047"/>
              <a:gd name="connsiteX1156" fmla="*/ 2091084 w 8778454"/>
              <a:gd name="connsiteY1156" fmla="*/ 7199039 h 8847047"/>
              <a:gd name="connsiteX1157" fmla="*/ 2115082 w 8778454"/>
              <a:gd name="connsiteY1157" fmla="*/ 7214998 h 8847047"/>
              <a:gd name="connsiteX1158" fmla="*/ 2054065 w 8778454"/>
              <a:gd name="connsiteY1158" fmla="*/ 7246690 h 8847047"/>
              <a:gd name="connsiteX1159" fmla="*/ 1938164 w 8778454"/>
              <a:gd name="connsiteY1159" fmla="*/ 7263465 h 8847047"/>
              <a:gd name="connsiteX1160" fmla="*/ 1941404 w 8778454"/>
              <a:gd name="connsiteY1160" fmla="*/ 7230991 h 8847047"/>
              <a:gd name="connsiteX1161" fmla="*/ 1950808 w 8778454"/>
              <a:gd name="connsiteY1161" fmla="*/ 7185050 h 8847047"/>
              <a:gd name="connsiteX1162" fmla="*/ 1919576 w 8778454"/>
              <a:gd name="connsiteY1162" fmla="*/ 7204430 h 8847047"/>
              <a:gd name="connsiteX1163" fmla="*/ 1877430 w 8778454"/>
              <a:gd name="connsiteY1163" fmla="*/ 7210530 h 8847047"/>
              <a:gd name="connsiteX1164" fmla="*/ 1920708 w 8778454"/>
              <a:gd name="connsiteY1164" fmla="*/ 7248845 h 8847047"/>
              <a:gd name="connsiteX1165" fmla="*/ 1900012 w 8778454"/>
              <a:gd name="connsiteY1165" fmla="*/ 7266700 h 8847047"/>
              <a:gd name="connsiteX1166" fmla="*/ 1927281 w 8778454"/>
              <a:gd name="connsiteY1166" fmla="*/ 7283329 h 8847047"/>
              <a:gd name="connsiteX1167" fmla="*/ 1918569 w 8778454"/>
              <a:gd name="connsiteY1167" fmla="*/ 7292591 h 8847047"/>
              <a:gd name="connsiteX1168" fmla="*/ 1865163 w 8778454"/>
              <a:gd name="connsiteY1168" fmla="*/ 7303749 h 8847047"/>
              <a:gd name="connsiteX1169" fmla="*/ 1812858 w 8778454"/>
              <a:gd name="connsiteY1169" fmla="*/ 7326179 h 8847047"/>
              <a:gd name="connsiteX1170" fmla="*/ 1777947 w 8778454"/>
              <a:gd name="connsiteY1170" fmla="*/ 7296941 h 8847047"/>
              <a:gd name="connsiteX1171" fmla="*/ 1785181 w 8778454"/>
              <a:gd name="connsiteY1171" fmla="*/ 7261602 h 8847047"/>
              <a:gd name="connsiteX1172" fmla="*/ 1764800 w 8778454"/>
              <a:gd name="connsiteY1172" fmla="*/ 7227974 h 8847047"/>
              <a:gd name="connsiteX1173" fmla="*/ 1732499 w 8778454"/>
              <a:gd name="connsiteY1173" fmla="*/ 7269227 h 8847047"/>
              <a:gd name="connsiteX1174" fmla="*/ 1768511 w 8778454"/>
              <a:gd name="connsiteY1174" fmla="*/ 7309737 h 8847047"/>
              <a:gd name="connsiteX1175" fmla="*/ 1701329 w 8778454"/>
              <a:gd name="connsiteY1175" fmla="*/ 7354895 h 8847047"/>
              <a:gd name="connsiteX1176" fmla="*/ 1736964 w 8778454"/>
              <a:gd name="connsiteY1176" fmla="*/ 7380599 h 8847047"/>
              <a:gd name="connsiteX1177" fmla="*/ 1662831 w 8778454"/>
              <a:gd name="connsiteY1177" fmla="*/ 7376469 h 8847047"/>
              <a:gd name="connsiteX1178" fmla="*/ 1633077 w 8778454"/>
              <a:gd name="connsiteY1178" fmla="*/ 7421925 h 8847047"/>
              <a:gd name="connsiteX1179" fmla="*/ 1561084 w 8778454"/>
              <a:gd name="connsiteY1179" fmla="*/ 7374050 h 8847047"/>
              <a:gd name="connsiteX1180" fmla="*/ 1550201 w 8778454"/>
              <a:gd name="connsiteY1180" fmla="*/ 7393913 h 8847047"/>
              <a:gd name="connsiteX1181" fmla="*/ 1579294 w 8778454"/>
              <a:gd name="connsiteY1181" fmla="*/ 7418279 h 8847047"/>
              <a:gd name="connsiteX1182" fmla="*/ 1550263 w 8778454"/>
              <a:gd name="connsiteY1182" fmla="*/ 7460201 h 8847047"/>
              <a:gd name="connsiteX1183" fmla="*/ 1444144 w 8778454"/>
              <a:gd name="connsiteY1183" fmla="*/ 7445840 h 8847047"/>
              <a:gd name="connsiteX1184" fmla="*/ 1452164 w 8778454"/>
              <a:gd name="connsiteY1184" fmla="*/ 7473256 h 8847047"/>
              <a:gd name="connsiteX1185" fmla="*/ 1428544 w 8778454"/>
              <a:gd name="connsiteY1185" fmla="*/ 7472102 h 8847047"/>
              <a:gd name="connsiteX1186" fmla="*/ 1408478 w 8778454"/>
              <a:gd name="connsiteY1186" fmla="*/ 7386992 h 8847047"/>
              <a:gd name="connsiteX1187" fmla="*/ 1311134 w 8778454"/>
              <a:gd name="connsiteY1187" fmla="*/ 7429657 h 8847047"/>
              <a:gd name="connsiteX1188" fmla="*/ 1287859 w 8778454"/>
              <a:gd name="connsiteY1188" fmla="*/ 7410165 h 8847047"/>
              <a:gd name="connsiteX1189" fmla="*/ 1191238 w 8778454"/>
              <a:gd name="connsiteY1189" fmla="*/ 7449296 h 8847047"/>
              <a:gd name="connsiteX1190" fmla="*/ 1174568 w 8778454"/>
              <a:gd name="connsiteY1190" fmla="*/ 7497430 h 8847047"/>
              <a:gd name="connsiteX1191" fmla="*/ 1159283 w 8778454"/>
              <a:gd name="connsiteY1191" fmla="*/ 7472209 h 8847047"/>
              <a:gd name="connsiteX1192" fmla="*/ 1121162 w 8778454"/>
              <a:gd name="connsiteY1192" fmla="*/ 7508589 h 8847047"/>
              <a:gd name="connsiteX1193" fmla="*/ 1161893 w 8778454"/>
              <a:gd name="connsiteY1193" fmla="*/ 7542700 h 8847047"/>
              <a:gd name="connsiteX1194" fmla="*/ 1108110 w 8778454"/>
              <a:gd name="connsiteY1194" fmla="*/ 7539054 h 8847047"/>
              <a:gd name="connsiteX1195" fmla="*/ 1031492 w 8778454"/>
              <a:gd name="connsiteY1195" fmla="*/ 7597008 h 8847047"/>
              <a:gd name="connsiteX1196" fmla="*/ 998373 w 8778454"/>
              <a:gd name="connsiteY1196" fmla="*/ 7542363 h 8847047"/>
              <a:gd name="connsiteX1197" fmla="*/ 940942 w 8778454"/>
              <a:gd name="connsiteY1197" fmla="*/ 7523242 h 8847047"/>
              <a:gd name="connsiteX1198" fmla="*/ 871181 w 8778454"/>
              <a:gd name="connsiteY1198" fmla="*/ 7531053 h 8847047"/>
              <a:gd name="connsiteX1199" fmla="*/ 863224 w 8778454"/>
              <a:gd name="connsiteY1199" fmla="*/ 7569925 h 8847047"/>
              <a:gd name="connsiteX1200" fmla="*/ 905778 w 8778454"/>
              <a:gd name="connsiteY1200" fmla="*/ 7611774 h 8847047"/>
              <a:gd name="connsiteX1201" fmla="*/ 877817 w 8778454"/>
              <a:gd name="connsiteY1201" fmla="*/ 7631824 h 8847047"/>
              <a:gd name="connsiteX1202" fmla="*/ 837464 w 8778454"/>
              <a:gd name="connsiteY1202" fmla="*/ 7612517 h 8847047"/>
              <a:gd name="connsiteX1203" fmla="*/ 742951 w 8778454"/>
              <a:gd name="connsiteY1203" fmla="*/ 7574759 h 8847047"/>
              <a:gd name="connsiteX1204" fmla="*/ 660829 w 8778454"/>
              <a:gd name="connsiteY1204" fmla="*/ 7576357 h 8847047"/>
              <a:gd name="connsiteX1205" fmla="*/ 572890 w 8778454"/>
              <a:gd name="connsiteY1205" fmla="*/ 7573082 h 8847047"/>
              <a:gd name="connsiteX1206" fmla="*/ 411194 w 8778454"/>
              <a:gd name="connsiteY1206" fmla="*/ 7580482 h 8847047"/>
              <a:gd name="connsiteX1207" fmla="*/ 285325 w 8778454"/>
              <a:gd name="connsiteY1207" fmla="*/ 7429528 h 8847047"/>
              <a:gd name="connsiteX1208" fmla="*/ 292559 w 8778454"/>
              <a:gd name="connsiteY1208" fmla="*/ 7394190 h 8847047"/>
              <a:gd name="connsiteX1209" fmla="*/ 324168 w 8778454"/>
              <a:gd name="connsiteY1209" fmla="*/ 7389615 h 8847047"/>
              <a:gd name="connsiteX1210" fmla="*/ 337914 w 8778454"/>
              <a:gd name="connsiteY1210" fmla="*/ 7322472 h 8847047"/>
              <a:gd name="connsiteX1211" fmla="*/ 310299 w 8778454"/>
              <a:gd name="connsiteY1211" fmla="*/ 7324183 h 8847047"/>
              <a:gd name="connsiteX1212" fmla="*/ 269285 w 8778454"/>
              <a:gd name="connsiteY1212" fmla="*/ 7374697 h 8847047"/>
              <a:gd name="connsiteX1213" fmla="*/ 262303 w 8778454"/>
              <a:gd name="connsiteY1213" fmla="*/ 7292266 h 8847047"/>
              <a:gd name="connsiteX1214" fmla="*/ 187416 w 8778454"/>
              <a:gd name="connsiteY1214" fmla="*/ 7258525 h 8847047"/>
              <a:gd name="connsiteX1215" fmla="*/ 176125 w 8778454"/>
              <a:gd name="connsiteY1215" fmla="*/ 7230441 h 8847047"/>
              <a:gd name="connsiteX1216" fmla="*/ 175748 w 8778454"/>
              <a:gd name="connsiteY1216" fmla="*/ 7215635 h 8847047"/>
              <a:gd name="connsiteX1217" fmla="*/ 197891 w 8778454"/>
              <a:gd name="connsiteY1217" fmla="*/ 7190713 h 8847047"/>
              <a:gd name="connsiteX1218" fmla="*/ 104793 w 8778454"/>
              <a:gd name="connsiteY1218" fmla="*/ 7112743 h 8847047"/>
              <a:gd name="connsiteX1219" fmla="*/ 85544 w 8778454"/>
              <a:gd name="connsiteY1219" fmla="*/ 7123530 h 8847047"/>
              <a:gd name="connsiteX1220" fmla="*/ 80796 w 8778454"/>
              <a:gd name="connsiteY1220" fmla="*/ 7096784 h 8847047"/>
              <a:gd name="connsiteX1221" fmla="*/ 171975 w 8778454"/>
              <a:gd name="connsiteY1221" fmla="*/ 7067585 h 8847047"/>
              <a:gd name="connsiteX1222" fmla="*/ 57712 w 8778454"/>
              <a:gd name="connsiteY1222" fmla="*/ 6893234 h 8847047"/>
              <a:gd name="connsiteX1223" fmla="*/ 103821 w 8778454"/>
              <a:gd name="connsiteY1223" fmla="*/ 6851127 h 8847047"/>
              <a:gd name="connsiteX1224" fmla="*/ 88882 w 8778454"/>
              <a:gd name="connsiteY1224" fmla="*/ 6807567 h 8847047"/>
              <a:gd name="connsiteX1225" fmla="*/ 147414 w 8778454"/>
              <a:gd name="connsiteY1225" fmla="*/ 6837959 h 8847047"/>
              <a:gd name="connsiteX1226" fmla="*/ 167763 w 8778454"/>
              <a:gd name="connsiteY1226" fmla="*/ 6838443 h 8847047"/>
              <a:gd name="connsiteX1227" fmla="*/ 176444 w 8778454"/>
              <a:gd name="connsiteY1227" fmla="*/ 6796037 h 8847047"/>
              <a:gd name="connsiteX1228" fmla="*/ 121183 w 8778454"/>
              <a:gd name="connsiteY1228" fmla="*/ 6766314 h 8847047"/>
              <a:gd name="connsiteX1229" fmla="*/ 88882 w 8778454"/>
              <a:gd name="connsiteY1229" fmla="*/ 6807567 h 8847047"/>
              <a:gd name="connsiteX1230" fmla="*/ 32928 w 8778454"/>
              <a:gd name="connsiteY1230" fmla="*/ 6814522 h 8847047"/>
              <a:gd name="connsiteX1231" fmla="*/ 15095 w 8778454"/>
              <a:gd name="connsiteY1231" fmla="*/ 6785098 h 8847047"/>
              <a:gd name="connsiteX1232" fmla="*/ 55763 w 8778454"/>
              <a:gd name="connsiteY1232" fmla="*/ 6752921 h 8847047"/>
              <a:gd name="connsiteX1233" fmla="*/ 6636 w 8778454"/>
              <a:gd name="connsiteY1233" fmla="*/ 6676589 h 8847047"/>
              <a:gd name="connsiteX1234" fmla="*/ 0 w 8778454"/>
              <a:gd name="connsiteY1234" fmla="*/ 6575819 h 8847047"/>
              <a:gd name="connsiteX1235" fmla="*/ 87878 w 8778454"/>
              <a:gd name="connsiteY1235" fmla="*/ 6512806 h 8847047"/>
              <a:gd name="connsiteX1236" fmla="*/ 59793 w 8778454"/>
              <a:gd name="connsiteY1236" fmla="*/ 6400280 h 8847047"/>
              <a:gd name="connsiteX1237" fmla="*/ 127352 w 8778454"/>
              <a:gd name="connsiteY1237" fmla="*/ 6369927 h 8847047"/>
              <a:gd name="connsiteX1238" fmla="*/ 124396 w 8778454"/>
              <a:gd name="connsiteY1238" fmla="*/ 6317775 h 8847047"/>
              <a:gd name="connsiteX1239" fmla="*/ 129460 w 8778454"/>
              <a:gd name="connsiteY1239" fmla="*/ 6293038 h 8847047"/>
              <a:gd name="connsiteX1240" fmla="*/ 197743 w 8778454"/>
              <a:gd name="connsiteY1240" fmla="*/ 6259152 h 8847047"/>
              <a:gd name="connsiteX1241" fmla="*/ 248508 w 8778454"/>
              <a:gd name="connsiteY1241" fmla="*/ 6144358 h 8847047"/>
              <a:gd name="connsiteX1242" fmla="*/ 268480 w 8778454"/>
              <a:gd name="connsiteY1242" fmla="*/ 6130037 h 8847047"/>
              <a:gd name="connsiteX1243" fmla="*/ 312450 w 8778454"/>
              <a:gd name="connsiteY1243" fmla="*/ 6131674 h 8847047"/>
              <a:gd name="connsiteX1244" fmla="*/ 405738 w 8778454"/>
              <a:gd name="connsiteY1244" fmla="*/ 6025586 h 8847047"/>
              <a:gd name="connsiteX1245" fmla="*/ 515412 w 8778454"/>
              <a:gd name="connsiteY1245" fmla="*/ 5955990 h 8847047"/>
              <a:gd name="connsiteX1246" fmla="*/ 532805 w 8778454"/>
              <a:gd name="connsiteY1246" fmla="*/ 5904321 h 8847047"/>
              <a:gd name="connsiteX1247" fmla="*/ 599641 w 8778454"/>
              <a:gd name="connsiteY1247" fmla="*/ 5877502 h 8847047"/>
              <a:gd name="connsiteX1248" fmla="*/ 617035 w 8778454"/>
              <a:gd name="connsiteY1248" fmla="*/ 5825834 h 8847047"/>
              <a:gd name="connsiteX1249" fmla="*/ 753569 w 8778454"/>
              <a:gd name="connsiteY1249" fmla="*/ 5724917 h 8847047"/>
              <a:gd name="connsiteX1250" fmla="*/ 802949 w 8778454"/>
              <a:gd name="connsiteY1250" fmla="*/ 5683478 h 8847047"/>
              <a:gd name="connsiteX1251" fmla="*/ 856324 w 8778454"/>
              <a:gd name="connsiteY1251" fmla="*/ 5639176 h 8847047"/>
              <a:gd name="connsiteX1252" fmla="*/ 899539 w 8778454"/>
              <a:gd name="connsiteY1252" fmla="*/ 5611203 h 8847047"/>
              <a:gd name="connsiteX1253" fmla="*/ 977258 w 8778454"/>
              <a:gd name="connsiteY1253" fmla="*/ 5564520 h 8847047"/>
              <a:gd name="connsiteX1254" fmla="*/ 1044440 w 8778454"/>
              <a:gd name="connsiteY1254" fmla="*/ 5519363 h 8847047"/>
              <a:gd name="connsiteX1255" fmla="*/ 1154083 w 8778454"/>
              <a:gd name="connsiteY1255" fmla="*/ 5416622 h 8847047"/>
              <a:gd name="connsiteX1256" fmla="*/ 1250704 w 8778454"/>
              <a:gd name="connsiteY1256" fmla="*/ 5377491 h 8847047"/>
              <a:gd name="connsiteX1257" fmla="*/ 1219063 w 8778454"/>
              <a:gd name="connsiteY1257" fmla="*/ 5348922 h 8847047"/>
              <a:gd name="connsiteX1258" fmla="*/ 1323673 w 8778454"/>
              <a:gd name="connsiteY1258" fmla="*/ 5304062 h 8847047"/>
              <a:gd name="connsiteX1259" fmla="*/ 1314868 w 8778454"/>
              <a:gd name="connsiteY1259" fmla="*/ 5213893 h 8847047"/>
              <a:gd name="connsiteX1260" fmla="*/ 1252435 w 8778454"/>
              <a:gd name="connsiteY1260" fmla="*/ 5285797 h 8847047"/>
              <a:gd name="connsiteX1261" fmla="*/ 1128891 w 8778454"/>
              <a:gd name="connsiteY1261" fmla="*/ 5289961 h 8847047"/>
              <a:gd name="connsiteX1262" fmla="*/ 1115838 w 8778454"/>
              <a:gd name="connsiteY1262" fmla="*/ 5320427 h 8847047"/>
              <a:gd name="connsiteX1263" fmla="*/ 1003146 w 8778454"/>
              <a:gd name="connsiteY1263" fmla="*/ 5271583 h 8847047"/>
              <a:gd name="connsiteX1264" fmla="*/ 1022803 w 8778454"/>
              <a:gd name="connsiteY1264" fmla="*/ 5308744 h 8847047"/>
              <a:gd name="connsiteX1265" fmla="*/ 1006825 w 8778454"/>
              <a:gd name="connsiteY1265" fmla="*/ 5320201 h 8847047"/>
              <a:gd name="connsiteX1266" fmla="*/ 1015946 w 8778454"/>
              <a:gd name="connsiteY1266" fmla="*/ 5358888 h 8847047"/>
              <a:gd name="connsiteX1267" fmla="*/ 955275 w 8778454"/>
              <a:gd name="connsiteY1267" fmla="*/ 5372241 h 8847047"/>
              <a:gd name="connsiteX1268" fmla="*/ 904794 w 8778454"/>
              <a:gd name="connsiteY1268" fmla="*/ 5402409 h 8847047"/>
              <a:gd name="connsiteX1269" fmla="*/ 929390 w 8778454"/>
              <a:gd name="connsiteY1269" fmla="*/ 5282258 h 8847047"/>
              <a:gd name="connsiteX1270" fmla="*/ 875985 w 8778454"/>
              <a:gd name="connsiteY1270" fmla="*/ 5293416 h 8847047"/>
              <a:gd name="connsiteX1271" fmla="*/ 861485 w 8778454"/>
              <a:gd name="connsiteY1271" fmla="*/ 5330949 h 8847047"/>
              <a:gd name="connsiteX1272" fmla="*/ 779994 w 8778454"/>
              <a:gd name="connsiteY1272" fmla="*/ 5229582 h 8847047"/>
              <a:gd name="connsiteX1273" fmla="*/ 706931 w 8778454"/>
              <a:gd name="connsiteY1273" fmla="*/ 5203579 h 8847047"/>
              <a:gd name="connsiteX1274" fmla="*/ 751247 w 8778454"/>
              <a:gd name="connsiteY1274" fmla="*/ 5186878 h 8847047"/>
              <a:gd name="connsiteX1275" fmla="*/ 739202 w 8778454"/>
              <a:gd name="connsiteY1275" fmla="*/ 5129183 h 8847047"/>
              <a:gd name="connsiteX1276" fmla="*/ 753009 w 8778454"/>
              <a:gd name="connsiteY1276" fmla="*/ 5128327 h 8847047"/>
              <a:gd name="connsiteX1277" fmla="*/ 742819 w 8778454"/>
              <a:gd name="connsiteY1277" fmla="*/ 5111514 h 8847047"/>
              <a:gd name="connsiteX1278" fmla="*/ 755872 w 8778454"/>
              <a:gd name="connsiteY1278" fmla="*/ 5081048 h 8847047"/>
              <a:gd name="connsiteX1279" fmla="*/ 776913 w 8778454"/>
              <a:gd name="connsiteY1279" fmla="*/ 5044855 h 8847047"/>
              <a:gd name="connsiteX1280" fmla="*/ 701742 w 8778454"/>
              <a:gd name="connsiteY1280" fmla="*/ 5095741 h 8847047"/>
              <a:gd name="connsiteX1281" fmla="*/ 742819 w 8778454"/>
              <a:gd name="connsiteY1281" fmla="*/ 5111514 h 8847047"/>
              <a:gd name="connsiteX1282" fmla="*/ 739202 w 8778454"/>
              <a:gd name="connsiteY1282" fmla="*/ 5129183 h 8847047"/>
              <a:gd name="connsiteX1283" fmla="*/ 673466 w 8778454"/>
              <a:gd name="connsiteY1283" fmla="*/ 5167273 h 8847047"/>
              <a:gd name="connsiteX1284" fmla="*/ 628396 w 8778454"/>
              <a:gd name="connsiteY1284" fmla="*/ 5154364 h 8847047"/>
              <a:gd name="connsiteX1285" fmla="*/ 577067 w 8778454"/>
              <a:gd name="connsiteY1285" fmla="*/ 5055490 h 8847047"/>
              <a:gd name="connsiteX1286" fmla="*/ 566814 w 8778454"/>
              <a:gd name="connsiteY1286" fmla="*/ 4972388 h 8847047"/>
              <a:gd name="connsiteX1287" fmla="*/ 603142 w 8778454"/>
              <a:gd name="connsiteY1287" fmla="*/ 4961415 h 8847047"/>
              <a:gd name="connsiteX1288" fmla="*/ 614055 w 8778454"/>
              <a:gd name="connsiteY1288" fmla="*/ 4974695 h 8847047"/>
              <a:gd name="connsiteX1289" fmla="*/ 624938 w 8778454"/>
              <a:gd name="connsiteY1289" fmla="*/ 4954832 h 8847047"/>
              <a:gd name="connsiteX1290" fmla="*/ 582730 w 8778454"/>
              <a:gd name="connsiteY1290" fmla="*/ 4894644 h 8847047"/>
              <a:gd name="connsiteX1291" fmla="*/ 514039 w 8778454"/>
              <a:gd name="connsiteY1291" fmla="*/ 4880582 h 8847047"/>
              <a:gd name="connsiteX1292" fmla="*/ 505673 w 8778454"/>
              <a:gd name="connsiteY1292" fmla="*/ 4871505 h 8847047"/>
              <a:gd name="connsiteX1293" fmla="*/ 560871 w 8778454"/>
              <a:gd name="connsiteY1293" fmla="*/ 4834940 h 8847047"/>
              <a:gd name="connsiteX1294" fmla="*/ 623020 w 8778454"/>
              <a:gd name="connsiteY1294" fmla="*/ 4847663 h 8847047"/>
              <a:gd name="connsiteX1295" fmla="*/ 662588 w 8778454"/>
              <a:gd name="connsiteY1295" fmla="*/ 4804216 h 8847047"/>
              <a:gd name="connsiteX1296" fmla="*/ 708382 w 8778454"/>
              <a:gd name="connsiteY1296" fmla="*/ 4813590 h 8847047"/>
              <a:gd name="connsiteX1297" fmla="*/ 757385 w 8778454"/>
              <a:gd name="connsiteY1297" fmla="*/ 4757347 h 8847047"/>
              <a:gd name="connsiteX1298" fmla="*/ 803210 w 8778454"/>
              <a:gd name="connsiteY1298" fmla="*/ 4799866 h 8847047"/>
              <a:gd name="connsiteX1299" fmla="*/ 815885 w 8778454"/>
              <a:gd name="connsiteY1299" fmla="*/ 4754596 h 8847047"/>
              <a:gd name="connsiteX1300" fmla="*/ 757385 w 8778454"/>
              <a:gd name="connsiteY1300" fmla="*/ 4757347 h 8847047"/>
              <a:gd name="connsiteX1301" fmla="*/ 719926 w 8778454"/>
              <a:gd name="connsiteY1301" fmla="*/ 4723905 h 8847047"/>
              <a:gd name="connsiteX1302" fmla="*/ 740244 w 8778454"/>
              <a:gd name="connsiteY1302" fmla="*/ 4691245 h 8847047"/>
              <a:gd name="connsiteX1303" fmla="*/ 678472 w 8778454"/>
              <a:gd name="connsiteY1303" fmla="*/ 4693327 h 8847047"/>
              <a:gd name="connsiteX1304" fmla="*/ 675547 w 8778454"/>
              <a:gd name="connsiteY1304" fmla="*/ 4674319 h 8847047"/>
              <a:gd name="connsiteX1305" fmla="*/ 662117 w 8778454"/>
              <a:gd name="connsiteY1305" fmla="*/ 4689979 h 8847047"/>
              <a:gd name="connsiteX1306" fmla="*/ 642145 w 8778454"/>
              <a:gd name="connsiteY1306" fmla="*/ 4704301 h 8847047"/>
              <a:gd name="connsiteX1307" fmla="*/ 581065 w 8778454"/>
              <a:gd name="connsiteY1307" fmla="*/ 4669705 h 8847047"/>
              <a:gd name="connsiteX1308" fmla="*/ 619123 w 8778454"/>
              <a:gd name="connsiteY1308" fmla="*/ 4567038 h 8847047"/>
              <a:gd name="connsiteX1309" fmla="*/ 680141 w 8778454"/>
              <a:gd name="connsiteY1309" fmla="*/ 4535346 h 8847047"/>
              <a:gd name="connsiteX1310" fmla="*/ 676084 w 8778454"/>
              <a:gd name="connsiteY1310" fmla="*/ 4471922 h 8847047"/>
              <a:gd name="connsiteX1311" fmla="*/ 696780 w 8778454"/>
              <a:gd name="connsiteY1311" fmla="*/ 4454067 h 8847047"/>
              <a:gd name="connsiteX1312" fmla="*/ 719299 w 8778454"/>
              <a:gd name="connsiteY1312" fmla="*/ 4443950 h 8847047"/>
              <a:gd name="connsiteX1313" fmla="*/ 741127 w 8778454"/>
              <a:gd name="connsiteY1313" fmla="*/ 4470509 h 8847047"/>
              <a:gd name="connsiteX1314" fmla="*/ 745814 w 8778454"/>
              <a:gd name="connsiteY1314" fmla="*/ 4430968 h 8847047"/>
              <a:gd name="connsiteX1315" fmla="*/ 704737 w 8778454"/>
              <a:gd name="connsiteY1315" fmla="*/ 4415195 h 8847047"/>
              <a:gd name="connsiteX1316" fmla="*/ 707223 w 8778454"/>
              <a:gd name="connsiteY1316" fmla="*/ 4353111 h 8847047"/>
              <a:gd name="connsiteX1317" fmla="*/ 660736 w 8778454"/>
              <a:gd name="connsiteY1317" fmla="*/ 4380413 h 8847047"/>
              <a:gd name="connsiteX1318" fmla="*/ 666586 w 8778454"/>
              <a:gd name="connsiteY1318" fmla="*/ 4418431 h 8847047"/>
              <a:gd name="connsiteX1319" fmla="*/ 696780 w 8778454"/>
              <a:gd name="connsiteY1319" fmla="*/ 4454067 h 8847047"/>
              <a:gd name="connsiteX1320" fmla="*/ 637209 w 8778454"/>
              <a:gd name="connsiteY1320" fmla="*/ 4478692 h 8847047"/>
              <a:gd name="connsiteX1321" fmla="*/ 594686 w 8778454"/>
              <a:gd name="connsiteY1321" fmla="*/ 4469987 h 8847047"/>
              <a:gd name="connsiteX1322" fmla="*/ 553170 w 8778454"/>
              <a:gd name="connsiteY1322" fmla="*/ 4373121 h 8847047"/>
              <a:gd name="connsiteX1323" fmla="*/ 634945 w 8778454"/>
              <a:gd name="connsiteY1323" fmla="*/ 4389861 h 8847047"/>
              <a:gd name="connsiteX1324" fmla="*/ 640387 w 8778454"/>
              <a:gd name="connsiteY1324" fmla="*/ 4379929 h 8847047"/>
              <a:gd name="connsiteX1325" fmla="*/ 600380 w 8778454"/>
              <a:gd name="connsiteY1325" fmla="*/ 4342284 h 8847047"/>
              <a:gd name="connsiteX1326" fmla="*/ 516435 w 8778454"/>
              <a:gd name="connsiteY1326" fmla="*/ 4336145 h 8847047"/>
              <a:gd name="connsiteX1327" fmla="*/ 521499 w 8778454"/>
              <a:gd name="connsiteY1327" fmla="*/ 4311408 h 8847047"/>
              <a:gd name="connsiteX1328" fmla="*/ 557857 w 8778454"/>
              <a:gd name="connsiteY1328" fmla="*/ 4333579 h 8847047"/>
              <a:gd name="connsiteX1329" fmla="*/ 568016 w 8778454"/>
              <a:gd name="connsiteY1329" fmla="*/ 4317249 h 8847047"/>
              <a:gd name="connsiteX1330" fmla="*/ 559588 w 8778454"/>
              <a:gd name="connsiteY1330" fmla="*/ 4241885 h 8847047"/>
              <a:gd name="connsiteX1331" fmla="*/ 540685 w 8778454"/>
              <a:gd name="connsiteY1331" fmla="*/ 4234333 h 8847047"/>
              <a:gd name="connsiteX1332" fmla="*/ 583807 w 8778454"/>
              <a:gd name="connsiteY1332" fmla="*/ 4106929 h 8847047"/>
              <a:gd name="connsiteX1333" fmla="*/ 628092 w 8778454"/>
              <a:gd name="connsiteY1333" fmla="*/ 4057084 h 8847047"/>
              <a:gd name="connsiteX1334" fmla="*/ 751228 w 8778454"/>
              <a:gd name="connsiteY1334" fmla="*/ 4004971 h 8847047"/>
              <a:gd name="connsiteX1335" fmla="*/ 746164 w 8778454"/>
              <a:gd name="connsiteY1335" fmla="*/ 4029708 h 8847047"/>
              <a:gd name="connsiteX1336" fmla="*/ 709836 w 8778454"/>
              <a:gd name="connsiteY1336" fmla="*/ 4040681 h 8847047"/>
              <a:gd name="connsiteX1337" fmla="*/ 706628 w 8778454"/>
              <a:gd name="connsiteY1337" fmla="*/ 4106299 h 8847047"/>
              <a:gd name="connsiteX1338" fmla="*/ 785793 w 8778454"/>
              <a:gd name="connsiteY1338" fmla="*/ 4052548 h 8847047"/>
              <a:gd name="connsiteX1339" fmla="*/ 785132 w 8778454"/>
              <a:gd name="connsiteY1339" fmla="*/ 4122370 h 8847047"/>
              <a:gd name="connsiteX1340" fmla="*/ 749967 w 8778454"/>
              <a:gd name="connsiteY1340" fmla="*/ 4210902 h 8847047"/>
              <a:gd name="connsiteX1341" fmla="*/ 822999 w 8778454"/>
              <a:gd name="connsiteY1341" fmla="*/ 4203761 h 8847047"/>
              <a:gd name="connsiteX1342" fmla="*/ 844449 w 8778454"/>
              <a:gd name="connsiteY1342" fmla="*/ 4215516 h 8847047"/>
              <a:gd name="connsiteX1343" fmla="*/ 832151 w 8778454"/>
              <a:gd name="connsiteY1343" fmla="*/ 4275591 h 8847047"/>
              <a:gd name="connsiteX1344" fmla="*/ 880808 w 8778454"/>
              <a:gd name="connsiteY1344" fmla="*/ 4237687 h 8847047"/>
              <a:gd name="connsiteX1345" fmla="*/ 958557 w 8778454"/>
              <a:gd name="connsiteY1345" fmla="*/ 4224148 h 8847047"/>
              <a:gd name="connsiteX1346" fmla="*/ 973750 w 8778454"/>
              <a:gd name="connsiteY1346" fmla="*/ 4149937 h 8847047"/>
              <a:gd name="connsiteX1347" fmla="*/ 1071440 w 8778454"/>
              <a:gd name="connsiteY1347" fmla="*/ 4088933 h 8847047"/>
              <a:gd name="connsiteX1348" fmla="*/ 1117172 w 8778454"/>
              <a:gd name="connsiteY1348" fmla="*/ 4032021 h 8847047"/>
              <a:gd name="connsiteX1349" fmla="*/ 1071378 w 8778454"/>
              <a:gd name="connsiteY1349" fmla="*/ 4022646 h 8847047"/>
              <a:gd name="connsiteX1350" fmla="*/ 1055778 w 8778454"/>
              <a:gd name="connsiteY1350" fmla="*/ 4048908 h 8847047"/>
              <a:gd name="connsiteX1351" fmla="*/ 1004511 w 8778454"/>
              <a:gd name="connsiteY1351" fmla="*/ 4016321 h 8847047"/>
              <a:gd name="connsiteX1352" fmla="*/ 995075 w 8778454"/>
              <a:gd name="connsiteY1352" fmla="*/ 4029117 h 8847047"/>
              <a:gd name="connsiteX1353" fmla="*/ 1017280 w 8778454"/>
              <a:gd name="connsiteY1353" fmla="*/ 4070482 h 8847047"/>
              <a:gd name="connsiteX1354" fmla="*/ 924276 w 8778454"/>
              <a:gd name="connsiteY1354" fmla="*/ 4091944 h 8847047"/>
              <a:gd name="connsiteX1355" fmla="*/ 916602 w 8778454"/>
              <a:gd name="connsiteY1355" fmla="*/ 4046190 h 8847047"/>
              <a:gd name="connsiteX1356" fmla="*/ 829417 w 8778454"/>
              <a:gd name="connsiteY1356" fmla="*/ 4072525 h 8847047"/>
              <a:gd name="connsiteX1357" fmla="*/ 801362 w 8778454"/>
              <a:gd name="connsiteY1357" fmla="*/ 3993143 h 8847047"/>
              <a:gd name="connsiteX1358" fmla="*/ 803910 w 8778454"/>
              <a:gd name="connsiteY1358" fmla="*/ 3997346 h 8847047"/>
              <a:gd name="connsiteX1359" fmla="*/ 819164 w 8778454"/>
              <a:gd name="connsiteY1359" fmla="*/ 3989423 h 8847047"/>
              <a:gd name="connsiteX1360" fmla="*/ 817340 w 8778454"/>
              <a:gd name="connsiteY1360" fmla="*/ 3981686 h 8847047"/>
              <a:gd name="connsiteX1361" fmla="*/ 801362 w 8778454"/>
              <a:gd name="connsiteY1361" fmla="*/ 3993143 h 8847047"/>
              <a:gd name="connsiteX1362" fmla="*/ 751228 w 8778454"/>
              <a:gd name="connsiteY1362" fmla="*/ 4004971 h 8847047"/>
              <a:gd name="connsiteX1363" fmla="*/ 764973 w 8778454"/>
              <a:gd name="connsiteY1363" fmla="*/ 3937828 h 8847047"/>
              <a:gd name="connsiteX1364" fmla="*/ 731162 w 8778454"/>
              <a:gd name="connsiteY1364" fmla="*/ 3919860 h 8847047"/>
              <a:gd name="connsiteX1365" fmla="*/ 790009 w 8778454"/>
              <a:gd name="connsiteY1365" fmla="*/ 3898770 h 8847047"/>
              <a:gd name="connsiteX1366" fmla="*/ 786015 w 8778454"/>
              <a:gd name="connsiteY1366" fmla="*/ 3901634 h 8847047"/>
              <a:gd name="connsiteX1367" fmla="*/ 796205 w 8778454"/>
              <a:gd name="connsiteY1367" fmla="*/ 3918448 h 8847047"/>
              <a:gd name="connsiteX1368" fmla="*/ 800923 w 8778454"/>
              <a:gd name="connsiteY1368" fmla="*/ 3912050 h 8847047"/>
              <a:gd name="connsiteX1369" fmla="*/ 790009 w 8778454"/>
              <a:gd name="connsiteY1369" fmla="*/ 3898770 h 8847047"/>
              <a:gd name="connsiteX1370" fmla="*/ 792903 w 8778454"/>
              <a:gd name="connsiteY1370" fmla="*/ 3884635 h 8847047"/>
              <a:gd name="connsiteX1371" fmla="*/ 828129 w 8778454"/>
              <a:gd name="connsiteY1371" fmla="*/ 3862391 h 8847047"/>
              <a:gd name="connsiteX1372" fmla="*/ 855713 w 8778454"/>
              <a:gd name="connsiteY1372" fmla="*/ 3827536 h 8847047"/>
              <a:gd name="connsiteX1373" fmla="*/ 884744 w 8778454"/>
              <a:gd name="connsiteY1373" fmla="*/ 3785614 h 8847047"/>
              <a:gd name="connsiteX1374" fmla="*/ 962556 w 8778454"/>
              <a:gd name="connsiteY1374" fmla="*/ 3838363 h 8847047"/>
              <a:gd name="connsiteX1375" fmla="*/ 1002154 w 8778454"/>
              <a:gd name="connsiteY1375" fmla="*/ 3828059 h 8847047"/>
              <a:gd name="connsiteX1376" fmla="*/ 1015899 w 8778454"/>
              <a:gd name="connsiteY1376" fmla="*/ 3760916 h 8847047"/>
              <a:gd name="connsiteX1377" fmla="*/ 967904 w 8778454"/>
              <a:gd name="connsiteY1377" fmla="*/ 3728999 h 8847047"/>
              <a:gd name="connsiteX1378" fmla="*/ 1067702 w 8778454"/>
              <a:gd name="connsiteY1378" fmla="*/ 3591106 h 8847047"/>
              <a:gd name="connsiteX1379" fmla="*/ 1100413 w 8778454"/>
              <a:gd name="connsiteY1379" fmla="*/ 3597803 h 8847047"/>
              <a:gd name="connsiteX1380" fmla="*/ 1106293 w 8778454"/>
              <a:gd name="connsiteY1380" fmla="*/ 3668963 h 8847047"/>
              <a:gd name="connsiteX1381" fmla="*/ 1080125 w 8778454"/>
              <a:gd name="connsiteY1381" fmla="*/ 3663606 h 8847047"/>
              <a:gd name="connsiteX1382" fmla="*/ 1051095 w 8778454"/>
              <a:gd name="connsiteY1382" fmla="*/ 3705528 h 8847047"/>
              <a:gd name="connsiteX1383" fmla="*/ 1123811 w 8778454"/>
              <a:gd name="connsiteY1383" fmla="*/ 3749870 h 8847047"/>
              <a:gd name="connsiteX1384" fmla="*/ 1117300 w 8778454"/>
              <a:gd name="connsiteY1384" fmla="*/ 3781675 h 8847047"/>
              <a:gd name="connsiteX1385" fmla="*/ 1114029 w 8778454"/>
              <a:gd name="connsiteY1385" fmla="*/ 3781005 h 8847047"/>
              <a:gd name="connsiteX1386" fmla="*/ 1098775 w 8778454"/>
              <a:gd name="connsiteY1386" fmla="*/ 3788928 h 8847047"/>
              <a:gd name="connsiteX1387" fmla="*/ 1103870 w 8778454"/>
              <a:gd name="connsiteY1387" fmla="*/ 3797335 h 8847047"/>
              <a:gd name="connsiteX1388" fmla="*/ 1117300 w 8778454"/>
              <a:gd name="connsiteY1388" fmla="*/ 3781675 h 8847047"/>
              <a:gd name="connsiteX1389" fmla="*/ 1136580 w 8778454"/>
              <a:gd name="connsiteY1389" fmla="*/ 3804031 h 8847047"/>
              <a:gd name="connsiteX1390" fmla="*/ 1167812 w 8778454"/>
              <a:gd name="connsiteY1390" fmla="*/ 3784651 h 8847047"/>
              <a:gd name="connsiteX1391" fmla="*/ 1135449 w 8778454"/>
              <a:gd name="connsiteY1391" fmla="*/ 3759616 h 8847047"/>
              <a:gd name="connsiteX1392" fmla="*/ 1197252 w 8778454"/>
              <a:gd name="connsiteY1392" fmla="*/ 3790678 h 8847047"/>
              <a:gd name="connsiteX1393" fmla="*/ 1246632 w 8778454"/>
              <a:gd name="connsiteY1393" fmla="*/ 3749240 h 8847047"/>
              <a:gd name="connsiteX1394" fmla="*/ 1188446 w 8778454"/>
              <a:gd name="connsiteY1394" fmla="*/ 3700509 h 8847047"/>
              <a:gd name="connsiteX1395" fmla="*/ 1180049 w 8778454"/>
              <a:gd name="connsiteY1395" fmla="*/ 3658288 h 8847047"/>
              <a:gd name="connsiteX1396" fmla="*/ 1211596 w 8778454"/>
              <a:gd name="connsiteY1396" fmla="*/ 3587426 h 8847047"/>
              <a:gd name="connsiteX1397" fmla="*/ 1313250 w 8778454"/>
              <a:gd name="connsiteY1397" fmla="*/ 3490414 h 8847047"/>
              <a:gd name="connsiteX1398" fmla="*/ 1288844 w 8778454"/>
              <a:gd name="connsiteY1398" fmla="*/ 3426506 h 8847047"/>
              <a:gd name="connsiteX1399" fmla="*/ 1294285 w 8778454"/>
              <a:gd name="connsiteY1399" fmla="*/ 3416575 h 8847047"/>
              <a:gd name="connsiteX1400" fmla="*/ 1383703 w 8778454"/>
              <a:gd name="connsiteY1400" fmla="*/ 3445926 h 8847047"/>
              <a:gd name="connsiteX1401" fmla="*/ 1458843 w 8778454"/>
              <a:gd name="connsiteY1401" fmla="*/ 3361896 h 8847047"/>
              <a:gd name="connsiteX1402" fmla="*/ 1377130 w 8778454"/>
              <a:gd name="connsiteY1402" fmla="*/ 3411443 h 8847047"/>
              <a:gd name="connsiteX1403" fmla="*/ 1336400 w 8778454"/>
              <a:gd name="connsiteY1403" fmla="*/ 3377331 h 8847047"/>
              <a:gd name="connsiteX1404" fmla="*/ 1417012 w 8778454"/>
              <a:gd name="connsiteY1404" fmla="*/ 3316513 h 8847047"/>
              <a:gd name="connsiteX1405" fmla="*/ 1504890 w 8778454"/>
              <a:gd name="connsiteY1405" fmla="*/ 3253500 h 8847047"/>
              <a:gd name="connsiteX1406" fmla="*/ 1499511 w 8778454"/>
              <a:gd name="connsiteY1406" fmla="*/ 3329720 h 8847047"/>
              <a:gd name="connsiteX1407" fmla="*/ 1552162 w 8778454"/>
              <a:gd name="connsiteY1407" fmla="*/ 3288951 h 8847047"/>
              <a:gd name="connsiteX1408" fmla="*/ 1540147 w 8778454"/>
              <a:gd name="connsiteY1408" fmla="*/ 3264400 h 8847047"/>
              <a:gd name="connsiteX1409" fmla="*/ 1615695 w 8778454"/>
              <a:gd name="connsiteY1409" fmla="*/ 3228319 h 8847047"/>
              <a:gd name="connsiteX1410" fmla="*/ 1589150 w 8778454"/>
              <a:gd name="connsiteY1410" fmla="*/ 3208157 h 8847047"/>
              <a:gd name="connsiteX1411" fmla="*/ 1599278 w 8778454"/>
              <a:gd name="connsiteY1411" fmla="*/ 3158683 h 8847047"/>
              <a:gd name="connsiteX1412" fmla="*/ 1658156 w 8778454"/>
              <a:gd name="connsiteY1412" fmla="*/ 3170736 h 8847047"/>
              <a:gd name="connsiteX1413" fmla="*/ 1662874 w 8778454"/>
              <a:gd name="connsiteY1413" fmla="*/ 3164338 h 8847047"/>
              <a:gd name="connsiteX1414" fmla="*/ 1599971 w 8778454"/>
              <a:gd name="connsiteY1414" fmla="*/ 3122005 h 8847047"/>
              <a:gd name="connsiteX1415" fmla="*/ 1645356 w 8778454"/>
              <a:gd name="connsiteY1415" fmla="*/ 3083431 h 8847047"/>
              <a:gd name="connsiteX1416" fmla="*/ 1680552 w 8778454"/>
              <a:gd name="connsiteY1416" fmla="*/ 3028043 h 8847047"/>
              <a:gd name="connsiteX1417" fmla="*/ 1789911 w 8778454"/>
              <a:gd name="connsiteY1417" fmla="*/ 3009930 h 8847047"/>
              <a:gd name="connsiteX1418" fmla="*/ 1830170 w 8778454"/>
              <a:gd name="connsiteY1418" fmla="*/ 2929805 h 8847047"/>
              <a:gd name="connsiteX1419" fmla="*/ 1852313 w 8778454"/>
              <a:gd name="connsiteY1419" fmla="*/ 2904882 h 8847047"/>
              <a:gd name="connsiteX1420" fmla="*/ 1904964 w 8778454"/>
              <a:gd name="connsiteY1420" fmla="*/ 2864113 h 8847047"/>
              <a:gd name="connsiteX1421" fmla="*/ 1957238 w 8778454"/>
              <a:gd name="connsiteY1421" fmla="*/ 2808539 h 8847047"/>
              <a:gd name="connsiteX1422" fmla="*/ 2048826 w 8778454"/>
              <a:gd name="connsiteY1422" fmla="*/ 2827289 h 8847047"/>
              <a:gd name="connsiteX1423" fmla="*/ 2044516 w 8778454"/>
              <a:gd name="connsiteY1423" fmla="*/ 2881636 h 8847047"/>
              <a:gd name="connsiteX1424" fmla="*/ 2120757 w 8778454"/>
              <a:gd name="connsiteY1424" fmla="*/ 2808877 h 8847047"/>
              <a:gd name="connsiteX1425" fmla="*/ 2099307 w 8778454"/>
              <a:gd name="connsiteY1425" fmla="*/ 2797122 h 8847047"/>
              <a:gd name="connsiteX1426" fmla="*/ 2180957 w 8778454"/>
              <a:gd name="connsiteY1426" fmla="*/ 2681288 h 8847047"/>
              <a:gd name="connsiteX1427" fmla="*/ 2191463 w 8778454"/>
              <a:gd name="connsiteY1427" fmla="*/ 2646618 h 8847047"/>
              <a:gd name="connsiteX1428" fmla="*/ 2308748 w 8778454"/>
              <a:gd name="connsiteY1428" fmla="*/ 2556489 h 8847047"/>
              <a:gd name="connsiteX1429" fmla="*/ 2375522 w 8778454"/>
              <a:gd name="connsiteY1429" fmla="*/ 2463382 h 8847047"/>
              <a:gd name="connsiteX1430" fmla="*/ 2445252 w 8778454"/>
              <a:gd name="connsiteY1430" fmla="*/ 2422428 h 8847047"/>
              <a:gd name="connsiteX1431" fmla="*/ 2503690 w 8778454"/>
              <a:gd name="connsiteY1431" fmla="*/ 2353388 h 8847047"/>
              <a:gd name="connsiteX1432" fmla="*/ 2564330 w 8778454"/>
              <a:gd name="connsiteY1432" fmla="*/ 2306891 h 8847047"/>
              <a:gd name="connsiteX1433" fmla="*/ 2584649 w 8778454"/>
              <a:gd name="connsiteY1433" fmla="*/ 2274232 h 8847047"/>
              <a:gd name="connsiteX1434" fmla="*/ 2681270 w 8778454"/>
              <a:gd name="connsiteY1434" fmla="*/ 2235100 h 8847047"/>
              <a:gd name="connsiteX1435" fmla="*/ 2737884 w 8778454"/>
              <a:gd name="connsiteY1435" fmla="*/ 2158324 h 8847047"/>
              <a:gd name="connsiteX1436" fmla="*/ 2716434 w 8778454"/>
              <a:gd name="connsiteY1436" fmla="*/ 2146568 h 8847047"/>
              <a:gd name="connsiteX1437" fmla="*/ 2704358 w 8778454"/>
              <a:gd name="connsiteY1437" fmla="*/ 2055730 h 8847047"/>
              <a:gd name="connsiteX1438" fmla="*/ 2676396 w 8778454"/>
              <a:gd name="connsiteY1438" fmla="*/ 2075779 h 8847047"/>
              <a:gd name="connsiteX1439" fmla="*/ 2692783 w 8778454"/>
              <a:gd name="connsiteY1439" fmla="*/ 2112271 h 8847047"/>
              <a:gd name="connsiteX1440" fmla="*/ 2623053 w 8778454"/>
              <a:gd name="connsiteY1440" fmla="*/ 2153225 h 8847047"/>
              <a:gd name="connsiteX1441" fmla="*/ 2604590 w 8778454"/>
              <a:gd name="connsiteY1441" fmla="*/ 2226766 h 8847047"/>
              <a:gd name="connsiteX1442" fmla="*/ 2584649 w 8778454"/>
              <a:gd name="connsiteY1442" fmla="*/ 2274232 h 8847047"/>
              <a:gd name="connsiteX1443" fmla="*/ 2536307 w 8778454"/>
              <a:gd name="connsiteY1443" fmla="*/ 2260653 h 8847047"/>
              <a:gd name="connsiteX1444" fmla="*/ 2584587 w 8778454"/>
              <a:gd name="connsiteY1444" fmla="*/ 2207944 h 8847047"/>
              <a:gd name="connsiteX1445" fmla="*/ 2576944 w 8778454"/>
              <a:gd name="connsiteY1445" fmla="*/ 2195333 h 8847047"/>
              <a:gd name="connsiteX1446" fmla="*/ 2518097 w 8778454"/>
              <a:gd name="connsiteY1446" fmla="*/ 2216424 h 8847047"/>
              <a:gd name="connsiteX1447" fmla="*/ 2510454 w 8778454"/>
              <a:gd name="connsiteY1447" fmla="*/ 2203813 h 8847047"/>
              <a:gd name="connsiteX1448" fmla="*/ 2463590 w 8778454"/>
              <a:gd name="connsiteY1448" fmla="*/ 2216311 h 8847047"/>
              <a:gd name="connsiteX1449" fmla="*/ 2456356 w 8778454"/>
              <a:gd name="connsiteY1449" fmla="*/ 2251650 h 8847047"/>
              <a:gd name="connsiteX1450" fmla="*/ 2416034 w 8778454"/>
              <a:gd name="connsiteY1450" fmla="*/ 2265487 h 8847047"/>
              <a:gd name="connsiteX1451" fmla="*/ 2425155 w 8778454"/>
              <a:gd name="connsiteY1451" fmla="*/ 2304173 h 8847047"/>
              <a:gd name="connsiteX1452" fmla="*/ 2393200 w 8778454"/>
              <a:gd name="connsiteY1452" fmla="*/ 2327087 h 8847047"/>
              <a:gd name="connsiteX1453" fmla="*/ 2357849 w 8778454"/>
              <a:gd name="connsiteY1453" fmla="*/ 2216756 h 8847047"/>
              <a:gd name="connsiteX1454" fmla="*/ 2363006 w 8778454"/>
              <a:gd name="connsiteY1454" fmla="*/ 2291451 h 8847047"/>
              <a:gd name="connsiteX1455" fmla="*/ 2295793 w 8778454"/>
              <a:gd name="connsiteY1455" fmla="*/ 2303465 h 8847047"/>
              <a:gd name="connsiteX1456" fmla="*/ 2279784 w 8778454"/>
              <a:gd name="connsiteY1456" fmla="*/ 2281778 h 8847047"/>
              <a:gd name="connsiteX1457" fmla="*/ 2283055 w 8778454"/>
              <a:gd name="connsiteY1457" fmla="*/ 2282447 h 8847047"/>
              <a:gd name="connsiteX1458" fmla="*/ 2298309 w 8778454"/>
              <a:gd name="connsiteY1458" fmla="*/ 2274524 h 8847047"/>
              <a:gd name="connsiteX1459" fmla="*/ 2293214 w 8778454"/>
              <a:gd name="connsiteY1459" fmla="*/ 2266117 h 8847047"/>
              <a:gd name="connsiteX1460" fmla="*/ 2279784 w 8778454"/>
              <a:gd name="connsiteY1460" fmla="*/ 2281778 h 8847047"/>
              <a:gd name="connsiteX1461" fmla="*/ 2236191 w 8778454"/>
              <a:gd name="connsiteY1461" fmla="*/ 2294945 h 8847047"/>
              <a:gd name="connsiteX1462" fmla="*/ 2242340 w 8778454"/>
              <a:gd name="connsiteY1462" fmla="*/ 2204041 h 8847047"/>
              <a:gd name="connsiteX1463" fmla="*/ 2235996 w 8778454"/>
              <a:gd name="connsiteY1463" fmla="*/ 2180700 h 8847047"/>
              <a:gd name="connsiteX1464" fmla="*/ 2266607 w 8778454"/>
              <a:gd name="connsiteY1464" fmla="*/ 2179668 h 8847047"/>
              <a:gd name="connsiteX1465" fmla="*/ 2268777 w 8778454"/>
              <a:gd name="connsiteY1465" fmla="*/ 2169066 h 8847047"/>
              <a:gd name="connsiteX1466" fmla="*/ 2233896 w 8778454"/>
              <a:gd name="connsiteY1466" fmla="*/ 2172972 h 8847047"/>
              <a:gd name="connsiteX1467" fmla="*/ 2189926 w 8778454"/>
              <a:gd name="connsiteY1467" fmla="*/ 2171334 h 8847047"/>
              <a:gd name="connsiteX1468" fmla="*/ 2258209 w 8778454"/>
              <a:gd name="connsiteY1468" fmla="*/ 2137447 h 8847047"/>
              <a:gd name="connsiteX1469" fmla="*/ 2315201 w 8778454"/>
              <a:gd name="connsiteY1469" fmla="*/ 2075476 h 8847047"/>
              <a:gd name="connsiteX1470" fmla="*/ 2313785 w 8778454"/>
              <a:gd name="connsiteY1470" fmla="*/ 2115687 h 8847047"/>
              <a:gd name="connsiteX1471" fmla="*/ 2307274 w 8778454"/>
              <a:gd name="connsiteY1471" fmla="*/ 2147492 h 8847047"/>
              <a:gd name="connsiteX1472" fmla="*/ 2327655 w 8778454"/>
              <a:gd name="connsiteY1472" fmla="*/ 2181119 h 8847047"/>
              <a:gd name="connsiteX1473" fmla="*/ 2445789 w 8778454"/>
              <a:gd name="connsiteY1473" fmla="*/ 2220031 h 8847047"/>
              <a:gd name="connsiteX1474" fmla="*/ 2439122 w 8778454"/>
              <a:gd name="connsiteY1474" fmla="*/ 2086116 h 8847047"/>
              <a:gd name="connsiteX1475" fmla="*/ 2353321 w 8778454"/>
              <a:gd name="connsiteY1475" fmla="*/ 2039096 h 8847047"/>
              <a:gd name="connsiteX1476" fmla="*/ 2336997 w 8778454"/>
              <a:gd name="connsiteY1476" fmla="*/ 2068892 h 8847047"/>
              <a:gd name="connsiteX1477" fmla="*/ 2294474 w 8778454"/>
              <a:gd name="connsiteY1477" fmla="*/ 2060187 h 8847047"/>
              <a:gd name="connsiteX1478" fmla="*/ 2320234 w 8778454"/>
              <a:gd name="connsiteY1478" fmla="*/ 2017595 h 8847047"/>
              <a:gd name="connsiteX1479" fmla="*/ 2415062 w 8778454"/>
              <a:gd name="connsiteY1479" fmla="*/ 2003870 h 8847047"/>
              <a:gd name="connsiteX1480" fmla="*/ 2367067 w 8778454"/>
              <a:gd name="connsiteY1480" fmla="*/ 1971953 h 8847047"/>
              <a:gd name="connsiteX1481" fmla="*/ 2310767 w 8778454"/>
              <a:gd name="connsiteY1481" fmla="*/ 1997247 h 8847047"/>
              <a:gd name="connsiteX1482" fmla="*/ 2343384 w 8778454"/>
              <a:gd name="connsiteY1482" fmla="*/ 1904512 h 8847047"/>
              <a:gd name="connsiteX1483" fmla="*/ 2255506 w 8778454"/>
              <a:gd name="connsiteY1483" fmla="*/ 1967525 h 8847047"/>
              <a:gd name="connsiteX1484" fmla="*/ 2293689 w 8778454"/>
              <a:gd name="connsiteY1484" fmla="*/ 1997433 h 8847047"/>
              <a:gd name="connsiteX1485" fmla="*/ 2246133 w 8778454"/>
              <a:gd name="connsiteY1485" fmla="*/ 2046608 h 8847047"/>
              <a:gd name="connsiteX1486" fmla="*/ 2244025 w 8778454"/>
              <a:gd name="connsiteY1486" fmla="*/ 2123498 h 8847047"/>
              <a:gd name="connsiteX1487" fmla="*/ 2181875 w 8778454"/>
              <a:gd name="connsiteY1487" fmla="*/ 2110775 h 8847047"/>
              <a:gd name="connsiteX1488" fmla="*/ 2189549 w 8778454"/>
              <a:gd name="connsiteY1488" fmla="*/ 2156529 h 8847047"/>
              <a:gd name="connsiteX1489" fmla="*/ 2147372 w 8778454"/>
              <a:gd name="connsiteY1489" fmla="*/ 2129485 h 8847047"/>
              <a:gd name="connsiteX1490" fmla="*/ 2091104 w 8778454"/>
              <a:gd name="connsiteY1490" fmla="*/ 2187923 h 8847047"/>
              <a:gd name="connsiteX1491" fmla="*/ 2044493 w 8778454"/>
              <a:gd name="connsiteY1491" fmla="*/ 2082650 h 8847047"/>
              <a:gd name="connsiteX1492" fmla="*/ 1989325 w 8778454"/>
              <a:gd name="connsiteY1492" fmla="*/ 2152359 h 8847047"/>
              <a:gd name="connsiteX1493" fmla="*/ 2020557 w 8778454"/>
              <a:gd name="connsiteY1493" fmla="*/ 2132979 h 8847047"/>
              <a:gd name="connsiteX1494" fmla="*/ 2013700 w 8778454"/>
              <a:gd name="connsiteY1494" fmla="*/ 2183123 h 8847047"/>
              <a:gd name="connsiteX1495" fmla="*/ 1925414 w 8778454"/>
              <a:gd name="connsiteY1495" fmla="*/ 2198187 h 8847047"/>
              <a:gd name="connsiteX1496" fmla="*/ 1916733 w 8778454"/>
              <a:gd name="connsiteY1496" fmla="*/ 2240593 h 8847047"/>
              <a:gd name="connsiteX1497" fmla="*/ 1906197 w 8778454"/>
              <a:gd name="connsiteY1497" fmla="*/ 2242118 h 8847047"/>
              <a:gd name="connsiteX1498" fmla="*/ 1905442 w 8778454"/>
              <a:gd name="connsiteY1498" fmla="*/ 2212508 h 8847047"/>
              <a:gd name="connsiteX1499" fmla="*/ 1887986 w 8778454"/>
              <a:gd name="connsiteY1499" fmla="*/ 2197889 h 8847047"/>
              <a:gd name="connsiteX1500" fmla="*/ 1863674 w 8778454"/>
              <a:gd name="connsiteY1500" fmla="*/ 2233413 h 8847047"/>
              <a:gd name="connsiteX1501" fmla="*/ 1850212 w 8778454"/>
              <a:gd name="connsiteY1501" fmla="*/ 2215929 h 8847047"/>
              <a:gd name="connsiteX1502" fmla="*/ 1754661 w 8778454"/>
              <a:gd name="connsiteY1502" fmla="*/ 2233188 h 8847047"/>
              <a:gd name="connsiteX1503" fmla="*/ 1835180 w 8778454"/>
              <a:gd name="connsiteY1503" fmla="*/ 2072938 h 8847047"/>
              <a:gd name="connsiteX1504" fmla="*/ 1899468 w 8778454"/>
              <a:gd name="connsiteY1504" fmla="*/ 2041916 h 8847047"/>
              <a:gd name="connsiteX1505" fmla="*/ 1883082 w 8778454"/>
              <a:gd name="connsiteY1505" fmla="*/ 2005424 h 8847047"/>
              <a:gd name="connsiteX1506" fmla="*/ 1911420 w 8778454"/>
              <a:gd name="connsiteY1506" fmla="*/ 2000179 h 8847047"/>
              <a:gd name="connsiteX1507" fmla="*/ 1950233 w 8778454"/>
              <a:gd name="connsiteY1507" fmla="*/ 1927122 h 8847047"/>
              <a:gd name="connsiteX1508" fmla="*/ 1909125 w 8778454"/>
              <a:gd name="connsiteY1508" fmla="*/ 1878205 h 8847047"/>
              <a:gd name="connsiteX1509" fmla="*/ 1951964 w 8778454"/>
              <a:gd name="connsiteY1509" fmla="*/ 1835428 h 8847047"/>
              <a:gd name="connsiteX1510" fmla="*/ 1991531 w 8778454"/>
              <a:gd name="connsiteY1510" fmla="*/ 1791981 h 8847047"/>
              <a:gd name="connsiteX1511" fmla="*/ 2045376 w 8778454"/>
              <a:gd name="connsiteY1511" fmla="*/ 1861915 h 8847047"/>
              <a:gd name="connsiteX1512" fmla="*/ 2090384 w 8778454"/>
              <a:gd name="connsiteY1512" fmla="*/ 1808536 h 8847047"/>
              <a:gd name="connsiteX1513" fmla="*/ 2079817 w 8778454"/>
              <a:gd name="connsiteY1513" fmla="*/ 1776917 h 8847047"/>
              <a:gd name="connsiteX1514" fmla="*/ 2112527 w 8778454"/>
              <a:gd name="connsiteY1514" fmla="*/ 1783613 h 8847047"/>
              <a:gd name="connsiteX1515" fmla="*/ 2112118 w 8778454"/>
              <a:gd name="connsiteY1515" fmla="*/ 1735664 h 8847047"/>
              <a:gd name="connsiteX1516" fmla="*/ 2115705 w 8778454"/>
              <a:gd name="connsiteY1516" fmla="*/ 1684851 h 8847047"/>
              <a:gd name="connsiteX1517" fmla="*/ 2172412 w 8778454"/>
              <a:gd name="connsiteY1517" fmla="*/ 1707506 h 8847047"/>
              <a:gd name="connsiteX1518" fmla="*/ 2183295 w 8778454"/>
              <a:gd name="connsiteY1518" fmla="*/ 1687642 h 8847047"/>
              <a:gd name="connsiteX1519" fmla="*/ 2179962 w 8778454"/>
              <a:gd name="connsiteY1519" fmla="*/ 1620685 h 8847047"/>
              <a:gd name="connsiteX1520" fmla="*/ 2155933 w 8778454"/>
              <a:gd name="connsiteY1520" fmla="*/ 1571583 h 8847047"/>
              <a:gd name="connsiteX1521" fmla="*/ 2184240 w 8778454"/>
              <a:gd name="connsiteY1521" fmla="*/ 1533194 h 8847047"/>
              <a:gd name="connsiteX1522" fmla="*/ 2146404 w 8778454"/>
              <a:gd name="connsiteY1522" fmla="*/ 1484947 h 8847047"/>
              <a:gd name="connsiteX1523" fmla="*/ 2151122 w 8778454"/>
              <a:gd name="connsiteY1523" fmla="*/ 1478549 h 8847047"/>
              <a:gd name="connsiteX1524" fmla="*/ 2227047 w 8778454"/>
              <a:gd name="connsiteY1524" fmla="*/ 1457273 h 8847047"/>
              <a:gd name="connsiteX1525" fmla="*/ 2263374 w 8778454"/>
              <a:gd name="connsiteY1525" fmla="*/ 1446300 h 8847047"/>
              <a:gd name="connsiteX1526" fmla="*/ 2260041 w 8778454"/>
              <a:gd name="connsiteY1526" fmla="*/ 1379342 h 8847047"/>
              <a:gd name="connsiteX1527" fmla="*/ 2334866 w 8778454"/>
              <a:gd name="connsiteY1527" fmla="*/ 1346795 h 8847047"/>
              <a:gd name="connsiteX1528" fmla="*/ 2347888 w 8778454"/>
              <a:gd name="connsiteY1528" fmla="*/ 1283186 h 8847047"/>
              <a:gd name="connsiteX1529" fmla="*/ 2388587 w 8778454"/>
              <a:gd name="connsiteY1529" fmla="*/ 1284154 h 8847047"/>
              <a:gd name="connsiteX1530" fmla="*/ 2591202 w 8778454"/>
              <a:gd name="connsiteY1530" fmla="*/ 1126808 h 8847047"/>
              <a:gd name="connsiteX1531" fmla="*/ 2636997 w 8778454"/>
              <a:gd name="connsiteY1531" fmla="*/ 1136182 h 8847047"/>
              <a:gd name="connsiteX1532" fmla="*/ 2701254 w 8778454"/>
              <a:gd name="connsiteY1532" fmla="*/ 1072016 h 8847047"/>
              <a:gd name="connsiteX1533" fmla="*/ 2740506 w 8778454"/>
              <a:gd name="connsiteY1533" fmla="*/ 1080052 h 8847047"/>
              <a:gd name="connsiteX1534" fmla="*/ 2753559 w 8778454"/>
              <a:gd name="connsiteY1534" fmla="*/ 1049586 h 8847047"/>
              <a:gd name="connsiteX1535" fmla="*/ 2878518 w 8778454"/>
              <a:gd name="connsiteY1535" fmla="*/ 1005211 h 8847047"/>
              <a:gd name="connsiteX1536" fmla="*/ 2862509 w 8778454"/>
              <a:gd name="connsiteY1536" fmla="*/ 983524 h 8847047"/>
              <a:gd name="connsiteX1537" fmla="*/ 2955136 w 8778454"/>
              <a:gd name="connsiteY1537" fmla="*/ 947257 h 8847047"/>
              <a:gd name="connsiteX1538" fmla="*/ 3119663 w 8778454"/>
              <a:gd name="connsiteY1538" fmla="*/ 859434 h 8847047"/>
              <a:gd name="connsiteX1539" fmla="*/ 3262739 w 8778454"/>
              <a:gd name="connsiteY1539" fmla="*/ 759856 h 8847047"/>
              <a:gd name="connsiteX1540" fmla="*/ 3306017 w 8778454"/>
              <a:gd name="connsiteY1540" fmla="*/ 798171 h 8847047"/>
              <a:gd name="connsiteX1541" fmla="*/ 3299506 w 8778454"/>
              <a:gd name="connsiteY1541" fmla="*/ 829976 h 8847047"/>
              <a:gd name="connsiteX1542" fmla="*/ 3283497 w 8778454"/>
              <a:gd name="connsiteY1542" fmla="*/ 808289 h 8847047"/>
              <a:gd name="connsiteX1543" fmla="*/ 3258052 w 8778454"/>
              <a:gd name="connsiteY1543" fmla="*/ 799398 h 8847047"/>
              <a:gd name="connsiteX1544" fmla="*/ 3299506 w 8778454"/>
              <a:gd name="connsiteY1544" fmla="*/ 829976 h 8847047"/>
              <a:gd name="connsiteX1545" fmla="*/ 3338003 w 8778454"/>
              <a:gd name="connsiteY1545" fmla="*/ 808401 h 8847047"/>
              <a:gd name="connsiteX1546" fmla="*/ 3328536 w 8778454"/>
              <a:gd name="connsiteY1546" fmla="*/ 788053 h 8847047"/>
              <a:gd name="connsiteX1547" fmla="*/ 3386221 w 8778454"/>
              <a:gd name="connsiteY1547" fmla="*/ 689404 h 8847047"/>
              <a:gd name="connsiteX1548" fmla="*/ 3438211 w 8778454"/>
              <a:gd name="connsiteY1548" fmla="*/ 718457 h 8847047"/>
              <a:gd name="connsiteX1549" fmla="*/ 3446923 w 8778454"/>
              <a:gd name="connsiteY1549" fmla="*/ 709195 h 8847047"/>
              <a:gd name="connsiteX1550" fmla="*/ 3478563 w 8778454"/>
              <a:gd name="connsiteY1550" fmla="*/ 737764 h 8847047"/>
              <a:gd name="connsiteX1551" fmla="*/ 3569712 w 8778454"/>
              <a:gd name="connsiteY1551" fmla="*/ 675421 h 8847047"/>
              <a:gd name="connsiteX1552" fmla="*/ 3659068 w 8778454"/>
              <a:gd name="connsiteY1552" fmla="*/ 638484 h 8847047"/>
              <a:gd name="connsiteX1553" fmla="*/ 3702723 w 8778454"/>
              <a:gd name="connsiteY1553" fmla="*/ 691604 h 8847047"/>
              <a:gd name="connsiteX1554" fmla="*/ 3715429 w 8778454"/>
              <a:gd name="connsiteY1554" fmla="*/ 679478 h 8847047"/>
              <a:gd name="connsiteX1555" fmla="*/ 3710649 w 8778454"/>
              <a:gd name="connsiteY1555" fmla="*/ 619588 h 8847047"/>
              <a:gd name="connsiteX1556" fmla="*/ 3814505 w 8778454"/>
              <a:gd name="connsiteY1556" fmla="*/ 545118 h 8847047"/>
              <a:gd name="connsiteX1557" fmla="*/ 3894802 w 8778454"/>
              <a:gd name="connsiteY1557" fmla="*/ 535783 h 8847047"/>
              <a:gd name="connsiteX1558" fmla="*/ 4000482 w 8778454"/>
              <a:gd name="connsiteY1558" fmla="*/ 469051 h 8847047"/>
              <a:gd name="connsiteX1559" fmla="*/ 4088799 w 8778454"/>
              <a:gd name="connsiteY1559" fmla="*/ 487131 h 8847047"/>
              <a:gd name="connsiteX1560" fmla="*/ 4105123 w 8778454"/>
              <a:gd name="connsiteY1560" fmla="*/ 457335 h 8847047"/>
              <a:gd name="connsiteX1561" fmla="*/ 4131291 w 8778454"/>
              <a:gd name="connsiteY1561" fmla="*/ 462692 h 8847047"/>
              <a:gd name="connsiteX1562" fmla="*/ 4105531 w 8778454"/>
              <a:gd name="connsiteY1562" fmla="*/ 505284 h 8847047"/>
              <a:gd name="connsiteX1563" fmla="*/ 4133523 w 8778454"/>
              <a:gd name="connsiteY1563" fmla="*/ 518378 h 8847047"/>
              <a:gd name="connsiteX1564" fmla="*/ 4154534 w 8778454"/>
              <a:gd name="connsiteY1564" fmla="*/ 449040 h 8847047"/>
              <a:gd name="connsiteX1565" fmla="*/ 4264239 w 8778454"/>
              <a:gd name="connsiteY1565" fmla="*/ 412588 h 8847047"/>
              <a:gd name="connsiteX1566" fmla="*/ 4303491 w 8778454"/>
              <a:gd name="connsiteY1566" fmla="*/ 420623 h 8847047"/>
              <a:gd name="connsiteX1567" fmla="*/ 4325350 w 8778454"/>
              <a:gd name="connsiteY1567" fmla="*/ 480327 h 8847047"/>
              <a:gd name="connsiteX1568" fmla="*/ 4412127 w 8778454"/>
              <a:gd name="connsiteY1568" fmla="*/ 406043 h 8847047"/>
              <a:gd name="connsiteX1569" fmla="*/ 4445560 w 8778454"/>
              <a:gd name="connsiteY1569" fmla="*/ 409206 h 8847047"/>
              <a:gd name="connsiteX1570" fmla="*/ 4450247 w 8778454"/>
              <a:gd name="connsiteY1570" fmla="*/ 369664 h 8847047"/>
              <a:gd name="connsiteX1571" fmla="*/ 4355796 w 8778454"/>
              <a:gd name="connsiteY1571" fmla="*/ 398193 h 8847047"/>
              <a:gd name="connsiteX1572" fmla="*/ 4351771 w 8778454"/>
              <a:gd name="connsiteY1572" fmla="*/ 367914 h 8847047"/>
              <a:gd name="connsiteX1573" fmla="*/ 4388098 w 8778454"/>
              <a:gd name="connsiteY1573" fmla="*/ 356941 h 8847047"/>
              <a:gd name="connsiteX1574" fmla="*/ 4376083 w 8778454"/>
              <a:gd name="connsiteY1574" fmla="*/ 332390 h 8847047"/>
              <a:gd name="connsiteX1575" fmla="*/ 4443643 w 8778454"/>
              <a:gd name="connsiteY1575" fmla="*/ 302037 h 8847047"/>
              <a:gd name="connsiteX1576" fmla="*/ 4462199 w 8778454"/>
              <a:gd name="connsiteY1576" fmla="*/ 327927 h 8847047"/>
              <a:gd name="connsiteX1577" fmla="*/ 4546806 w 8778454"/>
              <a:gd name="connsiteY1577" fmla="*/ 264245 h 8847047"/>
              <a:gd name="connsiteX1578" fmla="*/ 4571936 w 8778454"/>
              <a:gd name="connsiteY1578" fmla="*/ 324618 h 8847047"/>
              <a:gd name="connsiteX1579" fmla="*/ 4614459 w 8778454"/>
              <a:gd name="connsiteY1579" fmla="*/ 333324 h 8847047"/>
              <a:gd name="connsiteX1580" fmla="*/ 4602444 w 8778454"/>
              <a:gd name="connsiteY1580" fmla="*/ 308772 h 8847047"/>
              <a:gd name="connsiteX1581" fmla="*/ 4701928 w 8778454"/>
              <a:gd name="connsiteY1581" fmla="*/ 222362 h 8847047"/>
              <a:gd name="connsiteX1582" fmla="*/ 4690983 w 8778454"/>
              <a:gd name="connsiteY1582" fmla="*/ 175938 h 8847047"/>
              <a:gd name="connsiteX1583" fmla="*/ 4761467 w 8778454"/>
              <a:gd name="connsiteY1583" fmla="*/ 164594 h 8847047"/>
              <a:gd name="connsiteX1584" fmla="*/ 4868279 w 8778454"/>
              <a:gd name="connsiteY1584" fmla="*/ 142277 h 8847047"/>
              <a:gd name="connsiteX1585" fmla="*/ 4918067 w 8778454"/>
              <a:gd name="connsiteY1585" fmla="*/ 148787 h 8847047"/>
              <a:gd name="connsiteX1586" fmla="*/ 4881740 w 8778454"/>
              <a:gd name="connsiteY1586" fmla="*/ 159760 h 8847047"/>
              <a:gd name="connsiteX1587" fmla="*/ 4925866 w 8778454"/>
              <a:gd name="connsiteY1587" fmla="*/ 327117 h 8847047"/>
              <a:gd name="connsiteX1588" fmla="*/ 4948763 w 8778454"/>
              <a:gd name="connsiteY1588" fmla="*/ 331804 h 8847047"/>
              <a:gd name="connsiteX1589" fmla="*/ 4937596 w 8778454"/>
              <a:gd name="connsiteY1589" fmla="*/ 436294 h 8847047"/>
              <a:gd name="connsiteX1590" fmla="*/ 4926713 w 8778454"/>
              <a:gd name="connsiteY1590" fmla="*/ 456158 h 8847047"/>
              <a:gd name="connsiteX1591" fmla="*/ 4924166 w 8778454"/>
              <a:gd name="connsiteY1591" fmla="*/ 451955 h 8847047"/>
              <a:gd name="connsiteX1592" fmla="*/ 4908188 w 8778454"/>
              <a:gd name="connsiteY1592" fmla="*/ 463412 h 8847047"/>
              <a:gd name="connsiteX1593" fmla="*/ 4910736 w 8778454"/>
              <a:gd name="connsiteY1593" fmla="*/ 467615 h 8847047"/>
              <a:gd name="connsiteX1594" fmla="*/ 4926713 w 8778454"/>
              <a:gd name="connsiteY1594" fmla="*/ 456158 h 8847047"/>
              <a:gd name="connsiteX1595" fmla="*/ 5056768 w 8778454"/>
              <a:gd name="connsiteY1595" fmla="*/ 420190 h 8847047"/>
              <a:gd name="connsiteX1596" fmla="*/ 5066266 w 8778454"/>
              <a:gd name="connsiteY1596" fmla="*/ 473681 h 8847047"/>
              <a:gd name="connsiteX1597" fmla="*/ 5082936 w 8778454"/>
              <a:gd name="connsiteY1597" fmla="*/ 425547 h 8847047"/>
              <a:gd name="connsiteX1598" fmla="*/ 5126152 w 8778454"/>
              <a:gd name="connsiteY1598" fmla="*/ 397574 h 8847047"/>
              <a:gd name="connsiteX1599" fmla="*/ 5055290 w 8778454"/>
              <a:gd name="connsiteY1599" fmla="*/ 394113 h 8847047"/>
              <a:gd name="connsiteX1600" fmla="*/ 4987354 w 8778454"/>
              <a:gd name="connsiteY1600" fmla="*/ 409661 h 8847047"/>
              <a:gd name="connsiteX1601" fmla="*/ 5003993 w 8778454"/>
              <a:gd name="connsiteY1601" fmla="*/ 328383 h 8847047"/>
              <a:gd name="connsiteX1602" fmla="*/ 5032331 w 8778454"/>
              <a:gd name="connsiteY1602" fmla="*/ 323138 h 8847047"/>
              <a:gd name="connsiteX1603" fmla="*/ 5049724 w 8778454"/>
              <a:gd name="connsiteY1603" fmla="*/ 271470 h 8847047"/>
              <a:gd name="connsiteX1604" fmla="*/ 5084636 w 8778454"/>
              <a:gd name="connsiteY1604" fmla="*/ 300709 h 8847047"/>
              <a:gd name="connsiteX1605" fmla="*/ 5096965 w 8778454"/>
              <a:gd name="connsiteY1605" fmla="*/ 273777 h 8847047"/>
              <a:gd name="connsiteX1606" fmla="*/ 5069696 w 8778454"/>
              <a:gd name="connsiteY1606" fmla="*/ 257149 h 8847047"/>
              <a:gd name="connsiteX1607" fmla="*/ 5071836 w 8778454"/>
              <a:gd name="connsiteY1607" fmla="*/ 213404 h 8847047"/>
              <a:gd name="connsiteX1608" fmla="*/ 5017298 w 8778454"/>
              <a:gd name="connsiteY1608" fmla="*/ 180147 h 8847047"/>
              <a:gd name="connsiteX1609" fmla="*/ 4976537 w 8778454"/>
              <a:gd name="connsiteY1609" fmla="*/ 112892 h 8847047"/>
              <a:gd name="connsiteX1610" fmla="*/ 5053532 w 8778454"/>
              <a:gd name="connsiteY1610" fmla="*/ 69743 h 8847047"/>
              <a:gd name="connsiteX1611" fmla="*/ 5126249 w 8778454"/>
              <a:gd name="connsiteY1611" fmla="*/ 114084 h 8847047"/>
              <a:gd name="connsiteX1612" fmla="*/ 5123386 w 8778454"/>
              <a:gd name="connsiteY1612" fmla="*/ 161364 h 8847047"/>
              <a:gd name="connsiteX1613" fmla="*/ 5137917 w 8778454"/>
              <a:gd name="connsiteY1613" fmla="*/ 156974 h 8847047"/>
              <a:gd name="connsiteX1614" fmla="*/ 5154556 w 8778454"/>
              <a:gd name="connsiteY1614" fmla="*/ 75696 h 8847047"/>
              <a:gd name="connsiteX1615" fmla="*/ 5240641 w 8778454"/>
              <a:gd name="connsiteY1615" fmla="*/ 38090 h 8847047"/>
              <a:gd name="connsiteX1616" fmla="*/ 5245767 w 8778454"/>
              <a:gd name="connsiteY1616" fmla="*/ 79641 h 8847047"/>
              <a:gd name="connsiteX1617" fmla="*/ 5306376 w 8778454"/>
              <a:gd name="connsiteY1617" fmla="*/ 0 h 8847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</a:cxnLst>
            <a:rect l="l" t="t" r="r" b="b"/>
            <a:pathLst>
              <a:path w="8778454" h="8847047">
                <a:moveTo>
                  <a:pt x="2034392" y="8741213"/>
                </a:moveTo>
                <a:lnTo>
                  <a:pt x="2035364" y="8743866"/>
                </a:lnTo>
                <a:lnTo>
                  <a:pt x="2033668" y="8744747"/>
                </a:lnTo>
                <a:cubicBezTo>
                  <a:pt x="2033668" y="8744747"/>
                  <a:pt x="2033668" y="8744747"/>
                  <a:pt x="2034392" y="8741213"/>
                </a:cubicBezTo>
                <a:close/>
                <a:moveTo>
                  <a:pt x="4963236" y="6767031"/>
                </a:moveTo>
                <a:lnTo>
                  <a:pt x="4963165" y="6770785"/>
                </a:lnTo>
                <a:cubicBezTo>
                  <a:pt x="4956623" y="6769445"/>
                  <a:pt x="4953352" y="6768776"/>
                  <a:pt x="4953352" y="6768776"/>
                </a:cubicBezTo>
                <a:close/>
                <a:moveTo>
                  <a:pt x="5312436" y="4132377"/>
                </a:moveTo>
                <a:lnTo>
                  <a:pt x="5328339" y="4134839"/>
                </a:lnTo>
                <a:lnTo>
                  <a:pt x="5332062" y="4136395"/>
                </a:lnTo>
                <a:lnTo>
                  <a:pt x="5315301" y="4138034"/>
                </a:lnTo>
                <a:close/>
                <a:moveTo>
                  <a:pt x="5719613" y="3888555"/>
                </a:moveTo>
                <a:lnTo>
                  <a:pt x="5719553" y="3891710"/>
                </a:lnTo>
                <a:cubicBezTo>
                  <a:pt x="5716283" y="3891041"/>
                  <a:pt x="5709740" y="3889701"/>
                  <a:pt x="5713011" y="3890371"/>
                </a:cubicBezTo>
                <a:close/>
                <a:moveTo>
                  <a:pt x="7443816" y="2689547"/>
                </a:moveTo>
                <a:lnTo>
                  <a:pt x="7444459" y="2691047"/>
                </a:lnTo>
                <a:cubicBezTo>
                  <a:pt x="7444459" y="2691047"/>
                  <a:pt x="7444459" y="2691047"/>
                  <a:pt x="7441189" y="2690377"/>
                </a:cubicBezTo>
                <a:close/>
                <a:moveTo>
                  <a:pt x="4502093" y="2180747"/>
                </a:moveTo>
                <a:lnTo>
                  <a:pt x="4505364" y="2181416"/>
                </a:lnTo>
                <a:lnTo>
                  <a:pt x="4505364" y="2181416"/>
                </a:lnTo>
                <a:cubicBezTo>
                  <a:pt x="4505364" y="2181416"/>
                  <a:pt x="4502093" y="2180747"/>
                  <a:pt x="4502093" y="2180747"/>
                </a:cubicBezTo>
                <a:close/>
                <a:moveTo>
                  <a:pt x="2235648" y="2179418"/>
                </a:moveTo>
                <a:lnTo>
                  <a:pt x="2235996" y="2180700"/>
                </a:lnTo>
                <a:lnTo>
                  <a:pt x="2235721" y="2180709"/>
                </a:lnTo>
                <a:close/>
                <a:moveTo>
                  <a:pt x="2233896" y="2172972"/>
                </a:moveTo>
                <a:cubicBezTo>
                  <a:pt x="2234258" y="2171205"/>
                  <a:pt x="2234895" y="2172255"/>
                  <a:pt x="2235351" y="2174190"/>
                </a:cubicBezTo>
                <a:lnTo>
                  <a:pt x="2235648" y="2179418"/>
                </a:lnTo>
                <a:close/>
                <a:moveTo>
                  <a:pt x="2058114" y="1882932"/>
                </a:moveTo>
                <a:cubicBezTo>
                  <a:pt x="2054497" y="1900601"/>
                  <a:pt x="2050879" y="1918270"/>
                  <a:pt x="2047986" y="1932406"/>
                </a:cubicBezTo>
                <a:cubicBezTo>
                  <a:pt x="2033455" y="1936795"/>
                  <a:pt x="2022918" y="1938320"/>
                  <a:pt x="2016376" y="1936981"/>
                </a:cubicBezTo>
                <a:cubicBezTo>
                  <a:pt x="2013483" y="1951116"/>
                  <a:pt x="2010589" y="1965251"/>
                  <a:pt x="2012036" y="1958183"/>
                </a:cubicBezTo>
                <a:cubicBezTo>
                  <a:pt x="2026598" y="1986938"/>
                  <a:pt x="2036788" y="2003752"/>
                  <a:pt x="2049526" y="2024769"/>
                </a:cubicBezTo>
                <a:cubicBezTo>
                  <a:pt x="2053867" y="2003566"/>
                  <a:pt x="2058207" y="1982363"/>
                  <a:pt x="2062548" y="1961160"/>
                </a:cubicBezTo>
                <a:cubicBezTo>
                  <a:pt x="2078903" y="1964508"/>
                  <a:pt x="2092710" y="1963653"/>
                  <a:pt x="2105794" y="1966332"/>
                </a:cubicBezTo>
                <a:cubicBezTo>
                  <a:pt x="2117400" y="1942934"/>
                  <a:pt x="2128283" y="1923070"/>
                  <a:pt x="2145330" y="1889741"/>
                </a:cubicBezTo>
                <a:cubicBezTo>
                  <a:pt x="2125358" y="1904062"/>
                  <a:pt x="2117369" y="1909790"/>
                  <a:pt x="2117369" y="1909790"/>
                </a:cubicBezTo>
                <a:cubicBezTo>
                  <a:pt x="2095919" y="1898035"/>
                  <a:pt x="2077016" y="1890484"/>
                  <a:pt x="2058114" y="1882932"/>
                </a:cubicBezTo>
                <a:close/>
                <a:moveTo>
                  <a:pt x="5702319" y="940981"/>
                </a:moveTo>
                <a:lnTo>
                  <a:pt x="5698538" y="943180"/>
                </a:lnTo>
                <a:lnTo>
                  <a:pt x="5692441" y="944289"/>
                </a:lnTo>
                <a:close/>
                <a:moveTo>
                  <a:pt x="5306376" y="0"/>
                </a:moveTo>
                <a:cubicBezTo>
                  <a:pt x="5319460" y="2678"/>
                  <a:pt x="5332544" y="5357"/>
                  <a:pt x="5348899" y="8705"/>
                </a:cubicBezTo>
                <a:cubicBezTo>
                  <a:pt x="5353302" y="53790"/>
                  <a:pt x="5332983" y="86449"/>
                  <a:pt x="5296310" y="115761"/>
                </a:cubicBezTo>
                <a:cubicBezTo>
                  <a:pt x="5305400" y="121304"/>
                  <a:pt x="5314489" y="126847"/>
                  <a:pt x="5323579" y="132389"/>
                </a:cubicBezTo>
                <a:cubicBezTo>
                  <a:pt x="5319962" y="150059"/>
                  <a:pt x="5317068" y="164194"/>
                  <a:pt x="5311280" y="192465"/>
                </a:cubicBezTo>
                <a:cubicBezTo>
                  <a:pt x="5292001" y="170108"/>
                  <a:pt x="5277816" y="156158"/>
                  <a:pt x="5264355" y="138675"/>
                </a:cubicBezTo>
                <a:cubicBezTo>
                  <a:pt x="5238218" y="166462"/>
                  <a:pt x="5202991" y="188706"/>
                  <a:pt x="5187768" y="229773"/>
                </a:cubicBezTo>
                <a:cubicBezTo>
                  <a:pt x="5159461" y="268161"/>
                  <a:pt x="5159461" y="268161"/>
                  <a:pt x="5176948" y="315924"/>
                </a:cubicBezTo>
                <a:cubicBezTo>
                  <a:pt x="5204940" y="329018"/>
                  <a:pt x="5233655" y="338579"/>
                  <a:pt x="5274732" y="354352"/>
                </a:cubicBezTo>
                <a:cubicBezTo>
                  <a:pt x="5285991" y="349293"/>
                  <a:pt x="5314330" y="344049"/>
                  <a:pt x="5344115" y="331736"/>
                </a:cubicBezTo>
                <a:cubicBezTo>
                  <a:pt x="5347040" y="350745"/>
                  <a:pt x="5348141" y="362016"/>
                  <a:pt x="5351065" y="381024"/>
                </a:cubicBezTo>
                <a:cubicBezTo>
                  <a:pt x="5384468" y="351043"/>
                  <a:pt x="5417147" y="324595"/>
                  <a:pt x="5455267" y="288216"/>
                </a:cubicBezTo>
                <a:cubicBezTo>
                  <a:pt x="5465080" y="290225"/>
                  <a:pt x="5488701" y="291378"/>
                  <a:pt x="5514869" y="296735"/>
                </a:cubicBezTo>
                <a:cubicBezTo>
                  <a:pt x="5525751" y="276872"/>
                  <a:pt x="5536634" y="257008"/>
                  <a:pt x="5547517" y="237144"/>
                </a:cubicBezTo>
                <a:cubicBezTo>
                  <a:pt x="5571860" y="234764"/>
                  <a:pt x="5599475" y="233053"/>
                  <a:pt x="5627814" y="227809"/>
                </a:cubicBezTo>
                <a:cubicBezTo>
                  <a:pt x="5630392" y="265156"/>
                  <a:pt x="5596235" y="265527"/>
                  <a:pt x="5580635" y="291789"/>
                </a:cubicBezTo>
                <a:cubicBezTo>
                  <a:pt x="5590448" y="293798"/>
                  <a:pt x="5600261" y="295807"/>
                  <a:pt x="5612622" y="302019"/>
                </a:cubicBezTo>
                <a:cubicBezTo>
                  <a:pt x="5648949" y="291046"/>
                  <a:pt x="5671437" y="247785"/>
                  <a:pt x="5716508" y="260693"/>
                </a:cubicBezTo>
                <a:cubicBezTo>
                  <a:pt x="5723050" y="262033"/>
                  <a:pt x="5741922" y="236440"/>
                  <a:pt x="5755352" y="220780"/>
                </a:cubicBezTo>
                <a:cubicBezTo>
                  <a:pt x="5770669" y="279145"/>
                  <a:pt x="5704902" y="284091"/>
                  <a:pt x="5700215" y="323633"/>
                </a:cubicBezTo>
                <a:cubicBezTo>
                  <a:pt x="5699146" y="345506"/>
                  <a:pt x="5698076" y="367378"/>
                  <a:pt x="5698831" y="396988"/>
                </a:cubicBezTo>
                <a:cubicBezTo>
                  <a:pt x="5684646" y="383039"/>
                  <a:pt x="5678827" y="378166"/>
                  <a:pt x="5677003" y="370428"/>
                </a:cubicBezTo>
                <a:cubicBezTo>
                  <a:pt x="5651936" y="376342"/>
                  <a:pt x="5630140" y="382926"/>
                  <a:pt x="5607620" y="393044"/>
                </a:cubicBezTo>
                <a:cubicBezTo>
                  <a:pt x="5600354" y="395238"/>
                  <a:pt x="5594189" y="408704"/>
                  <a:pt x="5581483" y="420831"/>
                </a:cubicBezTo>
                <a:cubicBezTo>
                  <a:pt x="5626900" y="415400"/>
                  <a:pt x="5658509" y="410826"/>
                  <a:pt x="5698831" y="396988"/>
                </a:cubicBezTo>
                <a:cubicBezTo>
                  <a:pt x="5699554" y="393455"/>
                  <a:pt x="5702102" y="397658"/>
                  <a:pt x="5711191" y="403201"/>
                </a:cubicBezTo>
                <a:cubicBezTo>
                  <a:pt x="5701032" y="419531"/>
                  <a:pt x="5691596" y="432327"/>
                  <a:pt x="5675996" y="458589"/>
                </a:cubicBezTo>
                <a:cubicBezTo>
                  <a:pt x="5704334" y="453344"/>
                  <a:pt x="5730502" y="458701"/>
                  <a:pt x="5736698" y="478379"/>
                </a:cubicBezTo>
                <a:cubicBezTo>
                  <a:pt x="5744718" y="505795"/>
                  <a:pt x="5749467" y="532541"/>
                  <a:pt x="5774912" y="541431"/>
                </a:cubicBezTo>
                <a:cubicBezTo>
                  <a:pt x="5767300" y="561965"/>
                  <a:pt x="5760412" y="578964"/>
                  <a:pt x="5747359" y="609430"/>
                </a:cubicBezTo>
                <a:cubicBezTo>
                  <a:pt x="5788781" y="606864"/>
                  <a:pt x="5818944" y="609356"/>
                  <a:pt x="5857095" y="606121"/>
                </a:cubicBezTo>
                <a:cubicBezTo>
                  <a:pt x="5838601" y="646518"/>
                  <a:pt x="5819730" y="672110"/>
                  <a:pt x="5787397" y="680219"/>
                </a:cubicBezTo>
                <a:cubicBezTo>
                  <a:pt x="5802305" y="690635"/>
                  <a:pt x="5816490" y="704584"/>
                  <a:pt x="5831398" y="715000"/>
                </a:cubicBezTo>
                <a:cubicBezTo>
                  <a:pt x="5828504" y="729136"/>
                  <a:pt x="5825610" y="743271"/>
                  <a:pt x="5821270" y="764474"/>
                </a:cubicBezTo>
                <a:cubicBezTo>
                  <a:pt x="5827812" y="765813"/>
                  <a:pt x="5836902" y="771356"/>
                  <a:pt x="5846715" y="773365"/>
                </a:cubicBezTo>
                <a:cubicBezTo>
                  <a:pt x="5857251" y="771840"/>
                  <a:pt x="5867787" y="770315"/>
                  <a:pt x="5879047" y="765256"/>
                </a:cubicBezTo>
                <a:cubicBezTo>
                  <a:pt x="5896503" y="779875"/>
                  <a:pt x="5917953" y="791631"/>
                  <a:pt x="5938680" y="806919"/>
                </a:cubicBezTo>
                <a:cubicBezTo>
                  <a:pt x="5942674" y="804055"/>
                  <a:pt x="5949940" y="801861"/>
                  <a:pt x="5957929" y="796132"/>
                </a:cubicBezTo>
                <a:cubicBezTo>
                  <a:pt x="5959753" y="803870"/>
                  <a:pt x="5965571" y="808743"/>
                  <a:pt x="5970667" y="817150"/>
                </a:cubicBezTo>
                <a:cubicBezTo>
                  <a:pt x="5974661" y="814285"/>
                  <a:pt x="5979379" y="807887"/>
                  <a:pt x="5987368" y="802159"/>
                </a:cubicBezTo>
                <a:cubicBezTo>
                  <a:pt x="5992840" y="825371"/>
                  <a:pt x="5999036" y="845049"/>
                  <a:pt x="6002684" y="860524"/>
                </a:cubicBezTo>
                <a:cubicBezTo>
                  <a:pt x="5992871" y="858515"/>
                  <a:pt x="5964533" y="863759"/>
                  <a:pt x="5947424" y="830801"/>
                </a:cubicBezTo>
                <a:cubicBezTo>
                  <a:pt x="5938711" y="840063"/>
                  <a:pt x="5926728" y="848656"/>
                  <a:pt x="5918016" y="857918"/>
                </a:cubicBezTo>
                <a:cubicBezTo>
                  <a:pt x="5891847" y="852561"/>
                  <a:pt x="5865679" y="847204"/>
                  <a:pt x="5836240" y="841178"/>
                </a:cubicBezTo>
                <a:cubicBezTo>
                  <a:pt x="5844953" y="831915"/>
                  <a:pt x="5848947" y="829051"/>
                  <a:pt x="5860931" y="820458"/>
                </a:cubicBezTo>
                <a:cubicBezTo>
                  <a:pt x="5851840" y="814916"/>
                  <a:pt x="5842751" y="809373"/>
                  <a:pt x="5839480" y="808703"/>
                </a:cubicBezTo>
                <a:cubicBezTo>
                  <a:pt x="5821332" y="830762"/>
                  <a:pt x="5809726" y="854159"/>
                  <a:pt x="5793025" y="869150"/>
                </a:cubicBezTo>
                <a:cubicBezTo>
                  <a:pt x="5773052" y="883471"/>
                  <a:pt x="5775254" y="906014"/>
                  <a:pt x="5771637" y="923683"/>
                </a:cubicBezTo>
                <a:cubicBezTo>
                  <a:pt x="5757829" y="924538"/>
                  <a:pt x="5740374" y="909919"/>
                  <a:pt x="5735310" y="934656"/>
                </a:cubicBezTo>
                <a:cubicBezTo>
                  <a:pt x="5730403" y="933651"/>
                  <a:pt x="5727337" y="933023"/>
                  <a:pt x="5712165" y="937684"/>
                </a:cubicBezTo>
                <a:lnTo>
                  <a:pt x="5702319" y="940981"/>
                </a:lnTo>
                <a:lnTo>
                  <a:pt x="5718954" y="931307"/>
                </a:lnTo>
                <a:cubicBezTo>
                  <a:pt x="5723672" y="924910"/>
                  <a:pt x="5723295" y="910104"/>
                  <a:pt x="5725465" y="899503"/>
                </a:cubicBezTo>
                <a:cubicBezTo>
                  <a:pt x="5705839" y="895485"/>
                  <a:pt x="5692755" y="892807"/>
                  <a:pt x="5679672" y="890128"/>
                </a:cubicBezTo>
                <a:cubicBezTo>
                  <a:pt x="5675331" y="911331"/>
                  <a:pt x="5670267" y="936068"/>
                  <a:pt x="5692441" y="944289"/>
                </a:cubicBezTo>
                <a:cubicBezTo>
                  <a:pt x="5688446" y="947153"/>
                  <a:pt x="5691080" y="946772"/>
                  <a:pt x="5696710" y="944243"/>
                </a:cubicBezTo>
                <a:lnTo>
                  <a:pt x="5698538" y="943180"/>
                </a:lnTo>
                <a:lnTo>
                  <a:pt x="5707320" y="941582"/>
                </a:lnTo>
                <a:cubicBezTo>
                  <a:pt x="5718577" y="940435"/>
                  <a:pt x="5719874" y="943462"/>
                  <a:pt x="5719332" y="946113"/>
                </a:cubicBezTo>
                <a:cubicBezTo>
                  <a:pt x="5726597" y="943918"/>
                  <a:pt x="5730592" y="941054"/>
                  <a:pt x="5735310" y="934656"/>
                </a:cubicBezTo>
                <a:cubicBezTo>
                  <a:pt x="5749117" y="933800"/>
                  <a:pt x="5762578" y="951284"/>
                  <a:pt x="5771637" y="923683"/>
                </a:cubicBezTo>
                <a:cubicBezTo>
                  <a:pt x="5783998" y="929895"/>
                  <a:pt x="5796358" y="936107"/>
                  <a:pt x="5811266" y="946523"/>
                </a:cubicBezTo>
                <a:cubicBezTo>
                  <a:pt x="5815984" y="940125"/>
                  <a:pt x="5821425" y="930193"/>
                  <a:pt x="5831584" y="913863"/>
                </a:cubicBezTo>
                <a:cubicBezTo>
                  <a:pt x="5835233" y="929338"/>
                  <a:pt x="5836334" y="940609"/>
                  <a:pt x="5837434" y="951880"/>
                </a:cubicBezTo>
                <a:cubicBezTo>
                  <a:pt x="5879611" y="978924"/>
                  <a:pt x="5908264" y="922197"/>
                  <a:pt x="5950788" y="930902"/>
                </a:cubicBezTo>
                <a:cubicBezTo>
                  <a:pt x="5950064" y="934436"/>
                  <a:pt x="5951165" y="945707"/>
                  <a:pt x="5952266" y="956978"/>
                </a:cubicBezTo>
                <a:cubicBezTo>
                  <a:pt x="5961355" y="962521"/>
                  <a:pt x="5967174" y="967394"/>
                  <a:pt x="5979534" y="973606"/>
                </a:cubicBezTo>
                <a:cubicBezTo>
                  <a:pt x="5970822" y="982869"/>
                  <a:pt x="5962833" y="988597"/>
                  <a:pt x="5946855" y="1000054"/>
                </a:cubicBezTo>
                <a:cubicBezTo>
                  <a:pt x="5943207" y="984579"/>
                  <a:pt x="5936288" y="968435"/>
                  <a:pt x="5934087" y="945893"/>
                </a:cubicBezTo>
                <a:cubicBezTo>
                  <a:pt x="5913391" y="963748"/>
                  <a:pt x="5902131" y="968807"/>
                  <a:pt x="5886153" y="980263"/>
                </a:cubicBezTo>
                <a:cubicBezTo>
                  <a:pt x="5893796" y="992874"/>
                  <a:pt x="5898891" y="1001281"/>
                  <a:pt x="5904710" y="1006154"/>
                </a:cubicBezTo>
                <a:cubicBezTo>
                  <a:pt x="5906534" y="1013891"/>
                  <a:pt x="5908358" y="1021629"/>
                  <a:pt x="5912006" y="1037103"/>
                </a:cubicBezTo>
                <a:cubicBezTo>
                  <a:pt x="5891310" y="1054958"/>
                  <a:pt x="5866620" y="1075677"/>
                  <a:pt x="5841207" y="1099930"/>
                </a:cubicBezTo>
                <a:cubicBezTo>
                  <a:pt x="5841207" y="1099930"/>
                  <a:pt x="5843031" y="1107667"/>
                  <a:pt x="5850674" y="1120278"/>
                </a:cubicBezTo>
                <a:cubicBezTo>
                  <a:pt x="5827053" y="1119124"/>
                  <a:pt x="5807427" y="1115107"/>
                  <a:pt x="5787078" y="1114623"/>
                </a:cubicBezTo>
                <a:cubicBezTo>
                  <a:pt x="5775472" y="1138020"/>
                  <a:pt x="5763142" y="1164952"/>
                  <a:pt x="5748265" y="1187680"/>
                </a:cubicBezTo>
                <a:cubicBezTo>
                  <a:pt x="5753360" y="1196087"/>
                  <a:pt x="5759179" y="1200960"/>
                  <a:pt x="5761003" y="1208697"/>
                </a:cubicBezTo>
                <a:cubicBezTo>
                  <a:pt x="5731941" y="1217475"/>
                  <a:pt x="5702156" y="1229788"/>
                  <a:pt x="5673094" y="1238566"/>
                </a:cubicBezTo>
                <a:cubicBezTo>
                  <a:pt x="5673094" y="1238566"/>
                  <a:pt x="5673818" y="1235032"/>
                  <a:pt x="5673818" y="1235032"/>
                </a:cubicBezTo>
                <a:cubicBezTo>
                  <a:pt x="5671270" y="1230829"/>
                  <a:pt x="5669446" y="1223091"/>
                  <a:pt x="5666899" y="1218888"/>
                </a:cubicBezTo>
                <a:cubicBezTo>
                  <a:pt x="5662904" y="1221752"/>
                  <a:pt x="5662904" y="1221752"/>
                  <a:pt x="5658909" y="1224616"/>
                </a:cubicBezTo>
                <a:cubicBezTo>
                  <a:pt x="5664728" y="1229489"/>
                  <a:pt x="5667276" y="1233693"/>
                  <a:pt x="5673094" y="1238566"/>
                </a:cubicBezTo>
                <a:cubicBezTo>
                  <a:pt x="5672748" y="1256905"/>
                  <a:pt x="5665137" y="1277438"/>
                  <a:pt x="5648058" y="1277624"/>
                </a:cubicBezTo>
                <a:cubicBezTo>
                  <a:pt x="5617172" y="1278665"/>
                  <a:pt x="5608113" y="1306266"/>
                  <a:pt x="5590689" y="1324791"/>
                </a:cubicBezTo>
                <a:cubicBezTo>
                  <a:pt x="5599779" y="1330333"/>
                  <a:pt x="5605597" y="1335207"/>
                  <a:pt x="5614687" y="1340749"/>
                </a:cubicBezTo>
                <a:cubicBezTo>
                  <a:pt x="5591474" y="1387544"/>
                  <a:pt x="5558010" y="1351238"/>
                  <a:pt x="5524954" y="1362881"/>
                </a:cubicBezTo>
                <a:cubicBezTo>
                  <a:pt x="5530426" y="1386093"/>
                  <a:pt x="5537346" y="1402237"/>
                  <a:pt x="5545366" y="1429652"/>
                </a:cubicBezTo>
                <a:cubicBezTo>
                  <a:pt x="5542472" y="1443788"/>
                  <a:pt x="5536684" y="1472058"/>
                  <a:pt x="5530174" y="1503863"/>
                </a:cubicBezTo>
                <a:cubicBezTo>
                  <a:pt x="5520361" y="1501854"/>
                  <a:pt x="5507276" y="1499176"/>
                  <a:pt x="5494192" y="1496497"/>
                </a:cubicBezTo>
                <a:cubicBezTo>
                  <a:pt x="5495986" y="1471091"/>
                  <a:pt x="5501396" y="1428015"/>
                  <a:pt x="5513002" y="1404617"/>
                </a:cubicBezTo>
                <a:cubicBezTo>
                  <a:pt x="5455601" y="1418640"/>
                  <a:pt x="5423300" y="1459893"/>
                  <a:pt x="5396817" y="1506018"/>
                </a:cubicBezTo>
                <a:cubicBezTo>
                  <a:pt x="5358665" y="1509254"/>
                  <a:pt x="5333975" y="1529973"/>
                  <a:pt x="5335484" y="1589193"/>
                </a:cubicBezTo>
                <a:cubicBezTo>
                  <a:pt x="5312933" y="1566167"/>
                  <a:pt x="5304567" y="1557090"/>
                  <a:pt x="5296201" y="1548014"/>
                </a:cubicBezTo>
                <a:cubicBezTo>
                  <a:pt x="5283494" y="1560140"/>
                  <a:pt x="5274782" y="1569403"/>
                  <a:pt x="5266070" y="1578665"/>
                </a:cubicBezTo>
                <a:cubicBezTo>
                  <a:pt x="5263522" y="1574461"/>
                  <a:pt x="5263522" y="1574461"/>
                  <a:pt x="5260975" y="1570258"/>
                </a:cubicBezTo>
                <a:cubicBezTo>
                  <a:pt x="5248991" y="1578851"/>
                  <a:pt x="5239555" y="1591647"/>
                  <a:pt x="5226125" y="1607307"/>
                </a:cubicBezTo>
                <a:cubicBezTo>
                  <a:pt x="5235938" y="1609316"/>
                  <a:pt x="5245751" y="1611325"/>
                  <a:pt x="5258835" y="1614003"/>
                </a:cubicBezTo>
                <a:cubicBezTo>
                  <a:pt x="5261729" y="1599868"/>
                  <a:pt x="5263899" y="1589267"/>
                  <a:pt x="5266070" y="1578665"/>
                </a:cubicBezTo>
                <a:cubicBezTo>
                  <a:pt x="5282425" y="1582013"/>
                  <a:pt x="5295509" y="1584691"/>
                  <a:pt x="5318406" y="1589379"/>
                </a:cubicBezTo>
                <a:cubicBezTo>
                  <a:pt x="5305699" y="1601505"/>
                  <a:pt x="5300981" y="1607903"/>
                  <a:pt x="5288998" y="1616496"/>
                </a:cubicBezTo>
                <a:cubicBezTo>
                  <a:pt x="5292646" y="1631971"/>
                  <a:pt x="5297018" y="1643911"/>
                  <a:pt x="5300666" y="1659386"/>
                </a:cubicBezTo>
                <a:cubicBezTo>
                  <a:pt x="5293401" y="1661581"/>
                  <a:pt x="5286135" y="1663775"/>
                  <a:pt x="5271605" y="1668165"/>
                </a:cubicBezTo>
                <a:cubicBezTo>
                  <a:pt x="5267421" y="1663626"/>
                  <a:pt x="5260785" y="1658586"/>
                  <a:pt x="5252694" y="1652327"/>
                </a:cubicBezTo>
                <a:lnTo>
                  <a:pt x="5226370" y="1630280"/>
                </a:lnTo>
                <a:lnTo>
                  <a:pt x="5228327" y="1629849"/>
                </a:lnTo>
                <a:cubicBezTo>
                  <a:pt x="5228327" y="1629849"/>
                  <a:pt x="5231598" y="1630519"/>
                  <a:pt x="5225056" y="1629180"/>
                </a:cubicBezTo>
                <a:lnTo>
                  <a:pt x="5226370" y="1630280"/>
                </a:lnTo>
                <a:lnTo>
                  <a:pt x="5167656" y="1643203"/>
                </a:lnTo>
                <a:cubicBezTo>
                  <a:pt x="5166209" y="1650270"/>
                  <a:pt x="5165485" y="1653804"/>
                  <a:pt x="5163315" y="1664405"/>
                </a:cubicBezTo>
                <a:cubicBezTo>
                  <a:pt x="5173128" y="1666414"/>
                  <a:pt x="5182218" y="1671957"/>
                  <a:pt x="5190584" y="1681034"/>
                </a:cubicBezTo>
                <a:cubicBezTo>
                  <a:pt x="5161899" y="1704617"/>
                  <a:pt x="5133215" y="1728201"/>
                  <a:pt x="5105254" y="1748250"/>
                </a:cubicBezTo>
                <a:cubicBezTo>
                  <a:pt x="5099435" y="1743377"/>
                  <a:pt x="5097611" y="1735639"/>
                  <a:pt x="5081602" y="1713953"/>
                </a:cubicBezTo>
                <a:cubicBezTo>
                  <a:pt x="5084904" y="1747766"/>
                  <a:pt x="5087829" y="1766774"/>
                  <a:pt x="5087483" y="1785113"/>
                </a:cubicBezTo>
                <a:cubicBezTo>
                  <a:pt x="5021370" y="1808398"/>
                  <a:pt x="4974884" y="1835702"/>
                  <a:pt x="4979256" y="1847642"/>
                </a:cubicBezTo>
                <a:cubicBezTo>
                  <a:pt x="5002153" y="1852330"/>
                  <a:pt x="5021779" y="1856347"/>
                  <a:pt x="5041405" y="1860365"/>
                </a:cubicBezTo>
                <a:cubicBezTo>
                  <a:pt x="5045022" y="1842696"/>
                  <a:pt x="5047916" y="1828561"/>
                  <a:pt x="5050809" y="1814425"/>
                </a:cubicBezTo>
                <a:cubicBezTo>
                  <a:pt x="5063170" y="1820637"/>
                  <a:pt x="5068265" y="1829045"/>
                  <a:pt x="5077355" y="1834587"/>
                </a:cubicBezTo>
                <a:cubicBezTo>
                  <a:pt x="5080972" y="1816918"/>
                  <a:pt x="5084589" y="1799249"/>
                  <a:pt x="5087483" y="1785113"/>
                </a:cubicBezTo>
                <a:cubicBezTo>
                  <a:pt x="5113274" y="1775665"/>
                  <a:pt x="5135070" y="1769082"/>
                  <a:pt x="5152872" y="1765362"/>
                </a:cubicBezTo>
                <a:cubicBezTo>
                  <a:pt x="5164509" y="1775108"/>
                  <a:pt x="5176146" y="1784854"/>
                  <a:pt x="5191054" y="1795270"/>
                </a:cubicBezTo>
                <a:cubicBezTo>
                  <a:pt x="5157998" y="1806913"/>
                  <a:pt x="5133685" y="1842437"/>
                  <a:pt x="5104624" y="1851215"/>
                </a:cubicBezTo>
                <a:cubicBezTo>
                  <a:pt x="5070844" y="1866392"/>
                  <a:pt x="5045430" y="1890645"/>
                  <a:pt x="5014922" y="1906491"/>
                </a:cubicBezTo>
                <a:cubicBezTo>
                  <a:pt x="5020017" y="1914898"/>
                  <a:pt x="5021841" y="1922635"/>
                  <a:pt x="5029484" y="1935245"/>
                </a:cubicBezTo>
                <a:cubicBezTo>
                  <a:pt x="5006587" y="1930558"/>
                  <a:pt x="4986961" y="1926540"/>
                  <a:pt x="4964064" y="1921853"/>
                </a:cubicBezTo>
                <a:cubicBezTo>
                  <a:pt x="4966957" y="1907717"/>
                  <a:pt x="4966580" y="1892913"/>
                  <a:pt x="4966926" y="1874574"/>
                </a:cubicBezTo>
                <a:cubicBezTo>
                  <a:pt x="4941482" y="1865683"/>
                  <a:pt x="4929090" y="1826326"/>
                  <a:pt x="4891316" y="1844367"/>
                </a:cubicBezTo>
                <a:cubicBezTo>
                  <a:pt x="4902229" y="1857647"/>
                  <a:pt x="4909149" y="1873792"/>
                  <a:pt x="4916792" y="1886402"/>
                </a:cubicBezTo>
                <a:cubicBezTo>
                  <a:pt x="4908803" y="1892130"/>
                  <a:pt x="4904085" y="1898528"/>
                  <a:pt x="4892101" y="1907121"/>
                </a:cubicBezTo>
                <a:cubicBezTo>
                  <a:pt x="4899744" y="1919732"/>
                  <a:pt x="4903392" y="1935206"/>
                  <a:pt x="4910312" y="1951350"/>
                </a:cubicBezTo>
                <a:cubicBezTo>
                  <a:pt x="4918301" y="1945622"/>
                  <a:pt x="4925566" y="1943427"/>
                  <a:pt x="4933555" y="1937699"/>
                </a:cubicBezTo>
                <a:cubicBezTo>
                  <a:pt x="4951765" y="1981928"/>
                  <a:pt x="4895435" y="1974078"/>
                  <a:pt x="4892918" y="2003019"/>
                </a:cubicBezTo>
                <a:cubicBezTo>
                  <a:pt x="4858038" y="2006924"/>
                  <a:pt x="4828630" y="2034041"/>
                  <a:pt x="4792680" y="2059819"/>
                </a:cubicBezTo>
                <a:cubicBezTo>
                  <a:pt x="4804317" y="2069565"/>
                  <a:pt x="4815231" y="2082845"/>
                  <a:pt x="4823597" y="2091922"/>
                </a:cubicBezTo>
                <a:cubicBezTo>
                  <a:pt x="4789094" y="2110632"/>
                  <a:pt x="4777426" y="2067742"/>
                  <a:pt x="4751257" y="2062385"/>
                </a:cubicBezTo>
                <a:cubicBezTo>
                  <a:pt x="4757422" y="2048919"/>
                  <a:pt x="4766858" y="2036123"/>
                  <a:pt x="4781735" y="2013395"/>
                </a:cubicBezTo>
                <a:cubicBezTo>
                  <a:pt x="4752673" y="2022174"/>
                  <a:pt x="4734871" y="2025893"/>
                  <a:pt x="4720340" y="2030282"/>
                </a:cubicBezTo>
                <a:cubicBezTo>
                  <a:pt x="4729084" y="2054164"/>
                  <a:pt x="4734556" y="2077376"/>
                  <a:pt x="4740752" y="2097054"/>
                </a:cubicBezTo>
                <a:cubicBezTo>
                  <a:pt x="4719333" y="2118443"/>
                  <a:pt x="4701185" y="2140501"/>
                  <a:pt x="4679389" y="2147085"/>
                </a:cubicBezTo>
                <a:cubicBezTo>
                  <a:pt x="4649603" y="2159397"/>
                  <a:pt x="4631456" y="2181455"/>
                  <a:pt x="4613307" y="2203514"/>
                </a:cubicBezTo>
                <a:cubicBezTo>
                  <a:pt x="4595159" y="2225572"/>
                  <a:pt x="4570815" y="2227953"/>
                  <a:pt x="4546125" y="2248671"/>
                </a:cubicBezTo>
                <a:cubicBezTo>
                  <a:pt x="4546471" y="2230333"/>
                  <a:pt x="4546818" y="2211994"/>
                  <a:pt x="4547887" y="2190121"/>
                </a:cubicBezTo>
                <a:lnTo>
                  <a:pt x="4505364" y="2181416"/>
                </a:lnTo>
                <a:lnTo>
                  <a:pt x="4498445" y="2165272"/>
                </a:lnTo>
                <a:cubicBezTo>
                  <a:pt x="4495174" y="2164602"/>
                  <a:pt x="4494450" y="2168136"/>
                  <a:pt x="4491179" y="2167467"/>
                </a:cubicBezTo>
                <a:cubicBezTo>
                  <a:pt x="4493727" y="2171670"/>
                  <a:pt x="4498822" y="2180077"/>
                  <a:pt x="4502093" y="2180747"/>
                </a:cubicBezTo>
                <a:cubicBezTo>
                  <a:pt x="4484668" y="2199271"/>
                  <a:pt x="4463973" y="2217126"/>
                  <a:pt x="4438559" y="2241379"/>
                </a:cubicBezTo>
                <a:cubicBezTo>
                  <a:pt x="4467998" y="2247405"/>
                  <a:pt x="4494166" y="2252763"/>
                  <a:pt x="4533418" y="2260798"/>
                </a:cubicBezTo>
                <a:cubicBezTo>
                  <a:pt x="4470954" y="2299558"/>
                  <a:pt x="4437583" y="2362683"/>
                  <a:pt x="4363797" y="2340214"/>
                </a:cubicBezTo>
                <a:cubicBezTo>
                  <a:pt x="4368546" y="2366960"/>
                  <a:pt x="4374741" y="2386638"/>
                  <a:pt x="4378044" y="2420451"/>
                </a:cubicBezTo>
                <a:cubicBezTo>
                  <a:pt x="4357317" y="2405163"/>
                  <a:pt x="4344956" y="2398950"/>
                  <a:pt x="4332596" y="2392738"/>
                </a:cubicBezTo>
                <a:cubicBezTo>
                  <a:pt x="4328601" y="2395602"/>
                  <a:pt x="4323160" y="2405534"/>
                  <a:pt x="4316272" y="2422533"/>
                </a:cubicBezTo>
                <a:cubicBezTo>
                  <a:pt x="4296646" y="2418515"/>
                  <a:pt x="4277020" y="2414498"/>
                  <a:pt x="4255947" y="2417548"/>
                </a:cubicBezTo>
                <a:cubicBezTo>
                  <a:pt x="4258463" y="2388607"/>
                  <a:pt x="4262080" y="2370938"/>
                  <a:pt x="4263150" y="2349065"/>
                </a:cubicBezTo>
                <a:cubicBezTo>
                  <a:pt x="4248619" y="2353455"/>
                  <a:pt x="4238083" y="2354979"/>
                  <a:pt x="4223552" y="2359369"/>
                </a:cubicBezTo>
                <a:cubicBezTo>
                  <a:pt x="4233019" y="2379717"/>
                  <a:pt x="4240662" y="2392327"/>
                  <a:pt x="4255947" y="2417548"/>
                </a:cubicBezTo>
                <a:cubicBezTo>
                  <a:pt x="4259218" y="2418217"/>
                  <a:pt x="4260319" y="2429489"/>
                  <a:pt x="4264690" y="2441430"/>
                </a:cubicBezTo>
                <a:cubicBezTo>
                  <a:pt x="4260696" y="2444293"/>
                  <a:pt x="4256701" y="2447158"/>
                  <a:pt x="4249436" y="2449352"/>
                </a:cubicBezTo>
                <a:cubicBezTo>
                  <a:pt x="4251260" y="2457090"/>
                  <a:pt x="4252361" y="2468361"/>
                  <a:pt x="4256009" y="2483836"/>
                </a:cubicBezTo>
                <a:cubicBezTo>
                  <a:pt x="4233112" y="2479148"/>
                  <a:pt x="4213486" y="2475130"/>
                  <a:pt x="4193860" y="2471112"/>
                </a:cubicBezTo>
                <a:cubicBezTo>
                  <a:pt x="4205466" y="2447715"/>
                  <a:pt x="4228709" y="2434063"/>
                  <a:pt x="4218142" y="2402445"/>
                </a:cubicBezTo>
                <a:cubicBezTo>
                  <a:pt x="4154923" y="2411594"/>
                  <a:pt x="4154923" y="2411594"/>
                  <a:pt x="4107367" y="2460770"/>
                </a:cubicBezTo>
                <a:cubicBezTo>
                  <a:pt x="4119004" y="2470516"/>
                  <a:pt x="4126647" y="2483127"/>
                  <a:pt x="4137560" y="2496407"/>
                </a:cubicBezTo>
                <a:cubicBezTo>
                  <a:pt x="4134667" y="2510542"/>
                  <a:pt x="4128502" y="2524008"/>
                  <a:pt x="4128879" y="2538813"/>
                </a:cubicBezTo>
                <a:cubicBezTo>
                  <a:pt x="4127432" y="2545881"/>
                  <a:pt x="4135798" y="2554957"/>
                  <a:pt x="4129634" y="2568423"/>
                </a:cubicBezTo>
                <a:cubicBezTo>
                  <a:pt x="4114726" y="2558007"/>
                  <a:pt x="4099817" y="2547591"/>
                  <a:pt x="4082362" y="2532972"/>
                </a:cubicBezTo>
                <a:cubicBezTo>
                  <a:pt x="4081985" y="2518167"/>
                  <a:pt x="4085602" y="2500498"/>
                  <a:pt x="4086671" y="2478625"/>
                </a:cubicBezTo>
                <a:cubicBezTo>
                  <a:pt x="4064875" y="2485209"/>
                  <a:pt x="4053615" y="2490268"/>
                  <a:pt x="4039084" y="2494656"/>
                </a:cubicBezTo>
                <a:cubicBezTo>
                  <a:pt x="4055093" y="2516344"/>
                  <a:pt x="4067831" y="2537361"/>
                  <a:pt x="4077298" y="2557709"/>
                </a:cubicBezTo>
                <a:cubicBezTo>
                  <a:pt x="4063868" y="2573369"/>
                  <a:pt x="4059150" y="2579767"/>
                  <a:pt x="4050437" y="2589029"/>
                </a:cubicBezTo>
                <a:cubicBezTo>
                  <a:pt x="4043895" y="2587690"/>
                  <a:pt x="4034082" y="2585681"/>
                  <a:pt x="4027540" y="2584342"/>
                </a:cubicBezTo>
                <a:cubicBezTo>
                  <a:pt x="4014487" y="2614807"/>
                  <a:pt x="3983601" y="2615848"/>
                  <a:pt x="3957811" y="2625296"/>
                </a:cubicBezTo>
                <a:cubicBezTo>
                  <a:pt x="3961428" y="2607627"/>
                  <a:pt x="3965045" y="2589958"/>
                  <a:pt x="3964668" y="2575153"/>
                </a:cubicBezTo>
                <a:cubicBezTo>
                  <a:pt x="3946866" y="2578872"/>
                  <a:pt x="3933058" y="2579728"/>
                  <a:pt x="3915980" y="2579914"/>
                </a:cubicBezTo>
                <a:cubicBezTo>
                  <a:pt x="3915980" y="2579914"/>
                  <a:pt x="3919251" y="2580583"/>
                  <a:pt x="3919974" y="2577049"/>
                </a:cubicBezTo>
                <a:cubicBezTo>
                  <a:pt x="3917427" y="2572846"/>
                  <a:pt x="3914879" y="2568642"/>
                  <a:pt x="3913055" y="2560905"/>
                </a:cubicBezTo>
                <a:cubicBezTo>
                  <a:pt x="3909061" y="2563769"/>
                  <a:pt x="3909061" y="2563769"/>
                  <a:pt x="3905066" y="2566634"/>
                </a:cubicBezTo>
                <a:cubicBezTo>
                  <a:pt x="3907614" y="2570837"/>
                  <a:pt x="3913432" y="2575710"/>
                  <a:pt x="3915980" y="2579914"/>
                </a:cubicBezTo>
                <a:cubicBezTo>
                  <a:pt x="3914187" y="2605320"/>
                  <a:pt x="3896731" y="2590701"/>
                  <a:pt x="3886195" y="2592226"/>
                </a:cubicBezTo>
                <a:cubicBezTo>
                  <a:pt x="3878929" y="2594420"/>
                  <a:pt x="3870940" y="2600149"/>
                  <a:pt x="3862951" y="2605877"/>
                </a:cubicBezTo>
                <a:cubicBezTo>
                  <a:pt x="3862951" y="2605877"/>
                  <a:pt x="3862951" y="2605877"/>
                  <a:pt x="3860404" y="2601674"/>
                </a:cubicBezTo>
                <a:cubicBezTo>
                  <a:pt x="3855686" y="2608072"/>
                  <a:pt x="3851692" y="2610936"/>
                  <a:pt x="3844426" y="2613130"/>
                </a:cubicBezTo>
                <a:cubicBezTo>
                  <a:pt x="3847697" y="2613800"/>
                  <a:pt x="3846974" y="2617334"/>
                  <a:pt x="3849521" y="2621537"/>
                </a:cubicBezTo>
                <a:cubicBezTo>
                  <a:pt x="3854239" y="2615139"/>
                  <a:pt x="3858234" y="2612275"/>
                  <a:pt x="3862951" y="2605877"/>
                </a:cubicBezTo>
                <a:cubicBezTo>
                  <a:pt x="3868770" y="2610750"/>
                  <a:pt x="3871318" y="2614954"/>
                  <a:pt x="3877136" y="2619826"/>
                </a:cubicBezTo>
                <a:cubicBezTo>
                  <a:pt x="3867354" y="2650962"/>
                  <a:pt x="3826655" y="2649994"/>
                  <a:pt x="3829234" y="2687341"/>
                </a:cubicBezTo>
                <a:cubicBezTo>
                  <a:pt x="3827787" y="2694409"/>
                  <a:pt x="3829611" y="2702146"/>
                  <a:pt x="3831435" y="2709884"/>
                </a:cubicBezTo>
                <a:cubicBezTo>
                  <a:pt x="3848860" y="2691359"/>
                  <a:pt x="3862290" y="2675699"/>
                  <a:pt x="3875721" y="2660038"/>
                </a:cubicBezTo>
                <a:cubicBezTo>
                  <a:pt x="3890629" y="2670454"/>
                  <a:pt x="3898995" y="2679531"/>
                  <a:pt x="3908084" y="2685074"/>
                </a:cubicBezTo>
                <a:cubicBezTo>
                  <a:pt x="3916073" y="2679345"/>
                  <a:pt x="3924062" y="2673617"/>
                  <a:pt x="3932774" y="2664354"/>
                </a:cubicBezTo>
                <a:cubicBezTo>
                  <a:pt x="3924408" y="2655278"/>
                  <a:pt x="3915319" y="2649735"/>
                  <a:pt x="3894592" y="2634446"/>
                </a:cubicBezTo>
                <a:cubicBezTo>
                  <a:pt x="3922930" y="2629202"/>
                  <a:pt x="3940009" y="2629016"/>
                  <a:pt x="3957811" y="2625296"/>
                </a:cubicBezTo>
                <a:cubicBezTo>
                  <a:pt x="3958912" y="2636567"/>
                  <a:pt x="3959289" y="2651372"/>
                  <a:pt x="3954948" y="2672576"/>
                </a:cubicBezTo>
                <a:cubicBezTo>
                  <a:pt x="3996717" y="2651671"/>
                  <a:pt x="4027949" y="2632291"/>
                  <a:pt x="4058457" y="2616445"/>
                </a:cubicBezTo>
                <a:cubicBezTo>
                  <a:pt x="4056633" y="2608708"/>
                  <a:pt x="4055532" y="2597436"/>
                  <a:pt x="4050437" y="2589029"/>
                </a:cubicBezTo>
                <a:cubicBezTo>
                  <a:pt x="4062798" y="2595241"/>
                  <a:pt x="4072611" y="2597250"/>
                  <a:pt x="4097332" y="2609675"/>
                </a:cubicBezTo>
                <a:cubicBezTo>
                  <a:pt x="4151084" y="2580178"/>
                  <a:pt x="4212101" y="2548485"/>
                  <a:pt x="4288373" y="2508871"/>
                </a:cubicBezTo>
                <a:cubicBezTo>
                  <a:pt x="4285102" y="2508201"/>
                  <a:pt x="4294915" y="2510210"/>
                  <a:pt x="4307999" y="2512889"/>
                </a:cubicBezTo>
                <a:cubicBezTo>
                  <a:pt x="4384994" y="2469739"/>
                  <a:pt x="4461989" y="2426591"/>
                  <a:pt x="4550244" y="2378383"/>
                </a:cubicBezTo>
                <a:cubicBezTo>
                  <a:pt x="4546973" y="2377713"/>
                  <a:pt x="4560781" y="2376858"/>
                  <a:pt x="4573865" y="2379536"/>
                </a:cubicBezTo>
                <a:cubicBezTo>
                  <a:pt x="4625792" y="2342301"/>
                  <a:pt x="4675896" y="2297329"/>
                  <a:pt x="4742763" y="2303654"/>
                </a:cubicBezTo>
                <a:cubicBezTo>
                  <a:pt x="4801579" y="2249420"/>
                  <a:pt x="4877882" y="2242949"/>
                  <a:pt x="4944340" y="2201325"/>
                </a:cubicBezTo>
                <a:cubicBezTo>
                  <a:pt x="4964312" y="2187004"/>
                  <a:pt x="4986109" y="2180420"/>
                  <a:pt x="5011176" y="2174506"/>
                </a:cubicBezTo>
                <a:cubicBezTo>
                  <a:pt x="5066029" y="2156280"/>
                  <a:pt x="5120881" y="2138053"/>
                  <a:pt x="5170985" y="2093081"/>
                </a:cubicBezTo>
                <a:cubicBezTo>
                  <a:pt x="5232064" y="2127676"/>
                  <a:pt x="5274526" y="2070094"/>
                  <a:pt x="5321012" y="2042791"/>
                </a:cubicBezTo>
                <a:cubicBezTo>
                  <a:pt x="5394012" y="2002506"/>
                  <a:pt x="5465566" y="1969289"/>
                  <a:pt x="5542215" y="1944479"/>
                </a:cubicBezTo>
                <a:cubicBezTo>
                  <a:pt x="5568006" y="1935031"/>
                  <a:pt x="5587632" y="1939049"/>
                  <a:pt x="5602918" y="1964270"/>
                </a:cubicBezTo>
                <a:cubicBezTo>
                  <a:pt x="5624682" y="1924542"/>
                  <a:pt x="5667552" y="1914909"/>
                  <a:pt x="5699507" y="1891995"/>
                </a:cubicBezTo>
                <a:cubicBezTo>
                  <a:pt x="5704225" y="1885597"/>
                  <a:pt x="5719133" y="1896013"/>
                  <a:pt x="5728947" y="1898022"/>
                </a:cubicBezTo>
                <a:cubicBezTo>
                  <a:pt x="5781598" y="1857253"/>
                  <a:pt x="5833526" y="1820018"/>
                  <a:pt x="5906557" y="1812877"/>
                </a:cubicBezTo>
                <a:cubicBezTo>
                  <a:pt x="5954490" y="1778507"/>
                  <a:pt x="6012960" y="1742611"/>
                  <a:pt x="6070737" y="1743393"/>
                </a:cubicBezTo>
                <a:cubicBezTo>
                  <a:pt x="6127037" y="1718099"/>
                  <a:pt x="6175348" y="1698534"/>
                  <a:pt x="6239636" y="1667511"/>
                </a:cubicBezTo>
                <a:cubicBezTo>
                  <a:pt x="6242907" y="1668181"/>
                  <a:pt x="6255237" y="1641249"/>
                  <a:pt x="6273038" y="1637530"/>
                </a:cubicBezTo>
                <a:cubicBezTo>
                  <a:pt x="6357330" y="1625330"/>
                  <a:pt x="6432124" y="1559639"/>
                  <a:pt x="6521164" y="1574185"/>
                </a:cubicBezTo>
                <a:cubicBezTo>
                  <a:pt x="6524812" y="1589659"/>
                  <a:pt x="6525913" y="1600931"/>
                  <a:pt x="6530662" y="1627676"/>
                </a:cubicBezTo>
                <a:cubicBezTo>
                  <a:pt x="6538620" y="1588804"/>
                  <a:pt x="6543684" y="1564067"/>
                  <a:pt x="6548748" y="1539330"/>
                </a:cubicBezTo>
                <a:cubicBezTo>
                  <a:pt x="6575986" y="1522815"/>
                  <a:pt x="6599952" y="1505629"/>
                  <a:pt x="6627914" y="1485580"/>
                </a:cubicBezTo>
                <a:cubicBezTo>
                  <a:pt x="6640274" y="1491792"/>
                  <a:pt x="6655182" y="1502208"/>
                  <a:pt x="6667543" y="1508420"/>
                </a:cubicBezTo>
                <a:cubicBezTo>
                  <a:pt x="6692956" y="1484167"/>
                  <a:pt x="6721641" y="1460584"/>
                  <a:pt x="6746331" y="1439865"/>
                </a:cubicBezTo>
                <a:cubicBezTo>
                  <a:pt x="6765957" y="1443883"/>
                  <a:pt x="6782312" y="1447231"/>
                  <a:pt x="6798667" y="1450579"/>
                </a:cubicBezTo>
                <a:cubicBezTo>
                  <a:pt x="6835340" y="1421267"/>
                  <a:pt x="6871290" y="1395489"/>
                  <a:pt x="6911958" y="1363313"/>
                </a:cubicBezTo>
                <a:cubicBezTo>
                  <a:pt x="6962470" y="1366290"/>
                  <a:pt x="7013706" y="1365733"/>
                  <a:pt x="7074030" y="1370718"/>
                </a:cubicBezTo>
                <a:cubicBezTo>
                  <a:pt x="7074754" y="1367184"/>
                  <a:pt x="7086014" y="1362126"/>
                  <a:pt x="7094726" y="1352863"/>
                </a:cubicBezTo>
                <a:cubicBezTo>
                  <a:pt x="7098344" y="1335194"/>
                  <a:pt x="7101961" y="1317525"/>
                  <a:pt x="7104854" y="1303390"/>
                </a:cubicBezTo>
                <a:cubicBezTo>
                  <a:pt x="7148447" y="1290222"/>
                  <a:pt x="7189492" y="1272851"/>
                  <a:pt x="7233085" y="1259684"/>
                </a:cubicBezTo>
                <a:cubicBezTo>
                  <a:pt x="7238903" y="1264557"/>
                  <a:pt x="7244722" y="1269430"/>
                  <a:pt x="7249817" y="1277837"/>
                </a:cubicBezTo>
                <a:cubicBezTo>
                  <a:pt x="7293064" y="1283008"/>
                  <a:pt x="7323918" y="1248823"/>
                  <a:pt x="7364964" y="1231452"/>
                </a:cubicBezTo>
                <a:cubicBezTo>
                  <a:pt x="7369335" y="1243393"/>
                  <a:pt x="7373707" y="1255334"/>
                  <a:pt x="7378802" y="1263741"/>
                </a:cubicBezTo>
                <a:cubicBezTo>
                  <a:pt x="7365749" y="1294206"/>
                  <a:pt x="7356691" y="1321807"/>
                  <a:pt x="7344361" y="1348739"/>
                </a:cubicBezTo>
                <a:cubicBezTo>
                  <a:pt x="7350180" y="1353612"/>
                  <a:pt x="7352727" y="1357815"/>
                  <a:pt x="7355275" y="1362019"/>
                </a:cubicBezTo>
                <a:cubicBezTo>
                  <a:pt x="7358892" y="1344349"/>
                  <a:pt x="7365057" y="1330884"/>
                  <a:pt x="7367951" y="1316748"/>
                </a:cubicBezTo>
                <a:cubicBezTo>
                  <a:pt x="7373046" y="1325155"/>
                  <a:pt x="7378865" y="1330028"/>
                  <a:pt x="7383960" y="1338435"/>
                </a:cubicBezTo>
                <a:cubicBezTo>
                  <a:pt x="7389024" y="1313698"/>
                  <a:pt x="7393364" y="1292495"/>
                  <a:pt x="7399152" y="1264225"/>
                </a:cubicBezTo>
                <a:cubicBezTo>
                  <a:pt x="7420225" y="1261175"/>
                  <a:pt x="7442021" y="1254591"/>
                  <a:pt x="7463817" y="1248007"/>
                </a:cubicBezTo>
                <a:cubicBezTo>
                  <a:pt x="7479418" y="1221745"/>
                  <a:pt x="7491747" y="1194814"/>
                  <a:pt x="7508071" y="1165018"/>
                </a:cubicBezTo>
                <a:cubicBezTo>
                  <a:pt x="7515714" y="1177629"/>
                  <a:pt x="7521532" y="1182502"/>
                  <a:pt x="7525904" y="1194443"/>
                </a:cubicBezTo>
                <a:cubicBezTo>
                  <a:pt x="7551695" y="1184994"/>
                  <a:pt x="7578209" y="1172013"/>
                  <a:pt x="7596735" y="1164759"/>
                </a:cubicBezTo>
                <a:cubicBezTo>
                  <a:pt x="7628752" y="1208133"/>
                  <a:pt x="7652404" y="1242430"/>
                  <a:pt x="7676056" y="1276728"/>
                </a:cubicBezTo>
                <a:cubicBezTo>
                  <a:pt x="7680773" y="1270330"/>
                  <a:pt x="7688039" y="1268135"/>
                  <a:pt x="7712006" y="1250950"/>
                </a:cubicBezTo>
                <a:cubicBezTo>
                  <a:pt x="7691687" y="1283610"/>
                  <a:pt x="7681528" y="1299940"/>
                  <a:pt x="7675363" y="1313406"/>
                </a:cubicBezTo>
                <a:cubicBezTo>
                  <a:pt x="7649195" y="1308049"/>
                  <a:pt x="7632840" y="1304700"/>
                  <a:pt x="7612491" y="1304217"/>
                </a:cubicBezTo>
                <a:cubicBezTo>
                  <a:pt x="7616516" y="1334496"/>
                  <a:pt x="7620542" y="1364776"/>
                  <a:pt x="7623844" y="1398589"/>
                </a:cubicBezTo>
                <a:cubicBezTo>
                  <a:pt x="7639098" y="1390666"/>
                  <a:pt x="7646363" y="1388472"/>
                  <a:pt x="7657623" y="1383413"/>
                </a:cubicBezTo>
                <a:cubicBezTo>
                  <a:pt x="7672532" y="1393829"/>
                  <a:pt x="7686716" y="1407778"/>
                  <a:pt x="7704172" y="1422397"/>
                </a:cubicBezTo>
                <a:cubicBezTo>
                  <a:pt x="7691119" y="1452863"/>
                  <a:pt x="7678790" y="1479794"/>
                  <a:pt x="7665737" y="1510260"/>
                </a:cubicBezTo>
                <a:cubicBezTo>
                  <a:pt x="7722098" y="1551253"/>
                  <a:pt x="7777266" y="1481544"/>
                  <a:pt x="7828532" y="1514131"/>
                </a:cubicBezTo>
                <a:cubicBezTo>
                  <a:pt x="7834697" y="1500665"/>
                  <a:pt x="7840139" y="1490734"/>
                  <a:pt x="7848851" y="1481471"/>
                </a:cubicBezTo>
                <a:cubicBezTo>
                  <a:pt x="7854670" y="1486344"/>
                  <a:pt x="7857217" y="1490548"/>
                  <a:pt x="7865583" y="1499624"/>
                </a:cubicBezTo>
                <a:cubicBezTo>
                  <a:pt x="7879013" y="1483964"/>
                  <a:pt x="7892443" y="1468304"/>
                  <a:pt x="7913139" y="1450449"/>
                </a:cubicBezTo>
                <a:cubicBezTo>
                  <a:pt x="7908799" y="1471652"/>
                  <a:pt x="7909176" y="1486457"/>
                  <a:pt x="7904836" y="1507660"/>
                </a:cubicBezTo>
                <a:cubicBezTo>
                  <a:pt x="7872502" y="1515768"/>
                  <a:pt x="7839446" y="1527411"/>
                  <a:pt x="7796577" y="1537045"/>
                </a:cubicBezTo>
                <a:cubicBezTo>
                  <a:pt x="7793683" y="1551180"/>
                  <a:pt x="7789343" y="1572383"/>
                  <a:pt x="7784279" y="1597120"/>
                </a:cubicBezTo>
                <a:cubicBezTo>
                  <a:pt x="7771195" y="1594442"/>
                  <a:pt x="7754840" y="1591094"/>
                  <a:pt x="7741756" y="1588415"/>
                </a:cubicBezTo>
                <a:cubicBezTo>
                  <a:pt x="7738831" y="1569406"/>
                  <a:pt x="7737730" y="1558136"/>
                  <a:pt x="7736629" y="1546864"/>
                </a:cubicBezTo>
                <a:cubicBezTo>
                  <a:pt x="7728641" y="1552593"/>
                  <a:pt x="7720651" y="1558321"/>
                  <a:pt x="7716657" y="1561185"/>
                </a:cubicBezTo>
                <a:cubicBezTo>
                  <a:pt x="7711562" y="1552778"/>
                  <a:pt x="7705744" y="1547905"/>
                  <a:pt x="7685017" y="1532616"/>
                </a:cubicBezTo>
                <a:cubicBezTo>
                  <a:pt x="7694137" y="1571303"/>
                  <a:pt x="7699610" y="1594515"/>
                  <a:pt x="7702535" y="1613523"/>
                </a:cubicBezTo>
                <a:cubicBezTo>
                  <a:pt x="7727256" y="1625948"/>
                  <a:pt x="7751977" y="1638373"/>
                  <a:pt x="7773427" y="1650128"/>
                </a:cubicBezTo>
                <a:cubicBezTo>
                  <a:pt x="7787612" y="1664077"/>
                  <a:pt x="7797802" y="1680891"/>
                  <a:pt x="7811987" y="1694841"/>
                </a:cubicBezTo>
                <a:cubicBezTo>
                  <a:pt x="7837778" y="1685393"/>
                  <a:pt x="7862845" y="1679479"/>
                  <a:pt x="7884641" y="1672895"/>
                </a:cubicBezTo>
                <a:cubicBezTo>
                  <a:pt x="7906092" y="1684650"/>
                  <a:pt x="7927542" y="1696405"/>
                  <a:pt x="7942450" y="1706821"/>
                </a:cubicBezTo>
                <a:cubicBezTo>
                  <a:pt x="7925749" y="1721812"/>
                  <a:pt x="7906500" y="1732599"/>
                  <a:pt x="7889799" y="1747590"/>
                </a:cubicBezTo>
                <a:cubicBezTo>
                  <a:pt x="7865424" y="1716826"/>
                  <a:pt x="7834538" y="1717867"/>
                  <a:pt x="7808370" y="1712510"/>
                </a:cubicBezTo>
                <a:cubicBezTo>
                  <a:pt x="7781509" y="1743831"/>
                  <a:pt x="7763739" y="1780694"/>
                  <a:pt x="7735054" y="1804277"/>
                </a:cubicBezTo>
                <a:cubicBezTo>
                  <a:pt x="7703099" y="1827191"/>
                  <a:pt x="7698412" y="1866733"/>
                  <a:pt x="7669004" y="1893850"/>
                </a:cubicBezTo>
                <a:cubicBezTo>
                  <a:pt x="7679918" y="1907131"/>
                  <a:pt x="7690831" y="1920411"/>
                  <a:pt x="7701745" y="1933690"/>
                </a:cubicBezTo>
                <a:cubicBezTo>
                  <a:pt x="7693033" y="1942953"/>
                  <a:pt x="7685044" y="1948681"/>
                  <a:pt x="7677055" y="1954410"/>
                </a:cubicBezTo>
                <a:cubicBezTo>
                  <a:pt x="7679634" y="1991757"/>
                  <a:pt x="7698568" y="2032452"/>
                  <a:pt x="7659347" y="2057561"/>
                </a:cubicBezTo>
                <a:cubicBezTo>
                  <a:pt x="7675355" y="2079248"/>
                  <a:pt x="7692088" y="2097401"/>
                  <a:pt x="7706272" y="2111350"/>
                </a:cubicBezTo>
                <a:cubicBezTo>
                  <a:pt x="7720803" y="2106961"/>
                  <a:pt x="7735334" y="2102572"/>
                  <a:pt x="7749865" y="2098183"/>
                </a:cubicBezTo>
                <a:cubicBezTo>
                  <a:pt x="7752759" y="2084048"/>
                  <a:pt x="7754929" y="2073446"/>
                  <a:pt x="7758546" y="2055777"/>
                </a:cubicBezTo>
                <a:cubicBezTo>
                  <a:pt x="7778172" y="2059795"/>
                  <a:pt x="7798522" y="2060279"/>
                  <a:pt x="7808335" y="2062287"/>
                </a:cubicBezTo>
                <a:cubicBezTo>
                  <a:pt x="7820349" y="2086838"/>
                  <a:pt x="7831263" y="2100119"/>
                  <a:pt x="7840730" y="2120466"/>
                </a:cubicBezTo>
                <a:cubicBezTo>
                  <a:pt x="7832018" y="2129729"/>
                  <a:pt x="7821858" y="2146058"/>
                  <a:pt x="7803710" y="2168117"/>
                </a:cubicBezTo>
                <a:cubicBezTo>
                  <a:pt x="7815347" y="2177863"/>
                  <a:pt x="7829532" y="2191813"/>
                  <a:pt x="7843717" y="2205763"/>
                </a:cubicBezTo>
                <a:cubicBezTo>
                  <a:pt x="7839722" y="2208627"/>
                  <a:pt x="7835005" y="2215025"/>
                  <a:pt x="7834281" y="2218559"/>
                </a:cubicBezTo>
                <a:cubicBezTo>
                  <a:pt x="7851360" y="2218373"/>
                  <a:pt x="7872432" y="2215323"/>
                  <a:pt x="7892782" y="2215807"/>
                </a:cubicBezTo>
                <a:cubicBezTo>
                  <a:pt x="7890612" y="2226408"/>
                  <a:pt x="7887718" y="2240544"/>
                  <a:pt x="7886271" y="2247611"/>
                </a:cubicBezTo>
                <a:cubicBezTo>
                  <a:pt x="7846327" y="2276254"/>
                  <a:pt x="7810377" y="2302032"/>
                  <a:pt x="7771156" y="2327140"/>
                </a:cubicBezTo>
                <a:cubicBezTo>
                  <a:pt x="7769709" y="2334208"/>
                  <a:pt x="7767538" y="2344809"/>
                  <a:pt x="7764645" y="2358944"/>
                </a:cubicBezTo>
                <a:cubicBezTo>
                  <a:pt x="7704697" y="2368764"/>
                  <a:pt x="7690606" y="2454246"/>
                  <a:pt x="7628110" y="2459862"/>
                </a:cubicBezTo>
                <a:cubicBezTo>
                  <a:pt x="7615058" y="2490327"/>
                  <a:pt x="7620184" y="2531877"/>
                  <a:pt x="7588952" y="2551258"/>
                </a:cubicBezTo>
                <a:cubicBezTo>
                  <a:pt x="7564985" y="2568443"/>
                  <a:pt x="7541019" y="2585628"/>
                  <a:pt x="7528689" y="2612560"/>
                </a:cubicBezTo>
                <a:cubicBezTo>
                  <a:pt x="7530167" y="2638636"/>
                  <a:pt x="7532368" y="2661178"/>
                  <a:pt x="7533846" y="2687254"/>
                </a:cubicBezTo>
                <a:cubicBezTo>
                  <a:pt x="7508228" y="2687533"/>
                  <a:pt x="7486078" y="2680237"/>
                  <a:pt x="7463734" y="2683257"/>
                </a:cubicBezTo>
                <a:lnTo>
                  <a:pt x="7443816" y="2689547"/>
                </a:lnTo>
                <a:lnTo>
                  <a:pt x="7437540" y="2674902"/>
                </a:lnTo>
                <a:cubicBezTo>
                  <a:pt x="7434269" y="2674233"/>
                  <a:pt x="7433546" y="2677767"/>
                  <a:pt x="7430275" y="2677097"/>
                </a:cubicBezTo>
                <a:cubicBezTo>
                  <a:pt x="7436093" y="2681970"/>
                  <a:pt x="7438641" y="2686174"/>
                  <a:pt x="7441189" y="2690377"/>
                </a:cubicBezTo>
                <a:cubicBezTo>
                  <a:pt x="7431753" y="2703173"/>
                  <a:pt x="7419046" y="2715300"/>
                  <a:pt x="7401621" y="2733824"/>
                </a:cubicBezTo>
                <a:cubicBezTo>
                  <a:pt x="7398004" y="2751494"/>
                  <a:pt x="7392940" y="2776231"/>
                  <a:pt x="7388599" y="2797434"/>
                </a:cubicBezTo>
                <a:cubicBezTo>
                  <a:pt x="7375893" y="2809560"/>
                  <a:pt x="7367904" y="2815289"/>
                  <a:pt x="7355921" y="2823881"/>
                </a:cubicBezTo>
                <a:cubicBezTo>
                  <a:pt x="7356267" y="2805542"/>
                  <a:pt x="7356613" y="2787204"/>
                  <a:pt x="7356959" y="2768865"/>
                </a:cubicBezTo>
                <a:cubicBezTo>
                  <a:pt x="7337333" y="2764847"/>
                  <a:pt x="7320978" y="2761499"/>
                  <a:pt x="7301352" y="2757481"/>
                </a:cubicBezTo>
                <a:cubicBezTo>
                  <a:pt x="7291193" y="2773811"/>
                  <a:pt x="7283581" y="2794345"/>
                  <a:pt x="7268704" y="2817072"/>
                </a:cubicBezTo>
                <a:cubicBezTo>
                  <a:pt x="7276724" y="2844488"/>
                  <a:pt x="7283297" y="2878971"/>
                  <a:pt x="7291695" y="2921191"/>
                </a:cubicBezTo>
                <a:cubicBezTo>
                  <a:pt x="7276063" y="2914309"/>
                  <a:pt x="7256437" y="2910292"/>
                  <a:pt x="7248794" y="2897681"/>
                </a:cubicBezTo>
                <a:cubicBezTo>
                  <a:pt x="7238604" y="2880867"/>
                  <a:pt x="7242944" y="2859664"/>
                  <a:pt x="7236371" y="2825181"/>
                </a:cubicBezTo>
                <a:cubicBezTo>
                  <a:pt x="7228760" y="2845714"/>
                  <a:pt x="7221148" y="2866248"/>
                  <a:pt x="7214260" y="2883248"/>
                </a:cubicBezTo>
                <a:cubicBezTo>
                  <a:pt x="7209165" y="2874840"/>
                  <a:pt x="7200075" y="2869298"/>
                  <a:pt x="7194257" y="2864425"/>
                </a:cubicBezTo>
                <a:cubicBezTo>
                  <a:pt x="7189508" y="2837679"/>
                  <a:pt x="7184759" y="2810933"/>
                  <a:pt x="7179286" y="2787721"/>
                </a:cubicBezTo>
                <a:cubicBezTo>
                  <a:pt x="7122610" y="2798210"/>
                  <a:pt x="7122610" y="2798210"/>
                  <a:pt x="7046715" y="2852630"/>
                </a:cubicBezTo>
                <a:cubicBezTo>
                  <a:pt x="7071059" y="2850250"/>
                  <a:pt x="7081595" y="2848725"/>
                  <a:pt x="7091408" y="2850734"/>
                </a:cubicBezTo>
                <a:cubicBezTo>
                  <a:pt x="7105216" y="2849879"/>
                  <a:pt x="7119024" y="2849023"/>
                  <a:pt x="7132831" y="2848168"/>
                </a:cubicBezTo>
                <a:cubicBezTo>
                  <a:pt x="7135756" y="2867177"/>
                  <a:pt x="7142675" y="2883321"/>
                  <a:pt x="7145600" y="2902329"/>
                </a:cubicBezTo>
                <a:cubicBezTo>
                  <a:pt x="7121256" y="2904710"/>
                  <a:pt x="7093641" y="2906420"/>
                  <a:pt x="7068574" y="2912334"/>
                </a:cubicBezTo>
                <a:cubicBezTo>
                  <a:pt x="7055143" y="2927995"/>
                  <a:pt x="7044261" y="2947859"/>
                  <a:pt x="7034825" y="2960655"/>
                </a:cubicBezTo>
                <a:cubicBezTo>
                  <a:pt x="7038127" y="2994468"/>
                  <a:pt x="7081343" y="2966495"/>
                  <a:pt x="7076656" y="3006038"/>
                </a:cubicBezTo>
                <a:cubicBezTo>
                  <a:pt x="7069390" y="3008232"/>
                  <a:pt x="7064673" y="3014630"/>
                  <a:pt x="7056684" y="3020359"/>
                </a:cubicBezTo>
                <a:cubicBezTo>
                  <a:pt x="7053413" y="3019689"/>
                  <a:pt x="7042876" y="3021214"/>
                  <a:pt x="7042876" y="3021214"/>
                </a:cubicBezTo>
                <a:cubicBezTo>
                  <a:pt x="7035265" y="3041747"/>
                  <a:pt x="7030924" y="3062950"/>
                  <a:pt x="7022589" y="3087018"/>
                </a:cubicBezTo>
                <a:cubicBezTo>
                  <a:pt x="7009505" y="3084339"/>
                  <a:pt x="6993150" y="3080991"/>
                  <a:pt x="6976795" y="3077643"/>
                </a:cubicBezTo>
                <a:cubicBezTo>
                  <a:pt x="6976795" y="3077643"/>
                  <a:pt x="6976795" y="3077643"/>
                  <a:pt x="6980789" y="3074778"/>
                </a:cubicBezTo>
                <a:cubicBezTo>
                  <a:pt x="6978242" y="3070575"/>
                  <a:pt x="6972423" y="3065702"/>
                  <a:pt x="6970599" y="3057965"/>
                </a:cubicBezTo>
                <a:cubicBezTo>
                  <a:pt x="6969875" y="3061498"/>
                  <a:pt x="6966605" y="3060829"/>
                  <a:pt x="6965881" y="3064363"/>
                </a:cubicBezTo>
                <a:cubicBezTo>
                  <a:pt x="6968429" y="3068566"/>
                  <a:pt x="6970976" y="3072770"/>
                  <a:pt x="6976795" y="3077643"/>
                </a:cubicBezTo>
                <a:cubicBezTo>
                  <a:pt x="6981890" y="3086050"/>
                  <a:pt x="6982991" y="3097321"/>
                  <a:pt x="6987362" y="3109262"/>
                </a:cubicBezTo>
                <a:cubicBezTo>
                  <a:pt x="6964843" y="3119379"/>
                  <a:pt x="6938328" y="3132361"/>
                  <a:pt x="6915809" y="3142479"/>
                </a:cubicBezTo>
                <a:cubicBezTo>
                  <a:pt x="6912915" y="3156614"/>
                  <a:pt x="6906750" y="3170080"/>
                  <a:pt x="6903856" y="3184215"/>
                </a:cubicBezTo>
                <a:cubicBezTo>
                  <a:pt x="6886055" y="3187935"/>
                  <a:pt x="6867529" y="3195188"/>
                  <a:pt x="6849727" y="3198908"/>
                </a:cubicBezTo>
                <a:cubicBezTo>
                  <a:pt x="6840638" y="3193365"/>
                  <a:pt x="6836266" y="3181424"/>
                  <a:pt x="6827176" y="3175882"/>
                </a:cubicBezTo>
                <a:cubicBezTo>
                  <a:pt x="6821358" y="3171008"/>
                  <a:pt x="6814816" y="3169669"/>
                  <a:pt x="6805726" y="3164126"/>
                </a:cubicBezTo>
                <a:cubicBezTo>
                  <a:pt x="6815886" y="3147797"/>
                  <a:pt x="6825321" y="3135000"/>
                  <a:pt x="6831486" y="3121535"/>
                </a:cubicBezTo>
                <a:cubicBezTo>
                  <a:pt x="6834757" y="3122204"/>
                  <a:pt x="6834757" y="3122204"/>
                  <a:pt x="6834757" y="3122204"/>
                </a:cubicBezTo>
                <a:cubicBezTo>
                  <a:pt x="6842022" y="3120010"/>
                  <a:pt x="6846017" y="3117145"/>
                  <a:pt x="6850011" y="3114281"/>
                </a:cubicBezTo>
                <a:cubicBezTo>
                  <a:pt x="6850735" y="3110747"/>
                  <a:pt x="6847464" y="3110078"/>
                  <a:pt x="6848187" y="3106544"/>
                </a:cubicBezTo>
                <a:cubicBezTo>
                  <a:pt x="6843469" y="3112942"/>
                  <a:pt x="6836204" y="3115136"/>
                  <a:pt x="6831486" y="3121535"/>
                </a:cubicBezTo>
                <a:cubicBezTo>
                  <a:pt x="6815854" y="3114653"/>
                  <a:pt x="6790064" y="3124100"/>
                  <a:pt x="6782767" y="3093151"/>
                </a:cubicBezTo>
                <a:cubicBezTo>
                  <a:pt x="6777137" y="3095681"/>
                  <a:pt x="6770689" y="3098043"/>
                  <a:pt x="6762834" y="3101037"/>
                </a:cubicBezTo>
                <a:lnTo>
                  <a:pt x="6737927" y="3111289"/>
                </a:lnTo>
                <a:lnTo>
                  <a:pt x="6738451" y="3109853"/>
                </a:lnTo>
                <a:cubicBezTo>
                  <a:pt x="6739175" y="3106319"/>
                  <a:pt x="6743169" y="3103455"/>
                  <a:pt x="6734457" y="3112717"/>
                </a:cubicBezTo>
                <a:lnTo>
                  <a:pt x="6737927" y="3111289"/>
                </a:lnTo>
                <a:lnTo>
                  <a:pt x="6699669" y="3216053"/>
                </a:lnTo>
                <a:cubicBezTo>
                  <a:pt x="6698946" y="3219588"/>
                  <a:pt x="6708759" y="3221597"/>
                  <a:pt x="6711307" y="3225800"/>
                </a:cubicBezTo>
                <a:cubicBezTo>
                  <a:pt x="6707689" y="3243469"/>
                  <a:pt x="6668091" y="3253772"/>
                  <a:pt x="6695737" y="3285206"/>
                </a:cubicBezTo>
                <a:cubicBezTo>
                  <a:pt x="6686302" y="3298002"/>
                  <a:pt x="6676142" y="3314331"/>
                  <a:pt x="6666706" y="3327128"/>
                </a:cubicBezTo>
                <a:cubicBezTo>
                  <a:pt x="6656893" y="3325119"/>
                  <a:pt x="6643809" y="3322440"/>
                  <a:pt x="6630725" y="3319762"/>
                </a:cubicBezTo>
                <a:cubicBezTo>
                  <a:pt x="6624561" y="3333227"/>
                  <a:pt x="6617672" y="3350227"/>
                  <a:pt x="6614779" y="3364362"/>
                </a:cubicBezTo>
                <a:cubicBezTo>
                  <a:pt x="6568638" y="3373326"/>
                  <a:pt x="6524699" y="3404833"/>
                  <a:pt x="6468715" y="3378644"/>
                </a:cubicBezTo>
                <a:cubicBezTo>
                  <a:pt x="6484001" y="3403865"/>
                  <a:pt x="6491643" y="3416476"/>
                  <a:pt x="6498563" y="3432620"/>
                </a:cubicBezTo>
                <a:cubicBezTo>
                  <a:pt x="6479314" y="3443407"/>
                  <a:pt x="6457518" y="3449991"/>
                  <a:pt x="6434998" y="3460108"/>
                </a:cubicBezTo>
                <a:cubicBezTo>
                  <a:pt x="6426255" y="3436227"/>
                  <a:pt x="6401187" y="3442141"/>
                  <a:pt x="6382285" y="3434589"/>
                </a:cubicBezTo>
                <a:cubicBezTo>
                  <a:pt x="6383731" y="3427522"/>
                  <a:pt x="6385902" y="3416920"/>
                  <a:pt x="6388795" y="3402785"/>
                </a:cubicBezTo>
                <a:cubicBezTo>
                  <a:pt x="6374988" y="3403640"/>
                  <a:pt x="6361180" y="3404495"/>
                  <a:pt x="6344102" y="3404681"/>
                </a:cubicBezTo>
                <a:cubicBezTo>
                  <a:pt x="6340831" y="3404012"/>
                  <a:pt x="6339007" y="3396274"/>
                  <a:pt x="6330640" y="3387198"/>
                </a:cubicBezTo>
                <a:cubicBezTo>
                  <a:pt x="6317934" y="3399324"/>
                  <a:pt x="6307775" y="3415654"/>
                  <a:pt x="6290350" y="3434179"/>
                </a:cubicBezTo>
                <a:cubicBezTo>
                  <a:pt x="6270724" y="3430161"/>
                  <a:pt x="6247827" y="3425474"/>
                  <a:pt x="6218388" y="3419447"/>
                </a:cubicBezTo>
                <a:cubicBezTo>
                  <a:pt x="6211877" y="3451251"/>
                  <a:pt x="6206813" y="3475988"/>
                  <a:pt x="6198855" y="3514861"/>
                </a:cubicBezTo>
                <a:cubicBezTo>
                  <a:pt x="6161050" y="3499757"/>
                  <a:pt x="6132334" y="3490197"/>
                  <a:pt x="6094529" y="3475094"/>
                </a:cubicBezTo>
                <a:cubicBezTo>
                  <a:pt x="6085817" y="3484356"/>
                  <a:pt x="6069116" y="3499347"/>
                  <a:pt x="6053138" y="3510803"/>
                </a:cubicBezTo>
                <a:cubicBezTo>
                  <a:pt x="6054962" y="3518541"/>
                  <a:pt x="6059334" y="3530482"/>
                  <a:pt x="6060434" y="3541753"/>
                </a:cubicBezTo>
                <a:cubicBezTo>
                  <a:pt x="6051722" y="3551015"/>
                  <a:pt x="6040462" y="3556074"/>
                  <a:pt x="6024485" y="3567531"/>
                </a:cubicBezTo>
                <a:cubicBezTo>
                  <a:pt x="6020836" y="3552056"/>
                  <a:pt x="6017188" y="3536582"/>
                  <a:pt x="6012439" y="3509836"/>
                </a:cubicBezTo>
                <a:cubicBezTo>
                  <a:pt x="5997562" y="3532564"/>
                  <a:pt x="5992844" y="3538962"/>
                  <a:pt x="5992120" y="3542496"/>
                </a:cubicBezTo>
                <a:cubicBezTo>
                  <a:pt x="5991051" y="3564368"/>
                  <a:pt x="5996523" y="3587580"/>
                  <a:pt x="5992183" y="3608783"/>
                </a:cubicBezTo>
                <a:cubicBezTo>
                  <a:pt x="5991113" y="3630656"/>
                  <a:pt x="5986773" y="3651859"/>
                  <a:pt x="5979161" y="3672392"/>
                </a:cubicBezTo>
                <a:cubicBezTo>
                  <a:pt x="5978438" y="3675926"/>
                  <a:pt x="5967901" y="3677451"/>
                  <a:pt x="5963183" y="3683849"/>
                </a:cubicBezTo>
                <a:cubicBezTo>
                  <a:pt x="5960258" y="3664841"/>
                  <a:pt x="5957333" y="3645832"/>
                  <a:pt x="5955856" y="3619756"/>
                </a:cubicBezTo>
                <a:cubicBezTo>
                  <a:pt x="5943872" y="3628349"/>
                  <a:pt x="5935884" y="3634077"/>
                  <a:pt x="5928618" y="3636272"/>
                </a:cubicBezTo>
                <a:cubicBezTo>
                  <a:pt x="5920975" y="3623662"/>
                  <a:pt x="5913332" y="3611051"/>
                  <a:pt x="5902419" y="3597771"/>
                </a:cubicBezTo>
                <a:cubicBezTo>
                  <a:pt x="5897701" y="3604169"/>
                  <a:pt x="5890435" y="3606364"/>
                  <a:pt x="5882447" y="3612092"/>
                </a:cubicBezTo>
                <a:cubicBezTo>
                  <a:pt x="5881377" y="3633965"/>
                  <a:pt x="5884302" y="3652973"/>
                  <a:pt x="5883232" y="3674846"/>
                </a:cubicBezTo>
                <a:cubicBezTo>
                  <a:pt x="5855271" y="3694895"/>
                  <a:pt x="5830581" y="3715615"/>
                  <a:pt x="5804067" y="3728596"/>
                </a:cubicBezTo>
                <a:cubicBezTo>
                  <a:pt x="5792084" y="3737189"/>
                  <a:pt x="5778999" y="3734511"/>
                  <a:pt x="5765192" y="3735366"/>
                </a:cubicBezTo>
                <a:cubicBezTo>
                  <a:pt x="5765915" y="3731832"/>
                  <a:pt x="5764091" y="3724095"/>
                  <a:pt x="5764814" y="3720561"/>
                </a:cubicBezTo>
                <a:cubicBezTo>
                  <a:pt x="5760820" y="3723425"/>
                  <a:pt x="5756102" y="3729823"/>
                  <a:pt x="5748837" y="3732018"/>
                </a:cubicBezTo>
                <a:cubicBezTo>
                  <a:pt x="5737923" y="3718738"/>
                  <a:pt x="5727009" y="3705458"/>
                  <a:pt x="5716819" y="3688644"/>
                </a:cubicBezTo>
                <a:cubicBezTo>
                  <a:pt x="5708138" y="3731050"/>
                  <a:pt x="5644888" y="3707056"/>
                  <a:pt x="5644573" y="3758538"/>
                </a:cubicBezTo>
                <a:cubicBezTo>
                  <a:pt x="5662029" y="3773158"/>
                  <a:pt x="5671087" y="3745557"/>
                  <a:pt x="5684895" y="3744701"/>
                </a:cubicBezTo>
                <a:cubicBezTo>
                  <a:pt x="5698702" y="3743846"/>
                  <a:pt x="5712510" y="3742991"/>
                  <a:pt x="5732136" y="3747008"/>
                </a:cubicBezTo>
                <a:cubicBezTo>
                  <a:pt x="5715812" y="3776804"/>
                  <a:pt x="5707477" y="3800871"/>
                  <a:pt x="5689706" y="3837735"/>
                </a:cubicBezTo>
                <a:cubicBezTo>
                  <a:pt x="5708231" y="3830481"/>
                  <a:pt x="5716220" y="3824753"/>
                  <a:pt x="5723485" y="3822558"/>
                </a:cubicBezTo>
                <a:cubicBezTo>
                  <a:pt x="5737670" y="3836508"/>
                  <a:pt x="5754403" y="3854661"/>
                  <a:pt x="5774406" y="3873484"/>
                </a:cubicBezTo>
                <a:lnTo>
                  <a:pt x="5719613" y="3888555"/>
                </a:lnTo>
                <a:lnTo>
                  <a:pt x="5720246" y="3855033"/>
                </a:lnTo>
                <a:cubicBezTo>
                  <a:pt x="5716975" y="3854363"/>
                  <a:pt x="5712980" y="3857227"/>
                  <a:pt x="5709709" y="3856557"/>
                </a:cubicBezTo>
                <a:cubicBezTo>
                  <a:pt x="5707539" y="3867159"/>
                  <a:pt x="5705369" y="3877760"/>
                  <a:pt x="5713011" y="3890371"/>
                </a:cubicBezTo>
                <a:cubicBezTo>
                  <a:pt x="5699581" y="3906031"/>
                  <a:pt x="5678885" y="3923886"/>
                  <a:pt x="5658913" y="3938207"/>
                </a:cubicBezTo>
                <a:cubicBezTo>
                  <a:pt x="5638941" y="3952528"/>
                  <a:pt x="5616421" y="3962646"/>
                  <a:pt x="5596449" y="3976967"/>
                </a:cubicBezTo>
                <a:cubicBezTo>
                  <a:pt x="5579748" y="3991958"/>
                  <a:pt x="5566318" y="4007618"/>
                  <a:pt x="5548893" y="4026143"/>
                </a:cubicBezTo>
                <a:cubicBezTo>
                  <a:pt x="5541250" y="4013532"/>
                  <a:pt x="5538703" y="4009329"/>
                  <a:pt x="5534331" y="3997388"/>
                </a:cubicBezTo>
                <a:cubicBezTo>
                  <a:pt x="5514044" y="4063192"/>
                  <a:pt x="5460638" y="4074350"/>
                  <a:pt x="5417423" y="4102323"/>
                </a:cubicBezTo>
                <a:cubicBezTo>
                  <a:pt x="5405062" y="4096110"/>
                  <a:pt x="5393425" y="4086364"/>
                  <a:pt x="5375969" y="4071745"/>
                </a:cubicBezTo>
                <a:cubicBezTo>
                  <a:pt x="5386852" y="4051881"/>
                  <a:pt x="5394463" y="4031348"/>
                  <a:pt x="5410787" y="4001552"/>
                </a:cubicBezTo>
                <a:cubicBezTo>
                  <a:pt x="5404969" y="3996679"/>
                  <a:pt x="5393332" y="3986933"/>
                  <a:pt x="5384965" y="3977856"/>
                </a:cubicBezTo>
                <a:cubicBezTo>
                  <a:pt x="5384242" y="3981390"/>
                  <a:pt x="5378801" y="3991322"/>
                  <a:pt x="5369365" y="4004118"/>
                </a:cubicBezTo>
                <a:cubicBezTo>
                  <a:pt x="5359552" y="4002109"/>
                  <a:pt x="5346468" y="3999431"/>
                  <a:pt x="5329390" y="3999617"/>
                </a:cubicBezTo>
                <a:cubicBezTo>
                  <a:pt x="5316336" y="4030082"/>
                  <a:pt x="5302560" y="4064081"/>
                  <a:pt x="5284066" y="4104478"/>
                </a:cubicBezTo>
                <a:cubicBezTo>
                  <a:pt x="5303315" y="4093691"/>
                  <a:pt x="5313851" y="4092166"/>
                  <a:pt x="5328382" y="4087777"/>
                </a:cubicBezTo>
                <a:cubicBezTo>
                  <a:pt x="5336748" y="4096853"/>
                  <a:pt x="5344391" y="4109464"/>
                  <a:pt x="5357129" y="4130481"/>
                </a:cubicBezTo>
                <a:cubicBezTo>
                  <a:pt x="5351499" y="4133011"/>
                  <a:pt x="5346687" y="4135707"/>
                  <a:pt x="5340102" y="4136661"/>
                </a:cubicBezTo>
                <a:lnTo>
                  <a:pt x="5328339" y="4134839"/>
                </a:lnTo>
                <a:lnTo>
                  <a:pt x="5319111" y="4130983"/>
                </a:lnTo>
                <a:cubicBezTo>
                  <a:pt x="5315432" y="4130229"/>
                  <a:pt x="5312798" y="4130611"/>
                  <a:pt x="5312436" y="4132377"/>
                </a:cubicBezTo>
                <a:cubicBezTo>
                  <a:pt x="5301899" y="4133903"/>
                  <a:pt x="5303723" y="4141640"/>
                  <a:pt x="5307718" y="4138775"/>
                </a:cubicBezTo>
                <a:lnTo>
                  <a:pt x="5315301" y="4138034"/>
                </a:lnTo>
                <a:lnTo>
                  <a:pt x="5325177" y="4157538"/>
                </a:lnTo>
                <a:cubicBezTo>
                  <a:pt x="5326455" y="4163783"/>
                  <a:pt x="5325551" y="4168200"/>
                  <a:pt x="5324827" y="4171734"/>
                </a:cubicBezTo>
                <a:cubicBezTo>
                  <a:pt x="5295042" y="4184046"/>
                  <a:pt x="5270321" y="4171621"/>
                  <a:pt x="5239404" y="4139518"/>
                </a:cubicBezTo>
                <a:cubicBezTo>
                  <a:pt x="5246700" y="4170468"/>
                  <a:pt x="5246354" y="4188806"/>
                  <a:pt x="5249279" y="4207815"/>
                </a:cubicBezTo>
                <a:cubicBezTo>
                  <a:pt x="5214052" y="4230059"/>
                  <a:pt x="5177379" y="4259371"/>
                  <a:pt x="5133786" y="4272538"/>
                </a:cubicBezTo>
                <a:cubicBezTo>
                  <a:pt x="5134133" y="4254200"/>
                  <a:pt x="5159546" y="4229947"/>
                  <a:pt x="5128283" y="4216183"/>
                </a:cubicBezTo>
                <a:cubicBezTo>
                  <a:pt x="5147500" y="4172252"/>
                  <a:pt x="5210373" y="4181440"/>
                  <a:pt x="5229214" y="4122704"/>
                </a:cubicBezTo>
                <a:cubicBezTo>
                  <a:pt x="5197604" y="4127279"/>
                  <a:pt x="5173260" y="4129660"/>
                  <a:pt x="5144922" y="4134904"/>
                </a:cubicBezTo>
                <a:cubicBezTo>
                  <a:pt x="5150017" y="4143311"/>
                  <a:pt x="5155112" y="4151718"/>
                  <a:pt x="5157659" y="4155921"/>
                </a:cubicBezTo>
                <a:cubicBezTo>
                  <a:pt x="5141682" y="4167378"/>
                  <a:pt x="5128975" y="4179505"/>
                  <a:pt x="5116269" y="4191631"/>
                </a:cubicBezTo>
                <a:cubicBezTo>
                  <a:pt x="5117369" y="4202902"/>
                  <a:pt x="5119917" y="4207106"/>
                  <a:pt x="5128283" y="4216183"/>
                </a:cubicBezTo>
                <a:cubicBezTo>
                  <a:pt x="5131208" y="4235191"/>
                  <a:pt x="5106518" y="4255910"/>
                  <a:pt x="5133786" y="4272538"/>
                </a:cubicBezTo>
                <a:cubicBezTo>
                  <a:pt x="5133063" y="4276072"/>
                  <a:pt x="5128345" y="4282470"/>
                  <a:pt x="5123627" y="4288868"/>
                </a:cubicBezTo>
                <a:cubicBezTo>
                  <a:pt x="5108719" y="4278452"/>
                  <a:pt x="5090540" y="4267367"/>
                  <a:pt x="5076355" y="4253417"/>
                </a:cubicBezTo>
                <a:cubicBezTo>
                  <a:pt x="5081797" y="4243486"/>
                  <a:pt x="5091232" y="4230689"/>
                  <a:pt x="5097397" y="4217224"/>
                </a:cubicBezTo>
                <a:cubicBezTo>
                  <a:pt x="5094849" y="4213020"/>
                  <a:pt x="5095573" y="4209486"/>
                  <a:pt x="5092302" y="4208817"/>
                </a:cubicBezTo>
                <a:cubicBezTo>
                  <a:pt x="5028014" y="4239839"/>
                  <a:pt x="4963002" y="4274395"/>
                  <a:pt x="4898713" y="4305418"/>
                </a:cubicBezTo>
                <a:cubicBezTo>
                  <a:pt x="4887831" y="4325282"/>
                  <a:pt x="4873677" y="4344476"/>
                  <a:pt x="4858800" y="4367204"/>
                </a:cubicBezTo>
                <a:cubicBezTo>
                  <a:pt x="4851158" y="4354593"/>
                  <a:pt x="4845339" y="4349720"/>
                  <a:pt x="4843514" y="4341983"/>
                </a:cubicBezTo>
                <a:cubicBezTo>
                  <a:pt x="4830084" y="4357643"/>
                  <a:pt x="4819925" y="4373973"/>
                  <a:pt x="4809766" y="4390303"/>
                </a:cubicBezTo>
                <a:cubicBezTo>
                  <a:pt x="4791241" y="4397557"/>
                  <a:pt x="4775263" y="4409013"/>
                  <a:pt x="4752743" y="4419131"/>
                </a:cubicBezTo>
                <a:cubicBezTo>
                  <a:pt x="4746925" y="4414258"/>
                  <a:pt x="4741829" y="4405851"/>
                  <a:pt x="4730192" y="4396105"/>
                </a:cubicBezTo>
                <a:cubicBezTo>
                  <a:pt x="4720757" y="4408901"/>
                  <a:pt x="4711321" y="4421697"/>
                  <a:pt x="4701885" y="4434493"/>
                </a:cubicBezTo>
                <a:cubicBezTo>
                  <a:pt x="4706980" y="4442900"/>
                  <a:pt x="4711352" y="4454841"/>
                  <a:pt x="4716447" y="4463248"/>
                </a:cubicBezTo>
                <a:cubicBezTo>
                  <a:pt x="4727707" y="4458189"/>
                  <a:pt x="4742238" y="4453800"/>
                  <a:pt x="4756769" y="4449411"/>
                </a:cubicBezTo>
                <a:cubicBezTo>
                  <a:pt x="4757146" y="4464216"/>
                  <a:pt x="4758247" y="4475487"/>
                  <a:pt x="4759347" y="4486758"/>
                </a:cubicBezTo>
                <a:cubicBezTo>
                  <a:pt x="4854175" y="4473034"/>
                  <a:pt x="4934064" y="4415749"/>
                  <a:pt x="5015777" y="4366202"/>
                </a:cubicBezTo>
                <a:cubicBezTo>
                  <a:pt x="5003417" y="4359990"/>
                  <a:pt x="4995051" y="4350913"/>
                  <a:pt x="4989232" y="4346040"/>
                </a:cubicBezTo>
                <a:cubicBezTo>
                  <a:pt x="4986684" y="4341836"/>
                  <a:pt x="4988131" y="4334769"/>
                  <a:pt x="4989578" y="4327701"/>
                </a:cubicBezTo>
                <a:cubicBezTo>
                  <a:pt x="4997567" y="4321973"/>
                  <a:pt x="5006279" y="4312711"/>
                  <a:pt x="5014268" y="4306982"/>
                </a:cubicBezTo>
                <a:cubicBezTo>
                  <a:pt x="5033894" y="4311000"/>
                  <a:pt x="5053520" y="4315017"/>
                  <a:pt x="5092772" y="4323053"/>
                </a:cubicBezTo>
                <a:cubicBezTo>
                  <a:pt x="5064434" y="4328298"/>
                  <a:pt x="5053898" y="4329822"/>
                  <a:pt x="5040090" y="4330678"/>
                </a:cubicBezTo>
                <a:cubicBezTo>
                  <a:pt x="5037920" y="4341280"/>
                  <a:pt x="5035750" y="4351881"/>
                  <a:pt x="5034303" y="4358949"/>
                </a:cubicBezTo>
                <a:cubicBezTo>
                  <a:pt x="5043392" y="4364491"/>
                  <a:pt x="5049211" y="4369364"/>
                  <a:pt x="5053205" y="4366500"/>
                </a:cubicBezTo>
                <a:cubicBezTo>
                  <a:pt x="5172692" y="4298913"/>
                  <a:pt x="5294381" y="4253867"/>
                  <a:pt x="5417516" y="4201754"/>
                </a:cubicBezTo>
                <a:cubicBezTo>
                  <a:pt x="5458561" y="4184383"/>
                  <a:pt x="5494511" y="4158606"/>
                  <a:pt x="5532285" y="4140565"/>
                </a:cubicBezTo>
                <a:cubicBezTo>
                  <a:pt x="5574777" y="4116126"/>
                  <a:pt x="5619817" y="4095891"/>
                  <a:pt x="5666681" y="4083393"/>
                </a:cubicBezTo>
                <a:cubicBezTo>
                  <a:pt x="5673946" y="4081198"/>
                  <a:pt x="5681211" y="4079004"/>
                  <a:pt x="5685929" y="4072606"/>
                </a:cubicBezTo>
                <a:cubicBezTo>
                  <a:pt x="5731315" y="4034032"/>
                  <a:pt x="5785444" y="4019339"/>
                  <a:pt x="5839573" y="4004647"/>
                </a:cubicBezTo>
                <a:cubicBezTo>
                  <a:pt x="5860646" y="4001597"/>
                  <a:pt x="5884613" y="3984411"/>
                  <a:pt x="5903862" y="3973624"/>
                </a:cubicBezTo>
                <a:cubicBezTo>
                  <a:pt x="5911127" y="3971430"/>
                  <a:pt x="5912574" y="3964362"/>
                  <a:pt x="5919116" y="3965701"/>
                </a:cubicBezTo>
                <a:cubicBezTo>
                  <a:pt x="5980511" y="3948814"/>
                  <a:pt x="6039358" y="3927724"/>
                  <a:pt x="6097104" y="3895362"/>
                </a:cubicBezTo>
                <a:cubicBezTo>
                  <a:pt x="6104369" y="3893167"/>
                  <a:pt x="6116730" y="3899380"/>
                  <a:pt x="6126543" y="3901388"/>
                </a:cubicBezTo>
                <a:cubicBezTo>
                  <a:pt x="6158845" y="3860136"/>
                  <a:pt x="6158845" y="3860136"/>
                  <a:pt x="6206809" y="3858909"/>
                </a:cubicBezTo>
                <a:cubicBezTo>
                  <a:pt x="6230776" y="3841724"/>
                  <a:pt x="6255466" y="3821005"/>
                  <a:pt x="6282703" y="3804489"/>
                </a:cubicBezTo>
                <a:cubicBezTo>
                  <a:pt x="6342682" y="3827814"/>
                  <a:pt x="6381495" y="3754756"/>
                  <a:pt x="6441820" y="3759742"/>
                </a:cubicBezTo>
                <a:cubicBezTo>
                  <a:pt x="6498843" y="3730914"/>
                  <a:pt x="6559860" y="3699222"/>
                  <a:pt x="6620154" y="3671064"/>
                </a:cubicBezTo>
                <a:cubicBezTo>
                  <a:pt x="6624149" y="3668200"/>
                  <a:pt x="6636509" y="3674412"/>
                  <a:pt x="6639780" y="3675082"/>
                </a:cubicBezTo>
                <a:cubicBezTo>
                  <a:pt x="6760714" y="3600426"/>
                  <a:pt x="6890045" y="3567992"/>
                  <a:pt x="7005160" y="3488463"/>
                </a:cubicBezTo>
                <a:cubicBezTo>
                  <a:pt x="7014973" y="3490472"/>
                  <a:pt x="7030605" y="3497354"/>
                  <a:pt x="7034600" y="3494490"/>
                </a:cubicBezTo>
                <a:cubicBezTo>
                  <a:pt x="7103228" y="3442264"/>
                  <a:pt x="7181702" y="3425192"/>
                  <a:pt x="7253255" y="3391975"/>
                </a:cubicBezTo>
                <a:cubicBezTo>
                  <a:pt x="7327356" y="3362961"/>
                  <a:pt x="7400734" y="3337481"/>
                  <a:pt x="7472288" y="3304264"/>
                </a:cubicBezTo>
                <a:cubicBezTo>
                  <a:pt x="7524593" y="3281834"/>
                  <a:pt x="7573627" y="3258735"/>
                  <a:pt x="7627033" y="3247576"/>
                </a:cubicBezTo>
                <a:cubicBezTo>
                  <a:pt x="7634299" y="3245382"/>
                  <a:pt x="7644835" y="3243856"/>
                  <a:pt x="7648830" y="3240993"/>
                </a:cubicBezTo>
                <a:cubicBezTo>
                  <a:pt x="7700034" y="3207292"/>
                  <a:pt x="7700034" y="3207292"/>
                  <a:pt x="7754917" y="3222209"/>
                </a:cubicBezTo>
                <a:cubicBezTo>
                  <a:pt x="7738940" y="3233666"/>
                  <a:pt x="7717867" y="3236716"/>
                  <a:pt x="7706984" y="3256580"/>
                </a:cubicBezTo>
                <a:cubicBezTo>
                  <a:pt x="7704814" y="3267181"/>
                  <a:pt x="7675375" y="3261155"/>
                  <a:pt x="7656849" y="3268408"/>
                </a:cubicBezTo>
                <a:cubicBezTo>
                  <a:pt x="7639048" y="3272128"/>
                  <a:pt x="7613980" y="3278042"/>
                  <a:pt x="7607815" y="3291507"/>
                </a:cubicBezTo>
                <a:cubicBezTo>
                  <a:pt x="7591869" y="3336108"/>
                  <a:pt x="7555164" y="3332276"/>
                  <a:pt x="7530821" y="3334656"/>
                </a:cubicBezTo>
                <a:cubicBezTo>
                  <a:pt x="7487951" y="3344290"/>
                  <a:pt x="7454171" y="3359466"/>
                  <a:pt x="7418945" y="3381711"/>
                </a:cubicBezTo>
                <a:cubicBezTo>
                  <a:pt x="7418222" y="3385244"/>
                  <a:pt x="7416775" y="3392312"/>
                  <a:pt x="7416051" y="3395846"/>
                </a:cubicBezTo>
                <a:cubicBezTo>
                  <a:pt x="7326318" y="3417977"/>
                  <a:pt x="7245329" y="3463990"/>
                  <a:pt x="7156696" y="3497393"/>
                </a:cubicBezTo>
                <a:cubicBezTo>
                  <a:pt x="7149431" y="3499588"/>
                  <a:pt x="7142543" y="3516588"/>
                  <a:pt x="7129836" y="3528714"/>
                </a:cubicBezTo>
                <a:cubicBezTo>
                  <a:pt x="7096780" y="3540357"/>
                  <a:pt x="7057905" y="3547126"/>
                  <a:pt x="7022301" y="3554565"/>
                </a:cubicBezTo>
                <a:cubicBezTo>
                  <a:pt x="6979809" y="3579004"/>
                  <a:pt x="6941312" y="3600578"/>
                  <a:pt x="6899543" y="3621483"/>
                </a:cubicBezTo>
                <a:cubicBezTo>
                  <a:pt x="6891900" y="3608873"/>
                  <a:pt x="6886082" y="3604000"/>
                  <a:pt x="6878439" y="3591389"/>
                </a:cubicBezTo>
                <a:cubicBezTo>
                  <a:pt x="6853026" y="3615642"/>
                  <a:pt x="6827612" y="3639895"/>
                  <a:pt x="6801475" y="3667682"/>
                </a:cubicBezTo>
                <a:cubicBezTo>
                  <a:pt x="6788391" y="3665003"/>
                  <a:pt x="6777855" y="3666528"/>
                  <a:pt x="6764771" y="3663850"/>
                </a:cubicBezTo>
                <a:cubicBezTo>
                  <a:pt x="6751340" y="3679510"/>
                  <a:pt x="6741181" y="3695840"/>
                  <a:pt x="6731022" y="3712170"/>
                </a:cubicBezTo>
                <a:cubicBezTo>
                  <a:pt x="6717938" y="3709492"/>
                  <a:pt x="6700482" y="3694872"/>
                  <a:pt x="6694695" y="3723143"/>
                </a:cubicBezTo>
                <a:cubicBezTo>
                  <a:pt x="6671798" y="3718455"/>
                  <a:pt x="6652172" y="3714438"/>
                  <a:pt x="6632546" y="3710420"/>
                </a:cubicBezTo>
                <a:cubicBezTo>
                  <a:pt x="6575176" y="3757587"/>
                  <a:pt x="6510889" y="3788609"/>
                  <a:pt x="6442228" y="3807691"/>
                </a:cubicBezTo>
                <a:cubicBezTo>
                  <a:pt x="6433893" y="3831758"/>
                  <a:pt x="6420463" y="3847418"/>
                  <a:pt x="6390300" y="3844926"/>
                </a:cubicBezTo>
                <a:cubicBezTo>
                  <a:pt x="6363409" y="3843102"/>
                  <a:pt x="6329252" y="3843474"/>
                  <a:pt x="6315822" y="3859134"/>
                </a:cubicBezTo>
                <a:cubicBezTo>
                  <a:pt x="6288962" y="3890455"/>
                  <a:pt x="6264618" y="3892835"/>
                  <a:pt x="6228636" y="3885469"/>
                </a:cubicBezTo>
                <a:cubicBezTo>
                  <a:pt x="6211936" y="3900460"/>
                  <a:pt x="6191963" y="3914781"/>
                  <a:pt x="6178533" y="3930441"/>
                </a:cubicBezTo>
                <a:cubicBezTo>
                  <a:pt x="6155636" y="3925754"/>
                  <a:pt x="6139281" y="3922406"/>
                  <a:pt x="6129468" y="3920397"/>
                </a:cubicBezTo>
                <a:cubicBezTo>
                  <a:pt x="6080811" y="3958301"/>
                  <a:pt x="6033601" y="3989138"/>
                  <a:pt x="5982019" y="4008034"/>
                </a:cubicBezTo>
                <a:cubicBezTo>
                  <a:pt x="5934432" y="4024066"/>
                  <a:pt x="5892318" y="4063310"/>
                  <a:pt x="5846178" y="4072274"/>
                </a:cubicBezTo>
                <a:cubicBezTo>
                  <a:pt x="5792772" y="4083432"/>
                  <a:pt x="5745939" y="4129074"/>
                  <a:pt x="5691056" y="4114157"/>
                </a:cubicBezTo>
                <a:cubicBezTo>
                  <a:pt x="5681651" y="4160096"/>
                  <a:pt x="5630038" y="4145849"/>
                  <a:pt x="5618809" y="4184051"/>
                </a:cubicBezTo>
                <a:cubicBezTo>
                  <a:pt x="5599183" y="4180034"/>
                  <a:pt x="5578834" y="4179550"/>
                  <a:pt x="5569021" y="4177541"/>
                </a:cubicBezTo>
                <a:cubicBezTo>
                  <a:pt x="5529800" y="4202649"/>
                  <a:pt x="5498568" y="4222029"/>
                  <a:pt x="5459347" y="4247137"/>
                </a:cubicBezTo>
                <a:cubicBezTo>
                  <a:pt x="5459347" y="4247137"/>
                  <a:pt x="5457900" y="4254205"/>
                  <a:pt x="5455730" y="4264806"/>
                </a:cubicBezTo>
                <a:cubicBezTo>
                  <a:pt x="5420472" y="4253907"/>
                  <a:pt x="5401601" y="4279499"/>
                  <a:pt x="5383452" y="4301557"/>
                </a:cubicBezTo>
                <a:cubicBezTo>
                  <a:pt x="5339860" y="4314725"/>
                  <a:pt x="5299538" y="4328562"/>
                  <a:pt x="5259217" y="4342399"/>
                </a:cubicBezTo>
                <a:cubicBezTo>
                  <a:pt x="5256323" y="4356534"/>
                  <a:pt x="5253429" y="4370670"/>
                  <a:pt x="5251982" y="4377738"/>
                </a:cubicBezTo>
                <a:cubicBezTo>
                  <a:pt x="5288686" y="4381570"/>
                  <a:pt x="5325391" y="4385401"/>
                  <a:pt x="5365367" y="4389903"/>
                </a:cubicBezTo>
                <a:cubicBezTo>
                  <a:pt x="5358447" y="4373759"/>
                  <a:pt x="5356623" y="4366022"/>
                  <a:pt x="5351528" y="4357615"/>
                </a:cubicBezTo>
                <a:cubicBezTo>
                  <a:pt x="5362410" y="4337751"/>
                  <a:pt x="5372570" y="4321421"/>
                  <a:pt x="5383452" y="4301557"/>
                </a:cubicBezTo>
                <a:cubicBezTo>
                  <a:pt x="5414716" y="4315321"/>
                  <a:pt x="5436858" y="4290399"/>
                  <a:pt x="5455730" y="4264806"/>
                </a:cubicBezTo>
                <a:cubicBezTo>
                  <a:pt x="5464819" y="4270349"/>
                  <a:pt x="5469915" y="4278756"/>
                  <a:pt x="5479004" y="4284299"/>
                </a:cubicBezTo>
                <a:cubicBezTo>
                  <a:pt x="5514231" y="4262055"/>
                  <a:pt x="5562195" y="4260828"/>
                  <a:pt x="5591226" y="4218906"/>
                </a:cubicBezTo>
                <a:cubicBezTo>
                  <a:pt x="5703825" y="4168318"/>
                  <a:pt x="5815323" y="4106459"/>
                  <a:pt x="5930847" y="4074879"/>
                </a:cubicBezTo>
                <a:cubicBezTo>
                  <a:pt x="5936288" y="4064947"/>
                  <a:pt x="5937735" y="4057879"/>
                  <a:pt x="5942452" y="4051481"/>
                </a:cubicBezTo>
                <a:cubicBezTo>
                  <a:pt x="5955537" y="4054160"/>
                  <a:pt x="5965350" y="4056169"/>
                  <a:pt x="5981705" y="4059517"/>
                </a:cubicBezTo>
                <a:cubicBezTo>
                  <a:pt x="5998406" y="4044526"/>
                  <a:pt x="6015830" y="4026001"/>
                  <a:pt x="6031808" y="4014545"/>
                </a:cubicBezTo>
                <a:cubicBezTo>
                  <a:pt x="6093580" y="4012463"/>
                  <a:pt x="6166958" y="3986983"/>
                  <a:pt x="6240682" y="3943164"/>
                </a:cubicBezTo>
                <a:cubicBezTo>
                  <a:pt x="6246154" y="3966376"/>
                  <a:pt x="6255621" y="3986724"/>
                  <a:pt x="6266912" y="4014809"/>
                </a:cubicBezTo>
                <a:cubicBezTo>
                  <a:pt x="6286507" y="3985683"/>
                  <a:pt x="6307203" y="3967828"/>
                  <a:pt x="6311544" y="3946625"/>
                </a:cubicBezTo>
                <a:cubicBezTo>
                  <a:pt x="6316576" y="3888744"/>
                  <a:pt x="6363094" y="3894585"/>
                  <a:pt x="6392879" y="3882273"/>
                </a:cubicBezTo>
                <a:cubicBezTo>
                  <a:pt x="6414676" y="3875689"/>
                  <a:pt x="6438296" y="3876843"/>
                  <a:pt x="6463363" y="3870929"/>
                </a:cubicBezTo>
                <a:cubicBezTo>
                  <a:pt x="6466257" y="3856793"/>
                  <a:pt x="6469151" y="3842658"/>
                  <a:pt x="6470598" y="3835590"/>
                </a:cubicBezTo>
                <a:cubicBezTo>
                  <a:pt x="6548694" y="3803712"/>
                  <a:pt x="6618800" y="3777563"/>
                  <a:pt x="6689631" y="3747880"/>
                </a:cubicBezTo>
                <a:cubicBezTo>
                  <a:pt x="6691078" y="3740812"/>
                  <a:pt x="6693248" y="3730211"/>
                  <a:pt x="6694695" y="3723143"/>
                </a:cubicBezTo>
                <a:cubicBezTo>
                  <a:pt x="6708502" y="3722288"/>
                  <a:pt x="6722687" y="3736237"/>
                  <a:pt x="6731022" y="3712170"/>
                </a:cubicBezTo>
                <a:cubicBezTo>
                  <a:pt x="6778987" y="3710943"/>
                  <a:pt x="6821478" y="3686505"/>
                  <a:pt x="6863247" y="3665600"/>
                </a:cubicBezTo>
                <a:cubicBezTo>
                  <a:pt x="6917722" y="3632569"/>
                  <a:pt x="6984589" y="3638893"/>
                  <a:pt x="7032145" y="3589718"/>
                </a:cubicBezTo>
                <a:cubicBezTo>
                  <a:pt x="7084481" y="3600432"/>
                  <a:pt x="7124772" y="3553451"/>
                  <a:pt x="7171636" y="3540953"/>
                </a:cubicBezTo>
                <a:cubicBezTo>
                  <a:pt x="7193432" y="3534369"/>
                  <a:pt x="7213027" y="3505243"/>
                  <a:pt x="7240642" y="3503532"/>
                </a:cubicBezTo>
                <a:cubicBezTo>
                  <a:pt x="7242466" y="3511269"/>
                  <a:pt x="7245014" y="3515473"/>
                  <a:pt x="7247561" y="3519677"/>
                </a:cubicBezTo>
                <a:cubicBezTo>
                  <a:pt x="7294017" y="3459230"/>
                  <a:pt x="7367426" y="3466894"/>
                  <a:pt x="7431337" y="3421067"/>
                </a:cubicBezTo>
                <a:cubicBezTo>
                  <a:pt x="7413566" y="3457930"/>
                  <a:pt x="7401960" y="3481328"/>
                  <a:pt x="7393625" y="3505395"/>
                </a:cubicBezTo>
                <a:cubicBezTo>
                  <a:pt x="7396172" y="3509598"/>
                  <a:pt x="7398720" y="3513802"/>
                  <a:pt x="7401267" y="3518006"/>
                </a:cubicBezTo>
                <a:cubicBezTo>
                  <a:pt x="7410703" y="3505209"/>
                  <a:pt x="7416144" y="3495277"/>
                  <a:pt x="7422309" y="3481811"/>
                </a:cubicBezTo>
                <a:cubicBezTo>
                  <a:pt x="7424857" y="3486015"/>
                  <a:pt x="7427404" y="3490219"/>
                  <a:pt x="7429952" y="3494422"/>
                </a:cubicBezTo>
                <a:cubicBezTo>
                  <a:pt x="7435016" y="3469685"/>
                  <a:pt x="7440080" y="3444948"/>
                  <a:pt x="7444421" y="3423745"/>
                </a:cubicBezTo>
                <a:cubicBezTo>
                  <a:pt x="7466940" y="3413627"/>
                  <a:pt x="7489460" y="3403510"/>
                  <a:pt x="7511980" y="3393392"/>
                </a:cubicBezTo>
                <a:cubicBezTo>
                  <a:pt x="7514528" y="3397596"/>
                  <a:pt x="7522894" y="3406672"/>
                  <a:pt x="7533808" y="3419952"/>
                </a:cubicBezTo>
                <a:cubicBezTo>
                  <a:pt x="7571204" y="3387107"/>
                  <a:pt x="7618068" y="3374609"/>
                  <a:pt x="7653640" y="3334026"/>
                </a:cubicBezTo>
                <a:cubicBezTo>
                  <a:pt x="7677984" y="3331646"/>
                  <a:pt x="7709594" y="3327071"/>
                  <a:pt x="7740480" y="3326030"/>
                </a:cubicBezTo>
                <a:cubicBezTo>
                  <a:pt x="7753910" y="3310369"/>
                  <a:pt x="7770611" y="3295379"/>
                  <a:pt x="7784765" y="3276184"/>
                </a:cubicBezTo>
                <a:cubicBezTo>
                  <a:pt x="7789860" y="3284592"/>
                  <a:pt x="7792408" y="3288795"/>
                  <a:pt x="7796779" y="3300736"/>
                </a:cubicBezTo>
                <a:cubicBezTo>
                  <a:pt x="7817852" y="3297686"/>
                  <a:pt x="7838925" y="3294636"/>
                  <a:pt x="7873805" y="3290730"/>
                </a:cubicBezTo>
                <a:cubicBezTo>
                  <a:pt x="7894501" y="3272875"/>
                  <a:pt x="7923186" y="3249292"/>
                  <a:pt x="7959859" y="3219981"/>
                </a:cubicBezTo>
                <a:cubicBezTo>
                  <a:pt x="7998010" y="3216745"/>
                  <a:pt x="7996972" y="3271761"/>
                  <a:pt x="8030059" y="3293262"/>
                </a:cubicBezTo>
                <a:cubicBezTo>
                  <a:pt x="8041319" y="3288204"/>
                  <a:pt x="8054026" y="3276077"/>
                  <a:pt x="8068557" y="3271688"/>
                </a:cubicBezTo>
                <a:cubicBezTo>
                  <a:pt x="8083088" y="3267299"/>
                  <a:pt x="8096895" y="3266443"/>
                  <a:pt x="8113974" y="3266258"/>
                </a:cubicBezTo>
                <a:cubicBezTo>
                  <a:pt x="8116867" y="3252123"/>
                  <a:pt x="8123032" y="3238657"/>
                  <a:pt x="8131367" y="3214590"/>
                </a:cubicBezTo>
                <a:cubicBezTo>
                  <a:pt x="8136839" y="3237802"/>
                  <a:pt x="8140488" y="3253276"/>
                  <a:pt x="8146684" y="3272954"/>
                </a:cubicBezTo>
                <a:cubicBezTo>
                  <a:pt x="8142689" y="3275818"/>
                  <a:pt x="8134701" y="3281547"/>
                  <a:pt x="8126711" y="3287275"/>
                </a:cubicBezTo>
                <a:cubicBezTo>
                  <a:pt x="8130360" y="3302750"/>
                  <a:pt x="8134008" y="3318225"/>
                  <a:pt x="8136210" y="3340767"/>
                </a:cubicBezTo>
                <a:cubicBezTo>
                  <a:pt x="8112966" y="3354418"/>
                  <a:pt x="8085729" y="3370934"/>
                  <a:pt x="8062485" y="3384585"/>
                </a:cubicBezTo>
                <a:cubicBezTo>
                  <a:pt x="8062485" y="3384585"/>
                  <a:pt x="8065033" y="3388789"/>
                  <a:pt x="8067581" y="3392992"/>
                </a:cubicBezTo>
                <a:cubicBezTo>
                  <a:pt x="8059277" y="3450204"/>
                  <a:pt x="7991717" y="3480556"/>
                  <a:pt x="7994327" y="3551047"/>
                </a:cubicBezTo>
                <a:cubicBezTo>
                  <a:pt x="8021188" y="3519727"/>
                  <a:pt x="8040782" y="3490601"/>
                  <a:pt x="8059654" y="3465008"/>
                </a:cubicBezTo>
                <a:cubicBezTo>
                  <a:pt x="8082551" y="3469696"/>
                  <a:pt x="8098906" y="3473044"/>
                  <a:pt x="8121803" y="3477732"/>
                </a:cubicBezTo>
                <a:cubicBezTo>
                  <a:pt x="8127590" y="3449461"/>
                  <a:pt x="8133378" y="3421190"/>
                  <a:pt x="8137718" y="3399987"/>
                </a:cubicBezTo>
                <a:cubicBezTo>
                  <a:pt x="8168227" y="3384141"/>
                  <a:pt x="8186406" y="3395226"/>
                  <a:pt x="8194427" y="3422642"/>
                </a:cubicBezTo>
                <a:cubicBezTo>
                  <a:pt x="8216223" y="3416058"/>
                  <a:pt x="8230754" y="3411669"/>
                  <a:pt x="8256545" y="3402221"/>
                </a:cubicBezTo>
                <a:cubicBezTo>
                  <a:pt x="8244938" y="3425618"/>
                  <a:pt x="8235503" y="3438415"/>
                  <a:pt x="8225343" y="3454744"/>
                </a:cubicBezTo>
                <a:cubicBezTo>
                  <a:pt x="8207542" y="3458464"/>
                  <a:pt x="8185745" y="3465048"/>
                  <a:pt x="8159954" y="3474496"/>
                </a:cubicBezTo>
                <a:cubicBezTo>
                  <a:pt x="8157061" y="3488631"/>
                  <a:pt x="8152720" y="3509834"/>
                  <a:pt x="8149103" y="3527503"/>
                </a:cubicBezTo>
                <a:cubicBezTo>
                  <a:pt x="8159293" y="3544317"/>
                  <a:pt x="8169483" y="3561131"/>
                  <a:pt x="8182945" y="3578615"/>
                </a:cubicBezTo>
                <a:cubicBezTo>
                  <a:pt x="8207635" y="3557895"/>
                  <a:pt x="8233772" y="3530109"/>
                  <a:pt x="8263180" y="3502991"/>
                </a:cubicBezTo>
                <a:cubicBezTo>
                  <a:pt x="8274817" y="3512738"/>
                  <a:pt x="8280635" y="3517611"/>
                  <a:pt x="8291549" y="3530891"/>
                </a:cubicBezTo>
                <a:cubicBezTo>
                  <a:pt x="8302778" y="3492688"/>
                  <a:pt x="8322372" y="3463562"/>
                  <a:pt x="8361972" y="3453259"/>
                </a:cubicBezTo>
                <a:cubicBezTo>
                  <a:pt x="8380150" y="3464344"/>
                  <a:pt x="8400878" y="3479633"/>
                  <a:pt x="8425598" y="3492058"/>
                </a:cubicBezTo>
                <a:cubicBezTo>
                  <a:pt x="8413992" y="3515455"/>
                  <a:pt x="8402386" y="3538853"/>
                  <a:pt x="8390780" y="3562251"/>
                </a:cubicBezTo>
                <a:cubicBezTo>
                  <a:pt x="8428932" y="3559015"/>
                  <a:pt x="8464536" y="3551576"/>
                  <a:pt x="8499416" y="3547671"/>
                </a:cubicBezTo>
                <a:cubicBezTo>
                  <a:pt x="8509606" y="3564485"/>
                  <a:pt x="8513978" y="3576425"/>
                  <a:pt x="8524168" y="3593239"/>
                </a:cubicBezTo>
                <a:cubicBezTo>
                  <a:pt x="8499100" y="3599153"/>
                  <a:pt x="8478028" y="3602203"/>
                  <a:pt x="8452960" y="3608117"/>
                </a:cubicBezTo>
                <a:cubicBezTo>
                  <a:pt x="8450790" y="3618719"/>
                  <a:pt x="8447174" y="3636388"/>
                  <a:pt x="8442108" y="3661125"/>
                </a:cubicBezTo>
                <a:cubicBezTo>
                  <a:pt x="8479160" y="3646618"/>
                  <a:pt x="8508944" y="3634306"/>
                  <a:pt x="8549990" y="3616935"/>
                </a:cubicBezTo>
                <a:cubicBezTo>
                  <a:pt x="8541654" y="3641002"/>
                  <a:pt x="8534044" y="3661536"/>
                  <a:pt x="8524984" y="3689137"/>
                </a:cubicBezTo>
                <a:cubicBezTo>
                  <a:pt x="8526810" y="3696874"/>
                  <a:pt x="8526462" y="3715213"/>
                  <a:pt x="8529388" y="3734222"/>
                </a:cubicBezTo>
                <a:cubicBezTo>
                  <a:pt x="8498878" y="3750068"/>
                  <a:pt x="8472364" y="3763049"/>
                  <a:pt x="8441856" y="3778895"/>
                </a:cubicBezTo>
                <a:cubicBezTo>
                  <a:pt x="8449498" y="3791506"/>
                  <a:pt x="8450600" y="3802777"/>
                  <a:pt x="8455694" y="3811184"/>
                </a:cubicBezTo>
                <a:cubicBezTo>
                  <a:pt x="8418298" y="3844030"/>
                  <a:pt x="8384172" y="3877545"/>
                  <a:pt x="8342058" y="3916789"/>
                </a:cubicBezTo>
                <a:cubicBezTo>
                  <a:pt x="8356966" y="3927204"/>
                  <a:pt x="8366056" y="3932747"/>
                  <a:pt x="8375144" y="3938290"/>
                </a:cubicBezTo>
                <a:cubicBezTo>
                  <a:pt x="8381310" y="3924824"/>
                  <a:pt x="8386028" y="3918426"/>
                  <a:pt x="8391468" y="3908494"/>
                </a:cubicBezTo>
                <a:cubicBezTo>
                  <a:pt x="8463054" y="3908421"/>
                  <a:pt x="8529890" y="3881602"/>
                  <a:pt x="8600720" y="3851919"/>
                </a:cubicBezTo>
                <a:cubicBezTo>
                  <a:pt x="8630158" y="3857945"/>
                  <a:pt x="8667240" y="3876583"/>
                  <a:pt x="8702468" y="3854338"/>
                </a:cubicBezTo>
                <a:cubicBezTo>
                  <a:pt x="8710834" y="3863415"/>
                  <a:pt x="8719200" y="3872492"/>
                  <a:pt x="8727566" y="3881568"/>
                </a:cubicBezTo>
                <a:cubicBezTo>
                  <a:pt x="8738102" y="3880043"/>
                  <a:pt x="8746090" y="3874315"/>
                  <a:pt x="8757350" y="3869256"/>
                </a:cubicBezTo>
                <a:cubicBezTo>
                  <a:pt x="8762446" y="3877663"/>
                  <a:pt x="8767542" y="3886070"/>
                  <a:pt x="8778454" y="3899350"/>
                </a:cubicBezTo>
                <a:cubicBezTo>
                  <a:pt x="8763200" y="3907273"/>
                  <a:pt x="8748670" y="3911662"/>
                  <a:pt x="8734138" y="3916051"/>
                </a:cubicBezTo>
                <a:cubicBezTo>
                  <a:pt x="8741058" y="3932195"/>
                  <a:pt x="8743606" y="3936399"/>
                  <a:pt x="8745430" y="3944136"/>
                </a:cubicBezTo>
                <a:cubicBezTo>
                  <a:pt x="8735994" y="3956932"/>
                  <a:pt x="8719292" y="3971923"/>
                  <a:pt x="8709134" y="3988253"/>
                </a:cubicBezTo>
                <a:cubicBezTo>
                  <a:pt x="8704416" y="3994651"/>
                  <a:pt x="8705516" y="4005922"/>
                  <a:pt x="8703346" y="4016524"/>
                </a:cubicBezTo>
                <a:cubicBezTo>
                  <a:pt x="8686992" y="4013176"/>
                  <a:pt x="8677178" y="4011167"/>
                  <a:pt x="8667366" y="4009158"/>
                </a:cubicBezTo>
                <a:cubicBezTo>
                  <a:pt x="8650664" y="4024148"/>
                  <a:pt x="8641952" y="4033411"/>
                  <a:pt x="8629244" y="4045537"/>
                </a:cubicBezTo>
                <a:cubicBezTo>
                  <a:pt x="8629244" y="4045537"/>
                  <a:pt x="8629968" y="4042003"/>
                  <a:pt x="8629968" y="4042003"/>
                </a:cubicBezTo>
                <a:cubicBezTo>
                  <a:pt x="8627420" y="4037800"/>
                  <a:pt x="8625596" y="4030063"/>
                  <a:pt x="8623050" y="4025859"/>
                </a:cubicBezTo>
                <a:cubicBezTo>
                  <a:pt x="8622326" y="4029393"/>
                  <a:pt x="8619054" y="4028723"/>
                  <a:pt x="8618332" y="4032257"/>
                </a:cubicBezTo>
                <a:cubicBezTo>
                  <a:pt x="8620878" y="4036461"/>
                  <a:pt x="8623426" y="4040664"/>
                  <a:pt x="8629244" y="4045537"/>
                </a:cubicBezTo>
                <a:cubicBezTo>
                  <a:pt x="8616916" y="4072469"/>
                  <a:pt x="8607856" y="4100070"/>
                  <a:pt x="8594804" y="4130535"/>
                </a:cubicBezTo>
                <a:cubicBezTo>
                  <a:pt x="8582474" y="4157467"/>
                  <a:pt x="8572692" y="4188602"/>
                  <a:pt x="8558192" y="4226135"/>
                </a:cubicBezTo>
                <a:cubicBezTo>
                  <a:pt x="8566558" y="4235211"/>
                  <a:pt x="8578196" y="4244957"/>
                  <a:pt x="8586562" y="4254034"/>
                </a:cubicBezTo>
                <a:cubicBezTo>
                  <a:pt x="8580774" y="4282305"/>
                  <a:pt x="8576434" y="4303508"/>
                  <a:pt x="8572094" y="4324711"/>
                </a:cubicBezTo>
                <a:cubicBezTo>
                  <a:pt x="8591720" y="4328728"/>
                  <a:pt x="8611346" y="4332746"/>
                  <a:pt x="8637514" y="4338103"/>
                </a:cubicBezTo>
                <a:cubicBezTo>
                  <a:pt x="8642232" y="4331705"/>
                  <a:pt x="8654938" y="4319579"/>
                  <a:pt x="8667644" y="4307452"/>
                </a:cubicBezTo>
                <a:cubicBezTo>
                  <a:pt x="8679314" y="4350342"/>
                  <a:pt x="8659342" y="4364663"/>
                  <a:pt x="8632104" y="4381179"/>
                </a:cubicBezTo>
                <a:cubicBezTo>
                  <a:pt x="8623738" y="4372102"/>
                  <a:pt x="8617918" y="4367229"/>
                  <a:pt x="8605558" y="4361017"/>
                </a:cubicBezTo>
                <a:cubicBezTo>
                  <a:pt x="8591028" y="4365406"/>
                  <a:pt x="8573226" y="4369126"/>
                  <a:pt x="8551430" y="4375709"/>
                </a:cubicBezTo>
                <a:cubicBezTo>
                  <a:pt x="8548882" y="4371506"/>
                  <a:pt x="8543064" y="4366633"/>
                  <a:pt x="8535420" y="4354023"/>
                </a:cubicBezTo>
                <a:cubicBezTo>
                  <a:pt x="8520166" y="4361945"/>
                  <a:pt x="8508906" y="4367004"/>
                  <a:pt x="8493652" y="4374927"/>
                </a:cubicBezTo>
                <a:cubicBezTo>
                  <a:pt x="8498746" y="4383334"/>
                  <a:pt x="8500570" y="4391072"/>
                  <a:pt x="8510762" y="4407885"/>
                </a:cubicBezTo>
                <a:cubicBezTo>
                  <a:pt x="8466414" y="4391443"/>
                  <a:pt x="8439176" y="4407959"/>
                  <a:pt x="8421406" y="4444822"/>
                </a:cubicBezTo>
                <a:cubicBezTo>
                  <a:pt x="8411592" y="4442813"/>
                  <a:pt x="8398508" y="4440135"/>
                  <a:pt x="8385424" y="4437456"/>
                </a:cubicBezTo>
                <a:cubicBezTo>
                  <a:pt x="8377812" y="4457990"/>
                  <a:pt x="8373472" y="4479193"/>
                  <a:pt x="8365138" y="4503260"/>
                </a:cubicBezTo>
                <a:cubicBezTo>
                  <a:pt x="8354600" y="4504785"/>
                  <a:pt x="8344064" y="4506310"/>
                  <a:pt x="8333528" y="4507835"/>
                </a:cubicBezTo>
                <a:cubicBezTo>
                  <a:pt x="8341548" y="4535250"/>
                  <a:pt x="8352116" y="4566869"/>
                  <a:pt x="8363406" y="4594954"/>
                </a:cubicBezTo>
                <a:cubicBezTo>
                  <a:pt x="8359412" y="4597818"/>
                  <a:pt x="8351424" y="4603547"/>
                  <a:pt x="8340164" y="4608606"/>
                </a:cubicBezTo>
                <a:cubicBezTo>
                  <a:pt x="8325254" y="4598190"/>
                  <a:pt x="8307799" y="4583570"/>
                  <a:pt x="8287072" y="4568282"/>
                </a:cubicBezTo>
                <a:cubicBezTo>
                  <a:pt x="8293646" y="4602765"/>
                  <a:pt x="8300565" y="4618909"/>
                  <a:pt x="8323840" y="4638401"/>
                </a:cubicBezTo>
                <a:cubicBezTo>
                  <a:pt x="8312579" y="4643460"/>
                  <a:pt x="8303867" y="4652722"/>
                  <a:pt x="8295878" y="4658451"/>
                </a:cubicBezTo>
                <a:cubicBezTo>
                  <a:pt x="8272981" y="4653763"/>
                  <a:pt x="8253355" y="4649746"/>
                  <a:pt x="8230458" y="4645058"/>
                </a:cubicBezTo>
                <a:cubicBezTo>
                  <a:pt x="8217751" y="4657185"/>
                  <a:pt x="8205768" y="4665777"/>
                  <a:pt x="8185072" y="4683632"/>
                </a:cubicBezTo>
                <a:cubicBezTo>
                  <a:pt x="8203975" y="4691184"/>
                  <a:pt x="8216335" y="4697396"/>
                  <a:pt x="8225425" y="4702939"/>
                </a:cubicBezTo>
                <a:cubicBezTo>
                  <a:pt x="8190230" y="4758327"/>
                  <a:pt x="8132106" y="4775884"/>
                  <a:pt x="8079801" y="4798313"/>
                </a:cubicBezTo>
                <a:cubicBezTo>
                  <a:pt x="8072882" y="4782169"/>
                  <a:pt x="8069233" y="4766694"/>
                  <a:pt x="8065585" y="4751220"/>
                </a:cubicBezTo>
                <a:cubicBezTo>
                  <a:pt x="8070303" y="4744822"/>
                  <a:pt x="8077569" y="4742627"/>
                  <a:pt x="8082287" y="4736229"/>
                </a:cubicBezTo>
                <a:cubicBezTo>
                  <a:pt x="8070649" y="4726483"/>
                  <a:pt x="8059012" y="4716737"/>
                  <a:pt x="8050646" y="4707660"/>
                </a:cubicBezTo>
                <a:cubicBezTo>
                  <a:pt x="8039386" y="4712719"/>
                  <a:pt x="8028126" y="4717778"/>
                  <a:pt x="8009601" y="4725031"/>
                </a:cubicBezTo>
                <a:cubicBezTo>
                  <a:pt x="8021615" y="4749582"/>
                  <a:pt x="8031806" y="4766396"/>
                  <a:pt x="8038725" y="4782541"/>
                </a:cubicBezTo>
                <a:cubicBezTo>
                  <a:pt x="8034007" y="4788939"/>
                  <a:pt x="8026018" y="4794667"/>
                  <a:pt x="8018029" y="4800395"/>
                </a:cubicBezTo>
                <a:cubicBezTo>
                  <a:pt x="8030390" y="4806608"/>
                  <a:pt x="8039479" y="4812151"/>
                  <a:pt x="8054387" y="4822566"/>
                </a:cubicBezTo>
                <a:cubicBezTo>
                  <a:pt x="8035862" y="4829820"/>
                  <a:pt x="8024602" y="4834879"/>
                  <a:pt x="8012619" y="4843471"/>
                </a:cubicBezTo>
                <a:cubicBezTo>
                  <a:pt x="8010795" y="4835734"/>
                  <a:pt x="8011518" y="4832200"/>
                  <a:pt x="8008971" y="4827997"/>
                </a:cubicBezTo>
                <a:cubicBezTo>
                  <a:pt x="8004976" y="4830861"/>
                  <a:pt x="8000982" y="4833725"/>
                  <a:pt x="7996264" y="4840123"/>
                </a:cubicBezTo>
                <a:cubicBezTo>
                  <a:pt x="7961006" y="4829224"/>
                  <a:pt x="8002398" y="4793514"/>
                  <a:pt x="7980947" y="4781758"/>
                </a:cubicBezTo>
                <a:cubicBezTo>
                  <a:pt x="7977676" y="4781089"/>
                  <a:pt x="7971134" y="4779750"/>
                  <a:pt x="7964592" y="4778410"/>
                </a:cubicBezTo>
                <a:cubicBezTo>
                  <a:pt x="7963869" y="4781944"/>
                  <a:pt x="7955880" y="4787672"/>
                  <a:pt x="7955157" y="4791206"/>
                </a:cubicBezTo>
                <a:cubicBezTo>
                  <a:pt x="7956257" y="4802478"/>
                  <a:pt x="7958081" y="4810215"/>
                  <a:pt x="7961730" y="4825689"/>
                </a:cubicBezTo>
                <a:cubicBezTo>
                  <a:pt x="7953741" y="4831418"/>
                  <a:pt x="7942481" y="4836476"/>
                  <a:pt x="7931221" y="4841536"/>
                </a:cubicBezTo>
                <a:cubicBezTo>
                  <a:pt x="7933423" y="4864078"/>
                  <a:pt x="7933076" y="4882417"/>
                  <a:pt x="7935278" y="4904959"/>
                </a:cubicBezTo>
                <a:cubicBezTo>
                  <a:pt x="7900051" y="4927203"/>
                  <a:pt x="7880833" y="4971134"/>
                  <a:pt x="7836140" y="4973031"/>
                </a:cubicBezTo>
                <a:cubicBezTo>
                  <a:pt x="7832492" y="4957556"/>
                  <a:pt x="7824849" y="4944946"/>
                  <a:pt x="7827019" y="4934344"/>
                </a:cubicBezTo>
                <a:cubicBezTo>
                  <a:pt x="7827365" y="4916005"/>
                  <a:pt x="7830983" y="4898336"/>
                  <a:pt x="7837494" y="4866531"/>
                </a:cubicBezTo>
                <a:cubicBezTo>
                  <a:pt x="7816798" y="4884386"/>
                  <a:pt x="7805538" y="4889445"/>
                  <a:pt x="7804815" y="4892979"/>
                </a:cubicBezTo>
                <a:cubicBezTo>
                  <a:pt x="7804846" y="4926123"/>
                  <a:pt x="7807771" y="4945131"/>
                  <a:pt x="7809972" y="4967674"/>
                </a:cubicBezTo>
                <a:cubicBezTo>
                  <a:pt x="7816514" y="4969013"/>
                  <a:pt x="7826327" y="4971022"/>
                  <a:pt x="7836140" y="4973031"/>
                </a:cubicBezTo>
                <a:cubicBezTo>
                  <a:pt x="7778771" y="5020197"/>
                  <a:pt x="7729768" y="5076441"/>
                  <a:pt x="7662932" y="5103260"/>
                </a:cubicBezTo>
                <a:cubicBezTo>
                  <a:pt x="7661108" y="5095522"/>
                  <a:pt x="7655290" y="5090649"/>
                  <a:pt x="7650918" y="5078708"/>
                </a:cubicBezTo>
                <a:cubicBezTo>
                  <a:pt x="7636387" y="5083097"/>
                  <a:pt x="7621856" y="5087487"/>
                  <a:pt x="7606602" y="5095410"/>
                </a:cubicBezTo>
                <a:cubicBezTo>
                  <a:pt x="7607325" y="5091876"/>
                  <a:pt x="7607325" y="5091876"/>
                  <a:pt x="7610596" y="5092546"/>
                </a:cubicBezTo>
                <a:cubicBezTo>
                  <a:pt x="7605501" y="5084138"/>
                  <a:pt x="7602954" y="5079935"/>
                  <a:pt x="7600406" y="5075731"/>
                </a:cubicBezTo>
                <a:cubicBezTo>
                  <a:pt x="7600406" y="5075731"/>
                  <a:pt x="7596411" y="5078596"/>
                  <a:pt x="7596411" y="5078596"/>
                </a:cubicBezTo>
                <a:cubicBezTo>
                  <a:pt x="7598959" y="5082799"/>
                  <a:pt x="7600783" y="5090537"/>
                  <a:pt x="7606602" y="5095410"/>
                </a:cubicBezTo>
                <a:cubicBezTo>
                  <a:pt x="7605878" y="5098943"/>
                  <a:pt x="7604431" y="5106011"/>
                  <a:pt x="7603708" y="5109545"/>
                </a:cubicBezTo>
                <a:cubicBezTo>
                  <a:pt x="7589901" y="5110400"/>
                  <a:pt x="7575369" y="5114790"/>
                  <a:pt x="7558291" y="5114975"/>
                </a:cubicBezTo>
                <a:cubicBezTo>
                  <a:pt x="7556467" y="5107238"/>
                  <a:pt x="7555367" y="5095967"/>
                  <a:pt x="7550618" y="5069221"/>
                </a:cubicBezTo>
                <a:cubicBezTo>
                  <a:pt x="7544830" y="5097492"/>
                  <a:pt x="7541213" y="5115161"/>
                  <a:pt x="7537596" y="5132830"/>
                </a:cubicBezTo>
                <a:cubicBezTo>
                  <a:pt x="7553951" y="5136178"/>
                  <a:pt x="7567035" y="5138857"/>
                  <a:pt x="7580119" y="5141535"/>
                </a:cubicBezTo>
                <a:cubicBezTo>
                  <a:pt x="7577949" y="5152137"/>
                  <a:pt x="7575055" y="5166272"/>
                  <a:pt x="7567066" y="5172001"/>
                </a:cubicBezTo>
                <a:cubicBezTo>
                  <a:pt x="7542376" y="5192720"/>
                  <a:pt x="7517686" y="5213439"/>
                  <a:pt x="7489725" y="5233488"/>
                </a:cubicBezTo>
                <a:cubicBezTo>
                  <a:pt x="7473370" y="5230140"/>
                  <a:pt x="7453743" y="5226122"/>
                  <a:pt x="7430847" y="5221435"/>
                </a:cubicBezTo>
                <a:cubicBezTo>
                  <a:pt x="7425783" y="5246172"/>
                  <a:pt x="7421442" y="5267375"/>
                  <a:pt x="7416378" y="5292112"/>
                </a:cubicBezTo>
                <a:cubicBezTo>
                  <a:pt x="7393481" y="5287425"/>
                  <a:pt x="7373855" y="5283407"/>
                  <a:pt x="7354228" y="5279389"/>
                </a:cubicBezTo>
                <a:cubicBezTo>
                  <a:pt x="7358569" y="5258186"/>
                  <a:pt x="7362186" y="5240517"/>
                  <a:pt x="7365803" y="5222847"/>
                </a:cubicBezTo>
                <a:cubicBezTo>
                  <a:pt x="7360708" y="5214441"/>
                  <a:pt x="7358161" y="5210237"/>
                  <a:pt x="7351619" y="5208898"/>
                </a:cubicBezTo>
                <a:cubicBezTo>
                  <a:pt x="7330169" y="5197143"/>
                  <a:pt x="7304724" y="5188252"/>
                  <a:pt x="7276008" y="5178692"/>
                </a:cubicBezTo>
                <a:cubicBezTo>
                  <a:pt x="7276008" y="5178692"/>
                  <a:pt x="7268743" y="5180886"/>
                  <a:pt x="7260754" y="5186614"/>
                </a:cubicBezTo>
                <a:cubicBezTo>
                  <a:pt x="7250564" y="5169800"/>
                  <a:pt x="7236379" y="5155851"/>
                  <a:pt x="7217823" y="5129961"/>
                </a:cubicBezTo>
                <a:cubicBezTo>
                  <a:pt x="7209865" y="5168833"/>
                  <a:pt x="7204078" y="5197104"/>
                  <a:pt x="7198290" y="5225374"/>
                </a:cubicBezTo>
                <a:cubicBezTo>
                  <a:pt x="7198290" y="5225374"/>
                  <a:pt x="7200837" y="5229578"/>
                  <a:pt x="7200837" y="5229578"/>
                </a:cubicBezTo>
                <a:cubicBezTo>
                  <a:pt x="7204108" y="5230247"/>
                  <a:pt x="7204832" y="5226713"/>
                  <a:pt x="7208103" y="5227383"/>
                </a:cubicBezTo>
                <a:cubicBezTo>
                  <a:pt x="7212097" y="5224519"/>
                  <a:pt x="7216092" y="5221654"/>
                  <a:pt x="7223357" y="5219460"/>
                </a:cubicBezTo>
                <a:cubicBezTo>
                  <a:pt x="7229930" y="5253943"/>
                  <a:pt x="7214330" y="5280205"/>
                  <a:pt x="7195458" y="5305797"/>
                </a:cubicBezTo>
                <a:cubicBezTo>
                  <a:pt x="7183821" y="5296051"/>
                  <a:pt x="7171461" y="5289839"/>
                  <a:pt x="7162371" y="5284296"/>
                </a:cubicBezTo>
                <a:cubicBezTo>
                  <a:pt x="7153282" y="5278753"/>
                  <a:pt x="7144192" y="5273211"/>
                  <a:pt x="7131831" y="5266998"/>
                </a:cubicBezTo>
                <a:cubicBezTo>
                  <a:pt x="7146362" y="5262609"/>
                  <a:pt x="7157622" y="5257550"/>
                  <a:pt x="7172153" y="5253161"/>
                </a:cubicBezTo>
                <a:cubicBezTo>
                  <a:pt x="7173600" y="5246093"/>
                  <a:pt x="7171776" y="5238356"/>
                  <a:pt x="7174670" y="5224221"/>
                </a:cubicBezTo>
                <a:cubicBezTo>
                  <a:pt x="7163410" y="5229280"/>
                  <a:pt x="7159415" y="5232144"/>
                  <a:pt x="7151426" y="5237872"/>
                </a:cubicBezTo>
                <a:cubicBezTo>
                  <a:pt x="7144507" y="5221728"/>
                  <a:pt x="7136864" y="5209118"/>
                  <a:pt x="7129945" y="5192973"/>
                </a:cubicBezTo>
                <a:cubicBezTo>
                  <a:pt x="7093995" y="5218751"/>
                  <a:pt x="7110004" y="5240438"/>
                  <a:pt x="7118747" y="5264320"/>
                </a:cubicBezTo>
                <a:cubicBezTo>
                  <a:pt x="7103870" y="5287048"/>
                  <a:pt x="7091541" y="5313979"/>
                  <a:pt x="7076664" y="5336707"/>
                </a:cubicBezTo>
                <a:cubicBezTo>
                  <a:pt x="7058484" y="5325622"/>
                  <a:pt x="7043576" y="5315206"/>
                  <a:pt x="7025397" y="5304120"/>
                </a:cubicBezTo>
                <a:cubicBezTo>
                  <a:pt x="6996713" y="5327704"/>
                  <a:pt x="6968751" y="5347753"/>
                  <a:pt x="6936073" y="5374201"/>
                </a:cubicBezTo>
                <a:cubicBezTo>
                  <a:pt x="6962964" y="5376024"/>
                  <a:pt x="6976048" y="5378703"/>
                  <a:pt x="7006210" y="5381195"/>
                </a:cubicBezTo>
                <a:cubicBezTo>
                  <a:pt x="6972085" y="5414711"/>
                  <a:pt x="6947394" y="5435430"/>
                  <a:pt x="6917987" y="5462547"/>
                </a:cubicBezTo>
                <a:cubicBezTo>
                  <a:pt x="6940160" y="5470768"/>
                  <a:pt x="6952521" y="5476981"/>
                  <a:pt x="6971423" y="5484532"/>
                </a:cubicBezTo>
                <a:cubicBezTo>
                  <a:pt x="6967806" y="5502201"/>
                  <a:pt x="6963466" y="5523405"/>
                  <a:pt x="6959125" y="5544607"/>
                </a:cubicBezTo>
                <a:cubicBezTo>
                  <a:pt x="6951136" y="5550336"/>
                  <a:pt x="6943148" y="5556064"/>
                  <a:pt x="6931164" y="5564657"/>
                </a:cubicBezTo>
                <a:cubicBezTo>
                  <a:pt x="6926069" y="5556250"/>
                  <a:pt x="6923521" y="5552046"/>
                  <a:pt x="6918426" y="5543640"/>
                </a:cubicBezTo>
                <a:cubicBezTo>
                  <a:pt x="6895906" y="5553757"/>
                  <a:pt x="6872663" y="5567409"/>
                  <a:pt x="6846149" y="5580390"/>
                </a:cubicBezTo>
                <a:cubicBezTo>
                  <a:pt x="6853068" y="5596535"/>
                  <a:pt x="6858163" y="5604942"/>
                  <a:pt x="6859264" y="5616213"/>
                </a:cubicBezTo>
                <a:cubicBezTo>
                  <a:pt x="6851275" y="5621941"/>
                  <a:pt x="6843286" y="5627670"/>
                  <a:pt x="6830579" y="5639796"/>
                </a:cubicBezTo>
                <a:cubicBezTo>
                  <a:pt x="6818942" y="5630050"/>
                  <a:pt x="6807305" y="5620304"/>
                  <a:pt x="6792397" y="5609888"/>
                </a:cubicBezTo>
                <a:cubicBezTo>
                  <a:pt x="6777143" y="5617811"/>
                  <a:pt x="6761889" y="5625734"/>
                  <a:pt x="6741916" y="5640055"/>
                </a:cubicBezTo>
                <a:cubicBezTo>
                  <a:pt x="6746257" y="5618852"/>
                  <a:pt x="6745880" y="5604047"/>
                  <a:pt x="6746226" y="5585708"/>
                </a:cubicBezTo>
                <a:cubicBezTo>
                  <a:pt x="6649574" y="5591696"/>
                  <a:pt x="6575126" y="5639048"/>
                  <a:pt x="6537414" y="5723376"/>
                </a:cubicBezTo>
                <a:cubicBezTo>
                  <a:pt x="6522883" y="5727766"/>
                  <a:pt x="6505805" y="5727951"/>
                  <a:pt x="6488726" y="5728137"/>
                </a:cubicBezTo>
                <a:cubicBezTo>
                  <a:pt x="6486179" y="5723933"/>
                  <a:pt x="6481084" y="5715526"/>
                  <a:pt x="6466899" y="5701577"/>
                </a:cubicBezTo>
                <a:cubicBezTo>
                  <a:pt x="6449851" y="5734906"/>
                  <a:pt x="6430980" y="5760498"/>
                  <a:pt x="6410661" y="5793158"/>
                </a:cubicBezTo>
                <a:cubicBezTo>
                  <a:pt x="6391759" y="5785607"/>
                  <a:pt x="6369585" y="5777385"/>
                  <a:pt x="6347412" y="5769164"/>
                </a:cubicBezTo>
                <a:cubicBezTo>
                  <a:pt x="6330365" y="5802494"/>
                  <a:pt x="6309323" y="5838688"/>
                  <a:pt x="6287557" y="5878415"/>
                </a:cubicBezTo>
                <a:cubicBezTo>
                  <a:pt x="6287557" y="5878415"/>
                  <a:pt x="6288281" y="5874882"/>
                  <a:pt x="6285010" y="5874212"/>
                </a:cubicBezTo>
                <a:cubicBezTo>
                  <a:pt x="6281015" y="5877076"/>
                  <a:pt x="6277021" y="5879940"/>
                  <a:pt x="6269032" y="5885669"/>
                </a:cubicBezTo>
                <a:cubicBezTo>
                  <a:pt x="6272303" y="5886338"/>
                  <a:pt x="6271579" y="5889872"/>
                  <a:pt x="6274851" y="5890542"/>
                </a:cubicBezTo>
                <a:cubicBezTo>
                  <a:pt x="6278845" y="5887678"/>
                  <a:pt x="6283563" y="5881279"/>
                  <a:pt x="6287557" y="5878415"/>
                </a:cubicBezTo>
                <a:cubicBezTo>
                  <a:pt x="6290828" y="5879085"/>
                  <a:pt x="6300641" y="5881094"/>
                  <a:pt x="6300641" y="5881094"/>
                </a:cubicBezTo>
                <a:cubicBezTo>
                  <a:pt x="6313348" y="5868967"/>
                  <a:pt x="6322784" y="5856171"/>
                  <a:pt x="6334044" y="5851112"/>
                </a:cubicBezTo>
                <a:cubicBezTo>
                  <a:pt x="6346027" y="5842519"/>
                  <a:pt x="6360558" y="5838131"/>
                  <a:pt x="6370371" y="5840139"/>
                </a:cubicBezTo>
                <a:cubicBezTo>
                  <a:pt x="6392545" y="5848361"/>
                  <a:pt x="6394338" y="5822954"/>
                  <a:pt x="6402327" y="5817226"/>
                </a:cubicBezTo>
                <a:cubicBezTo>
                  <a:pt x="6424846" y="5807108"/>
                  <a:pt x="6448467" y="5808262"/>
                  <a:pt x="6470263" y="5801678"/>
                </a:cubicBezTo>
                <a:cubicBezTo>
                  <a:pt x="6450668" y="5830804"/>
                  <a:pt x="6431797" y="5856396"/>
                  <a:pt x="6408207" y="5888387"/>
                </a:cubicBezTo>
                <a:cubicBezTo>
                  <a:pt x="6399841" y="5879310"/>
                  <a:pt x="6391475" y="5870234"/>
                  <a:pt x="6377290" y="5856284"/>
                </a:cubicBezTo>
                <a:cubicBezTo>
                  <a:pt x="6376944" y="5874622"/>
                  <a:pt x="6377322" y="5889427"/>
                  <a:pt x="6376252" y="5911300"/>
                </a:cubicBezTo>
                <a:cubicBezTo>
                  <a:pt x="6355210" y="5947494"/>
                  <a:pt x="6306522" y="5952255"/>
                  <a:pt x="6273120" y="5982236"/>
                </a:cubicBezTo>
                <a:cubicBezTo>
                  <a:pt x="6268402" y="5988634"/>
                  <a:pt x="6252770" y="5981752"/>
                  <a:pt x="6239687" y="5979074"/>
                </a:cubicBezTo>
                <a:cubicBezTo>
                  <a:pt x="6225532" y="5998268"/>
                  <a:pt x="6210655" y="6020996"/>
                  <a:pt x="6192508" y="6043054"/>
                </a:cubicBezTo>
                <a:cubicBezTo>
                  <a:pt x="6179424" y="6040376"/>
                  <a:pt x="6166339" y="6037697"/>
                  <a:pt x="6153255" y="6035019"/>
                </a:cubicBezTo>
                <a:cubicBezTo>
                  <a:pt x="6158319" y="6010282"/>
                  <a:pt x="6162660" y="5989079"/>
                  <a:pt x="6167724" y="5964342"/>
                </a:cubicBezTo>
                <a:cubicBezTo>
                  <a:pt x="6125201" y="5955637"/>
                  <a:pt x="6097240" y="5975686"/>
                  <a:pt x="6068556" y="5999270"/>
                </a:cubicBezTo>
                <a:cubicBezTo>
                  <a:pt x="6063460" y="5990862"/>
                  <a:pt x="6060913" y="5986659"/>
                  <a:pt x="6055818" y="5978252"/>
                </a:cubicBezTo>
                <a:cubicBezTo>
                  <a:pt x="6052547" y="5977582"/>
                  <a:pt x="6048552" y="5980447"/>
                  <a:pt x="6047829" y="5983981"/>
                </a:cubicBezTo>
                <a:cubicBezTo>
                  <a:pt x="6038424" y="6029920"/>
                  <a:pt x="6015212" y="6076716"/>
                  <a:pt x="6031252" y="6131547"/>
                </a:cubicBezTo>
                <a:cubicBezTo>
                  <a:pt x="5976777" y="6164578"/>
                  <a:pt x="5922301" y="6197609"/>
                  <a:pt x="5863832" y="6233505"/>
                </a:cubicBezTo>
                <a:cubicBezTo>
                  <a:pt x="5854019" y="6231496"/>
                  <a:pt x="5840935" y="6228817"/>
                  <a:pt x="5827850" y="6226139"/>
                </a:cubicBezTo>
                <a:cubicBezTo>
                  <a:pt x="5827850" y="6226139"/>
                  <a:pt x="5827850" y="6226139"/>
                  <a:pt x="5831122" y="6226808"/>
                </a:cubicBezTo>
                <a:cubicBezTo>
                  <a:pt x="5829297" y="6219071"/>
                  <a:pt x="5823479" y="6214198"/>
                  <a:pt x="5820931" y="6209994"/>
                </a:cubicBezTo>
                <a:cubicBezTo>
                  <a:pt x="5820931" y="6209994"/>
                  <a:pt x="5816936" y="6212859"/>
                  <a:pt x="5816936" y="6212859"/>
                </a:cubicBezTo>
                <a:cubicBezTo>
                  <a:pt x="5819484" y="6217062"/>
                  <a:pt x="5821309" y="6224799"/>
                  <a:pt x="5827850" y="6226139"/>
                </a:cubicBezTo>
                <a:cubicBezTo>
                  <a:pt x="5816245" y="6249536"/>
                  <a:pt x="5805362" y="6269400"/>
                  <a:pt x="5793756" y="6292798"/>
                </a:cubicBezTo>
                <a:cubicBezTo>
                  <a:pt x="5766141" y="6294509"/>
                  <a:pt x="5738526" y="6296219"/>
                  <a:pt x="5714905" y="6295066"/>
                </a:cubicBezTo>
                <a:cubicBezTo>
                  <a:pt x="5712358" y="6290862"/>
                  <a:pt x="5709810" y="6286659"/>
                  <a:pt x="5711257" y="6279591"/>
                </a:cubicBezTo>
                <a:cubicBezTo>
                  <a:pt x="5706539" y="6285989"/>
                  <a:pt x="5702545" y="6288854"/>
                  <a:pt x="5698551" y="6291718"/>
                </a:cubicBezTo>
                <a:cubicBezTo>
                  <a:pt x="5666218" y="6299826"/>
                  <a:pt x="5673137" y="6315971"/>
                  <a:pt x="5689146" y="6337657"/>
                </a:cubicBezTo>
                <a:cubicBezTo>
                  <a:pt x="5661908" y="6354173"/>
                  <a:pt x="5637942" y="6371359"/>
                  <a:pt x="5610704" y="6387874"/>
                </a:cubicBezTo>
                <a:cubicBezTo>
                  <a:pt x="5610704" y="6387874"/>
                  <a:pt x="5611427" y="6384340"/>
                  <a:pt x="5611427" y="6384340"/>
                </a:cubicBezTo>
                <a:cubicBezTo>
                  <a:pt x="5608880" y="6380137"/>
                  <a:pt x="5607056" y="6372400"/>
                  <a:pt x="5604508" y="6368196"/>
                </a:cubicBezTo>
                <a:cubicBezTo>
                  <a:pt x="5601237" y="6367527"/>
                  <a:pt x="5600513" y="6371060"/>
                  <a:pt x="5596519" y="6373924"/>
                </a:cubicBezTo>
                <a:cubicBezTo>
                  <a:pt x="5602338" y="6378798"/>
                  <a:pt x="5604885" y="6383001"/>
                  <a:pt x="5610704" y="6387874"/>
                </a:cubicBezTo>
                <a:cubicBezTo>
                  <a:pt x="5582743" y="6407924"/>
                  <a:pt x="5554058" y="6431507"/>
                  <a:pt x="5514114" y="6460149"/>
                </a:cubicBezTo>
                <a:cubicBezTo>
                  <a:pt x="5510843" y="6459480"/>
                  <a:pt x="5494488" y="6456132"/>
                  <a:pt x="5478856" y="6449249"/>
                </a:cubicBezTo>
                <a:cubicBezTo>
                  <a:pt x="5481750" y="6435114"/>
                  <a:pt x="5484644" y="6420979"/>
                  <a:pt x="5487538" y="6406843"/>
                </a:cubicBezTo>
                <a:cubicBezTo>
                  <a:pt x="5483543" y="6409707"/>
                  <a:pt x="5478825" y="6416106"/>
                  <a:pt x="5471560" y="6418300"/>
                </a:cubicBezTo>
                <a:cubicBezTo>
                  <a:pt x="5471182" y="6403495"/>
                  <a:pt x="5470805" y="6388690"/>
                  <a:pt x="5470428" y="6373885"/>
                </a:cubicBezTo>
                <a:cubicBezTo>
                  <a:pt x="5469704" y="6377419"/>
                  <a:pt x="5466433" y="6376749"/>
                  <a:pt x="5465710" y="6380283"/>
                </a:cubicBezTo>
                <a:cubicBezTo>
                  <a:pt x="5459922" y="6408554"/>
                  <a:pt x="5454135" y="6436825"/>
                  <a:pt x="5448347" y="6465095"/>
                </a:cubicBezTo>
                <a:cubicBezTo>
                  <a:pt x="5459607" y="6460036"/>
                  <a:pt x="5467596" y="6454308"/>
                  <a:pt x="5478856" y="6449249"/>
                </a:cubicBezTo>
                <a:cubicBezTo>
                  <a:pt x="5466558" y="6509325"/>
                  <a:pt x="5423311" y="6504153"/>
                  <a:pt x="5385160" y="6507389"/>
                </a:cubicBezTo>
                <a:cubicBezTo>
                  <a:pt x="5391325" y="6493923"/>
                  <a:pt x="5400037" y="6484661"/>
                  <a:pt x="5406202" y="6471195"/>
                </a:cubicBezTo>
                <a:cubicBezTo>
                  <a:pt x="5405478" y="6474729"/>
                  <a:pt x="5408749" y="6475399"/>
                  <a:pt x="5408749" y="6475399"/>
                </a:cubicBezTo>
                <a:cubicBezTo>
                  <a:pt x="5412744" y="6472535"/>
                  <a:pt x="5420009" y="6470340"/>
                  <a:pt x="5424003" y="6467476"/>
                </a:cubicBezTo>
                <a:cubicBezTo>
                  <a:pt x="5424727" y="6463942"/>
                  <a:pt x="5421456" y="6463272"/>
                  <a:pt x="5422180" y="6459739"/>
                </a:cubicBezTo>
                <a:cubicBezTo>
                  <a:pt x="5414914" y="6461933"/>
                  <a:pt x="5410196" y="6468331"/>
                  <a:pt x="5406202" y="6471195"/>
                </a:cubicBezTo>
                <a:cubicBezTo>
                  <a:pt x="5399282" y="6455051"/>
                  <a:pt x="5389815" y="6434704"/>
                  <a:pt x="5377801" y="6410152"/>
                </a:cubicBezTo>
                <a:cubicBezTo>
                  <a:pt x="5346223" y="6447871"/>
                  <a:pt x="5294987" y="6448428"/>
                  <a:pt x="5267058" y="6501621"/>
                </a:cubicBezTo>
                <a:cubicBezTo>
                  <a:pt x="5268882" y="6509359"/>
                  <a:pt x="5273253" y="6521300"/>
                  <a:pt x="5277625" y="6533240"/>
                </a:cubicBezTo>
                <a:cubicBezTo>
                  <a:pt x="5266742" y="6553104"/>
                  <a:pt x="5254413" y="6580036"/>
                  <a:pt x="5239536" y="6602764"/>
                </a:cubicBezTo>
                <a:cubicBezTo>
                  <a:pt x="5232994" y="6601424"/>
                  <a:pt x="5226452" y="6600085"/>
                  <a:pt x="5219910" y="6598746"/>
                </a:cubicBezTo>
                <a:cubicBezTo>
                  <a:pt x="5198806" y="6568652"/>
                  <a:pt x="5260924" y="6548231"/>
                  <a:pt x="5223465" y="6514789"/>
                </a:cubicBezTo>
                <a:cubicBezTo>
                  <a:pt x="5176224" y="6512482"/>
                  <a:pt x="5156660" y="6574752"/>
                  <a:pt x="5109073" y="6590784"/>
                </a:cubicBezTo>
                <a:cubicBezTo>
                  <a:pt x="5145054" y="6598149"/>
                  <a:pt x="5145054" y="6598149"/>
                  <a:pt x="5190817" y="6574381"/>
                </a:cubicBezTo>
                <a:cubicBezTo>
                  <a:pt x="5197013" y="6594058"/>
                  <a:pt x="5200661" y="6609533"/>
                  <a:pt x="5206857" y="6629211"/>
                </a:cubicBezTo>
                <a:cubicBezTo>
                  <a:pt x="5183614" y="6642863"/>
                  <a:pt x="5159647" y="6660048"/>
                  <a:pt x="5131686" y="6680097"/>
                </a:cubicBezTo>
                <a:cubicBezTo>
                  <a:pt x="5125144" y="6678758"/>
                  <a:pt x="5112060" y="6676080"/>
                  <a:pt x="5095705" y="6672731"/>
                </a:cubicBezTo>
                <a:cubicBezTo>
                  <a:pt x="5100077" y="6684672"/>
                  <a:pt x="5105172" y="6693079"/>
                  <a:pt x="5109543" y="6705020"/>
                </a:cubicBezTo>
                <a:cubicBezTo>
                  <a:pt x="5093188" y="6701672"/>
                  <a:pt x="5079381" y="6702527"/>
                  <a:pt x="5062303" y="6702713"/>
                </a:cubicBezTo>
                <a:cubicBezTo>
                  <a:pt x="5042157" y="6726203"/>
                  <a:pt x="5019765" y="6751305"/>
                  <a:pt x="4988213" y="6762623"/>
                </a:cubicBezTo>
                <a:lnTo>
                  <a:pt x="4963236" y="6767031"/>
                </a:lnTo>
                <a:lnTo>
                  <a:pt x="4963857" y="6734107"/>
                </a:lnTo>
                <a:cubicBezTo>
                  <a:pt x="4960586" y="6733437"/>
                  <a:pt x="4956592" y="6736301"/>
                  <a:pt x="4953321" y="6735631"/>
                </a:cubicBezTo>
                <a:cubicBezTo>
                  <a:pt x="4951150" y="6746233"/>
                  <a:pt x="4948980" y="6756835"/>
                  <a:pt x="4953352" y="6768776"/>
                </a:cubicBezTo>
                <a:cubicBezTo>
                  <a:pt x="4957000" y="6784250"/>
                  <a:pt x="4954830" y="6794852"/>
                  <a:pt x="4952660" y="6805453"/>
                </a:cubicBezTo>
                <a:cubicBezTo>
                  <a:pt x="4890511" y="6792730"/>
                  <a:pt x="4891234" y="6789196"/>
                  <a:pt x="4901708" y="6721384"/>
                </a:cubicBezTo>
                <a:cubicBezTo>
                  <a:pt x="4901708" y="6721384"/>
                  <a:pt x="4904979" y="6722053"/>
                  <a:pt x="4904256" y="6725587"/>
                </a:cubicBezTo>
                <a:cubicBezTo>
                  <a:pt x="4908250" y="6722723"/>
                  <a:pt x="4916239" y="6716995"/>
                  <a:pt x="4920233" y="6714130"/>
                </a:cubicBezTo>
                <a:cubicBezTo>
                  <a:pt x="4916963" y="6713461"/>
                  <a:pt x="4917686" y="6709927"/>
                  <a:pt x="4914415" y="6709257"/>
                </a:cubicBezTo>
                <a:cubicBezTo>
                  <a:pt x="4910420" y="6712121"/>
                  <a:pt x="4906426" y="6714986"/>
                  <a:pt x="4901708" y="6721384"/>
                </a:cubicBezTo>
                <a:cubicBezTo>
                  <a:pt x="4882082" y="6717366"/>
                  <a:pt x="4862456" y="6713348"/>
                  <a:pt x="4839559" y="6708661"/>
                </a:cubicBezTo>
                <a:cubicBezTo>
                  <a:pt x="4835218" y="6729864"/>
                  <a:pt x="4831601" y="6747533"/>
                  <a:pt x="4830532" y="6769406"/>
                </a:cubicBezTo>
                <a:cubicBezTo>
                  <a:pt x="4819618" y="6756126"/>
                  <a:pt x="4811252" y="6747049"/>
                  <a:pt x="4806156" y="6738642"/>
                </a:cubicBezTo>
                <a:cubicBezTo>
                  <a:pt x="4796375" y="6769777"/>
                  <a:pt x="4752782" y="6782945"/>
                  <a:pt x="4772439" y="6820106"/>
                </a:cubicBezTo>
                <a:cubicBezTo>
                  <a:pt x="4792411" y="6805785"/>
                  <a:pt x="4809112" y="6790795"/>
                  <a:pt x="4830532" y="6769406"/>
                </a:cubicBezTo>
                <a:cubicBezTo>
                  <a:pt x="4841792" y="6764347"/>
                  <a:pt x="4854875" y="6767025"/>
                  <a:pt x="4874502" y="6771043"/>
                </a:cubicBezTo>
                <a:cubicBezTo>
                  <a:pt x="4884692" y="6787857"/>
                  <a:pt x="4893435" y="6811739"/>
                  <a:pt x="4906173" y="6832756"/>
                </a:cubicBezTo>
                <a:cubicBezTo>
                  <a:pt x="4921427" y="6824833"/>
                  <a:pt x="4937405" y="6813376"/>
                  <a:pt x="4952660" y="6805453"/>
                </a:cubicBezTo>
                <a:cubicBezTo>
                  <a:pt x="4991534" y="6798683"/>
                  <a:pt x="5027485" y="6772906"/>
                  <a:pt x="5067114" y="6795746"/>
                </a:cubicBezTo>
                <a:cubicBezTo>
                  <a:pt x="5087401" y="6729942"/>
                  <a:pt x="5144109" y="6752597"/>
                  <a:pt x="5180782" y="6723285"/>
                </a:cubicBezTo>
                <a:cubicBezTo>
                  <a:pt x="5211322" y="6740583"/>
                  <a:pt x="5230193" y="6714991"/>
                  <a:pt x="5253437" y="6701340"/>
                </a:cubicBezTo>
                <a:cubicBezTo>
                  <a:pt x="5283222" y="6689027"/>
                  <a:pt x="5311183" y="6668978"/>
                  <a:pt x="5338421" y="6652462"/>
                </a:cubicBezTo>
                <a:cubicBezTo>
                  <a:pt x="5368206" y="6640150"/>
                  <a:pt x="5399815" y="6635575"/>
                  <a:pt x="5427053" y="6619059"/>
                </a:cubicBezTo>
                <a:cubicBezTo>
                  <a:pt x="5484799" y="6586698"/>
                  <a:pt x="5544370" y="6562073"/>
                  <a:pt x="5600669" y="6536780"/>
                </a:cubicBezTo>
                <a:cubicBezTo>
                  <a:pt x="5648980" y="6517214"/>
                  <a:pt x="5696567" y="6501182"/>
                  <a:pt x="5743431" y="6488684"/>
                </a:cubicBezTo>
                <a:cubicBezTo>
                  <a:pt x="5754690" y="6483626"/>
                  <a:pt x="5769599" y="6494041"/>
                  <a:pt x="5782682" y="6496720"/>
                </a:cubicBezTo>
                <a:cubicBezTo>
                  <a:pt x="5824074" y="6461010"/>
                  <a:pt x="5866566" y="6436571"/>
                  <a:pt x="5917424" y="6421209"/>
                </a:cubicBezTo>
                <a:cubicBezTo>
                  <a:pt x="5949033" y="6416634"/>
                  <a:pt x="5971899" y="6388178"/>
                  <a:pt x="6006056" y="6387806"/>
                </a:cubicBezTo>
                <a:cubicBezTo>
                  <a:pt x="6033671" y="6386096"/>
                  <a:pt x="6059085" y="6361843"/>
                  <a:pt x="6083051" y="6344657"/>
                </a:cubicBezTo>
                <a:cubicBezTo>
                  <a:pt x="6114283" y="6325277"/>
                  <a:pt x="6147717" y="6328440"/>
                  <a:pt x="6176779" y="6319662"/>
                </a:cubicBezTo>
                <a:cubicBezTo>
                  <a:pt x="6202570" y="6310214"/>
                  <a:pt x="6223612" y="6274020"/>
                  <a:pt x="6256699" y="6295521"/>
                </a:cubicBezTo>
                <a:cubicBezTo>
                  <a:pt x="6312998" y="6270227"/>
                  <a:pt x="6369298" y="6244933"/>
                  <a:pt x="6425597" y="6219639"/>
                </a:cubicBezTo>
                <a:cubicBezTo>
                  <a:pt x="6432863" y="6217445"/>
                  <a:pt x="6442298" y="6204648"/>
                  <a:pt x="6445569" y="6205318"/>
                </a:cubicBezTo>
                <a:cubicBezTo>
                  <a:pt x="6502277" y="6227973"/>
                  <a:pt x="6547663" y="6189399"/>
                  <a:pt x="6594149" y="6162096"/>
                </a:cubicBezTo>
                <a:cubicBezTo>
                  <a:pt x="6605409" y="6157037"/>
                  <a:pt x="6620663" y="6149114"/>
                  <a:pt x="6630476" y="6151123"/>
                </a:cubicBezTo>
                <a:cubicBezTo>
                  <a:pt x="6665734" y="6162023"/>
                  <a:pt x="6700237" y="6143313"/>
                  <a:pt x="6733671" y="6146475"/>
                </a:cubicBezTo>
                <a:cubicBezTo>
                  <a:pt x="6748894" y="6105408"/>
                  <a:pt x="6786699" y="6120511"/>
                  <a:pt x="6810666" y="6103326"/>
                </a:cubicBezTo>
                <a:cubicBezTo>
                  <a:pt x="6842621" y="6080412"/>
                  <a:pt x="6874954" y="6072303"/>
                  <a:pt x="6914930" y="6076805"/>
                </a:cubicBezTo>
                <a:cubicBezTo>
                  <a:pt x="6931285" y="6080153"/>
                  <a:pt x="6949810" y="6072900"/>
                  <a:pt x="6968335" y="6065646"/>
                </a:cubicBezTo>
                <a:cubicBezTo>
                  <a:pt x="7024635" y="6040353"/>
                  <a:pt x="7078041" y="6029194"/>
                  <a:pt x="7138019" y="6052518"/>
                </a:cubicBezTo>
                <a:cubicBezTo>
                  <a:pt x="7151450" y="6036858"/>
                  <a:pt x="7164880" y="6021198"/>
                  <a:pt x="7174315" y="6008401"/>
                </a:cubicBezTo>
                <a:cubicBezTo>
                  <a:pt x="7186676" y="6014614"/>
                  <a:pt x="7198313" y="6024360"/>
                  <a:pt x="7206679" y="6033437"/>
                </a:cubicBezTo>
                <a:cubicBezTo>
                  <a:pt x="7199068" y="6053970"/>
                  <a:pt x="7192179" y="6070969"/>
                  <a:pt x="7179127" y="6101435"/>
                </a:cubicBezTo>
                <a:cubicBezTo>
                  <a:pt x="7225267" y="6092471"/>
                  <a:pt x="7263418" y="6089235"/>
                  <a:pt x="7302293" y="6082466"/>
                </a:cubicBezTo>
                <a:cubicBezTo>
                  <a:pt x="7305910" y="6064796"/>
                  <a:pt x="7309527" y="6047127"/>
                  <a:pt x="7312421" y="6032992"/>
                </a:cubicBezTo>
                <a:cubicBezTo>
                  <a:pt x="7330569" y="6010934"/>
                  <a:pt x="7347994" y="5992409"/>
                  <a:pt x="7369413" y="5971020"/>
                </a:cubicBezTo>
                <a:cubicBezTo>
                  <a:pt x="7368689" y="5974554"/>
                  <a:pt x="7372684" y="5971690"/>
                  <a:pt x="7379949" y="5969495"/>
                </a:cubicBezTo>
                <a:cubicBezTo>
                  <a:pt x="7426813" y="5956998"/>
                  <a:pt x="7477671" y="5941635"/>
                  <a:pt x="7528530" y="5926273"/>
                </a:cubicBezTo>
                <a:cubicBezTo>
                  <a:pt x="7546331" y="5922554"/>
                  <a:pt x="7564857" y="5915300"/>
                  <a:pt x="7580488" y="5922182"/>
                </a:cubicBezTo>
                <a:cubicBezTo>
                  <a:pt x="7634649" y="5940634"/>
                  <a:pt x="7700384" y="5902544"/>
                  <a:pt x="7756022" y="5947071"/>
                </a:cubicBezTo>
                <a:cubicBezTo>
                  <a:pt x="7742214" y="5947927"/>
                  <a:pt x="7734949" y="5950121"/>
                  <a:pt x="7721142" y="5950976"/>
                </a:cubicBezTo>
                <a:cubicBezTo>
                  <a:pt x="7716801" y="5972179"/>
                  <a:pt x="7712460" y="5993382"/>
                  <a:pt x="7708120" y="6014585"/>
                </a:cubicBezTo>
                <a:cubicBezTo>
                  <a:pt x="7730670" y="6037612"/>
                  <a:pt x="7773132" y="5980029"/>
                  <a:pt x="7787725" y="6041928"/>
                </a:cubicBezTo>
                <a:cubicBezTo>
                  <a:pt x="7738313" y="6050222"/>
                  <a:pt x="7692173" y="6059186"/>
                  <a:pt x="7639491" y="6066811"/>
                </a:cubicBezTo>
                <a:cubicBezTo>
                  <a:pt x="7647511" y="6094226"/>
                  <a:pt x="7656254" y="6118108"/>
                  <a:pt x="7664997" y="6141990"/>
                </a:cubicBezTo>
                <a:cubicBezTo>
                  <a:pt x="7654115" y="6161853"/>
                  <a:pt x="7639238" y="6184581"/>
                  <a:pt x="7623638" y="6210843"/>
                </a:cubicBezTo>
                <a:cubicBezTo>
                  <a:pt x="7586555" y="6192206"/>
                  <a:pt x="7552021" y="6177773"/>
                  <a:pt x="7511669" y="6158466"/>
                </a:cubicBezTo>
                <a:cubicBezTo>
                  <a:pt x="7497515" y="6177660"/>
                  <a:pt x="7486632" y="6197524"/>
                  <a:pt x="7468485" y="6219582"/>
                </a:cubicBezTo>
                <a:cubicBezTo>
                  <a:pt x="7508114" y="6242423"/>
                  <a:pt x="7541924" y="6260390"/>
                  <a:pt x="7582277" y="6279697"/>
                </a:cubicBezTo>
                <a:cubicBezTo>
                  <a:pt x="7580830" y="6286764"/>
                  <a:pt x="7578660" y="6297366"/>
                  <a:pt x="7576490" y="6307968"/>
                </a:cubicBezTo>
                <a:cubicBezTo>
                  <a:pt x="7547774" y="6298407"/>
                  <a:pt x="7528526" y="6309194"/>
                  <a:pt x="7517297" y="6347397"/>
                </a:cubicBezTo>
                <a:cubicBezTo>
                  <a:pt x="7533652" y="6350745"/>
                  <a:pt x="7550007" y="6354093"/>
                  <a:pt x="7566362" y="6357441"/>
                </a:cubicBezTo>
                <a:cubicBezTo>
                  <a:pt x="7569979" y="6339772"/>
                  <a:pt x="7573596" y="6322103"/>
                  <a:pt x="7576490" y="6307968"/>
                </a:cubicBezTo>
                <a:cubicBezTo>
                  <a:pt x="7586303" y="6309977"/>
                  <a:pt x="7592845" y="6311316"/>
                  <a:pt x="7602658" y="6313325"/>
                </a:cubicBezTo>
                <a:cubicBezTo>
                  <a:pt x="7618258" y="6287063"/>
                  <a:pt x="7634582" y="6257267"/>
                  <a:pt x="7669117" y="6271701"/>
                </a:cubicBezTo>
                <a:cubicBezTo>
                  <a:pt x="7665153" y="6307708"/>
                  <a:pt x="7708369" y="6279736"/>
                  <a:pt x="7709123" y="6309346"/>
                </a:cubicBezTo>
                <a:cubicBezTo>
                  <a:pt x="7701858" y="6311541"/>
                  <a:pt x="7691321" y="6313065"/>
                  <a:pt x="7677514" y="6313921"/>
                </a:cubicBezTo>
                <a:cubicBezTo>
                  <a:pt x="7684433" y="6330065"/>
                  <a:pt x="7688805" y="6342006"/>
                  <a:pt x="7695724" y="6358150"/>
                </a:cubicBezTo>
                <a:cubicBezTo>
                  <a:pt x="7714249" y="6350897"/>
                  <a:pt x="7722238" y="6345168"/>
                  <a:pt x="7730227" y="6339440"/>
                </a:cubicBezTo>
                <a:cubicBezTo>
                  <a:pt x="7737870" y="6352050"/>
                  <a:pt x="7745513" y="6364661"/>
                  <a:pt x="7756427" y="6377941"/>
                </a:cubicBezTo>
                <a:cubicBezTo>
                  <a:pt x="7768787" y="6384153"/>
                  <a:pt x="7788413" y="6388171"/>
                  <a:pt x="7811310" y="6392858"/>
                </a:cubicBezTo>
                <a:cubicBezTo>
                  <a:pt x="7803699" y="6413392"/>
                  <a:pt x="7782626" y="6416442"/>
                  <a:pt x="7767748" y="6439170"/>
                </a:cubicBezTo>
                <a:cubicBezTo>
                  <a:pt x="7760137" y="6459703"/>
                  <a:pt x="7764162" y="6489983"/>
                  <a:pt x="7789607" y="6498873"/>
                </a:cubicBezTo>
                <a:cubicBezTo>
                  <a:pt x="7822317" y="6505570"/>
                  <a:pt x="7836879" y="6534324"/>
                  <a:pt x="7864148" y="6550953"/>
                </a:cubicBezTo>
                <a:cubicBezTo>
                  <a:pt x="7859808" y="6572156"/>
                  <a:pt x="7855467" y="6593359"/>
                  <a:pt x="7851850" y="6611028"/>
                </a:cubicBezTo>
                <a:cubicBezTo>
                  <a:pt x="7819894" y="6633942"/>
                  <a:pt x="7791209" y="6657525"/>
                  <a:pt x="7747271" y="6689031"/>
                </a:cubicBezTo>
                <a:cubicBezTo>
                  <a:pt x="7759600" y="6662100"/>
                  <a:pt x="7765042" y="6652168"/>
                  <a:pt x="7770482" y="6642236"/>
                </a:cubicBezTo>
                <a:cubicBezTo>
                  <a:pt x="7790078" y="6613110"/>
                  <a:pt x="7812944" y="6584654"/>
                  <a:pt x="7833262" y="6551994"/>
                </a:cubicBezTo>
                <a:cubicBezTo>
                  <a:pt x="7793286" y="6547492"/>
                  <a:pt x="7756236" y="6561999"/>
                  <a:pt x="7722456" y="6577175"/>
                </a:cubicBezTo>
                <a:cubicBezTo>
                  <a:pt x="7726797" y="6555972"/>
                  <a:pt x="7713713" y="6553294"/>
                  <a:pt x="7702453" y="6558353"/>
                </a:cubicBezTo>
                <a:cubicBezTo>
                  <a:pt x="7687198" y="6566275"/>
                  <a:pt x="7683581" y="6583945"/>
                  <a:pt x="7705755" y="6592166"/>
                </a:cubicBezTo>
                <a:cubicBezTo>
                  <a:pt x="7694872" y="6612030"/>
                  <a:pt x="7689085" y="6640301"/>
                  <a:pt x="7673830" y="6648224"/>
                </a:cubicBezTo>
                <a:cubicBezTo>
                  <a:pt x="7653135" y="6666078"/>
                  <a:pt x="7652065" y="6687951"/>
                  <a:pt x="7647001" y="6712688"/>
                </a:cubicBezTo>
                <a:cubicBezTo>
                  <a:pt x="7647001" y="6712688"/>
                  <a:pt x="7647725" y="6709154"/>
                  <a:pt x="7644454" y="6708484"/>
                </a:cubicBezTo>
                <a:cubicBezTo>
                  <a:pt x="7640459" y="6711349"/>
                  <a:pt x="7636465" y="6714213"/>
                  <a:pt x="7629199" y="6716408"/>
                </a:cubicBezTo>
                <a:cubicBezTo>
                  <a:pt x="7631747" y="6720611"/>
                  <a:pt x="7631747" y="6720611"/>
                  <a:pt x="7634294" y="6724815"/>
                </a:cubicBezTo>
                <a:cubicBezTo>
                  <a:pt x="7638289" y="6721950"/>
                  <a:pt x="7643007" y="6715552"/>
                  <a:pt x="7647001" y="6712688"/>
                </a:cubicBezTo>
                <a:cubicBezTo>
                  <a:pt x="7652820" y="6717561"/>
                  <a:pt x="7661910" y="6723104"/>
                  <a:pt x="7667004" y="6731511"/>
                </a:cubicBezTo>
                <a:cubicBezTo>
                  <a:pt x="7674270" y="6729316"/>
                  <a:pt x="7682259" y="6723588"/>
                  <a:pt x="7693519" y="6718529"/>
                </a:cubicBezTo>
                <a:cubicBezTo>
                  <a:pt x="7687008" y="6750334"/>
                  <a:pt x="7681220" y="6778604"/>
                  <a:pt x="7673263" y="6817477"/>
                </a:cubicBezTo>
                <a:cubicBezTo>
                  <a:pt x="7658701" y="6788722"/>
                  <a:pt x="7652505" y="6769044"/>
                  <a:pt x="7643761" y="6745162"/>
                </a:cubicBezTo>
                <a:cubicBezTo>
                  <a:pt x="7636873" y="6762162"/>
                  <a:pt x="7633979" y="6776297"/>
                  <a:pt x="7627091" y="6793297"/>
                </a:cubicBezTo>
                <a:cubicBezTo>
                  <a:pt x="7606019" y="6796347"/>
                  <a:pt x="7587493" y="6803600"/>
                  <a:pt x="7565697" y="6810184"/>
                </a:cubicBezTo>
                <a:cubicBezTo>
                  <a:pt x="7550096" y="6836446"/>
                  <a:pt x="7533049" y="6869775"/>
                  <a:pt x="7519996" y="6900241"/>
                </a:cubicBezTo>
                <a:cubicBezTo>
                  <a:pt x="7454261" y="6938330"/>
                  <a:pt x="7392520" y="6973557"/>
                  <a:pt x="7330779" y="7008782"/>
                </a:cubicBezTo>
                <a:cubicBezTo>
                  <a:pt x="7265768" y="7043339"/>
                  <a:pt x="7197485" y="7077225"/>
                  <a:pt x="7129202" y="7111112"/>
                </a:cubicBezTo>
                <a:cubicBezTo>
                  <a:pt x="7114671" y="7115501"/>
                  <a:pt x="7097593" y="7115687"/>
                  <a:pt x="7093598" y="7118551"/>
                </a:cubicBezTo>
                <a:cubicBezTo>
                  <a:pt x="7051106" y="7142990"/>
                  <a:pt x="7021698" y="7170107"/>
                  <a:pt x="6984648" y="7184614"/>
                </a:cubicBezTo>
                <a:cubicBezTo>
                  <a:pt x="6948320" y="7195587"/>
                  <a:pt x="6919636" y="7219170"/>
                  <a:pt x="6885133" y="7237880"/>
                </a:cubicBezTo>
                <a:cubicBezTo>
                  <a:pt x="6850629" y="7256591"/>
                  <a:pt x="6817951" y="7283038"/>
                  <a:pt x="6778352" y="7293342"/>
                </a:cubicBezTo>
                <a:cubicBezTo>
                  <a:pt x="6742025" y="7304314"/>
                  <a:pt x="6712994" y="7346236"/>
                  <a:pt x="6682832" y="7343744"/>
                </a:cubicBezTo>
                <a:cubicBezTo>
                  <a:pt x="6635622" y="7374580"/>
                  <a:pt x="6596401" y="7399689"/>
                  <a:pt x="6553909" y="7424127"/>
                </a:cubicBezTo>
                <a:cubicBezTo>
                  <a:pt x="6586997" y="7445629"/>
                  <a:pt x="6609862" y="7417172"/>
                  <a:pt x="6648014" y="7413937"/>
                </a:cubicBezTo>
                <a:cubicBezTo>
                  <a:pt x="6651285" y="7414606"/>
                  <a:pt x="6667640" y="7417954"/>
                  <a:pt x="6683995" y="7421303"/>
                </a:cubicBezTo>
                <a:cubicBezTo>
                  <a:pt x="6738816" y="7369933"/>
                  <a:pt x="6809709" y="7406537"/>
                  <a:pt x="6866354" y="7362904"/>
                </a:cubicBezTo>
                <a:cubicBezTo>
                  <a:pt x="6913249" y="7383550"/>
                  <a:pt x="6960836" y="7367518"/>
                  <a:pt x="7010971" y="7355690"/>
                </a:cubicBezTo>
                <a:cubicBezTo>
                  <a:pt x="7071642" y="7342337"/>
                  <a:pt x="7131213" y="7317712"/>
                  <a:pt x="7191161" y="7307893"/>
                </a:cubicBezTo>
                <a:cubicBezTo>
                  <a:pt x="7236577" y="7302463"/>
                  <a:pt x="7283818" y="7304770"/>
                  <a:pt x="7327411" y="7291602"/>
                </a:cubicBezTo>
                <a:cubicBezTo>
                  <a:pt x="7334676" y="7289408"/>
                  <a:pt x="7341942" y="7287213"/>
                  <a:pt x="7357196" y="7279290"/>
                </a:cubicBezTo>
                <a:cubicBezTo>
                  <a:pt x="7388459" y="7293054"/>
                  <a:pt x="7433153" y="7291158"/>
                  <a:pt x="7468064" y="7320396"/>
                </a:cubicBezTo>
                <a:cubicBezTo>
                  <a:pt x="7503699" y="7346101"/>
                  <a:pt x="7488853" y="7401973"/>
                  <a:pt x="7528483" y="7424813"/>
                </a:cubicBezTo>
                <a:cubicBezTo>
                  <a:pt x="7533201" y="7418416"/>
                  <a:pt x="7540466" y="7416221"/>
                  <a:pt x="7551726" y="7411162"/>
                </a:cubicBezTo>
                <a:cubicBezTo>
                  <a:pt x="7548109" y="7428831"/>
                  <a:pt x="7545215" y="7442967"/>
                  <a:pt x="7541598" y="7460636"/>
                </a:cubicBezTo>
                <a:cubicBezTo>
                  <a:pt x="7531061" y="7462161"/>
                  <a:pt x="7520525" y="7463686"/>
                  <a:pt x="7501999" y="7470939"/>
                </a:cubicBezTo>
                <a:cubicBezTo>
                  <a:pt x="7524173" y="7479160"/>
                  <a:pt x="7536534" y="7485373"/>
                  <a:pt x="7552889" y="7488721"/>
                </a:cubicBezTo>
                <a:cubicBezTo>
                  <a:pt x="7522411" y="7537711"/>
                  <a:pt x="7479542" y="7547344"/>
                  <a:pt x="7431231" y="7566910"/>
                </a:cubicBezTo>
                <a:cubicBezTo>
                  <a:pt x="7437805" y="7601393"/>
                  <a:pt x="7441830" y="7631673"/>
                  <a:pt x="7449127" y="7662622"/>
                </a:cubicBezTo>
                <a:cubicBezTo>
                  <a:pt x="7438590" y="7664147"/>
                  <a:pt x="7428054" y="7665672"/>
                  <a:pt x="7413523" y="7670061"/>
                </a:cubicBezTo>
                <a:cubicBezTo>
                  <a:pt x="7426984" y="7687544"/>
                  <a:pt x="7437898" y="7700825"/>
                  <a:pt x="7454630" y="7718978"/>
                </a:cubicBezTo>
                <a:cubicBezTo>
                  <a:pt x="7451390" y="7751452"/>
                  <a:pt x="7447427" y="7787460"/>
                  <a:pt x="7417296" y="7818111"/>
                </a:cubicBezTo>
                <a:cubicBezTo>
                  <a:pt x="7430033" y="7839128"/>
                  <a:pt x="7437645" y="7818595"/>
                  <a:pt x="7444910" y="7816400"/>
                </a:cubicBezTo>
                <a:cubicBezTo>
                  <a:pt x="7451453" y="7817739"/>
                  <a:pt x="7460542" y="7823282"/>
                  <a:pt x="7467808" y="7821087"/>
                </a:cubicBezTo>
                <a:cubicBezTo>
                  <a:pt x="7478344" y="7819563"/>
                  <a:pt x="7489604" y="7814504"/>
                  <a:pt x="7497593" y="7808776"/>
                </a:cubicBezTo>
                <a:cubicBezTo>
                  <a:pt x="7508884" y="7836860"/>
                  <a:pt x="7496901" y="7845453"/>
                  <a:pt x="7470732" y="7840096"/>
                </a:cubicBezTo>
                <a:cubicBezTo>
                  <a:pt x="7462398" y="7864163"/>
                  <a:pt x="7454062" y="7888230"/>
                  <a:pt x="7439185" y="7910958"/>
                </a:cubicBezTo>
                <a:cubicBezTo>
                  <a:pt x="7429026" y="7927288"/>
                  <a:pt x="7409054" y="7941610"/>
                  <a:pt x="7395624" y="7957270"/>
                </a:cubicBezTo>
                <a:cubicBezTo>
                  <a:pt x="7381470" y="7976464"/>
                  <a:pt x="7368040" y="7992124"/>
                  <a:pt x="7353163" y="8014852"/>
                </a:cubicBezTo>
                <a:cubicBezTo>
                  <a:pt x="7345897" y="8017047"/>
                  <a:pt x="7332090" y="8017902"/>
                  <a:pt x="7323377" y="8027164"/>
                </a:cubicBezTo>
                <a:cubicBezTo>
                  <a:pt x="7292523" y="8061349"/>
                  <a:pt x="7265662" y="8092670"/>
                  <a:pt x="7215150" y="8089693"/>
                </a:cubicBezTo>
                <a:cubicBezTo>
                  <a:pt x="7191530" y="8088540"/>
                  <a:pt x="7186466" y="8113277"/>
                  <a:pt x="7196687" y="8163235"/>
                </a:cubicBezTo>
                <a:cubicBezTo>
                  <a:pt x="7141111" y="8184995"/>
                  <a:pt x="7099374" y="8239043"/>
                  <a:pt x="7052164" y="8269880"/>
                </a:cubicBezTo>
                <a:cubicBezTo>
                  <a:pt x="7035809" y="8266532"/>
                  <a:pt x="7022725" y="8263853"/>
                  <a:pt x="7006370" y="8260505"/>
                </a:cubicBezTo>
                <a:cubicBezTo>
                  <a:pt x="7028890" y="8250387"/>
                  <a:pt x="7044144" y="8242464"/>
                  <a:pt x="7062669" y="8235211"/>
                </a:cubicBezTo>
                <a:cubicBezTo>
                  <a:pt x="7067010" y="8214008"/>
                  <a:pt x="7071351" y="8192805"/>
                  <a:pt x="7074244" y="8178669"/>
                </a:cubicBezTo>
                <a:cubicBezTo>
                  <a:pt x="7122177" y="8144299"/>
                  <a:pt x="7122177" y="8144299"/>
                  <a:pt x="7139225" y="8110970"/>
                </a:cubicBezTo>
                <a:cubicBezTo>
                  <a:pt x="7074905" y="8108848"/>
                  <a:pt x="7027696" y="8139685"/>
                  <a:pt x="7000143" y="8207683"/>
                </a:cubicBezTo>
                <a:cubicBezTo>
                  <a:pt x="6987059" y="8205005"/>
                  <a:pt x="6970704" y="8201657"/>
                  <a:pt x="6950354" y="8201173"/>
                </a:cubicBezTo>
                <a:cubicBezTo>
                  <a:pt x="6950354" y="8201173"/>
                  <a:pt x="6951078" y="8197639"/>
                  <a:pt x="6954349" y="8198309"/>
                </a:cubicBezTo>
                <a:cubicBezTo>
                  <a:pt x="6956519" y="8187707"/>
                  <a:pt x="6958690" y="8177105"/>
                  <a:pt x="6961583" y="8162970"/>
                </a:cubicBezTo>
                <a:cubicBezTo>
                  <a:pt x="6948499" y="8160292"/>
                  <a:pt x="6941957" y="8158952"/>
                  <a:pt x="6928873" y="8156274"/>
                </a:cubicBezTo>
                <a:cubicBezTo>
                  <a:pt x="6935069" y="8175952"/>
                  <a:pt x="6939441" y="8187893"/>
                  <a:pt x="6950354" y="8201173"/>
                </a:cubicBezTo>
                <a:cubicBezTo>
                  <a:pt x="6949631" y="8204706"/>
                  <a:pt x="6944913" y="8211105"/>
                  <a:pt x="6940195" y="8217503"/>
                </a:cubicBezTo>
                <a:cubicBezTo>
                  <a:pt x="6952210" y="8242054"/>
                  <a:pt x="6963847" y="8251800"/>
                  <a:pt x="6991839" y="8264894"/>
                </a:cubicBezTo>
                <a:cubicBezTo>
                  <a:pt x="6973376" y="8338435"/>
                  <a:pt x="6916637" y="8282637"/>
                  <a:pt x="6891223" y="8306890"/>
                </a:cubicBezTo>
                <a:cubicBezTo>
                  <a:pt x="6882134" y="8301347"/>
                  <a:pt x="6873768" y="8292270"/>
                  <a:pt x="6858860" y="8281855"/>
                </a:cubicBezTo>
                <a:cubicBezTo>
                  <a:pt x="6839265" y="8310981"/>
                  <a:pt x="6823664" y="8337242"/>
                  <a:pt x="6804793" y="8362835"/>
                </a:cubicBezTo>
                <a:cubicBezTo>
                  <a:pt x="6813882" y="8368378"/>
                  <a:pt x="6822972" y="8373920"/>
                  <a:pt x="6837880" y="8384336"/>
                </a:cubicBezTo>
                <a:cubicBezTo>
                  <a:pt x="6824450" y="8399996"/>
                  <a:pt x="6811743" y="8412123"/>
                  <a:pt x="6798313" y="8427783"/>
                </a:cubicBezTo>
                <a:cubicBezTo>
                  <a:pt x="6786676" y="8418037"/>
                  <a:pt x="6777586" y="8412494"/>
                  <a:pt x="6769220" y="8403418"/>
                </a:cubicBezTo>
                <a:cubicBezTo>
                  <a:pt x="6759784" y="8416214"/>
                  <a:pt x="6746354" y="8431874"/>
                  <a:pt x="6732200" y="8451068"/>
                </a:cubicBezTo>
                <a:cubicBezTo>
                  <a:pt x="6736572" y="8463009"/>
                  <a:pt x="6741667" y="8471416"/>
                  <a:pt x="6748587" y="8487560"/>
                </a:cubicBezTo>
                <a:cubicBezTo>
                  <a:pt x="6740597" y="8493289"/>
                  <a:pt x="6735880" y="8499687"/>
                  <a:pt x="6727167" y="8508949"/>
                </a:cubicBezTo>
                <a:cubicBezTo>
                  <a:pt x="6692602" y="8461372"/>
                  <a:pt x="6708549" y="8416771"/>
                  <a:pt x="6719400" y="8363763"/>
                </a:cubicBezTo>
                <a:cubicBezTo>
                  <a:pt x="6697604" y="8370347"/>
                  <a:pt x="6683073" y="8374736"/>
                  <a:pt x="6668542" y="8379126"/>
                </a:cubicBezTo>
                <a:cubicBezTo>
                  <a:pt x="6670020" y="8405201"/>
                  <a:pt x="6671498" y="8431278"/>
                  <a:pt x="6669705" y="8456684"/>
                </a:cubicBezTo>
                <a:cubicBezTo>
                  <a:pt x="6642468" y="8473200"/>
                  <a:pt x="6619224" y="8486851"/>
                  <a:pt x="6595981" y="8500503"/>
                </a:cubicBezTo>
                <a:cubicBezTo>
                  <a:pt x="6595257" y="8504037"/>
                  <a:pt x="6597805" y="8508240"/>
                  <a:pt x="6600353" y="8512444"/>
                </a:cubicBezTo>
                <a:cubicBezTo>
                  <a:pt x="6587269" y="8509765"/>
                  <a:pt x="6574185" y="8507086"/>
                  <a:pt x="6561101" y="8504408"/>
                </a:cubicBezTo>
                <a:cubicBezTo>
                  <a:pt x="6559245" y="8463527"/>
                  <a:pt x="6513074" y="8439347"/>
                  <a:pt x="6529020" y="8394747"/>
                </a:cubicBezTo>
                <a:cubicBezTo>
                  <a:pt x="6540973" y="8353010"/>
                  <a:pt x="6534023" y="8303722"/>
                  <a:pt x="6568148" y="8270206"/>
                </a:cubicBezTo>
                <a:cubicBezTo>
                  <a:pt x="6562330" y="8265334"/>
                  <a:pt x="6557234" y="8256927"/>
                  <a:pt x="6552863" y="8244986"/>
                </a:cubicBezTo>
                <a:cubicBezTo>
                  <a:pt x="6526695" y="8239629"/>
                  <a:pt x="6497255" y="8233602"/>
                  <a:pt x="6464545" y="8226906"/>
                </a:cubicBezTo>
                <a:cubicBezTo>
                  <a:pt x="6455110" y="8239702"/>
                  <a:pt x="6441680" y="8255362"/>
                  <a:pt x="6424255" y="8273887"/>
                </a:cubicBezTo>
                <a:cubicBezTo>
                  <a:pt x="6401358" y="8269200"/>
                  <a:pt x="6371919" y="8263173"/>
                  <a:pt x="6342480" y="8257146"/>
                </a:cubicBezTo>
                <a:cubicBezTo>
                  <a:pt x="6327980" y="8294679"/>
                  <a:pt x="6299642" y="8299924"/>
                  <a:pt x="6272750" y="8298101"/>
                </a:cubicBezTo>
                <a:cubicBezTo>
                  <a:pt x="6249853" y="8293413"/>
                  <a:pt x="6230227" y="8289396"/>
                  <a:pt x="6212079" y="8311454"/>
                </a:cubicBezTo>
                <a:cubicBezTo>
                  <a:pt x="6208085" y="8314318"/>
                  <a:pt x="6200096" y="8320046"/>
                  <a:pt x="6196825" y="8319377"/>
                </a:cubicBezTo>
                <a:cubicBezTo>
                  <a:pt x="6140117" y="8296722"/>
                  <a:pt x="6090391" y="8356499"/>
                  <a:pt x="6035507" y="8341582"/>
                </a:cubicBezTo>
                <a:cubicBezTo>
                  <a:pt x="5994839" y="8373758"/>
                  <a:pt x="5947221" y="8356646"/>
                  <a:pt x="5903628" y="8369813"/>
                </a:cubicBezTo>
                <a:cubicBezTo>
                  <a:pt x="5898533" y="8361406"/>
                  <a:pt x="5895986" y="8357203"/>
                  <a:pt x="5895986" y="8357203"/>
                </a:cubicBezTo>
                <a:cubicBezTo>
                  <a:pt x="5876013" y="8371524"/>
                  <a:pt x="5856041" y="8385845"/>
                  <a:pt x="5844058" y="8394438"/>
                </a:cubicBezTo>
                <a:cubicBezTo>
                  <a:pt x="5821161" y="8389750"/>
                  <a:pt x="5811348" y="8387741"/>
                  <a:pt x="5798264" y="8385063"/>
                </a:cubicBezTo>
                <a:cubicBezTo>
                  <a:pt x="5778291" y="8399384"/>
                  <a:pt x="5758319" y="8413705"/>
                  <a:pt x="5738347" y="8428026"/>
                </a:cubicBezTo>
                <a:cubicBezTo>
                  <a:pt x="5733252" y="8419619"/>
                  <a:pt x="5730704" y="8415415"/>
                  <a:pt x="5728157" y="8411212"/>
                </a:cubicBezTo>
                <a:cubicBezTo>
                  <a:pt x="5706014" y="8436135"/>
                  <a:pt x="5698025" y="8441863"/>
                  <a:pt x="5632636" y="8461614"/>
                </a:cubicBezTo>
                <a:cubicBezTo>
                  <a:pt x="5622446" y="8444801"/>
                  <a:pt x="5611532" y="8431521"/>
                  <a:pt x="5598794" y="8410503"/>
                </a:cubicBezTo>
                <a:cubicBezTo>
                  <a:pt x="5580646" y="8432561"/>
                  <a:pt x="5563945" y="8447552"/>
                  <a:pt x="5549792" y="8466746"/>
                </a:cubicBezTo>
                <a:cubicBezTo>
                  <a:pt x="5539601" y="8449932"/>
                  <a:pt x="5534506" y="8441526"/>
                  <a:pt x="5524316" y="8424712"/>
                </a:cubicBezTo>
                <a:cubicBezTo>
                  <a:pt x="5553000" y="8401128"/>
                  <a:pt x="5580238" y="8384613"/>
                  <a:pt x="5608199" y="8364563"/>
                </a:cubicBezTo>
                <a:cubicBezTo>
                  <a:pt x="5636915" y="8374123"/>
                  <a:pt x="5663083" y="8379480"/>
                  <a:pt x="5680853" y="8342617"/>
                </a:cubicBezTo>
                <a:cubicBezTo>
                  <a:pt x="5750992" y="8349612"/>
                  <a:pt x="5814557" y="8322123"/>
                  <a:pt x="5875574" y="8290431"/>
                </a:cubicBezTo>
                <a:cubicBezTo>
                  <a:pt x="5889381" y="8289576"/>
                  <a:pt x="5906837" y="8304195"/>
                  <a:pt x="5911901" y="8279458"/>
                </a:cubicBezTo>
                <a:cubicBezTo>
                  <a:pt x="5911901" y="8279458"/>
                  <a:pt x="5911901" y="8279458"/>
                  <a:pt x="5915172" y="8280128"/>
                </a:cubicBezTo>
                <a:cubicBezTo>
                  <a:pt x="5919166" y="8277263"/>
                  <a:pt x="5923161" y="8274399"/>
                  <a:pt x="5930426" y="8272205"/>
                </a:cubicBezTo>
                <a:cubicBezTo>
                  <a:pt x="5927878" y="8268001"/>
                  <a:pt x="5927878" y="8268001"/>
                  <a:pt x="5925331" y="8263798"/>
                </a:cubicBezTo>
                <a:cubicBezTo>
                  <a:pt x="5920613" y="8270196"/>
                  <a:pt x="5916619" y="8273060"/>
                  <a:pt x="5911901" y="8279458"/>
                </a:cubicBezTo>
                <a:cubicBezTo>
                  <a:pt x="5898094" y="8280314"/>
                  <a:pt x="5884632" y="8262830"/>
                  <a:pt x="5875574" y="8290431"/>
                </a:cubicBezTo>
                <a:cubicBezTo>
                  <a:pt x="5852677" y="8285744"/>
                  <a:pt x="5829780" y="8281056"/>
                  <a:pt x="5810154" y="8277039"/>
                </a:cubicBezTo>
                <a:cubicBezTo>
                  <a:pt x="5779645" y="8292884"/>
                  <a:pt x="5752407" y="8309400"/>
                  <a:pt x="5724069" y="8314645"/>
                </a:cubicBezTo>
                <a:cubicBezTo>
                  <a:pt x="5706267" y="8318364"/>
                  <a:pt x="5691736" y="8322754"/>
                  <a:pt x="5680853" y="8342617"/>
                </a:cubicBezTo>
                <a:cubicBezTo>
                  <a:pt x="5654686" y="8337260"/>
                  <a:pt x="5628895" y="8346708"/>
                  <a:pt x="5608199" y="8364563"/>
                </a:cubicBezTo>
                <a:cubicBezTo>
                  <a:pt x="5583478" y="8352139"/>
                  <a:pt x="5558033" y="8343247"/>
                  <a:pt x="5523499" y="8328814"/>
                </a:cubicBezTo>
                <a:cubicBezTo>
                  <a:pt x="5510792" y="8340941"/>
                  <a:pt x="5497362" y="8356601"/>
                  <a:pt x="5477390" y="8370922"/>
                </a:cubicBezTo>
                <a:cubicBezTo>
                  <a:pt x="5457040" y="8370438"/>
                  <a:pt x="5426878" y="8367945"/>
                  <a:pt x="5413479" y="8416749"/>
                </a:cubicBezTo>
                <a:cubicBezTo>
                  <a:pt x="5433828" y="8417233"/>
                  <a:pt x="5453454" y="8421251"/>
                  <a:pt x="5481069" y="8419540"/>
                </a:cubicBezTo>
                <a:cubicBezTo>
                  <a:pt x="5489435" y="8428617"/>
                  <a:pt x="5506168" y="8446770"/>
                  <a:pt x="5522900" y="8464923"/>
                </a:cubicBezTo>
                <a:cubicBezTo>
                  <a:pt x="5495316" y="8499777"/>
                  <a:pt x="5454617" y="8498810"/>
                  <a:pt x="5419013" y="8506249"/>
                </a:cubicBezTo>
                <a:cubicBezTo>
                  <a:pt x="5413195" y="8501376"/>
                  <a:pt x="5407376" y="8496503"/>
                  <a:pt x="5398287" y="8490960"/>
                </a:cubicBezTo>
                <a:cubicBezTo>
                  <a:pt x="5398287" y="8490960"/>
                  <a:pt x="5399010" y="8487426"/>
                  <a:pt x="5402281" y="8488096"/>
                </a:cubicBezTo>
                <a:cubicBezTo>
                  <a:pt x="5396462" y="8483223"/>
                  <a:pt x="5394638" y="8475485"/>
                  <a:pt x="5392091" y="8471282"/>
                </a:cubicBezTo>
                <a:cubicBezTo>
                  <a:pt x="5392091" y="8471282"/>
                  <a:pt x="5388096" y="8474146"/>
                  <a:pt x="5388096" y="8474146"/>
                </a:cubicBezTo>
                <a:cubicBezTo>
                  <a:pt x="5389920" y="8481884"/>
                  <a:pt x="5392468" y="8486087"/>
                  <a:pt x="5398287" y="8490960"/>
                </a:cubicBezTo>
                <a:cubicBezTo>
                  <a:pt x="5389574" y="8500222"/>
                  <a:pt x="5380862" y="8509485"/>
                  <a:pt x="5368155" y="8521611"/>
                </a:cubicBezTo>
                <a:cubicBezTo>
                  <a:pt x="5355417" y="8500593"/>
                  <a:pt x="5345227" y="8483780"/>
                  <a:pt x="5329942" y="8458559"/>
                </a:cubicBezTo>
                <a:cubicBezTo>
                  <a:pt x="5353908" y="8441374"/>
                  <a:pt x="5376428" y="8431256"/>
                  <a:pt x="5396400" y="8416935"/>
                </a:cubicBezTo>
                <a:cubicBezTo>
                  <a:pt x="5364351" y="8340417"/>
                  <a:pt x="5312361" y="8311365"/>
                  <a:pt x="5241154" y="8326243"/>
                </a:cubicBezTo>
                <a:cubicBezTo>
                  <a:pt x="5235335" y="8321369"/>
                  <a:pt x="5230240" y="8312963"/>
                  <a:pt x="5221874" y="8303886"/>
                </a:cubicBezTo>
                <a:cubicBezTo>
                  <a:pt x="5215709" y="8317352"/>
                  <a:pt x="5214262" y="8324419"/>
                  <a:pt x="5212092" y="8335021"/>
                </a:cubicBezTo>
                <a:cubicBezTo>
                  <a:pt x="5227723" y="8341903"/>
                  <a:pt x="5240808" y="8344581"/>
                  <a:pt x="5262258" y="8356337"/>
                </a:cubicBezTo>
                <a:cubicBezTo>
                  <a:pt x="5243733" y="8363590"/>
                  <a:pt x="5231749" y="8372182"/>
                  <a:pt x="5219766" y="8380775"/>
                </a:cubicBezTo>
                <a:cubicBezTo>
                  <a:pt x="5220489" y="8377241"/>
                  <a:pt x="5220489" y="8377241"/>
                  <a:pt x="5220489" y="8377241"/>
                </a:cubicBezTo>
                <a:cubicBezTo>
                  <a:pt x="5218665" y="8369504"/>
                  <a:pt x="5216118" y="8365301"/>
                  <a:pt x="5213570" y="8361097"/>
                </a:cubicBezTo>
                <a:cubicBezTo>
                  <a:pt x="5210299" y="8360428"/>
                  <a:pt x="5209576" y="8363961"/>
                  <a:pt x="5206305" y="8363292"/>
                </a:cubicBezTo>
                <a:cubicBezTo>
                  <a:pt x="5212123" y="8368165"/>
                  <a:pt x="5213947" y="8375902"/>
                  <a:pt x="5219766" y="8380775"/>
                </a:cubicBezTo>
                <a:cubicBezTo>
                  <a:pt x="5222691" y="8399784"/>
                  <a:pt x="5224892" y="8422326"/>
                  <a:pt x="5227094" y="8444868"/>
                </a:cubicBezTo>
                <a:cubicBezTo>
                  <a:pt x="5212563" y="8449258"/>
                  <a:pt x="5202026" y="8450782"/>
                  <a:pt x="5184948" y="8450968"/>
                </a:cubicBezTo>
                <a:cubicBezTo>
                  <a:pt x="5188596" y="8466443"/>
                  <a:pt x="5189697" y="8477714"/>
                  <a:pt x="5190074" y="8492519"/>
                </a:cubicBezTo>
                <a:cubicBezTo>
                  <a:pt x="5189351" y="8496053"/>
                  <a:pt x="5183909" y="8505984"/>
                  <a:pt x="5179192" y="8512383"/>
                </a:cubicBezTo>
                <a:cubicBezTo>
                  <a:pt x="5188281" y="8517925"/>
                  <a:pt x="5197371" y="8523468"/>
                  <a:pt x="5206460" y="8529011"/>
                </a:cubicBezTo>
                <a:cubicBezTo>
                  <a:pt x="5174128" y="8537119"/>
                  <a:pt x="5141794" y="8545228"/>
                  <a:pt x="5102920" y="8551997"/>
                </a:cubicBezTo>
                <a:cubicBezTo>
                  <a:pt x="5097824" y="8543591"/>
                  <a:pt x="5094176" y="8528117"/>
                  <a:pt x="5084709" y="8507768"/>
                </a:cubicBezTo>
                <a:cubicBezTo>
                  <a:pt x="5045488" y="8532877"/>
                  <a:pt x="5010985" y="8551587"/>
                  <a:pt x="4972488" y="8573161"/>
                </a:cubicBezTo>
                <a:cubicBezTo>
                  <a:pt x="4952831" y="8536000"/>
                  <a:pt x="4995669" y="8493222"/>
                  <a:pt x="4958933" y="8456247"/>
                </a:cubicBezTo>
                <a:cubicBezTo>
                  <a:pt x="4938237" y="8474102"/>
                  <a:pt x="4909176" y="8482879"/>
                  <a:pt x="4900495" y="8525286"/>
                </a:cubicBezTo>
                <a:cubicBezTo>
                  <a:pt x="4849574" y="8474360"/>
                  <a:pt x="4869138" y="8412090"/>
                  <a:pt x="4849827" y="8356590"/>
                </a:cubicBezTo>
                <a:cubicBezTo>
                  <a:pt x="4841838" y="8362318"/>
                  <a:pt x="4830578" y="8367377"/>
                  <a:pt x="4819318" y="8372436"/>
                </a:cubicBezTo>
                <a:cubicBezTo>
                  <a:pt x="4816771" y="8368233"/>
                  <a:pt x="4810952" y="8363360"/>
                  <a:pt x="4805133" y="8358486"/>
                </a:cubicBezTo>
                <a:cubicBezTo>
                  <a:pt x="4799315" y="8353613"/>
                  <a:pt x="4793497" y="8348740"/>
                  <a:pt x="4785131" y="8339664"/>
                </a:cubicBezTo>
                <a:cubicBezTo>
                  <a:pt x="4759717" y="8363916"/>
                  <a:pt x="4741569" y="8385975"/>
                  <a:pt x="4716155" y="8410228"/>
                </a:cubicBezTo>
                <a:cubicBezTo>
                  <a:pt x="4706688" y="8389880"/>
                  <a:pt x="4699046" y="8377270"/>
                  <a:pt x="4689579" y="8356922"/>
                </a:cubicBezTo>
                <a:cubicBezTo>
                  <a:pt x="4670330" y="8367709"/>
                  <a:pt x="4655076" y="8375633"/>
                  <a:pt x="4635827" y="8386420"/>
                </a:cubicBezTo>
                <a:cubicBezTo>
                  <a:pt x="4627083" y="8362538"/>
                  <a:pt x="4615792" y="8334453"/>
                  <a:pt x="4608496" y="8303504"/>
                </a:cubicBezTo>
                <a:cubicBezTo>
                  <a:pt x="4624474" y="8292047"/>
                  <a:pt x="4639728" y="8284124"/>
                  <a:pt x="4654982" y="8276201"/>
                </a:cubicBezTo>
                <a:cubicBezTo>
                  <a:pt x="4640420" y="8247446"/>
                  <a:pt x="4642937" y="8218506"/>
                  <a:pt x="4610950" y="8208276"/>
                </a:cubicBezTo>
                <a:cubicBezTo>
                  <a:pt x="4635263" y="8172752"/>
                  <a:pt x="4667942" y="8146304"/>
                  <a:pt x="4681718" y="8112305"/>
                </a:cubicBezTo>
                <a:cubicBezTo>
                  <a:pt x="4695495" y="8078306"/>
                  <a:pt x="4757266" y="8076224"/>
                  <a:pt x="4725595" y="8014511"/>
                </a:cubicBezTo>
                <a:cubicBezTo>
                  <a:pt x="4710340" y="8022434"/>
                  <a:pt x="4691092" y="8033221"/>
                  <a:pt x="4672566" y="8040475"/>
                </a:cubicBezTo>
                <a:cubicBezTo>
                  <a:pt x="4673290" y="8036940"/>
                  <a:pt x="4671466" y="8029203"/>
                  <a:pt x="4669642" y="8021466"/>
                </a:cubicBezTo>
                <a:cubicBezTo>
                  <a:pt x="4671812" y="8010865"/>
                  <a:pt x="4673259" y="8003797"/>
                  <a:pt x="4677977" y="7997399"/>
                </a:cubicBezTo>
                <a:cubicBezTo>
                  <a:pt x="4686689" y="7988137"/>
                  <a:pt x="4695401" y="7978874"/>
                  <a:pt x="4704114" y="7969612"/>
                </a:cubicBezTo>
                <a:cubicBezTo>
                  <a:pt x="4718298" y="7983562"/>
                  <a:pt x="4727388" y="7989104"/>
                  <a:pt x="4732483" y="7997511"/>
                </a:cubicBezTo>
                <a:cubicBezTo>
                  <a:pt x="4751354" y="7971919"/>
                  <a:pt x="4769502" y="7949861"/>
                  <a:pt x="4789098" y="7920734"/>
                </a:cubicBezTo>
                <a:cubicBezTo>
                  <a:pt x="4776013" y="7918056"/>
                  <a:pt x="4761105" y="7907640"/>
                  <a:pt x="4753116" y="7913368"/>
                </a:cubicBezTo>
                <a:cubicBezTo>
                  <a:pt x="4736415" y="7928360"/>
                  <a:pt x="4707699" y="7918799"/>
                  <a:pt x="4694647" y="7949264"/>
                </a:cubicBezTo>
                <a:cubicBezTo>
                  <a:pt x="4688482" y="7962730"/>
                  <a:pt x="4651778" y="7958898"/>
                  <a:pt x="4626710" y="7964812"/>
                </a:cubicBezTo>
                <a:cubicBezTo>
                  <a:pt x="4634353" y="7977423"/>
                  <a:pt x="4636901" y="7981626"/>
                  <a:pt x="4644543" y="7994236"/>
                </a:cubicBezTo>
                <a:cubicBezTo>
                  <a:pt x="4626741" y="7997956"/>
                  <a:pt x="4611487" y="8005879"/>
                  <a:pt x="4596956" y="8010268"/>
                </a:cubicBezTo>
                <a:cubicBezTo>
                  <a:pt x="4582425" y="8014657"/>
                  <a:pt x="4563900" y="8021911"/>
                  <a:pt x="4538833" y="8027825"/>
                </a:cubicBezTo>
                <a:cubicBezTo>
                  <a:pt x="4529743" y="8022282"/>
                  <a:pt x="4515558" y="8008333"/>
                  <a:pt x="4498102" y="7993713"/>
                </a:cubicBezTo>
                <a:cubicBezTo>
                  <a:pt x="4498102" y="7993713"/>
                  <a:pt x="4490837" y="7995908"/>
                  <a:pt x="4490114" y="7999441"/>
                </a:cubicBezTo>
                <a:cubicBezTo>
                  <a:pt x="4483603" y="8031246"/>
                  <a:pt x="4456711" y="8029423"/>
                  <a:pt x="4434191" y="8039541"/>
                </a:cubicBezTo>
                <a:cubicBezTo>
                  <a:pt x="4397864" y="8050513"/>
                  <a:pt x="4361537" y="8061487"/>
                  <a:pt x="4345590" y="8106087"/>
                </a:cubicBezTo>
                <a:cubicBezTo>
                  <a:pt x="4340495" y="8097680"/>
                  <a:pt x="4334676" y="8092807"/>
                  <a:pt x="4332129" y="8088604"/>
                </a:cubicBezTo>
                <a:cubicBezTo>
                  <a:pt x="4295078" y="8103111"/>
                  <a:pt x="4260575" y="8121820"/>
                  <a:pt x="4220977" y="8132124"/>
                </a:cubicBezTo>
                <a:cubicBezTo>
                  <a:pt x="4151593" y="8154739"/>
                  <a:pt x="4151593" y="8154739"/>
                  <a:pt x="4108032" y="8201051"/>
                </a:cubicBezTo>
                <a:cubicBezTo>
                  <a:pt x="4077838" y="8165414"/>
                  <a:pt x="4038963" y="8172184"/>
                  <a:pt x="4011379" y="8207038"/>
                </a:cubicBezTo>
                <a:cubicBezTo>
                  <a:pt x="4000497" y="8226902"/>
                  <a:pt x="3957596" y="8203392"/>
                  <a:pt x="3964547" y="8252680"/>
                </a:cubicBezTo>
                <a:cubicBezTo>
                  <a:pt x="3965648" y="8263951"/>
                  <a:pt x="3937686" y="8284000"/>
                  <a:pt x="3916268" y="8305389"/>
                </a:cubicBezTo>
                <a:cubicBezTo>
                  <a:pt x="3931899" y="8312271"/>
                  <a:pt x="3940988" y="8317814"/>
                  <a:pt x="3953349" y="8324027"/>
                </a:cubicBezTo>
                <a:cubicBezTo>
                  <a:pt x="3936648" y="8339017"/>
                  <a:pt x="3916676" y="8353338"/>
                  <a:pt x="3903246" y="8368999"/>
                </a:cubicBezTo>
                <a:cubicBezTo>
                  <a:pt x="3886891" y="8365651"/>
                  <a:pt x="3877801" y="8360108"/>
                  <a:pt x="3854904" y="8355421"/>
                </a:cubicBezTo>
                <a:cubicBezTo>
                  <a:pt x="3870158" y="8347497"/>
                  <a:pt x="3874876" y="8341099"/>
                  <a:pt x="3886860" y="8332506"/>
                </a:cubicBezTo>
                <a:cubicBezTo>
                  <a:pt x="3883211" y="8317032"/>
                  <a:pt x="3879563" y="8301557"/>
                  <a:pt x="3875915" y="8286083"/>
                </a:cubicBezTo>
                <a:cubicBezTo>
                  <a:pt x="3875915" y="8286083"/>
                  <a:pt x="3875191" y="8289616"/>
                  <a:pt x="3878462" y="8290286"/>
                </a:cubicBezTo>
                <a:cubicBezTo>
                  <a:pt x="3882457" y="8287422"/>
                  <a:pt x="3886451" y="8284558"/>
                  <a:pt x="3893717" y="8282363"/>
                </a:cubicBezTo>
                <a:cubicBezTo>
                  <a:pt x="3891169" y="8278159"/>
                  <a:pt x="3891892" y="8274625"/>
                  <a:pt x="3888621" y="8273956"/>
                </a:cubicBezTo>
                <a:cubicBezTo>
                  <a:pt x="3884627" y="8276820"/>
                  <a:pt x="3879909" y="8283219"/>
                  <a:pt x="3875915" y="8286083"/>
                </a:cubicBezTo>
                <a:cubicBezTo>
                  <a:pt x="3857012" y="8278531"/>
                  <a:pt x="3837763" y="8289318"/>
                  <a:pt x="3825057" y="8301445"/>
                </a:cubicBezTo>
                <a:cubicBezTo>
                  <a:pt x="3810903" y="8320639"/>
                  <a:pt x="3797473" y="8336299"/>
                  <a:pt x="3783319" y="8355493"/>
                </a:cubicBezTo>
                <a:cubicBezTo>
                  <a:pt x="3789138" y="8360366"/>
                  <a:pt x="3798227" y="8365909"/>
                  <a:pt x="3809864" y="8375656"/>
                </a:cubicBezTo>
                <a:cubicBezTo>
                  <a:pt x="3790647" y="8419586"/>
                  <a:pt x="3753942" y="8415754"/>
                  <a:pt x="3707079" y="8428252"/>
                </a:cubicBezTo>
                <a:cubicBezTo>
                  <a:pt x="3733216" y="8400466"/>
                  <a:pt x="3746646" y="8384805"/>
                  <a:pt x="3772783" y="8357018"/>
                </a:cubicBezTo>
                <a:cubicBezTo>
                  <a:pt x="3747715" y="8362933"/>
                  <a:pt x="3737179" y="8364458"/>
                  <a:pt x="3725919" y="8369516"/>
                </a:cubicBezTo>
                <a:cubicBezTo>
                  <a:pt x="3728089" y="8358915"/>
                  <a:pt x="3729536" y="8351847"/>
                  <a:pt x="3733153" y="8334178"/>
                </a:cubicBezTo>
                <a:cubicBezTo>
                  <a:pt x="3700821" y="8342286"/>
                  <a:pt x="3675030" y="8351735"/>
                  <a:pt x="3646691" y="8356979"/>
                </a:cubicBezTo>
                <a:cubicBezTo>
                  <a:pt x="3640526" y="8370445"/>
                  <a:pt x="3637633" y="8384580"/>
                  <a:pt x="3631468" y="8398046"/>
                </a:cubicBezTo>
                <a:cubicBezTo>
                  <a:pt x="3631468" y="8398046"/>
                  <a:pt x="3626750" y="8404444"/>
                  <a:pt x="3627474" y="8400910"/>
                </a:cubicBezTo>
                <a:cubicBezTo>
                  <a:pt x="3615113" y="8394698"/>
                  <a:pt x="3604200" y="8381418"/>
                  <a:pt x="3589291" y="8371002"/>
                </a:cubicBezTo>
                <a:cubicBezTo>
                  <a:pt x="3557336" y="8393916"/>
                  <a:pt x="3526104" y="8413296"/>
                  <a:pt x="3494872" y="8432676"/>
                </a:cubicBezTo>
                <a:cubicBezTo>
                  <a:pt x="3481064" y="8433531"/>
                  <a:pt x="3467256" y="8434386"/>
                  <a:pt x="3456720" y="8435911"/>
                </a:cubicBezTo>
                <a:cubicBezTo>
                  <a:pt x="3442189" y="8440301"/>
                  <a:pt x="3428759" y="8455960"/>
                  <a:pt x="3419670" y="8450418"/>
                </a:cubicBezTo>
                <a:cubicBezTo>
                  <a:pt x="3385135" y="8435984"/>
                  <a:pt x="3362993" y="8460907"/>
                  <a:pt x="3336478" y="8473889"/>
                </a:cubicBezTo>
                <a:cubicBezTo>
                  <a:pt x="3282727" y="8503386"/>
                  <a:pt x="3220955" y="8505468"/>
                  <a:pt x="3167926" y="8531432"/>
                </a:cubicBezTo>
                <a:cubicBezTo>
                  <a:pt x="3148678" y="8542219"/>
                  <a:pt x="3135247" y="8557879"/>
                  <a:pt x="3119270" y="8569337"/>
                </a:cubicBezTo>
                <a:cubicBezTo>
                  <a:pt x="3071620" y="8519080"/>
                  <a:pt x="3016452" y="8588789"/>
                  <a:pt x="2967010" y="8563940"/>
                </a:cubicBezTo>
                <a:cubicBezTo>
                  <a:pt x="2960845" y="8577406"/>
                  <a:pt x="2956128" y="8583804"/>
                  <a:pt x="2949963" y="8597270"/>
                </a:cubicBezTo>
                <a:cubicBezTo>
                  <a:pt x="2940150" y="8595261"/>
                  <a:pt x="2927066" y="8592582"/>
                  <a:pt x="2917253" y="8590574"/>
                </a:cubicBezTo>
                <a:cubicBezTo>
                  <a:pt x="2891839" y="8614826"/>
                  <a:pt x="2867873" y="8632012"/>
                  <a:pt x="2843906" y="8649197"/>
                </a:cubicBezTo>
                <a:cubicBezTo>
                  <a:pt x="2814467" y="8643170"/>
                  <a:pt x="2785028" y="8637143"/>
                  <a:pt x="2765402" y="8633125"/>
                </a:cubicBezTo>
                <a:cubicBezTo>
                  <a:pt x="2706555" y="8654217"/>
                  <a:pt x="2656420" y="8666044"/>
                  <a:pt x="2604839" y="8684940"/>
                </a:cubicBezTo>
                <a:cubicBezTo>
                  <a:pt x="2595403" y="8697737"/>
                  <a:pt x="2581249" y="8716931"/>
                  <a:pt x="2570367" y="8736794"/>
                </a:cubicBezTo>
                <a:cubicBezTo>
                  <a:pt x="2556559" y="8737650"/>
                  <a:pt x="2541305" y="8745573"/>
                  <a:pt x="2526774" y="8749962"/>
                </a:cubicBezTo>
                <a:cubicBezTo>
                  <a:pt x="2512935" y="8717673"/>
                  <a:pt x="2483873" y="8726452"/>
                  <a:pt x="2454434" y="8720426"/>
                </a:cubicBezTo>
                <a:cubicBezTo>
                  <a:pt x="2462077" y="8733036"/>
                  <a:pt x="2467172" y="8741442"/>
                  <a:pt x="2471544" y="8753384"/>
                </a:cubicBezTo>
                <a:cubicBezTo>
                  <a:pt x="2436286" y="8742484"/>
                  <a:pt x="2429052" y="8777822"/>
                  <a:pt x="2408356" y="8795677"/>
                </a:cubicBezTo>
                <a:cubicBezTo>
                  <a:pt x="2389108" y="8806464"/>
                  <a:pt x="2374954" y="8825658"/>
                  <a:pt x="2353535" y="8847047"/>
                </a:cubicBezTo>
                <a:cubicBezTo>
                  <a:pt x="2353158" y="8832242"/>
                  <a:pt x="2356051" y="8818107"/>
                  <a:pt x="2357121" y="8796234"/>
                </a:cubicBezTo>
                <a:cubicBezTo>
                  <a:pt x="2352026" y="8787827"/>
                  <a:pt x="2341112" y="8774548"/>
                  <a:pt x="2330198" y="8761267"/>
                </a:cubicBezTo>
                <a:cubicBezTo>
                  <a:pt x="2342182" y="8752675"/>
                  <a:pt x="2353442" y="8747615"/>
                  <a:pt x="2362154" y="8738353"/>
                </a:cubicBezTo>
                <a:cubicBezTo>
                  <a:pt x="2367972" y="8743226"/>
                  <a:pt x="2369797" y="8750964"/>
                  <a:pt x="2378163" y="8760041"/>
                </a:cubicBezTo>
                <a:cubicBezTo>
                  <a:pt x="2385051" y="8743041"/>
                  <a:pt x="2387945" y="8728906"/>
                  <a:pt x="2394110" y="8715440"/>
                </a:cubicBezTo>
                <a:cubicBezTo>
                  <a:pt x="2381372" y="8694422"/>
                  <a:pt x="2343220" y="8697658"/>
                  <a:pt x="2283650" y="8722282"/>
                </a:cubicBezTo>
                <a:cubicBezTo>
                  <a:pt x="2294564" y="8735562"/>
                  <a:pt x="2306200" y="8745309"/>
                  <a:pt x="2315290" y="8750852"/>
                </a:cubicBezTo>
                <a:cubicBezTo>
                  <a:pt x="2274968" y="8764689"/>
                  <a:pt x="2234647" y="8778525"/>
                  <a:pt x="2194325" y="8792363"/>
                </a:cubicBezTo>
                <a:cubicBezTo>
                  <a:pt x="2178694" y="8785481"/>
                  <a:pt x="2163785" y="8775065"/>
                  <a:pt x="2148154" y="8768183"/>
                </a:cubicBezTo>
                <a:cubicBezTo>
                  <a:pt x="2153218" y="8743446"/>
                  <a:pt x="2157558" y="8722243"/>
                  <a:pt x="2161899" y="8701040"/>
                </a:cubicBezTo>
                <a:cubicBezTo>
                  <a:pt x="2156080" y="8696167"/>
                  <a:pt x="2153533" y="8691964"/>
                  <a:pt x="2150262" y="8691294"/>
                </a:cubicBezTo>
                <a:cubicBezTo>
                  <a:pt x="2144821" y="8701226"/>
                  <a:pt x="2135385" y="8714022"/>
                  <a:pt x="2129943" y="8723954"/>
                </a:cubicBezTo>
                <a:cubicBezTo>
                  <a:pt x="2126673" y="8723284"/>
                  <a:pt x="2124125" y="8719081"/>
                  <a:pt x="2124848" y="8715547"/>
                </a:cubicBezTo>
                <a:cubicBezTo>
                  <a:pt x="2121231" y="8733216"/>
                  <a:pt x="2117614" y="8750885"/>
                  <a:pt x="2113997" y="8768555"/>
                </a:cubicBezTo>
                <a:cubicBezTo>
                  <a:pt x="2092924" y="8771604"/>
                  <a:pt x="2071851" y="8774654"/>
                  <a:pt x="2047507" y="8777035"/>
                </a:cubicBezTo>
                <a:lnTo>
                  <a:pt x="2035364" y="8743866"/>
                </a:lnTo>
                <a:lnTo>
                  <a:pt x="2048923" y="8736823"/>
                </a:lnTo>
                <a:cubicBezTo>
                  <a:pt x="2049646" y="8733289"/>
                  <a:pt x="2046375" y="8732620"/>
                  <a:pt x="2047099" y="8729086"/>
                </a:cubicBezTo>
                <a:cubicBezTo>
                  <a:pt x="2043104" y="8731950"/>
                  <a:pt x="2038386" y="8738348"/>
                  <a:pt x="2034392" y="8741213"/>
                </a:cubicBezTo>
                <a:cubicBezTo>
                  <a:pt x="2024579" y="8739204"/>
                  <a:pt x="2010771" y="8740059"/>
                  <a:pt x="2005676" y="8731651"/>
                </a:cubicBezTo>
                <a:cubicBezTo>
                  <a:pt x="1991838" y="8699363"/>
                  <a:pt x="1978723" y="8663541"/>
                  <a:pt x="1959789" y="8622846"/>
                </a:cubicBezTo>
                <a:cubicBezTo>
                  <a:pt x="1932897" y="8621022"/>
                  <a:pt x="1905220" y="8556445"/>
                  <a:pt x="1844580" y="8602942"/>
                </a:cubicBezTo>
                <a:cubicBezTo>
                  <a:pt x="1853261" y="8560536"/>
                  <a:pt x="1851406" y="8519655"/>
                  <a:pt x="1870278" y="8494063"/>
                </a:cubicBezTo>
                <a:cubicBezTo>
                  <a:pt x="1887325" y="8460734"/>
                  <a:pt x="1872040" y="8435513"/>
                  <a:pt x="1884369" y="8408581"/>
                </a:cubicBezTo>
                <a:cubicBezTo>
                  <a:pt x="1895629" y="8403523"/>
                  <a:pt x="1910160" y="8399133"/>
                  <a:pt x="1924691" y="8394744"/>
                </a:cubicBezTo>
                <a:cubicBezTo>
                  <a:pt x="1917771" y="8378599"/>
                  <a:pt x="1914123" y="8363125"/>
                  <a:pt x="1907927" y="8343447"/>
                </a:cubicBezTo>
                <a:cubicBezTo>
                  <a:pt x="1897768" y="8359777"/>
                  <a:pt x="1889056" y="8369039"/>
                  <a:pt x="1878897" y="8385369"/>
                </a:cubicBezTo>
                <a:cubicBezTo>
                  <a:pt x="1850527" y="8357470"/>
                  <a:pt x="1825429" y="8330240"/>
                  <a:pt x="1795235" y="8294603"/>
                </a:cubicBezTo>
                <a:cubicBezTo>
                  <a:pt x="1822127" y="8296427"/>
                  <a:pt x="1835934" y="8295571"/>
                  <a:pt x="1853012" y="8295386"/>
                </a:cubicBezTo>
                <a:cubicBezTo>
                  <a:pt x="1857730" y="8288988"/>
                  <a:pt x="1859901" y="8278386"/>
                  <a:pt x="1862794" y="8264251"/>
                </a:cubicBezTo>
                <a:cubicBezTo>
                  <a:pt x="1839897" y="8259564"/>
                  <a:pt x="1820271" y="8255546"/>
                  <a:pt x="1790832" y="8249519"/>
                </a:cubicBezTo>
                <a:cubicBezTo>
                  <a:pt x="1820617" y="8237207"/>
                  <a:pt x="1835872" y="8229284"/>
                  <a:pt x="1858392" y="8219166"/>
                </a:cubicBezTo>
                <a:cubicBezTo>
                  <a:pt x="1846754" y="8209420"/>
                  <a:pt x="1835117" y="8199674"/>
                  <a:pt x="1826028" y="8194131"/>
                </a:cubicBezTo>
                <a:cubicBezTo>
                  <a:pt x="1827475" y="8187063"/>
                  <a:pt x="1828921" y="8179996"/>
                  <a:pt x="1830368" y="8172928"/>
                </a:cubicBezTo>
                <a:cubicBezTo>
                  <a:pt x="1840905" y="8171403"/>
                  <a:pt x="1851441" y="8169879"/>
                  <a:pt x="1865972" y="8165489"/>
                </a:cubicBezTo>
                <a:cubicBezTo>
                  <a:pt x="1855782" y="8148675"/>
                  <a:pt x="1849586" y="8128997"/>
                  <a:pt x="1837571" y="8104445"/>
                </a:cubicBezTo>
                <a:cubicBezTo>
                  <a:pt x="1855373" y="8100726"/>
                  <a:pt x="1866633" y="8095668"/>
                  <a:pt x="1880441" y="8094812"/>
                </a:cubicBezTo>
                <a:cubicBezTo>
                  <a:pt x="1874245" y="8075134"/>
                  <a:pt x="1868772" y="8051922"/>
                  <a:pt x="1862576" y="8032244"/>
                </a:cubicBezTo>
                <a:cubicBezTo>
                  <a:pt x="1871289" y="8022982"/>
                  <a:pt x="1883272" y="8014389"/>
                  <a:pt x="1902521" y="8003602"/>
                </a:cubicBezTo>
                <a:cubicBezTo>
                  <a:pt x="1903213" y="7966924"/>
                  <a:pt x="1903906" y="7930247"/>
                  <a:pt x="1904220" y="7878764"/>
                </a:cubicBezTo>
                <a:cubicBezTo>
                  <a:pt x="1882802" y="7900153"/>
                  <a:pt x="1863553" y="7910940"/>
                  <a:pt x="1849399" y="7930134"/>
                </a:cubicBezTo>
                <a:cubicBezTo>
                  <a:pt x="1831975" y="7948659"/>
                  <a:pt x="1814550" y="7967183"/>
                  <a:pt x="1803667" y="7987046"/>
                </a:cubicBezTo>
                <a:cubicBezTo>
                  <a:pt x="1793508" y="8003377"/>
                  <a:pt x="1777530" y="8014834"/>
                  <a:pt x="1788098" y="8046453"/>
                </a:cubicBezTo>
                <a:cubicBezTo>
                  <a:pt x="1792470" y="8058393"/>
                  <a:pt x="1766333" y="8086180"/>
                  <a:pt x="1754727" y="8109578"/>
                </a:cubicBezTo>
                <a:cubicBezTo>
                  <a:pt x="1739441" y="8084357"/>
                  <a:pt x="1724156" y="8059137"/>
                  <a:pt x="1705599" y="8033246"/>
                </a:cubicBezTo>
                <a:cubicBezTo>
                  <a:pt x="1715035" y="8020449"/>
                  <a:pt x="1723747" y="8011187"/>
                  <a:pt x="1733183" y="7998391"/>
                </a:cubicBezTo>
                <a:cubicBezTo>
                  <a:pt x="1728811" y="7986451"/>
                  <a:pt x="1725887" y="7967442"/>
                  <a:pt x="1722962" y="7948434"/>
                </a:cubicBezTo>
                <a:cubicBezTo>
                  <a:pt x="1733498" y="7946908"/>
                  <a:pt x="1744035" y="7945383"/>
                  <a:pt x="1757842" y="7944528"/>
                </a:cubicBezTo>
                <a:cubicBezTo>
                  <a:pt x="1760736" y="7930393"/>
                  <a:pt x="1763630" y="7916257"/>
                  <a:pt x="1765800" y="7905656"/>
                </a:cubicBezTo>
                <a:cubicBezTo>
                  <a:pt x="1781778" y="7894199"/>
                  <a:pt x="1794484" y="7882073"/>
                  <a:pt x="1810462" y="7870616"/>
                </a:cubicBezTo>
                <a:cubicBezTo>
                  <a:pt x="1776589" y="7786361"/>
                  <a:pt x="1855031" y="7736144"/>
                  <a:pt x="1866952" y="7661264"/>
                </a:cubicBezTo>
                <a:cubicBezTo>
                  <a:pt x="1877489" y="7659739"/>
                  <a:pt x="1888025" y="7658214"/>
                  <a:pt x="1891296" y="7658884"/>
                </a:cubicBezTo>
                <a:cubicBezTo>
                  <a:pt x="1910168" y="7633291"/>
                  <a:pt x="1925045" y="7610563"/>
                  <a:pt x="1953352" y="7572175"/>
                </a:cubicBezTo>
                <a:cubicBezTo>
                  <a:pt x="1954075" y="7568641"/>
                  <a:pt x="1959863" y="7540371"/>
                  <a:pt x="1964203" y="7519167"/>
                </a:cubicBezTo>
                <a:cubicBezTo>
                  <a:pt x="1980181" y="7507711"/>
                  <a:pt x="1992165" y="7499118"/>
                  <a:pt x="2004148" y="7490525"/>
                </a:cubicBezTo>
                <a:cubicBezTo>
                  <a:pt x="2007765" y="7472856"/>
                  <a:pt x="2012106" y="7451653"/>
                  <a:pt x="2018994" y="7434653"/>
                </a:cubicBezTo>
                <a:cubicBezTo>
                  <a:pt x="2040790" y="7428069"/>
                  <a:pt x="2059315" y="7420816"/>
                  <a:pt x="2069852" y="7419291"/>
                </a:cubicBezTo>
                <a:cubicBezTo>
                  <a:pt x="2137380" y="7355795"/>
                  <a:pt x="2196919" y="7298027"/>
                  <a:pt x="2256459" y="7240258"/>
                </a:cubicBezTo>
                <a:cubicBezTo>
                  <a:pt x="2268442" y="7231666"/>
                  <a:pt x="2274607" y="7218200"/>
                  <a:pt x="2283319" y="7208937"/>
                </a:cubicBezTo>
                <a:cubicBezTo>
                  <a:pt x="2334524" y="7175237"/>
                  <a:pt x="2346507" y="7166644"/>
                  <a:pt x="2370820" y="7131120"/>
                </a:cubicBezTo>
                <a:cubicBezTo>
                  <a:pt x="2395163" y="7128740"/>
                  <a:pt x="2424256" y="7153105"/>
                  <a:pt x="2449293" y="7114047"/>
                </a:cubicBezTo>
                <a:cubicBezTo>
                  <a:pt x="2452186" y="7099912"/>
                  <a:pt x="2459074" y="7082912"/>
                  <a:pt x="2462692" y="7065243"/>
                </a:cubicBezTo>
                <a:cubicBezTo>
                  <a:pt x="2477946" y="7057320"/>
                  <a:pt x="2489206" y="7052261"/>
                  <a:pt x="2518991" y="7039949"/>
                </a:cubicBezTo>
                <a:cubicBezTo>
                  <a:pt x="2484457" y="7025515"/>
                  <a:pt x="2465554" y="7017964"/>
                  <a:pt x="2449199" y="7014616"/>
                </a:cubicBezTo>
                <a:cubicBezTo>
                  <a:pt x="2442280" y="6998471"/>
                  <a:pt x="2434637" y="6985861"/>
                  <a:pt x="2420075" y="6957106"/>
                </a:cubicBezTo>
                <a:cubicBezTo>
                  <a:pt x="2414288" y="6985377"/>
                  <a:pt x="2411394" y="6999512"/>
                  <a:pt x="2407053" y="7020715"/>
                </a:cubicBezTo>
                <a:cubicBezTo>
                  <a:pt x="2412149" y="7029123"/>
                  <a:pt x="2419791" y="7041733"/>
                  <a:pt x="2429982" y="7058546"/>
                </a:cubicBezTo>
                <a:cubicBezTo>
                  <a:pt x="2418722" y="7063605"/>
                  <a:pt x="2408909" y="7061597"/>
                  <a:pt x="2397649" y="7066655"/>
                </a:cubicBezTo>
                <a:cubicBezTo>
                  <a:pt x="2394378" y="7065986"/>
                  <a:pt x="2389660" y="7072384"/>
                  <a:pt x="2385666" y="7075248"/>
                </a:cubicBezTo>
                <a:cubicBezTo>
                  <a:pt x="2372928" y="7054231"/>
                  <a:pt x="2356919" y="7032544"/>
                  <a:pt x="2341633" y="7007323"/>
                </a:cubicBezTo>
                <a:cubicBezTo>
                  <a:pt x="2335846" y="7035594"/>
                  <a:pt x="2332229" y="7053263"/>
                  <a:pt x="2326441" y="7081533"/>
                </a:cubicBezTo>
                <a:cubicBezTo>
                  <a:pt x="2306815" y="7077516"/>
                  <a:pt x="2287189" y="7073498"/>
                  <a:pt x="2266840" y="7073014"/>
                </a:cubicBezTo>
                <a:cubicBezTo>
                  <a:pt x="2255580" y="7078073"/>
                  <a:pt x="2242873" y="7090199"/>
                  <a:pt x="2230166" y="7102326"/>
                </a:cubicBezTo>
                <a:cubicBezTo>
                  <a:pt x="2244351" y="7116275"/>
                  <a:pt x="2255265" y="7129556"/>
                  <a:pt x="2273821" y="7155446"/>
                </a:cubicBezTo>
                <a:cubicBezTo>
                  <a:pt x="2243659" y="7152953"/>
                  <a:pt x="2229851" y="7153809"/>
                  <a:pt x="2226580" y="7153139"/>
                </a:cubicBezTo>
                <a:cubicBezTo>
                  <a:pt x="2187328" y="7145103"/>
                  <a:pt x="2219976" y="7085512"/>
                  <a:pt x="2171288" y="7090272"/>
                </a:cubicBezTo>
                <a:cubicBezTo>
                  <a:pt x="2175660" y="7102213"/>
                  <a:pt x="2177484" y="7109951"/>
                  <a:pt x="2181856" y="7121891"/>
                </a:cubicBezTo>
                <a:cubicBezTo>
                  <a:pt x="2176414" y="7131823"/>
                  <a:pt x="2167702" y="7141086"/>
                  <a:pt x="2158266" y="7153882"/>
                </a:cubicBezTo>
                <a:cubicBezTo>
                  <a:pt x="2167356" y="7159424"/>
                  <a:pt x="2176446" y="7164967"/>
                  <a:pt x="2188083" y="7174713"/>
                </a:cubicBezTo>
                <a:cubicBezTo>
                  <a:pt x="2178647" y="7187509"/>
                  <a:pt x="2169211" y="7200306"/>
                  <a:pt x="2159776" y="7213102"/>
                </a:cubicBezTo>
                <a:cubicBezTo>
                  <a:pt x="2142320" y="7198483"/>
                  <a:pt x="2128135" y="7184533"/>
                  <a:pt x="2110679" y="7169914"/>
                </a:cubicBezTo>
                <a:cubicBezTo>
                  <a:pt x="2105238" y="7179846"/>
                  <a:pt x="2096525" y="7189108"/>
                  <a:pt x="2091084" y="7199039"/>
                </a:cubicBezTo>
                <a:cubicBezTo>
                  <a:pt x="2094355" y="7199709"/>
                  <a:pt x="2100174" y="7204583"/>
                  <a:pt x="2115082" y="7214998"/>
                </a:cubicBezTo>
                <a:cubicBezTo>
                  <a:pt x="2095833" y="7225785"/>
                  <a:pt x="2077308" y="7233039"/>
                  <a:pt x="2054065" y="7246690"/>
                </a:cubicBezTo>
                <a:cubicBezTo>
                  <a:pt x="2001005" y="7239510"/>
                  <a:pt x="2001005" y="7239510"/>
                  <a:pt x="1938164" y="7263465"/>
                </a:cubicBezTo>
                <a:cubicBezTo>
                  <a:pt x="1937063" y="7252193"/>
                  <a:pt x="1939233" y="7241592"/>
                  <a:pt x="1941404" y="7230991"/>
                </a:cubicBezTo>
                <a:cubicBezTo>
                  <a:pt x="1940303" y="7219719"/>
                  <a:pt x="1945744" y="7209787"/>
                  <a:pt x="1950808" y="7185050"/>
                </a:cubicBezTo>
                <a:cubicBezTo>
                  <a:pt x="1935554" y="7192974"/>
                  <a:pt x="1927565" y="7198702"/>
                  <a:pt x="1919576" y="7204430"/>
                </a:cubicBezTo>
                <a:cubicBezTo>
                  <a:pt x="1909040" y="7205955"/>
                  <a:pt x="1902498" y="7204616"/>
                  <a:pt x="1877430" y="7210530"/>
                </a:cubicBezTo>
                <a:cubicBezTo>
                  <a:pt x="1897434" y="7229353"/>
                  <a:pt x="1909071" y="7239099"/>
                  <a:pt x="1920708" y="7248845"/>
                </a:cubicBezTo>
                <a:cubicBezTo>
                  <a:pt x="1912719" y="7254574"/>
                  <a:pt x="1904730" y="7260302"/>
                  <a:pt x="1900012" y="7266700"/>
                </a:cubicBezTo>
                <a:cubicBezTo>
                  <a:pt x="1909102" y="7272243"/>
                  <a:pt x="1914921" y="7277116"/>
                  <a:pt x="1927281" y="7283329"/>
                </a:cubicBezTo>
                <a:cubicBezTo>
                  <a:pt x="1923287" y="7286193"/>
                  <a:pt x="1922563" y="7289726"/>
                  <a:pt x="1918569" y="7292591"/>
                </a:cubicBezTo>
                <a:cubicBezTo>
                  <a:pt x="1903692" y="7315319"/>
                  <a:pt x="1885512" y="7304233"/>
                  <a:pt x="1865163" y="7303749"/>
                </a:cubicBezTo>
                <a:cubicBezTo>
                  <a:pt x="1848085" y="7303935"/>
                  <a:pt x="1831383" y="7318926"/>
                  <a:pt x="1812858" y="7326179"/>
                </a:cubicBezTo>
                <a:cubicBezTo>
                  <a:pt x="1804492" y="7317103"/>
                  <a:pt x="1792855" y="7307356"/>
                  <a:pt x="1777947" y="7296941"/>
                </a:cubicBezTo>
                <a:cubicBezTo>
                  <a:pt x="1780117" y="7286339"/>
                  <a:pt x="1783011" y="7272204"/>
                  <a:pt x="1785181" y="7261602"/>
                </a:cubicBezTo>
                <a:cubicBezTo>
                  <a:pt x="1777538" y="7248992"/>
                  <a:pt x="1769895" y="7236382"/>
                  <a:pt x="1764800" y="7227974"/>
                </a:cubicBezTo>
                <a:cubicBezTo>
                  <a:pt x="1755365" y="7240771"/>
                  <a:pt x="1745929" y="7253567"/>
                  <a:pt x="1732499" y="7269227"/>
                </a:cubicBezTo>
                <a:cubicBezTo>
                  <a:pt x="1740865" y="7278304"/>
                  <a:pt x="1751779" y="7291584"/>
                  <a:pt x="1768511" y="7309737"/>
                </a:cubicBezTo>
                <a:cubicBezTo>
                  <a:pt x="1740550" y="7329786"/>
                  <a:pt x="1720578" y="7344107"/>
                  <a:pt x="1701329" y="7354895"/>
                </a:cubicBezTo>
                <a:cubicBezTo>
                  <a:pt x="1707147" y="7359768"/>
                  <a:pt x="1716237" y="7365311"/>
                  <a:pt x="1736964" y="7380599"/>
                </a:cubicBezTo>
                <a:cubicBezTo>
                  <a:pt x="1703530" y="7377437"/>
                  <a:pt x="1683181" y="7376953"/>
                  <a:pt x="1662831" y="7376469"/>
                </a:cubicBezTo>
                <a:cubicBezTo>
                  <a:pt x="1653395" y="7389265"/>
                  <a:pt x="1643236" y="7405595"/>
                  <a:pt x="1633077" y="7421925"/>
                </a:cubicBezTo>
                <a:cubicBezTo>
                  <a:pt x="1609079" y="7405967"/>
                  <a:pt x="1585082" y="7390008"/>
                  <a:pt x="1561084" y="7374050"/>
                </a:cubicBezTo>
                <a:cubicBezTo>
                  <a:pt x="1560360" y="7377583"/>
                  <a:pt x="1554919" y="7387515"/>
                  <a:pt x="1550201" y="7393913"/>
                </a:cubicBezTo>
                <a:cubicBezTo>
                  <a:pt x="1561838" y="7403660"/>
                  <a:pt x="1570205" y="7412736"/>
                  <a:pt x="1579294" y="7418279"/>
                </a:cubicBezTo>
                <a:cubicBezTo>
                  <a:pt x="1569858" y="7431075"/>
                  <a:pt x="1560423" y="7443871"/>
                  <a:pt x="1550263" y="7460201"/>
                </a:cubicBezTo>
                <a:cubicBezTo>
                  <a:pt x="1521517" y="7417497"/>
                  <a:pt x="1483743" y="7435537"/>
                  <a:pt x="1444144" y="7445840"/>
                </a:cubicBezTo>
                <a:cubicBezTo>
                  <a:pt x="1445969" y="7453578"/>
                  <a:pt x="1447793" y="7461315"/>
                  <a:pt x="1452164" y="7473256"/>
                </a:cubicBezTo>
                <a:cubicBezTo>
                  <a:pt x="1441628" y="7474781"/>
                  <a:pt x="1435086" y="7473441"/>
                  <a:pt x="1428544" y="7472102"/>
                </a:cubicBezTo>
                <a:cubicBezTo>
                  <a:pt x="1420524" y="7444687"/>
                  <a:pt x="1415051" y="7421475"/>
                  <a:pt x="1408478" y="7386992"/>
                </a:cubicBezTo>
                <a:cubicBezTo>
                  <a:pt x="1378347" y="7417643"/>
                  <a:pt x="1331798" y="7378658"/>
                  <a:pt x="1311134" y="7429657"/>
                </a:cubicBezTo>
                <a:cubicBezTo>
                  <a:pt x="1305315" y="7424784"/>
                  <a:pt x="1299497" y="7419911"/>
                  <a:pt x="1287859" y="7410165"/>
                </a:cubicBezTo>
                <a:cubicBezTo>
                  <a:pt x="1261345" y="7423146"/>
                  <a:pt x="1228289" y="7434789"/>
                  <a:pt x="1191238" y="7449296"/>
                </a:cubicBezTo>
                <a:cubicBezTo>
                  <a:pt x="1188345" y="7463431"/>
                  <a:pt x="1182180" y="7476897"/>
                  <a:pt x="1174568" y="7497430"/>
                </a:cubicBezTo>
                <a:cubicBezTo>
                  <a:pt x="1166925" y="7484820"/>
                  <a:pt x="1164378" y="7480617"/>
                  <a:pt x="1159283" y="7472209"/>
                </a:cubicBezTo>
                <a:cubicBezTo>
                  <a:pt x="1146576" y="7484336"/>
                  <a:pt x="1134593" y="7492929"/>
                  <a:pt x="1121162" y="7508589"/>
                </a:cubicBezTo>
                <a:cubicBezTo>
                  <a:pt x="1136071" y="7519005"/>
                  <a:pt x="1144437" y="7528082"/>
                  <a:pt x="1161893" y="7542700"/>
                </a:cubicBezTo>
                <a:cubicBezTo>
                  <a:pt x="1138272" y="7541547"/>
                  <a:pt x="1125188" y="7538869"/>
                  <a:pt x="1108110" y="7539054"/>
                </a:cubicBezTo>
                <a:cubicBezTo>
                  <a:pt x="1084143" y="7556239"/>
                  <a:pt x="1059453" y="7576959"/>
                  <a:pt x="1031492" y="7597008"/>
                </a:cubicBezTo>
                <a:cubicBezTo>
                  <a:pt x="1002053" y="7590982"/>
                  <a:pt x="1001298" y="7561372"/>
                  <a:pt x="998373" y="7542363"/>
                </a:cubicBezTo>
                <a:cubicBezTo>
                  <a:pt x="979471" y="7534811"/>
                  <a:pt x="961292" y="7523726"/>
                  <a:pt x="940942" y="7523242"/>
                </a:cubicBezTo>
                <a:cubicBezTo>
                  <a:pt x="918045" y="7518555"/>
                  <a:pt x="895525" y="7528672"/>
                  <a:pt x="871181" y="7531053"/>
                </a:cubicBezTo>
                <a:cubicBezTo>
                  <a:pt x="868288" y="7545188"/>
                  <a:pt x="865394" y="7559324"/>
                  <a:pt x="863224" y="7569925"/>
                </a:cubicBezTo>
                <a:cubicBezTo>
                  <a:pt x="877408" y="7583874"/>
                  <a:pt x="891593" y="7597824"/>
                  <a:pt x="905778" y="7611774"/>
                </a:cubicBezTo>
                <a:cubicBezTo>
                  <a:pt x="893794" y="7620367"/>
                  <a:pt x="885806" y="7626095"/>
                  <a:pt x="877817" y="7631824"/>
                </a:cubicBezTo>
                <a:cubicBezTo>
                  <a:pt x="865456" y="7625611"/>
                  <a:pt x="853819" y="7615865"/>
                  <a:pt x="837464" y="7612517"/>
                </a:cubicBezTo>
                <a:cubicBezTo>
                  <a:pt x="805477" y="7602287"/>
                  <a:pt x="772044" y="7599124"/>
                  <a:pt x="742951" y="7574759"/>
                </a:cubicBezTo>
                <a:cubicBezTo>
                  <a:pt x="725495" y="7560139"/>
                  <a:pt x="686620" y="7566909"/>
                  <a:pt x="660829" y="7576357"/>
                </a:cubicBezTo>
                <a:cubicBezTo>
                  <a:pt x="628497" y="7584466"/>
                  <a:pt x="601605" y="7582642"/>
                  <a:pt x="572890" y="7573082"/>
                </a:cubicBezTo>
                <a:cubicBezTo>
                  <a:pt x="485296" y="7551468"/>
                  <a:pt x="485296" y="7551468"/>
                  <a:pt x="411194" y="7580482"/>
                </a:cubicBezTo>
                <a:cubicBezTo>
                  <a:pt x="365369" y="7537963"/>
                  <a:pt x="320267" y="7491911"/>
                  <a:pt x="285325" y="7429528"/>
                </a:cubicBezTo>
                <a:cubicBezTo>
                  <a:pt x="282777" y="7425325"/>
                  <a:pt x="289665" y="7408325"/>
                  <a:pt x="292559" y="7394190"/>
                </a:cubicBezTo>
                <a:cubicBezTo>
                  <a:pt x="303096" y="7392665"/>
                  <a:pt x="313632" y="7391140"/>
                  <a:pt x="324168" y="7389615"/>
                </a:cubicBezTo>
                <a:cubicBezTo>
                  <a:pt x="328509" y="7368412"/>
                  <a:pt x="332850" y="7347209"/>
                  <a:pt x="337914" y="7322472"/>
                </a:cubicBezTo>
                <a:cubicBezTo>
                  <a:pt x="324106" y="7323327"/>
                  <a:pt x="315017" y="7317785"/>
                  <a:pt x="310299" y="7324183"/>
                </a:cubicBezTo>
                <a:cubicBezTo>
                  <a:pt x="297592" y="7336309"/>
                  <a:pt x="287433" y="7352639"/>
                  <a:pt x="269285" y="7374697"/>
                </a:cubicBezTo>
                <a:cubicBezTo>
                  <a:pt x="265983" y="7340884"/>
                  <a:pt x="264505" y="7314808"/>
                  <a:pt x="262303" y="7292266"/>
                </a:cubicBezTo>
                <a:cubicBezTo>
                  <a:pt x="257900" y="7247181"/>
                  <a:pt x="248811" y="7241638"/>
                  <a:pt x="187416" y="7258525"/>
                </a:cubicBezTo>
                <a:cubicBezTo>
                  <a:pt x="185592" y="7250788"/>
                  <a:pt x="181220" y="7238847"/>
                  <a:pt x="176125" y="7230441"/>
                </a:cubicBezTo>
                <a:cubicBezTo>
                  <a:pt x="176849" y="7226906"/>
                  <a:pt x="177572" y="7223373"/>
                  <a:pt x="175748" y="7215635"/>
                </a:cubicBezTo>
                <a:cubicBezTo>
                  <a:pt x="180466" y="7209237"/>
                  <a:pt x="188455" y="7203509"/>
                  <a:pt x="197891" y="7190713"/>
                </a:cubicBezTo>
                <a:cubicBezTo>
                  <a:pt x="168798" y="7166347"/>
                  <a:pt x="136434" y="7141312"/>
                  <a:pt x="104793" y="7112743"/>
                </a:cubicBezTo>
                <a:cubicBezTo>
                  <a:pt x="100799" y="7115607"/>
                  <a:pt x="93533" y="7117802"/>
                  <a:pt x="85544" y="7123530"/>
                </a:cubicBezTo>
                <a:cubicBezTo>
                  <a:pt x="83720" y="7115793"/>
                  <a:pt x="81896" y="7108056"/>
                  <a:pt x="80796" y="7096784"/>
                </a:cubicBezTo>
                <a:cubicBezTo>
                  <a:pt x="106586" y="7087336"/>
                  <a:pt x="131654" y="7081423"/>
                  <a:pt x="171975" y="7067585"/>
                </a:cubicBezTo>
                <a:cubicBezTo>
                  <a:pt x="109795" y="7021719"/>
                  <a:pt x="48715" y="6987123"/>
                  <a:pt x="57712" y="6893234"/>
                </a:cubicBezTo>
                <a:cubicBezTo>
                  <a:pt x="70419" y="6881108"/>
                  <a:pt x="87120" y="6866117"/>
                  <a:pt x="103821" y="6851127"/>
                </a:cubicBezTo>
                <a:cubicBezTo>
                  <a:pt x="100173" y="6835651"/>
                  <a:pt x="95801" y="6823711"/>
                  <a:pt x="88882" y="6807567"/>
                </a:cubicBezTo>
                <a:cubicBezTo>
                  <a:pt x="111055" y="6815788"/>
                  <a:pt x="135399" y="6813407"/>
                  <a:pt x="147414" y="6837959"/>
                </a:cubicBezTo>
                <a:cubicBezTo>
                  <a:pt x="146690" y="6841493"/>
                  <a:pt x="160498" y="6840637"/>
                  <a:pt x="167763" y="6838443"/>
                </a:cubicBezTo>
                <a:cubicBezTo>
                  <a:pt x="170657" y="6824308"/>
                  <a:pt x="173550" y="6810172"/>
                  <a:pt x="176444" y="6796037"/>
                </a:cubicBezTo>
                <a:cubicBezTo>
                  <a:pt x="158265" y="6784951"/>
                  <a:pt x="139362" y="6777400"/>
                  <a:pt x="121183" y="6766314"/>
                </a:cubicBezTo>
                <a:cubicBezTo>
                  <a:pt x="112471" y="6775576"/>
                  <a:pt x="103759" y="6784839"/>
                  <a:pt x="88882" y="6807567"/>
                </a:cubicBezTo>
                <a:cubicBezTo>
                  <a:pt x="71803" y="6807752"/>
                  <a:pt x="50353" y="6795997"/>
                  <a:pt x="32928" y="6814522"/>
                </a:cubicBezTo>
                <a:cubicBezTo>
                  <a:pt x="24562" y="6805445"/>
                  <a:pt x="19467" y="6797038"/>
                  <a:pt x="15095" y="6785098"/>
                </a:cubicBezTo>
                <a:cubicBezTo>
                  <a:pt x="27802" y="6772971"/>
                  <a:pt x="43780" y="6761514"/>
                  <a:pt x="55763" y="6752921"/>
                </a:cubicBezTo>
                <a:cubicBezTo>
                  <a:pt x="35383" y="6719294"/>
                  <a:pt x="17550" y="6689869"/>
                  <a:pt x="6636" y="6676589"/>
                </a:cubicBezTo>
                <a:cubicBezTo>
                  <a:pt x="6227" y="6628641"/>
                  <a:pt x="28370" y="6603718"/>
                  <a:pt x="0" y="6575819"/>
                </a:cubicBezTo>
                <a:cubicBezTo>
                  <a:pt x="27961" y="6555769"/>
                  <a:pt x="55923" y="6535720"/>
                  <a:pt x="87878" y="6512806"/>
                </a:cubicBezTo>
                <a:cubicBezTo>
                  <a:pt x="78034" y="6477653"/>
                  <a:pt x="68190" y="6442501"/>
                  <a:pt x="59793" y="6400280"/>
                </a:cubicBezTo>
                <a:cubicBezTo>
                  <a:pt x="81589" y="6393696"/>
                  <a:pt x="104832" y="6380045"/>
                  <a:pt x="127352" y="6369927"/>
                </a:cubicBezTo>
                <a:cubicBezTo>
                  <a:pt x="134964" y="6349394"/>
                  <a:pt x="155659" y="6331539"/>
                  <a:pt x="124396" y="6317775"/>
                </a:cubicBezTo>
                <a:cubicBezTo>
                  <a:pt x="126566" y="6307173"/>
                  <a:pt x="128013" y="6300106"/>
                  <a:pt x="129460" y="6293038"/>
                </a:cubicBezTo>
                <a:cubicBezTo>
                  <a:pt x="155974" y="6280056"/>
                  <a:pt x="178494" y="6269939"/>
                  <a:pt x="197743" y="6259152"/>
                </a:cubicBezTo>
                <a:cubicBezTo>
                  <a:pt x="216960" y="6215221"/>
                  <a:pt x="230737" y="6181221"/>
                  <a:pt x="248508" y="6144358"/>
                </a:cubicBezTo>
                <a:cubicBezTo>
                  <a:pt x="253225" y="6137960"/>
                  <a:pt x="261214" y="6132231"/>
                  <a:pt x="268480" y="6130037"/>
                </a:cubicBezTo>
                <a:cubicBezTo>
                  <a:pt x="282287" y="6129181"/>
                  <a:pt x="295371" y="6131860"/>
                  <a:pt x="312450" y="6131674"/>
                </a:cubicBezTo>
                <a:cubicBezTo>
                  <a:pt x="332391" y="6084209"/>
                  <a:pt x="371612" y="6059101"/>
                  <a:pt x="405738" y="6025586"/>
                </a:cubicBezTo>
                <a:cubicBezTo>
                  <a:pt x="439140" y="5995605"/>
                  <a:pt x="466000" y="5964284"/>
                  <a:pt x="515412" y="5955990"/>
                </a:cubicBezTo>
                <a:cubicBezTo>
                  <a:pt x="519029" y="5938320"/>
                  <a:pt x="525194" y="5924854"/>
                  <a:pt x="532805" y="5904321"/>
                </a:cubicBezTo>
                <a:cubicBezTo>
                  <a:pt x="554602" y="5897737"/>
                  <a:pt x="573850" y="5886950"/>
                  <a:pt x="599641" y="5877502"/>
                </a:cubicBezTo>
                <a:cubicBezTo>
                  <a:pt x="606529" y="5860503"/>
                  <a:pt x="609423" y="5846367"/>
                  <a:pt x="617035" y="5825834"/>
                </a:cubicBezTo>
                <a:cubicBezTo>
                  <a:pt x="679530" y="5820218"/>
                  <a:pt x="710731" y="5767694"/>
                  <a:pt x="753569" y="5724917"/>
                </a:cubicBezTo>
                <a:cubicBezTo>
                  <a:pt x="766999" y="5709256"/>
                  <a:pt x="785871" y="5683664"/>
                  <a:pt x="802949" y="5683478"/>
                </a:cubicBezTo>
                <a:cubicBezTo>
                  <a:pt x="831288" y="5678234"/>
                  <a:pt x="843994" y="5666107"/>
                  <a:pt x="856324" y="5639176"/>
                </a:cubicBezTo>
                <a:cubicBezTo>
                  <a:pt x="865760" y="5626380"/>
                  <a:pt x="886455" y="5608524"/>
                  <a:pt x="899539" y="5611203"/>
                </a:cubicBezTo>
                <a:cubicBezTo>
                  <a:pt x="935520" y="5618569"/>
                  <a:pt x="942377" y="5568426"/>
                  <a:pt x="977258" y="5564520"/>
                </a:cubicBezTo>
                <a:cubicBezTo>
                  <a:pt x="1004873" y="5562810"/>
                  <a:pt x="1014277" y="5516870"/>
                  <a:pt x="1044440" y="5519363"/>
                </a:cubicBezTo>
                <a:cubicBezTo>
                  <a:pt x="1065828" y="5464830"/>
                  <a:pt x="1121058" y="5461409"/>
                  <a:pt x="1154083" y="5416622"/>
                </a:cubicBezTo>
                <a:cubicBezTo>
                  <a:pt x="1191164" y="5435259"/>
                  <a:pt x="1217301" y="5407472"/>
                  <a:pt x="1250704" y="5377491"/>
                </a:cubicBezTo>
                <a:cubicBezTo>
                  <a:pt x="1235796" y="5367075"/>
                  <a:pt x="1227429" y="5357999"/>
                  <a:pt x="1219063" y="5348922"/>
                </a:cubicBezTo>
                <a:cubicBezTo>
                  <a:pt x="1256114" y="5334416"/>
                  <a:pt x="1289894" y="5319239"/>
                  <a:pt x="1323673" y="5304062"/>
                </a:cubicBezTo>
                <a:cubicBezTo>
                  <a:pt x="1319648" y="5273783"/>
                  <a:pt x="1317446" y="5251241"/>
                  <a:pt x="1314868" y="5213893"/>
                </a:cubicBezTo>
                <a:cubicBezTo>
                  <a:pt x="1288731" y="5241680"/>
                  <a:pt x="1274577" y="5260874"/>
                  <a:pt x="1252435" y="5285797"/>
                </a:cubicBezTo>
                <a:cubicBezTo>
                  <a:pt x="1218278" y="5286168"/>
                  <a:pt x="1173584" y="5288064"/>
                  <a:pt x="1128891" y="5289961"/>
                </a:cubicBezTo>
                <a:cubicBezTo>
                  <a:pt x="1124173" y="5296359"/>
                  <a:pt x="1122003" y="5306961"/>
                  <a:pt x="1115838" y="5320427"/>
                </a:cubicBezTo>
                <a:cubicBezTo>
                  <a:pt x="1084575" y="5306662"/>
                  <a:pt x="1050040" y="5292229"/>
                  <a:pt x="1003146" y="5271583"/>
                </a:cubicBezTo>
                <a:cubicBezTo>
                  <a:pt x="1015884" y="5292600"/>
                  <a:pt x="1017708" y="5300338"/>
                  <a:pt x="1022803" y="5308744"/>
                </a:cubicBezTo>
                <a:cubicBezTo>
                  <a:pt x="1015537" y="5310939"/>
                  <a:pt x="1011543" y="5313804"/>
                  <a:pt x="1006825" y="5320201"/>
                </a:cubicBezTo>
                <a:cubicBezTo>
                  <a:pt x="1007926" y="5331473"/>
                  <a:pt x="1012298" y="5343413"/>
                  <a:pt x="1015946" y="5358888"/>
                </a:cubicBezTo>
                <a:cubicBezTo>
                  <a:pt x="994149" y="5365472"/>
                  <a:pt x="973800" y="5364988"/>
                  <a:pt x="955275" y="5372241"/>
                </a:cubicBezTo>
                <a:cubicBezTo>
                  <a:pt x="940020" y="5380164"/>
                  <a:pt x="929138" y="5400028"/>
                  <a:pt x="904794" y="5402409"/>
                </a:cubicBezTo>
                <a:cubicBezTo>
                  <a:pt x="912752" y="5363536"/>
                  <a:pt x="920709" y="5324664"/>
                  <a:pt x="929390" y="5282258"/>
                </a:cubicBezTo>
                <a:cubicBezTo>
                  <a:pt x="908318" y="5285308"/>
                  <a:pt x="893787" y="5289697"/>
                  <a:pt x="875985" y="5293416"/>
                </a:cubicBezTo>
                <a:cubicBezTo>
                  <a:pt x="869820" y="5306882"/>
                  <a:pt x="866203" y="5324551"/>
                  <a:pt x="861485" y="5330949"/>
                </a:cubicBezTo>
                <a:cubicBezTo>
                  <a:pt x="833839" y="5299516"/>
                  <a:pt x="806916" y="5264549"/>
                  <a:pt x="779994" y="5229582"/>
                </a:cubicBezTo>
                <a:cubicBezTo>
                  <a:pt x="748038" y="5252496"/>
                  <a:pt x="722594" y="5243605"/>
                  <a:pt x="706931" y="5203579"/>
                </a:cubicBezTo>
                <a:cubicBezTo>
                  <a:pt x="718191" y="5198521"/>
                  <a:pt x="733445" y="5190597"/>
                  <a:pt x="751247" y="5186878"/>
                </a:cubicBezTo>
                <a:cubicBezTo>
                  <a:pt x="746498" y="5160132"/>
                  <a:pt x="742850" y="5144657"/>
                  <a:pt x="739202" y="5129183"/>
                </a:cubicBezTo>
                <a:cubicBezTo>
                  <a:pt x="742473" y="5129852"/>
                  <a:pt x="749738" y="5127658"/>
                  <a:pt x="753009" y="5128327"/>
                </a:cubicBezTo>
                <a:cubicBezTo>
                  <a:pt x="751185" y="5120590"/>
                  <a:pt x="745366" y="5115717"/>
                  <a:pt x="742819" y="5111514"/>
                </a:cubicBezTo>
                <a:cubicBezTo>
                  <a:pt x="744989" y="5100912"/>
                  <a:pt x="750430" y="5090980"/>
                  <a:pt x="755872" y="5081048"/>
                </a:cubicBezTo>
                <a:cubicBezTo>
                  <a:pt x="761313" y="5071116"/>
                  <a:pt x="767478" y="5057651"/>
                  <a:pt x="776913" y="5044855"/>
                </a:cubicBezTo>
                <a:cubicBezTo>
                  <a:pt x="724577" y="5034141"/>
                  <a:pt x="731528" y="5083428"/>
                  <a:pt x="701742" y="5095741"/>
                </a:cubicBezTo>
                <a:cubicBezTo>
                  <a:pt x="719922" y="5106826"/>
                  <a:pt x="726464" y="5108165"/>
                  <a:pt x="742819" y="5111514"/>
                </a:cubicBezTo>
                <a:cubicBezTo>
                  <a:pt x="741372" y="5118581"/>
                  <a:pt x="740648" y="5122115"/>
                  <a:pt x="739202" y="5129183"/>
                </a:cubicBezTo>
                <a:cubicBezTo>
                  <a:pt x="715958" y="5142834"/>
                  <a:pt x="696710" y="5153622"/>
                  <a:pt x="673466" y="5167273"/>
                </a:cubicBezTo>
                <a:cubicBezTo>
                  <a:pt x="659282" y="5153323"/>
                  <a:pt x="645820" y="5135840"/>
                  <a:pt x="628396" y="5154364"/>
                </a:cubicBezTo>
                <a:cubicBezTo>
                  <a:pt x="611286" y="5121406"/>
                  <a:pt x="591629" y="5084244"/>
                  <a:pt x="577067" y="5055490"/>
                </a:cubicBezTo>
                <a:cubicBezTo>
                  <a:pt x="573041" y="5025210"/>
                  <a:pt x="570840" y="5002668"/>
                  <a:pt x="566814" y="4972388"/>
                </a:cubicBezTo>
                <a:cubicBezTo>
                  <a:pt x="577351" y="4970864"/>
                  <a:pt x="588611" y="4965805"/>
                  <a:pt x="603142" y="4961415"/>
                </a:cubicBezTo>
                <a:cubicBezTo>
                  <a:pt x="603142" y="4961415"/>
                  <a:pt x="605689" y="4965619"/>
                  <a:pt x="614055" y="4974695"/>
                </a:cubicBezTo>
                <a:cubicBezTo>
                  <a:pt x="615502" y="4967628"/>
                  <a:pt x="620220" y="4961230"/>
                  <a:pt x="624938" y="4954832"/>
                </a:cubicBezTo>
                <a:cubicBezTo>
                  <a:pt x="611477" y="4937348"/>
                  <a:pt x="601286" y="4920535"/>
                  <a:pt x="582730" y="4894644"/>
                </a:cubicBezTo>
                <a:cubicBezTo>
                  <a:pt x="569646" y="4891965"/>
                  <a:pt x="540207" y="4885939"/>
                  <a:pt x="514039" y="4880582"/>
                </a:cubicBezTo>
                <a:cubicBezTo>
                  <a:pt x="508220" y="4875709"/>
                  <a:pt x="508944" y="4872175"/>
                  <a:pt x="505673" y="4871505"/>
                </a:cubicBezTo>
                <a:cubicBezTo>
                  <a:pt x="521650" y="4860048"/>
                  <a:pt x="540899" y="4849261"/>
                  <a:pt x="560871" y="4834940"/>
                </a:cubicBezTo>
                <a:cubicBezTo>
                  <a:pt x="577226" y="4838288"/>
                  <a:pt x="596852" y="4842306"/>
                  <a:pt x="623020" y="4847663"/>
                </a:cubicBezTo>
                <a:cubicBezTo>
                  <a:pt x="632456" y="4834867"/>
                  <a:pt x="645886" y="4819207"/>
                  <a:pt x="662588" y="4804216"/>
                </a:cubicBezTo>
                <a:cubicBezTo>
                  <a:pt x="672401" y="4806224"/>
                  <a:pt x="688756" y="4809573"/>
                  <a:pt x="708382" y="4813590"/>
                </a:cubicBezTo>
                <a:cubicBezTo>
                  <a:pt x="725083" y="4798600"/>
                  <a:pt x="745779" y="4780745"/>
                  <a:pt x="757385" y="4757347"/>
                </a:cubicBezTo>
                <a:cubicBezTo>
                  <a:pt x="774840" y="4771966"/>
                  <a:pt x="786477" y="4781713"/>
                  <a:pt x="803210" y="4799866"/>
                </a:cubicBezTo>
                <a:cubicBezTo>
                  <a:pt x="806827" y="4782197"/>
                  <a:pt x="809721" y="4768061"/>
                  <a:pt x="815885" y="4754596"/>
                </a:cubicBezTo>
                <a:cubicBezTo>
                  <a:pt x="795536" y="4754112"/>
                  <a:pt x="779181" y="4750764"/>
                  <a:pt x="757385" y="4757347"/>
                </a:cubicBezTo>
                <a:cubicBezTo>
                  <a:pt x="738859" y="4764600"/>
                  <a:pt x="729392" y="4744253"/>
                  <a:pt x="719926" y="4723905"/>
                </a:cubicBezTo>
                <a:cubicBezTo>
                  <a:pt x="726090" y="4710440"/>
                  <a:pt x="734803" y="4701177"/>
                  <a:pt x="740244" y="4691245"/>
                </a:cubicBezTo>
                <a:cubicBezTo>
                  <a:pt x="720964" y="4668889"/>
                  <a:pt x="700268" y="4686743"/>
                  <a:pt x="678472" y="4693327"/>
                </a:cubicBezTo>
                <a:cubicBezTo>
                  <a:pt x="676648" y="4685590"/>
                  <a:pt x="674100" y="4681386"/>
                  <a:pt x="675547" y="4674319"/>
                </a:cubicBezTo>
                <a:cubicBezTo>
                  <a:pt x="670829" y="4680717"/>
                  <a:pt x="666835" y="4683581"/>
                  <a:pt x="662117" y="4689979"/>
                </a:cubicBezTo>
                <a:cubicBezTo>
                  <a:pt x="654851" y="4692174"/>
                  <a:pt x="646863" y="4697902"/>
                  <a:pt x="642145" y="4704301"/>
                </a:cubicBezTo>
                <a:cubicBezTo>
                  <a:pt x="620695" y="4692545"/>
                  <a:pt x="602515" y="4681460"/>
                  <a:pt x="581065" y="4669705"/>
                </a:cubicBezTo>
                <a:cubicBezTo>
                  <a:pt x="592294" y="4631502"/>
                  <a:pt x="605347" y="4601037"/>
                  <a:pt x="619123" y="4567038"/>
                </a:cubicBezTo>
                <a:cubicBezTo>
                  <a:pt x="637649" y="4559784"/>
                  <a:pt x="656897" y="4548997"/>
                  <a:pt x="680141" y="4535346"/>
                </a:cubicBezTo>
                <a:cubicBezTo>
                  <a:pt x="677216" y="4516337"/>
                  <a:pt x="677562" y="4497998"/>
                  <a:pt x="676084" y="4471922"/>
                </a:cubicBezTo>
                <a:cubicBezTo>
                  <a:pt x="679355" y="4472591"/>
                  <a:pt x="684796" y="4462660"/>
                  <a:pt x="696780" y="4454067"/>
                </a:cubicBezTo>
                <a:cubicBezTo>
                  <a:pt x="704045" y="4451873"/>
                  <a:pt x="712034" y="4446144"/>
                  <a:pt x="719299" y="4443950"/>
                </a:cubicBezTo>
                <a:cubicBezTo>
                  <a:pt x="725118" y="4448823"/>
                  <a:pt x="730213" y="4457230"/>
                  <a:pt x="741127" y="4470509"/>
                </a:cubicBezTo>
                <a:cubicBezTo>
                  <a:pt x="742196" y="4448637"/>
                  <a:pt x="743643" y="4441569"/>
                  <a:pt x="745814" y="4430968"/>
                </a:cubicBezTo>
                <a:cubicBezTo>
                  <a:pt x="730182" y="4424086"/>
                  <a:pt x="713827" y="4420737"/>
                  <a:pt x="704737" y="4415195"/>
                </a:cubicBezTo>
                <a:cubicBezTo>
                  <a:pt x="705083" y="4396856"/>
                  <a:pt x="705430" y="4378517"/>
                  <a:pt x="707223" y="4353111"/>
                </a:cubicBezTo>
                <a:cubicBezTo>
                  <a:pt x="683979" y="4366762"/>
                  <a:pt x="669449" y="4371151"/>
                  <a:pt x="660736" y="4380413"/>
                </a:cubicBezTo>
                <a:cubicBezTo>
                  <a:pt x="661114" y="4395218"/>
                  <a:pt x="661491" y="4410023"/>
                  <a:pt x="666586" y="4418431"/>
                </a:cubicBezTo>
                <a:cubicBezTo>
                  <a:pt x="674229" y="4431041"/>
                  <a:pt x="685866" y="4440787"/>
                  <a:pt x="696780" y="4454067"/>
                </a:cubicBezTo>
                <a:cubicBezTo>
                  <a:pt x="668064" y="4444507"/>
                  <a:pt x="649539" y="4451760"/>
                  <a:pt x="637209" y="4478692"/>
                </a:cubicBezTo>
                <a:cubicBezTo>
                  <a:pt x="624125" y="4476013"/>
                  <a:pt x="611041" y="4473335"/>
                  <a:pt x="594686" y="4469987"/>
                </a:cubicBezTo>
                <a:cubicBezTo>
                  <a:pt x="583395" y="4441901"/>
                  <a:pt x="554302" y="4417536"/>
                  <a:pt x="553170" y="4373121"/>
                </a:cubicBezTo>
                <a:cubicBezTo>
                  <a:pt x="582609" y="4379147"/>
                  <a:pt x="608777" y="4384504"/>
                  <a:pt x="634945" y="4389861"/>
                </a:cubicBezTo>
                <a:cubicBezTo>
                  <a:pt x="635669" y="4386328"/>
                  <a:pt x="636392" y="4382794"/>
                  <a:pt x="640387" y="4379929"/>
                </a:cubicBezTo>
                <a:cubicBezTo>
                  <a:pt x="629473" y="4366650"/>
                  <a:pt x="614565" y="4356234"/>
                  <a:pt x="600380" y="4342284"/>
                </a:cubicBezTo>
                <a:cubicBezTo>
                  <a:pt x="576760" y="4341131"/>
                  <a:pt x="544081" y="4367578"/>
                  <a:pt x="516435" y="4336145"/>
                </a:cubicBezTo>
                <a:cubicBezTo>
                  <a:pt x="517881" y="4329077"/>
                  <a:pt x="519328" y="4322010"/>
                  <a:pt x="521499" y="4311408"/>
                </a:cubicBezTo>
                <a:cubicBezTo>
                  <a:pt x="536407" y="4321824"/>
                  <a:pt x="545496" y="4327367"/>
                  <a:pt x="557857" y="4333579"/>
                </a:cubicBezTo>
                <a:cubicBezTo>
                  <a:pt x="562575" y="4327181"/>
                  <a:pt x="570564" y="4321452"/>
                  <a:pt x="568016" y="4317249"/>
                </a:cubicBezTo>
                <a:cubicBezTo>
                  <a:pt x="566538" y="4291173"/>
                  <a:pt x="561066" y="4267961"/>
                  <a:pt x="559588" y="4241885"/>
                </a:cubicBezTo>
                <a:cubicBezTo>
                  <a:pt x="553046" y="4240546"/>
                  <a:pt x="546504" y="4239206"/>
                  <a:pt x="540685" y="4234333"/>
                </a:cubicBezTo>
                <a:cubicBezTo>
                  <a:pt x="552637" y="4192597"/>
                  <a:pt x="567861" y="4151530"/>
                  <a:pt x="583807" y="4106929"/>
                </a:cubicBezTo>
                <a:cubicBezTo>
                  <a:pt x="596514" y="4094803"/>
                  <a:pt x="613939" y="4076278"/>
                  <a:pt x="628092" y="4057084"/>
                </a:cubicBezTo>
                <a:cubicBezTo>
                  <a:pt x="658570" y="4008094"/>
                  <a:pt x="699615" y="3990723"/>
                  <a:pt x="751228" y="4004971"/>
                </a:cubicBezTo>
                <a:cubicBezTo>
                  <a:pt x="749781" y="4012039"/>
                  <a:pt x="747611" y="4022640"/>
                  <a:pt x="746164" y="4029708"/>
                </a:cubicBezTo>
                <a:cubicBezTo>
                  <a:pt x="734904" y="4034766"/>
                  <a:pt x="720373" y="4039156"/>
                  <a:pt x="709836" y="4040681"/>
                </a:cubicBezTo>
                <a:cubicBezTo>
                  <a:pt x="742200" y="4065716"/>
                  <a:pt x="677535" y="4081934"/>
                  <a:pt x="706628" y="4106299"/>
                </a:cubicBezTo>
                <a:cubicBezTo>
                  <a:pt x="748427" y="4118538"/>
                  <a:pt x="751636" y="4052920"/>
                  <a:pt x="785793" y="4052548"/>
                </a:cubicBezTo>
                <a:cubicBezTo>
                  <a:pt x="804003" y="4096778"/>
                  <a:pt x="800732" y="4096108"/>
                  <a:pt x="785132" y="4122370"/>
                </a:cubicBezTo>
                <a:cubicBezTo>
                  <a:pt x="770255" y="4145098"/>
                  <a:pt x="739023" y="4164478"/>
                  <a:pt x="749967" y="4210902"/>
                </a:cubicBezTo>
                <a:cubicBezTo>
                  <a:pt x="774311" y="4208521"/>
                  <a:pt x="798655" y="4206141"/>
                  <a:pt x="822999" y="4203761"/>
                </a:cubicBezTo>
                <a:cubicBezTo>
                  <a:pt x="829541" y="4205100"/>
                  <a:pt x="835360" y="4209973"/>
                  <a:pt x="844449" y="4215516"/>
                </a:cubicBezTo>
                <a:cubicBezTo>
                  <a:pt x="841556" y="4229651"/>
                  <a:pt x="838662" y="4243787"/>
                  <a:pt x="832151" y="4275591"/>
                </a:cubicBezTo>
                <a:cubicBezTo>
                  <a:pt x="856118" y="4258406"/>
                  <a:pt x="868101" y="4249813"/>
                  <a:pt x="880808" y="4237687"/>
                </a:cubicBezTo>
                <a:cubicBezTo>
                  <a:pt x="905152" y="4235306"/>
                  <a:pt x="930219" y="4229392"/>
                  <a:pt x="958557" y="4224148"/>
                </a:cubicBezTo>
                <a:cubicBezTo>
                  <a:pt x="963621" y="4199411"/>
                  <a:pt x="968685" y="4174674"/>
                  <a:pt x="973750" y="4149937"/>
                </a:cubicBezTo>
                <a:cubicBezTo>
                  <a:pt x="1018443" y="4148041"/>
                  <a:pt x="1059865" y="4145475"/>
                  <a:pt x="1071440" y="4088933"/>
                </a:cubicBezTo>
                <a:cubicBezTo>
                  <a:pt x="1100502" y="4080155"/>
                  <a:pt x="1099747" y="4050545"/>
                  <a:pt x="1117172" y="4032021"/>
                </a:cubicBezTo>
                <a:cubicBezTo>
                  <a:pt x="1097546" y="4028003"/>
                  <a:pt x="1084462" y="4025324"/>
                  <a:pt x="1071378" y="4022646"/>
                </a:cubicBezTo>
                <a:cubicBezTo>
                  <a:pt x="1066660" y="4029044"/>
                  <a:pt x="1061219" y="4038976"/>
                  <a:pt x="1055778" y="4048908"/>
                </a:cubicBezTo>
                <a:cubicBezTo>
                  <a:pt x="1037598" y="4037822"/>
                  <a:pt x="1022690" y="4027406"/>
                  <a:pt x="1004511" y="4016321"/>
                </a:cubicBezTo>
                <a:cubicBezTo>
                  <a:pt x="1003064" y="4023389"/>
                  <a:pt x="999070" y="4026253"/>
                  <a:pt x="995075" y="4029117"/>
                </a:cubicBezTo>
                <a:cubicBezTo>
                  <a:pt x="1002718" y="4041727"/>
                  <a:pt x="1010361" y="4054338"/>
                  <a:pt x="1017280" y="4070482"/>
                </a:cubicBezTo>
                <a:cubicBezTo>
                  <a:pt x="978059" y="4095590"/>
                  <a:pt x="964251" y="4096446"/>
                  <a:pt x="924276" y="4091944"/>
                </a:cubicBezTo>
                <a:cubicBezTo>
                  <a:pt x="920628" y="4076469"/>
                  <a:pt x="919527" y="4065198"/>
                  <a:pt x="916602" y="4046190"/>
                </a:cubicBezTo>
                <a:cubicBezTo>
                  <a:pt x="883546" y="4057832"/>
                  <a:pt x="861781" y="4097560"/>
                  <a:pt x="829417" y="4072525"/>
                </a:cubicBezTo>
                <a:cubicBezTo>
                  <a:pt x="820673" y="4048643"/>
                  <a:pt x="812653" y="4021228"/>
                  <a:pt x="801362" y="3993143"/>
                </a:cubicBezTo>
                <a:cubicBezTo>
                  <a:pt x="801362" y="3993143"/>
                  <a:pt x="803910" y="3997346"/>
                  <a:pt x="803910" y="3997346"/>
                </a:cubicBezTo>
                <a:cubicBezTo>
                  <a:pt x="807904" y="3994482"/>
                  <a:pt x="815170" y="3992287"/>
                  <a:pt x="819164" y="3989423"/>
                </a:cubicBezTo>
                <a:cubicBezTo>
                  <a:pt x="819888" y="3985889"/>
                  <a:pt x="816617" y="3985220"/>
                  <a:pt x="817340" y="3981686"/>
                </a:cubicBezTo>
                <a:cubicBezTo>
                  <a:pt x="810075" y="3983881"/>
                  <a:pt x="805357" y="3990278"/>
                  <a:pt x="801362" y="3993143"/>
                </a:cubicBezTo>
                <a:cubicBezTo>
                  <a:pt x="786831" y="3997532"/>
                  <a:pt x="769030" y="4001252"/>
                  <a:pt x="751228" y="4004971"/>
                </a:cubicBezTo>
                <a:cubicBezTo>
                  <a:pt x="756292" y="3980234"/>
                  <a:pt x="760632" y="3959031"/>
                  <a:pt x="764973" y="3937828"/>
                </a:cubicBezTo>
                <a:cubicBezTo>
                  <a:pt x="752612" y="3931616"/>
                  <a:pt x="743523" y="3926073"/>
                  <a:pt x="731162" y="3919860"/>
                </a:cubicBezTo>
                <a:cubicBezTo>
                  <a:pt x="752958" y="3913277"/>
                  <a:pt x="771484" y="3906024"/>
                  <a:pt x="790009" y="3898770"/>
                </a:cubicBezTo>
                <a:cubicBezTo>
                  <a:pt x="790009" y="3898770"/>
                  <a:pt x="789286" y="3902304"/>
                  <a:pt x="786015" y="3901634"/>
                </a:cubicBezTo>
                <a:cubicBezTo>
                  <a:pt x="788562" y="3905837"/>
                  <a:pt x="793657" y="3914245"/>
                  <a:pt x="796205" y="3918448"/>
                </a:cubicBezTo>
                <a:cubicBezTo>
                  <a:pt x="796205" y="3918448"/>
                  <a:pt x="800199" y="3915584"/>
                  <a:pt x="800923" y="3912050"/>
                </a:cubicBezTo>
                <a:cubicBezTo>
                  <a:pt x="798375" y="3907846"/>
                  <a:pt x="795828" y="3903643"/>
                  <a:pt x="790009" y="3898770"/>
                </a:cubicBezTo>
                <a:cubicBezTo>
                  <a:pt x="790733" y="3895236"/>
                  <a:pt x="789632" y="3883965"/>
                  <a:pt x="792903" y="3884635"/>
                </a:cubicBezTo>
                <a:cubicBezTo>
                  <a:pt x="804886" y="3876042"/>
                  <a:pt x="819417" y="3871653"/>
                  <a:pt x="828129" y="3862391"/>
                </a:cubicBezTo>
                <a:cubicBezTo>
                  <a:pt x="840113" y="3853798"/>
                  <a:pt x="846277" y="3840332"/>
                  <a:pt x="855713" y="3827536"/>
                </a:cubicBezTo>
                <a:cubicBezTo>
                  <a:pt x="865149" y="3814740"/>
                  <a:pt x="874585" y="3801944"/>
                  <a:pt x="884744" y="3785614"/>
                </a:cubicBezTo>
                <a:cubicBezTo>
                  <a:pt x="914560" y="3806446"/>
                  <a:pt x="938558" y="3822404"/>
                  <a:pt x="962556" y="3838363"/>
                </a:cubicBezTo>
                <a:cubicBezTo>
                  <a:pt x="973092" y="3836838"/>
                  <a:pt x="987623" y="3832448"/>
                  <a:pt x="1002154" y="3828059"/>
                </a:cubicBezTo>
                <a:cubicBezTo>
                  <a:pt x="1005771" y="3810390"/>
                  <a:pt x="1009388" y="3792721"/>
                  <a:pt x="1015899" y="3760916"/>
                </a:cubicBezTo>
                <a:cubicBezTo>
                  <a:pt x="1000268" y="3754034"/>
                  <a:pt x="982812" y="3739415"/>
                  <a:pt x="967904" y="3728999"/>
                </a:cubicBezTo>
                <a:cubicBezTo>
                  <a:pt x="997658" y="3683543"/>
                  <a:pt x="1030683" y="3638757"/>
                  <a:pt x="1067702" y="3591106"/>
                </a:cubicBezTo>
                <a:cubicBezTo>
                  <a:pt x="1070974" y="3591776"/>
                  <a:pt x="1084058" y="3594454"/>
                  <a:pt x="1100413" y="3597803"/>
                </a:cubicBezTo>
                <a:cubicBezTo>
                  <a:pt x="1102614" y="3620345"/>
                  <a:pt x="1104092" y="3646421"/>
                  <a:pt x="1106293" y="3668963"/>
                </a:cubicBezTo>
                <a:cubicBezTo>
                  <a:pt x="1096480" y="3666954"/>
                  <a:pt x="1089938" y="3665615"/>
                  <a:pt x="1080125" y="3663606"/>
                </a:cubicBezTo>
                <a:cubicBezTo>
                  <a:pt x="1070690" y="3676402"/>
                  <a:pt x="1061254" y="3689198"/>
                  <a:pt x="1051095" y="3705528"/>
                </a:cubicBezTo>
                <a:cubicBezTo>
                  <a:pt x="1056221" y="3747079"/>
                  <a:pt x="1092548" y="3736106"/>
                  <a:pt x="1123811" y="3749870"/>
                </a:cubicBezTo>
                <a:cubicBezTo>
                  <a:pt x="1121641" y="3760472"/>
                  <a:pt x="1119471" y="3771073"/>
                  <a:pt x="1117300" y="3781675"/>
                </a:cubicBezTo>
                <a:cubicBezTo>
                  <a:pt x="1117300" y="3781675"/>
                  <a:pt x="1114029" y="3781005"/>
                  <a:pt x="1114029" y="3781005"/>
                </a:cubicBezTo>
                <a:cubicBezTo>
                  <a:pt x="1110035" y="3783869"/>
                  <a:pt x="1102770" y="3786064"/>
                  <a:pt x="1098775" y="3788928"/>
                </a:cubicBezTo>
                <a:cubicBezTo>
                  <a:pt x="1101323" y="3793132"/>
                  <a:pt x="1101323" y="3793132"/>
                  <a:pt x="1103870" y="3797335"/>
                </a:cubicBezTo>
                <a:cubicBezTo>
                  <a:pt x="1108588" y="3790937"/>
                  <a:pt x="1112583" y="3788073"/>
                  <a:pt x="1117300" y="3781675"/>
                </a:cubicBezTo>
                <a:cubicBezTo>
                  <a:pt x="1122396" y="3790081"/>
                  <a:pt x="1131485" y="3795625"/>
                  <a:pt x="1136580" y="3804031"/>
                </a:cubicBezTo>
                <a:cubicBezTo>
                  <a:pt x="1147840" y="3798973"/>
                  <a:pt x="1156553" y="3789710"/>
                  <a:pt x="1167812" y="3784651"/>
                </a:cubicBezTo>
                <a:cubicBezTo>
                  <a:pt x="1156175" y="3774905"/>
                  <a:pt x="1147809" y="3765829"/>
                  <a:pt x="1135449" y="3759616"/>
                </a:cubicBezTo>
                <a:cubicBezTo>
                  <a:pt x="1165957" y="3743770"/>
                  <a:pt x="1183413" y="3758389"/>
                  <a:pt x="1197252" y="3790678"/>
                </a:cubicBezTo>
                <a:cubicBezTo>
                  <a:pt x="1217224" y="3776357"/>
                  <a:pt x="1229930" y="3764231"/>
                  <a:pt x="1246632" y="3749240"/>
                </a:cubicBezTo>
                <a:cubicBezTo>
                  <a:pt x="1226628" y="3730417"/>
                  <a:pt x="1205902" y="3715128"/>
                  <a:pt x="1188446" y="3700509"/>
                </a:cubicBezTo>
                <a:cubicBezTo>
                  <a:pt x="1187345" y="3689238"/>
                  <a:pt x="1183697" y="3673763"/>
                  <a:pt x="1180049" y="3658288"/>
                </a:cubicBezTo>
                <a:cubicBezTo>
                  <a:pt x="1186937" y="3641289"/>
                  <a:pt x="1198543" y="3617891"/>
                  <a:pt x="1211596" y="3587426"/>
                </a:cubicBezTo>
                <a:cubicBezTo>
                  <a:pt x="1241004" y="3560309"/>
                  <a:pt x="1275130" y="3526793"/>
                  <a:pt x="1313250" y="3490414"/>
                </a:cubicBezTo>
                <a:cubicBezTo>
                  <a:pt x="1304506" y="3466532"/>
                  <a:pt x="1295039" y="3446185"/>
                  <a:pt x="1288844" y="3426506"/>
                </a:cubicBezTo>
                <a:cubicBezTo>
                  <a:pt x="1289567" y="3422973"/>
                  <a:pt x="1293561" y="3420109"/>
                  <a:pt x="1294285" y="3416575"/>
                </a:cubicBezTo>
                <a:cubicBezTo>
                  <a:pt x="1316836" y="3439601"/>
                  <a:pt x="1350269" y="3442764"/>
                  <a:pt x="1383703" y="3445926"/>
                </a:cubicBezTo>
                <a:cubicBezTo>
                  <a:pt x="1405845" y="3421003"/>
                  <a:pt x="1431982" y="3393216"/>
                  <a:pt x="1458843" y="3361896"/>
                </a:cubicBezTo>
                <a:cubicBezTo>
                  <a:pt x="1425786" y="3373538"/>
                  <a:pt x="1382886" y="3350028"/>
                  <a:pt x="1377130" y="3411443"/>
                </a:cubicBezTo>
                <a:cubicBezTo>
                  <a:pt x="1359674" y="3396824"/>
                  <a:pt x="1348760" y="3383543"/>
                  <a:pt x="1336400" y="3377331"/>
                </a:cubicBezTo>
                <a:cubicBezTo>
                  <a:pt x="1364361" y="3357281"/>
                  <a:pt x="1388674" y="3321757"/>
                  <a:pt x="1417012" y="3316513"/>
                </a:cubicBezTo>
                <a:cubicBezTo>
                  <a:pt x="1456610" y="3306210"/>
                  <a:pt x="1466015" y="3260269"/>
                  <a:pt x="1504890" y="3253500"/>
                </a:cubicBezTo>
                <a:cubicBezTo>
                  <a:pt x="1503820" y="3275373"/>
                  <a:pt x="1502027" y="3300780"/>
                  <a:pt x="1499511" y="3329720"/>
                </a:cubicBezTo>
                <a:cubicBezTo>
                  <a:pt x="1520206" y="3311865"/>
                  <a:pt x="1536184" y="3300408"/>
                  <a:pt x="1552162" y="3288951"/>
                </a:cubicBezTo>
                <a:cubicBezTo>
                  <a:pt x="1550337" y="3281214"/>
                  <a:pt x="1544519" y="3276341"/>
                  <a:pt x="1540147" y="3264400"/>
                </a:cubicBezTo>
                <a:cubicBezTo>
                  <a:pt x="1565215" y="3258486"/>
                  <a:pt x="1602296" y="3277123"/>
                  <a:pt x="1615695" y="3228319"/>
                </a:cubicBezTo>
                <a:cubicBezTo>
                  <a:pt x="1610600" y="3219912"/>
                  <a:pt x="1598240" y="3213700"/>
                  <a:pt x="1589150" y="3208157"/>
                </a:cubicBezTo>
                <a:cubicBezTo>
                  <a:pt x="1592044" y="3194021"/>
                  <a:pt x="1594938" y="3179886"/>
                  <a:pt x="1599278" y="3158683"/>
                </a:cubicBezTo>
                <a:cubicBezTo>
                  <a:pt x="1618904" y="3162701"/>
                  <a:pt x="1638530" y="3166719"/>
                  <a:pt x="1658156" y="3170736"/>
                </a:cubicBezTo>
                <a:cubicBezTo>
                  <a:pt x="1658880" y="3167202"/>
                  <a:pt x="1658880" y="3167202"/>
                  <a:pt x="1662874" y="3164338"/>
                </a:cubicBezTo>
                <a:cubicBezTo>
                  <a:pt x="1644695" y="3153253"/>
                  <a:pt x="1627239" y="3138633"/>
                  <a:pt x="1599971" y="3122005"/>
                </a:cubicBezTo>
                <a:cubicBezTo>
                  <a:pt x="1619943" y="3107684"/>
                  <a:pt x="1632649" y="3095558"/>
                  <a:pt x="1645356" y="3083431"/>
                </a:cubicBezTo>
                <a:cubicBezTo>
                  <a:pt x="1658786" y="3067771"/>
                  <a:pt x="1665675" y="3050771"/>
                  <a:pt x="1680552" y="3028043"/>
                </a:cubicBezTo>
                <a:cubicBezTo>
                  <a:pt x="1715086" y="3042477"/>
                  <a:pt x="1753961" y="3035708"/>
                  <a:pt x="1789911" y="3009930"/>
                </a:cubicBezTo>
                <a:cubicBezTo>
                  <a:pt x="1802240" y="2982998"/>
                  <a:pt x="1814570" y="2956067"/>
                  <a:pt x="1830170" y="2929805"/>
                </a:cubicBezTo>
                <a:cubicBezTo>
                  <a:pt x="1835611" y="2919873"/>
                  <a:pt x="1845771" y="2903543"/>
                  <a:pt x="1852313" y="2904882"/>
                </a:cubicBezTo>
                <a:cubicBezTo>
                  <a:pt x="1881752" y="2910909"/>
                  <a:pt x="1902070" y="2878249"/>
                  <a:pt x="1904964" y="2864113"/>
                </a:cubicBezTo>
                <a:cubicBezTo>
                  <a:pt x="1912198" y="2828775"/>
                  <a:pt x="1959093" y="2849421"/>
                  <a:pt x="1957238" y="2808539"/>
                </a:cubicBezTo>
                <a:cubicBezTo>
                  <a:pt x="1986677" y="2814566"/>
                  <a:pt x="2016116" y="2820593"/>
                  <a:pt x="2048826" y="2827289"/>
                </a:cubicBezTo>
                <a:cubicBezTo>
                  <a:pt x="2045209" y="2844959"/>
                  <a:pt x="2044862" y="2863297"/>
                  <a:pt x="2044516" y="2881636"/>
                </a:cubicBezTo>
                <a:cubicBezTo>
                  <a:pt x="2069930" y="2857383"/>
                  <a:pt x="2094620" y="2836664"/>
                  <a:pt x="2120757" y="2808877"/>
                </a:cubicBezTo>
                <a:cubicBezTo>
                  <a:pt x="2114215" y="2807538"/>
                  <a:pt x="2105125" y="2801995"/>
                  <a:pt x="2099307" y="2797122"/>
                </a:cubicBezTo>
                <a:cubicBezTo>
                  <a:pt x="2105787" y="2732174"/>
                  <a:pt x="2130099" y="2696649"/>
                  <a:pt x="2180957" y="2681288"/>
                </a:cubicBezTo>
                <a:cubicBezTo>
                  <a:pt x="2183128" y="2670686"/>
                  <a:pt x="2185298" y="2660085"/>
                  <a:pt x="2191463" y="2646618"/>
                </a:cubicBezTo>
                <a:cubicBezTo>
                  <a:pt x="2243422" y="2642528"/>
                  <a:pt x="2261161" y="2572520"/>
                  <a:pt x="2308748" y="2556489"/>
                </a:cubicBezTo>
                <a:cubicBezTo>
                  <a:pt x="2318153" y="2510549"/>
                  <a:pt x="2342466" y="2475025"/>
                  <a:pt x="2375522" y="2463382"/>
                </a:cubicBezTo>
                <a:cubicBezTo>
                  <a:pt x="2404584" y="2454604"/>
                  <a:pt x="2419461" y="2431876"/>
                  <a:pt x="2445252" y="2422428"/>
                </a:cubicBezTo>
                <a:cubicBezTo>
                  <a:pt x="2467771" y="2412310"/>
                  <a:pt x="2482271" y="2374777"/>
                  <a:pt x="2503690" y="2353388"/>
                </a:cubicBezTo>
                <a:cubicBezTo>
                  <a:pt x="2521115" y="2334864"/>
                  <a:pt x="2546906" y="2325416"/>
                  <a:pt x="2564330" y="2306891"/>
                </a:cubicBezTo>
                <a:cubicBezTo>
                  <a:pt x="2576314" y="2298299"/>
                  <a:pt x="2579207" y="2284163"/>
                  <a:pt x="2584649" y="2274232"/>
                </a:cubicBezTo>
                <a:cubicBezTo>
                  <a:pt x="2622423" y="2256191"/>
                  <a:pt x="2659473" y="2241684"/>
                  <a:pt x="2681270" y="2235100"/>
                </a:cubicBezTo>
                <a:cubicBezTo>
                  <a:pt x="2705583" y="2199576"/>
                  <a:pt x="2723007" y="2181052"/>
                  <a:pt x="2737884" y="2158324"/>
                </a:cubicBezTo>
                <a:cubicBezTo>
                  <a:pt x="2735337" y="2154120"/>
                  <a:pt x="2725524" y="2152111"/>
                  <a:pt x="2716434" y="2146568"/>
                </a:cubicBezTo>
                <a:cubicBezTo>
                  <a:pt x="2711685" y="2119823"/>
                  <a:pt x="2708383" y="2086009"/>
                  <a:pt x="2704358" y="2055730"/>
                </a:cubicBezTo>
                <a:cubicBezTo>
                  <a:pt x="2696369" y="2061458"/>
                  <a:pt x="2684385" y="2070051"/>
                  <a:pt x="2676396" y="2075779"/>
                </a:cubicBezTo>
                <a:cubicBezTo>
                  <a:pt x="2681492" y="2084186"/>
                  <a:pt x="2685863" y="2096127"/>
                  <a:pt x="2692783" y="2112271"/>
                </a:cubicBezTo>
                <a:cubicBezTo>
                  <a:pt x="2669539" y="2125923"/>
                  <a:pt x="2639377" y="2123430"/>
                  <a:pt x="2623053" y="2153225"/>
                </a:cubicBezTo>
                <a:cubicBezTo>
                  <a:pt x="2607452" y="2179487"/>
                  <a:pt x="2595846" y="2202885"/>
                  <a:pt x="2604590" y="2226766"/>
                </a:cubicBezTo>
                <a:cubicBezTo>
                  <a:pt x="2594431" y="2243097"/>
                  <a:pt x="2588266" y="2256562"/>
                  <a:pt x="2584649" y="2274232"/>
                </a:cubicBezTo>
                <a:cubicBezTo>
                  <a:pt x="2569017" y="2267349"/>
                  <a:pt x="2552662" y="2264001"/>
                  <a:pt x="2536307" y="2260653"/>
                </a:cubicBezTo>
                <a:cubicBezTo>
                  <a:pt x="2553732" y="2242129"/>
                  <a:pt x="2567885" y="2222935"/>
                  <a:pt x="2584587" y="2207944"/>
                </a:cubicBezTo>
                <a:cubicBezTo>
                  <a:pt x="2579491" y="2199537"/>
                  <a:pt x="2576944" y="2195333"/>
                  <a:pt x="2576944" y="2195333"/>
                </a:cubicBezTo>
                <a:cubicBezTo>
                  <a:pt x="2558418" y="2202587"/>
                  <a:pt x="2539893" y="2209840"/>
                  <a:pt x="2518097" y="2216424"/>
                </a:cubicBezTo>
                <a:cubicBezTo>
                  <a:pt x="2518097" y="2216424"/>
                  <a:pt x="2513002" y="2208017"/>
                  <a:pt x="2510454" y="2203813"/>
                </a:cubicBezTo>
                <a:cubicBezTo>
                  <a:pt x="2495923" y="2208203"/>
                  <a:pt x="2478121" y="2211922"/>
                  <a:pt x="2463590" y="2216311"/>
                </a:cubicBezTo>
                <a:cubicBezTo>
                  <a:pt x="2461420" y="2226913"/>
                  <a:pt x="2458526" y="2241048"/>
                  <a:pt x="2456356" y="2251650"/>
                </a:cubicBezTo>
                <a:cubicBezTo>
                  <a:pt x="2441825" y="2256039"/>
                  <a:pt x="2430565" y="2261098"/>
                  <a:pt x="2416034" y="2265487"/>
                </a:cubicBezTo>
                <a:cubicBezTo>
                  <a:pt x="2417135" y="2276758"/>
                  <a:pt x="2421507" y="2288699"/>
                  <a:pt x="2425155" y="2304173"/>
                </a:cubicBezTo>
                <a:cubicBezTo>
                  <a:pt x="2417166" y="2309902"/>
                  <a:pt x="2409177" y="2315631"/>
                  <a:pt x="2393200" y="2327087"/>
                </a:cubicBezTo>
                <a:cubicBezTo>
                  <a:pt x="2401881" y="2284681"/>
                  <a:pt x="2391313" y="2253062"/>
                  <a:pt x="2357849" y="2216756"/>
                </a:cubicBezTo>
                <a:cubicBezTo>
                  <a:pt x="2361874" y="2247036"/>
                  <a:pt x="2360805" y="2268909"/>
                  <a:pt x="2363006" y="2291451"/>
                </a:cubicBezTo>
                <a:cubicBezTo>
                  <a:pt x="2341933" y="2294501"/>
                  <a:pt x="2320137" y="2301084"/>
                  <a:pt x="2295793" y="2303465"/>
                </a:cubicBezTo>
                <a:cubicBezTo>
                  <a:pt x="2292522" y="2302795"/>
                  <a:pt x="2284879" y="2290185"/>
                  <a:pt x="2279784" y="2281778"/>
                </a:cubicBezTo>
                <a:cubicBezTo>
                  <a:pt x="2279784" y="2281778"/>
                  <a:pt x="2279784" y="2281778"/>
                  <a:pt x="2283055" y="2282447"/>
                </a:cubicBezTo>
                <a:cubicBezTo>
                  <a:pt x="2287049" y="2279583"/>
                  <a:pt x="2291044" y="2276719"/>
                  <a:pt x="2298309" y="2274524"/>
                </a:cubicBezTo>
                <a:cubicBezTo>
                  <a:pt x="2295762" y="2270321"/>
                  <a:pt x="2295762" y="2270321"/>
                  <a:pt x="2293214" y="2266117"/>
                </a:cubicBezTo>
                <a:cubicBezTo>
                  <a:pt x="2288496" y="2272515"/>
                  <a:pt x="2284502" y="2275379"/>
                  <a:pt x="2279784" y="2281778"/>
                </a:cubicBezTo>
                <a:cubicBezTo>
                  <a:pt x="2265253" y="2286167"/>
                  <a:pt x="2250722" y="2290556"/>
                  <a:pt x="2236191" y="2294945"/>
                </a:cubicBezTo>
                <a:cubicBezTo>
                  <a:pt x="2229350" y="2265930"/>
                  <a:pt x="2243970" y="2235095"/>
                  <a:pt x="2242340" y="2204041"/>
                </a:cubicBezTo>
                <a:lnTo>
                  <a:pt x="2235996" y="2180700"/>
                </a:lnTo>
                <a:lnTo>
                  <a:pt x="2266607" y="2179668"/>
                </a:lnTo>
                <a:cubicBezTo>
                  <a:pt x="2267330" y="2176134"/>
                  <a:pt x="2268053" y="2172600"/>
                  <a:pt x="2268777" y="2169066"/>
                </a:cubicBezTo>
                <a:cubicBezTo>
                  <a:pt x="2258964" y="2167057"/>
                  <a:pt x="2248427" y="2168582"/>
                  <a:pt x="2233896" y="2172972"/>
                </a:cubicBezTo>
                <a:cubicBezTo>
                  <a:pt x="2222637" y="2178030"/>
                  <a:pt x="2212823" y="2176021"/>
                  <a:pt x="2189926" y="2171334"/>
                </a:cubicBezTo>
                <a:cubicBezTo>
                  <a:pt x="2220435" y="2155488"/>
                  <a:pt x="2235689" y="2147565"/>
                  <a:pt x="2258209" y="2137447"/>
                </a:cubicBezTo>
                <a:cubicBezTo>
                  <a:pt x="2268368" y="2121117"/>
                  <a:pt x="2280698" y="2094186"/>
                  <a:pt x="2315201" y="2075476"/>
                </a:cubicBezTo>
                <a:cubicBezTo>
                  <a:pt x="2314855" y="2093814"/>
                  <a:pt x="2315955" y="2105086"/>
                  <a:pt x="2313785" y="2115687"/>
                </a:cubicBezTo>
                <a:cubicBezTo>
                  <a:pt x="2311615" y="2126289"/>
                  <a:pt x="2309445" y="2136890"/>
                  <a:pt x="2307274" y="2147492"/>
                </a:cubicBezTo>
                <a:cubicBezTo>
                  <a:pt x="2314917" y="2160102"/>
                  <a:pt x="2320012" y="2168509"/>
                  <a:pt x="2327655" y="2181119"/>
                </a:cubicBezTo>
                <a:cubicBezTo>
                  <a:pt x="2381753" y="2133283"/>
                  <a:pt x="2397101" y="2224791"/>
                  <a:pt x="2445789" y="2220031"/>
                </a:cubicBezTo>
                <a:cubicBezTo>
                  <a:pt x="2428302" y="2172268"/>
                  <a:pt x="2417357" y="2125844"/>
                  <a:pt x="2439122" y="2086116"/>
                </a:cubicBezTo>
                <a:cubicBezTo>
                  <a:pt x="2422359" y="2034819"/>
                  <a:pt x="2385308" y="2049326"/>
                  <a:pt x="2353321" y="2039096"/>
                </a:cubicBezTo>
                <a:cubicBezTo>
                  <a:pt x="2347880" y="2049028"/>
                  <a:pt x="2342439" y="2058960"/>
                  <a:pt x="2336997" y="2068892"/>
                </a:cubicBezTo>
                <a:cubicBezTo>
                  <a:pt x="2323913" y="2066213"/>
                  <a:pt x="2310829" y="2063535"/>
                  <a:pt x="2294474" y="2060187"/>
                </a:cubicBezTo>
                <a:cubicBezTo>
                  <a:pt x="2303910" y="2047391"/>
                  <a:pt x="2313346" y="2034594"/>
                  <a:pt x="2320234" y="2017595"/>
                </a:cubicBezTo>
                <a:cubicBezTo>
                  <a:pt x="2344578" y="2015215"/>
                  <a:pt x="2372916" y="2009970"/>
                  <a:pt x="2415062" y="2003870"/>
                </a:cubicBezTo>
                <a:cubicBezTo>
                  <a:pt x="2396883" y="1992784"/>
                  <a:pt x="2384522" y="1986572"/>
                  <a:pt x="2367067" y="1971953"/>
                </a:cubicBezTo>
                <a:cubicBezTo>
                  <a:pt x="2359801" y="1974148"/>
                  <a:pt x="2337281" y="1984265"/>
                  <a:pt x="2310767" y="1997247"/>
                </a:cubicBezTo>
                <a:cubicBezTo>
                  <a:pt x="2319826" y="1969646"/>
                  <a:pt x="2328161" y="1945579"/>
                  <a:pt x="2343384" y="1904512"/>
                </a:cubicBezTo>
                <a:cubicBezTo>
                  <a:pt x="2303439" y="1933154"/>
                  <a:pt x="2280196" y="1946806"/>
                  <a:pt x="2255506" y="1967525"/>
                </a:cubicBezTo>
                <a:cubicBezTo>
                  <a:pt x="2267143" y="1977271"/>
                  <a:pt x="2278780" y="1987017"/>
                  <a:pt x="2293689" y="1997433"/>
                </a:cubicBezTo>
                <a:cubicBezTo>
                  <a:pt x="2276264" y="2015957"/>
                  <a:pt x="2262834" y="2031618"/>
                  <a:pt x="2246133" y="2046608"/>
                </a:cubicBezTo>
                <a:cubicBezTo>
                  <a:pt x="2265412" y="2068965"/>
                  <a:pt x="2249812" y="2095227"/>
                  <a:pt x="2244025" y="2123498"/>
                </a:cubicBezTo>
                <a:cubicBezTo>
                  <a:pt x="2224398" y="2119480"/>
                  <a:pt x="2204772" y="2115462"/>
                  <a:pt x="2181875" y="2110775"/>
                </a:cubicBezTo>
                <a:cubicBezTo>
                  <a:pt x="2184800" y="2129783"/>
                  <a:pt x="2186624" y="2137520"/>
                  <a:pt x="2189549" y="2156529"/>
                </a:cubicBezTo>
                <a:cubicBezTo>
                  <a:pt x="2171370" y="2145443"/>
                  <a:pt x="2159733" y="2135697"/>
                  <a:pt x="2147372" y="2129485"/>
                </a:cubicBezTo>
                <a:cubicBezTo>
                  <a:pt x="2129948" y="2148009"/>
                  <a:pt x="2112523" y="2166534"/>
                  <a:pt x="2091104" y="2187923"/>
                </a:cubicBezTo>
                <a:cubicBezTo>
                  <a:pt x="2077265" y="2155634"/>
                  <a:pt x="2060156" y="2122676"/>
                  <a:pt x="2044493" y="2082650"/>
                </a:cubicBezTo>
                <a:cubicBezTo>
                  <a:pt x="2026345" y="2104709"/>
                  <a:pt x="1992188" y="2105080"/>
                  <a:pt x="1989325" y="2152359"/>
                </a:cubicBezTo>
                <a:cubicBezTo>
                  <a:pt x="2001309" y="2143767"/>
                  <a:pt x="2009298" y="2138038"/>
                  <a:pt x="2020557" y="2132979"/>
                </a:cubicBezTo>
                <a:cubicBezTo>
                  <a:pt x="2020211" y="2151318"/>
                  <a:pt x="2016594" y="2168987"/>
                  <a:pt x="2013700" y="2183123"/>
                </a:cubicBezTo>
                <a:cubicBezTo>
                  <a:pt x="1982091" y="2187698"/>
                  <a:pt x="1953753" y="2192942"/>
                  <a:pt x="1925414" y="2198187"/>
                </a:cubicBezTo>
                <a:cubicBezTo>
                  <a:pt x="1922521" y="2212322"/>
                  <a:pt x="1919627" y="2226457"/>
                  <a:pt x="1916733" y="2240593"/>
                </a:cubicBezTo>
                <a:cubicBezTo>
                  <a:pt x="1913462" y="2239923"/>
                  <a:pt x="1910191" y="2239254"/>
                  <a:pt x="1906197" y="2242118"/>
                </a:cubicBezTo>
                <a:cubicBezTo>
                  <a:pt x="1908367" y="2231516"/>
                  <a:pt x="1910537" y="2220915"/>
                  <a:pt x="1905442" y="2212508"/>
                </a:cubicBezTo>
                <a:cubicBezTo>
                  <a:pt x="1902895" y="2208304"/>
                  <a:pt x="1893805" y="2202762"/>
                  <a:pt x="1887986" y="2197889"/>
                </a:cubicBezTo>
                <a:cubicBezTo>
                  <a:pt x="1878551" y="2210684"/>
                  <a:pt x="1869838" y="2219947"/>
                  <a:pt x="1863674" y="2233413"/>
                </a:cubicBezTo>
                <a:cubicBezTo>
                  <a:pt x="1861126" y="2229209"/>
                  <a:pt x="1855307" y="2224336"/>
                  <a:pt x="1850212" y="2215929"/>
                </a:cubicBezTo>
                <a:cubicBezTo>
                  <a:pt x="1821874" y="2221174"/>
                  <a:pt x="1790265" y="2225749"/>
                  <a:pt x="1754661" y="2233188"/>
                </a:cubicBezTo>
                <a:cubicBezTo>
                  <a:pt x="1765858" y="2161841"/>
                  <a:pt x="1811968" y="2119733"/>
                  <a:pt x="1835180" y="2072938"/>
                </a:cubicBezTo>
                <a:cubicBezTo>
                  <a:pt x="1857699" y="2062821"/>
                  <a:pt x="1876948" y="2052033"/>
                  <a:pt x="1899468" y="2041916"/>
                </a:cubicBezTo>
                <a:cubicBezTo>
                  <a:pt x="1892549" y="2025772"/>
                  <a:pt x="1887454" y="2017365"/>
                  <a:pt x="1883082" y="2005424"/>
                </a:cubicBezTo>
                <a:cubicBezTo>
                  <a:pt x="1893618" y="2003898"/>
                  <a:pt x="1900884" y="2001704"/>
                  <a:pt x="1911420" y="2000179"/>
                </a:cubicBezTo>
                <a:cubicBezTo>
                  <a:pt x="1923026" y="1976781"/>
                  <a:pt x="1933909" y="1956918"/>
                  <a:pt x="1950233" y="1927122"/>
                </a:cubicBezTo>
                <a:cubicBezTo>
                  <a:pt x="1936048" y="1913172"/>
                  <a:pt x="1922587" y="1895689"/>
                  <a:pt x="1909125" y="1878205"/>
                </a:cubicBezTo>
                <a:cubicBezTo>
                  <a:pt x="1906547" y="1840858"/>
                  <a:pt x="1951271" y="1872106"/>
                  <a:pt x="1951964" y="1835428"/>
                </a:cubicBezTo>
                <a:cubicBezTo>
                  <a:pt x="1954134" y="1824826"/>
                  <a:pt x="1974106" y="1810505"/>
                  <a:pt x="1991531" y="1791981"/>
                </a:cubicBezTo>
                <a:cubicBezTo>
                  <a:pt x="2010087" y="1817871"/>
                  <a:pt x="2029367" y="1840228"/>
                  <a:pt x="2045376" y="1861915"/>
                </a:cubicBezTo>
                <a:cubicBezTo>
                  <a:pt x="2047892" y="1832974"/>
                  <a:pt x="2073683" y="1823526"/>
                  <a:pt x="2090384" y="1808536"/>
                </a:cubicBezTo>
                <a:cubicBezTo>
                  <a:pt x="2085289" y="1800129"/>
                  <a:pt x="2084189" y="1788857"/>
                  <a:pt x="2079817" y="1776917"/>
                </a:cubicBezTo>
                <a:cubicBezTo>
                  <a:pt x="2089630" y="1778926"/>
                  <a:pt x="2096172" y="1780265"/>
                  <a:pt x="2112527" y="1783613"/>
                </a:cubicBezTo>
                <a:cubicBezTo>
                  <a:pt x="2112150" y="1768808"/>
                  <a:pt x="2111772" y="1754003"/>
                  <a:pt x="2112118" y="1735664"/>
                </a:cubicBezTo>
                <a:cubicBezTo>
                  <a:pt x="2121554" y="1722868"/>
                  <a:pt x="2144798" y="1709217"/>
                  <a:pt x="2115705" y="1684851"/>
                </a:cubicBezTo>
                <a:cubicBezTo>
                  <a:pt x="2142942" y="1668335"/>
                  <a:pt x="2161121" y="1679421"/>
                  <a:pt x="2172412" y="1707506"/>
                </a:cubicBezTo>
                <a:cubicBezTo>
                  <a:pt x="2177854" y="1697574"/>
                  <a:pt x="2182572" y="1691176"/>
                  <a:pt x="2183295" y="1687642"/>
                </a:cubicBezTo>
                <a:cubicBezTo>
                  <a:pt x="2177823" y="1664430"/>
                  <a:pt x="2171627" y="1644752"/>
                  <a:pt x="2179962" y="1620685"/>
                </a:cubicBezTo>
                <a:cubicBezTo>
                  <a:pt x="2188297" y="1596617"/>
                  <a:pt x="2174112" y="1582668"/>
                  <a:pt x="2155933" y="1571583"/>
                </a:cubicBezTo>
                <a:cubicBezTo>
                  <a:pt x="2164645" y="1562320"/>
                  <a:pt x="2174081" y="1549524"/>
                  <a:pt x="2184240" y="1533194"/>
                </a:cubicBezTo>
                <a:cubicBezTo>
                  <a:pt x="2173326" y="1519914"/>
                  <a:pt x="2159865" y="1502431"/>
                  <a:pt x="2146404" y="1484947"/>
                </a:cubicBezTo>
                <a:cubicBezTo>
                  <a:pt x="2146404" y="1484947"/>
                  <a:pt x="2147851" y="1477879"/>
                  <a:pt x="2151122" y="1478549"/>
                </a:cubicBezTo>
                <a:cubicBezTo>
                  <a:pt x="2176912" y="1469101"/>
                  <a:pt x="2201980" y="1463187"/>
                  <a:pt x="2227047" y="1457273"/>
                </a:cubicBezTo>
                <a:cubicBezTo>
                  <a:pt x="2238307" y="1452214"/>
                  <a:pt x="2249567" y="1447155"/>
                  <a:pt x="2263374" y="1446300"/>
                </a:cubicBezTo>
                <a:cubicBezTo>
                  <a:pt x="2261896" y="1420224"/>
                  <a:pt x="2262243" y="1401885"/>
                  <a:pt x="2260041" y="1379342"/>
                </a:cubicBezTo>
                <a:cubicBezTo>
                  <a:pt x="2286555" y="1366361"/>
                  <a:pt x="2308352" y="1359777"/>
                  <a:pt x="2334866" y="1346795"/>
                </a:cubicBezTo>
                <a:cubicBezTo>
                  <a:pt x="2339207" y="1325592"/>
                  <a:pt x="2343547" y="1304389"/>
                  <a:pt x="2347888" y="1283186"/>
                </a:cubicBezTo>
                <a:cubicBezTo>
                  <a:pt x="2368237" y="1283670"/>
                  <a:pt x="2382045" y="1282814"/>
                  <a:pt x="2388587" y="1284154"/>
                </a:cubicBezTo>
                <a:cubicBezTo>
                  <a:pt x="2452844" y="1219987"/>
                  <a:pt x="2544401" y="1205593"/>
                  <a:pt x="2591202" y="1126808"/>
                </a:cubicBezTo>
                <a:cubicBezTo>
                  <a:pt x="2607558" y="1130156"/>
                  <a:pt x="2623913" y="1133504"/>
                  <a:pt x="2636997" y="1136182"/>
                </a:cubicBezTo>
                <a:cubicBezTo>
                  <a:pt x="2659139" y="1111260"/>
                  <a:pt x="2683829" y="1090541"/>
                  <a:pt x="2701254" y="1072016"/>
                </a:cubicBezTo>
                <a:cubicBezTo>
                  <a:pt x="2717609" y="1075364"/>
                  <a:pt x="2727422" y="1077373"/>
                  <a:pt x="2740506" y="1080052"/>
                </a:cubicBezTo>
                <a:cubicBezTo>
                  <a:pt x="2745224" y="1073654"/>
                  <a:pt x="2747394" y="1063052"/>
                  <a:pt x="2753559" y="1049586"/>
                </a:cubicBezTo>
                <a:cubicBezTo>
                  <a:pt x="2796805" y="1054758"/>
                  <a:pt x="2840398" y="1041590"/>
                  <a:pt x="2878518" y="1005211"/>
                </a:cubicBezTo>
                <a:cubicBezTo>
                  <a:pt x="2872700" y="1000337"/>
                  <a:pt x="2870876" y="992600"/>
                  <a:pt x="2862509" y="983524"/>
                </a:cubicBezTo>
                <a:cubicBezTo>
                  <a:pt x="2892295" y="971211"/>
                  <a:pt x="2921356" y="962433"/>
                  <a:pt x="2955136" y="947257"/>
                </a:cubicBezTo>
                <a:cubicBezTo>
                  <a:pt x="3009203" y="866276"/>
                  <a:pt x="3036441" y="849761"/>
                  <a:pt x="3119663" y="859434"/>
                </a:cubicBezTo>
                <a:cubicBezTo>
                  <a:pt x="3154135" y="807580"/>
                  <a:pt x="3203892" y="780947"/>
                  <a:pt x="3262739" y="759856"/>
                </a:cubicBezTo>
                <a:cubicBezTo>
                  <a:pt x="3276924" y="773806"/>
                  <a:pt x="3291832" y="784221"/>
                  <a:pt x="3306017" y="798171"/>
                </a:cubicBezTo>
                <a:cubicBezTo>
                  <a:pt x="3303846" y="808773"/>
                  <a:pt x="3302400" y="815840"/>
                  <a:pt x="3299506" y="829976"/>
                </a:cubicBezTo>
                <a:cubicBezTo>
                  <a:pt x="3293687" y="825103"/>
                  <a:pt x="3291863" y="817365"/>
                  <a:pt x="3283497" y="808289"/>
                </a:cubicBezTo>
                <a:cubicBezTo>
                  <a:pt x="3277678" y="803416"/>
                  <a:pt x="3267865" y="801407"/>
                  <a:pt x="3258052" y="799398"/>
                </a:cubicBezTo>
                <a:cubicBezTo>
                  <a:pt x="3267519" y="819746"/>
                  <a:pt x="3266827" y="856423"/>
                  <a:pt x="3299506" y="829976"/>
                </a:cubicBezTo>
                <a:cubicBezTo>
                  <a:pt x="3315484" y="818519"/>
                  <a:pt x="3326744" y="813460"/>
                  <a:pt x="3338003" y="808401"/>
                </a:cubicBezTo>
                <a:cubicBezTo>
                  <a:pt x="3336179" y="800664"/>
                  <a:pt x="3333632" y="796460"/>
                  <a:pt x="3328536" y="788053"/>
                </a:cubicBezTo>
                <a:cubicBezTo>
                  <a:pt x="3348132" y="758927"/>
                  <a:pt x="3365179" y="725598"/>
                  <a:pt x="3386221" y="689404"/>
                </a:cubicBezTo>
                <a:cubicBezTo>
                  <a:pt x="3404400" y="700490"/>
                  <a:pt x="3419308" y="710905"/>
                  <a:pt x="3438211" y="718457"/>
                </a:cubicBezTo>
                <a:cubicBezTo>
                  <a:pt x="3438211" y="718457"/>
                  <a:pt x="3442205" y="715593"/>
                  <a:pt x="3446923" y="709195"/>
                </a:cubicBezTo>
                <a:cubicBezTo>
                  <a:pt x="3455289" y="718271"/>
                  <a:pt x="3464379" y="723814"/>
                  <a:pt x="3478563" y="737764"/>
                </a:cubicBezTo>
                <a:cubicBezTo>
                  <a:pt x="3502153" y="705773"/>
                  <a:pt x="3538480" y="694800"/>
                  <a:pt x="3569712" y="675421"/>
                </a:cubicBezTo>
                <a:cubicBezTo>
                  <a:pt x="3597673" y="655371"/>
                  <a:pt x="3630006" y="647262"/>
                  <a:pt x="3659068" y="638484"/>
                </a:cubicBezTo>
                <a:cubicBezTo>
                  <a:pt x="3675800" y="656637"/>
                  <a:pt x="3689261" y="674121"/>
                  <a:pt x="3702723" y="691604"/>
                </a:cubicBezTo>
                <a:cubicBezTo>
                  <a:pt x="3710712" y="685876"/>
                  <a:pt x="3718701" y="680147"/>
                  <a:pt x="3715429" y="679478"/>
                </a:cubicBezTo>
                <a:cubicBezTo>
                  <a:pt x="3716499" y="657605"/>
                  <a:pt x="3711027" y="634393"/>
                  <a:pt x="3710649" y="619588"/>
                </a:cubicBezTo>
                <a:cubicBezTo>
                  <a:pt x="3743328" y="593140"/>
                  <a:pt x="3771289" y="573091"/>
                  <a:pt x="3814505" y="545118"/>
                </a:cubicBezTo>
                <a:cubicBezTo>
                  <a:pt x="3825041" y="543594"/>
                  <a:pt x="3856651" y="539019"/>
                  <a:pt x="3894802" y="535783"/>
                </a:cubicBezTo>
                <a:cubicBezTo>
                  <a:pt x="3904553" y="471504"/>
                  <a:pt x="3973275" y="518710"/>
                  <a:pt x="4000482" y="469051"/>
                </a:cubicBezTo>
                <a:cubicBezTo>
                  <a:pt x="4029921" y="475077"/>
                  <a:pt x="4059360" y="481104"/>
                  <a:pt x="4088799" y="487131"/>
                </a:cubicBezTo>
                <a:cubicBezTo>
                  <a:pt x="4094964" y="473665"/>
                  <a:pt x="4099682" y="467267"/>
                  <a:pt x="4105123" y="457335"/>
                </a:cubicBezTo>
                <a:cubicBezTo>
                  <a:pt x="4114936" y="459344"/>
                  <a:pt x="4121478" y="460683"/>
                  <a:pt x="4131291" y="462692"/>
                </a:cubicBezTo>
                <a:cubicBezTo>
                  <a:pt x="4121855" y="475488"/>
                  <a:pt x="4112419" y="488284"/>
                  <a:pt x="4105531" y="505284"/>
                </a:cubicBezTo>
                <a:cubicBezTo>
                  <a:pt x="4115344" y="507293"/>
                  <a:pt x="4121163" y="512166"/>
                  <a:pt x="4133523" y="518378"/>
                </a:cubicBezTo>
                <a:cubicBezTo>
                  <a:pt x="4141858" y="494311"/>
                  <a:pt x="4146199" y="473108"/>
                  <a:pt x="4154534" y="449040"/>
                </a:cubicBezTo>
                <a:cubicBezTo>
                  <a:pt x="4187590" y="437398"/>
                  <a:pt x="4219923" y="429289"/>
                  <a:pt x="4264239" y="412588"/>
                </a:cubicBezTo>
                <a:cubicBezTo>
                  <a:pt x="4267510" y="413257"/>
                  <a:pt x="4280594" y="415936"/>
                  <a:pt x="4303491" y="420623"/>
                </a:cubicBezTo>
                <a:cubicBezTo>
                  <a:pt x="4310410" y="436768"/>
                  <a:pt x="4316607" y="456446"/>
                  <a:pt x="4325350" y="480327"/>
                </a:cubicBezTo>
                <a:cubicBezTo>
                  <a:pt x="4350763" y="456074"/>
                  <a:pt x="4378724" y="436025"/>
                  <a:pt x="4412127" y="406043"/>
                </a:cubicBezTo>
                <a:cubicBezTo>
                  <a:pt x="4415398" y="406713"/>
                  <a:pt x="4428482" y="409391"/>
                  <a:pt x="4445560" y="409206"/>
                </a:cubicBezTo>
                <a:cubicBezTo>
                  <a:pt x="4447731" y="398604"/>
                  <a:pt x="4449901" y="388003"/>
                  <a:pt x="4450247" y="369664"/>
                </a:cubicBezTo>
                <a:cubicBezTo>
                  <a:pt x="4417191" y="381306"/>
                  <a:pt x="4388129" y="390085"/>
                  <a:pt x="4355796" y="398193"/>
                </a:cubicBezTo>
                <a:cubicBezTo>
                  <a:pt x="4354696" y="386922"/>
                  <a:pt x="4352871" y="379185"/>
                  <a:pt x="4351771" y="367914"/>
                </a:cubicBezTo>
                <a:cubicBezTo>
                  <a:pt x="4366302" y="363525"/>
                  <a:pt x="4377561" y="358466"/>
                  <a:pt x="4388098" y="356941"/>
                </a:cubicBezTo>
                <a:cubicBezTo>
                  <a:pt x="4386274" y="349204"/>
                  <a:pt x="4381179" y="340797"/>
                  <a:pt x="4376083" y="332390"/>
                </a:cubicBezTo>
                <a:cubicBezTo>
                  <a:pt x="4398603" y="322272"/>
                  <a:pt x="4421123" y="312155"/>
                  <a:pt x="4443643" y="302037"/>
                </a:cubicBezTo>
                <a:cubicBezTo>
                  <a:pt x="4446191" y="306240"/>
                  <a:pt x="4451285" y="314647"/>
                  <a:pt x="4462199" y="327927"/>
                </a:cubicBezTo>
                <a:cubicBezTo>
                  <a:pt x="4486889" y="307208"/>
                  <a:pt x="4514850" y="287159"/>
                  <a:pt x="4546806" y="264245"/>
                </a:cubicBezTo>
                <a:cubicBezTo>
                  <a:pt x="4556273" y="284593"/>
                  <a:pt x="4565740" y="304940"/>
                  <a:pt x="4571936" y="324618"/>
                </a:cubicBezTo>
                <a:cubicBezTo>
                  <a:pt x="4585020" y="327297"/>
                  <a:pt x="4598104" y="329976"/>
                  <a:pt x="4614459" y="333324"/>
                </a:cubicBezTo>
                <a:cubicBezTo>
                  <a:pt x="4610087" y="321383"/>
                  <a:pt x="4608263" y="313646"/>
                  <a:pt x="4602444" y="308772"/>
                </a:cubicBezTo>
                <a:cubicBezTo>
                  <a:pt x="4635847" y="278791"/>
                  <a:pt x="4672520" y="249479"/>
                  <a:pt x="4701928" y="222362"/>
                </a:cubicBezTo>
                <a:cubicBezTo>
                  <a:pt x="4698280" y="206887"/>
                  <a:pt x="4694631" y="191413"/>
                  <a:pt x="4690983" y="175938"/>
                </a:cubicBezTo>
                <a:cubicBezTo>
                  <a:pt x="4716051" y="170024"/>
                  <a:pt x="4741841" y="160576"/>
                  <a:pt x="4761467" y="164594"/>
                </a:cubicBezTo>
                <a:cubicBezTo>
                  <a:pt x="4800719" y="172629"/>
                  <a:pt x="4833052" y="164521"/>
                  <a:pt x="4868279" y="142277"/>
                </a:cubicBezTo>
                <a:cubicBezTo>
                  <a:pt x="4880262" y="133684"/>
                  <a:pt x="4899888" y="137702"/>
                  <a:pt x="4918067" y="148787"/>
                </a:cubicBezTo>
                <a:cubicBezTo>
                  <a:pt x="4907531" y="150312"/>
                  <a:pt x="4896271" y="155371"/>
                  <a:pt x="4881740" y="159760"/>
                </a:cubicBezTo>
                <a:cubicBezTo>
                  <a:pt x="4897780" y="214591"/>
                  <a:pt x="4913820" y="269422"/>
                  <a:pt x="4925866" y="327117"/>
                </a:cubicBezTo>
                <a:cubicBezTo>
                  <a:pt x="4932408" y="328456"/>
                  <a:pt x="4942221" y="330465"/>
                  <a:pt x="4948763" y="331804"/>
                </a:cubicBezTo>
                <a:cubicBezTo>
                  <a:pt x="4946246" y="360745"/>
                  <a:pt x="4943730" y="389685"/>
                  <a:pt x="4937596" y="436294"/>
                </a:cubicBezTo>
                <a:cubicBezTo>
                  <a:pt x="4941590" y="433430"/>
                  <a:pt x="4932878" y="442692"/>
                  <a:pt x="4926713" y="456158"/>
                </a:cubicBezTo>
                <a:cubicBezTo>
                  <a:pt x="4926713" y="456158"/>
                  <a:pt x="4923443" y="455489"/>
                  <a:pt x="4924166" y="451955"/>
                </a:cubicBezTo>
                <a:cubicBezTo>
                  <a:pt x="4920171" y="454819"/>
                  <a:pt x="4912182" y="460547"/>
                  <a:pt x="4908188" y="463412"/>
                </a:cubicBezTo>
                <a:cubicBezTo>
                  <a:pt x="4908188" y="463412"/>
                  <a:pt x="4910736" y="467615"/>
                  <a:pt x="4910736" y="467615"/>
                </a:cubicBezTo>
                <a:cubicBezTo>
                  <a:pt x="4918001" y="465420"/>
                  <a:pt x="4921996" y="462556"/>
                  <a:pt x="4926713" y="456158"/>
                </a:cubicBezTo>
                <a:cubicBezTo>
                  <a:pt x="4969960" y="461330"/>
                  <a:pt x="5009904" y="432687"/>
                  <a:pt x="5056768" y="420190"/>
                </a:cubicBezTo>
                <a:cubicBezTo>
                  <a:pt x="5060417" y="435664"/>
                  <a:pt x="5060794" y="450469"/>
                  <a:pt x="5066266" y="473681"/>
                </a:cubicBezTo>
                <a:cubicBezTo>
                  <a:pt x="5074601" y="449614"/>
                  <a:pt x="5080766" y="436148"/>
                  <a:pt x="5082936" y="425547"/>
                </a:cubicBezTo>
                <a:cubicBezTo>
                  <a:pt x="5098190" y="417624"/>
                  <a:pt x="5110897" y="405497"/>
                  <a:pt x="5126152" y="397574"/>
                </a:cubicBezTo>
                <a:cubicBezTo>
                  <a:pt x="5097782" y="369675"/>
                  <a:pt x="5078533" y="380462"/>
                  <a:pt x="5055290" y="394113"/>
                </a:cubicBezTo>
                <a:cubicBezTo>
                  <a:pt x="5036041" y="404901"/>
                  <a:pt x="5012421" y="403747"/>
                  <a:pt x="4987354" y="409661"/>
                </a:cubicBezTo>
                <a:cubicBezTo>
                  <a:pt x="4992418" y="384924"/>
                  <a:pt x="4997482" y="360187"/>
                  <a:pt x="5003993" y="328383"/>
                </a:cubicBezTo>
                <a:cubicBezTo>
                  <a:pt x="5010535" y="329722"/>
                  <a:pt x="5021071" y="328197"/>
                  <a:pt x="5032331" y="323138"/>
                </a:cubicBezTo>
                <a:cubicBezTo>
                  <a:pt x="5038496" y="309673"/>
                  <a:pt x="5041389" y="295537"/>
                  <a:pt x="5049724" y="271470"/>
                </a:cubicBezTo>
                <a:cubicBezTo>
                  <a:pt x="5064632" y="281886"/>
                  <a:pt x="5072999" y="290962"/>
                  <a:pt x="5084636" y="300709"/>
                </a:cubicBezTo>
                <a:cubicBezTo>
                  <a:pt x="5089354" y="294310"/>
                  <a:pt x="5091524" y="283709"/>
                  <a:pt x="5096965" y="273777"/>
                </a:cubicBezTo>
                <a:cubicBezTo>
                  <a:pt x="5084605" y="267565"/>
                  <a:pt x="5078786" y="262692"/>
                  <a:pt x="5069696" y="257149"/>
                </a:cubicBezTo>
                <a:cubicBezTo>
                  <a:pt x="5069319" y="242344"/>
                  <a:pt x="5072213" y="228208"/>
                  <a:pt x="5071836" y="213404"/>
                </a:cubicBezTo>
                <a:cubicBezTo>
                  <a:pt x="5056928" y="202988"/>
                  <a:pt x="5041296" y="196106"/>
                  <a:pt x="5017298" y="180147"/>
                </a:cubicBezTo>
                <a:cubicBezTo>
                  <a:pt x="5009656" y="167537"/>
                  <a:pt x="4994370" y="142316"/>
                  <a:pt x="4976537" y="112892"/>
                </a:cubicBezTo>
                <a:cubicBezTo>
                  <a:pt x="4999780" y="99240"/>
                  <a:pt x="5026295" y="86258"/>
                  <a:pt x="5053532" y="69743"/>
                </a:cubicBezTo>
                <a:cubicBezTo>
                  <a:pt x="5077530" y="85701"/>
                  <a:pt x="5098980" y="97456"/>
                  <a:pt x="5126249" y="114084"/>
                </a:cubicBezTo>
                <a:cubicBezTo>
                  <a:pt x="5124079" y="124686"/>
                  <a:pt x="5123732" y="143025"/>
                  <a:pt x="5123386" y="161364"/>
                </a:cubicBezTo>
                <a:cubicBezTo>
                  <a:pt x="5130652" y="159169"/>
                  <a:pt x="5137917" y="156974"/>
                  <a:pt x="5137917" y="156974"/>
                </a:cubicBezTo>
                <a:cubicBezTo>
                  <a:pt x="5143705" y="128704"/>
                  <a:pt x="5148769" y="103967"/>
                  <a:pt x="5154556" y="75696"/>
                </a:cubicBezTo>
                <a:cubicBezTo>
                  <a:pt x="5189090" y="90130"/>
                  <a:pt x="5206861" y="53266"/>
                  <a:pt x="5240641" y="38090"/>
                </a:cubicBezTo>
                <a:cubicBezTo>
                  <a:pt x="5241018" y="52895"/>
                  <a:pt x="5243943" y="71903"/>
                  <a:pt x="5245767" y="79641"/>
                </a:cubicBezTo>
                <a:cubicBezTo>
                  <a:pt x="5301720" y="72686"/>
                  <a:pt x="5293323" y="30465"/>
                  <a:pt x="5306376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8535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83439" y="822961"/>
            <a:ext cx="13753692" cy="5237164"/>
          </a:xfrm>
          <a:custGeom>
            <a:avLst/>
            <a:gdLst>
              <a:gd name="connsiteX0" fmla="*/ 9062114 w 13753692"/>
              <a:gd name="connsiteY0" fmla="*/ 0 h 5237164"/>
              <a:gd name="connsiteX1" fmla="*/ 9131430 w 13753692"/>
              <a:gd name="connsiteY1" fmla="*/ 58077 h 5237164"/>
              <a:gd name="connsiteX2" fmla="*/ 9094948 w 13753692"/>
              <a:gd name="connsiteY2" fmla="*/ 119570 h 5237164"/>
              <a:gd name="connsiteX3" fmla="*/ 9127782 w 13753692"/>
              <a:gd name="connsiteY3" fmla="*/ 163982 h 5237164"/>
              <a:gd name="connsiteX4" fmla="*/ 9084003 w 13753692"/>
              <a:gd name="connsiteY4" fmla="*/ 204977 h 5237164"/>
              <a:gd name="connsiteX5" fmla="*/ 9018336 w 13753692"/>
              <a:gd name="connsiteY5" fmla="*/ 204977 h 5237164"/>
              <a:gd name="connsiteX6" fmla="*/ 9000095 w 13753692"/>
              <a:gd name="connsiteY6" fmla="*/ 259638 h 5237164"/>
              <a:gd name="connsiteX7" fmla="*/ 8952668 w 13753692"/>
              <a:gd name="connsiteY7" fmla="*/ 269887 h 5237164"/>
              <a:gd name="connsiteX8" fmla="*/ 8945372 w 13753692"/>
              <a:gd name="connsiteY8" fmla="*/ 310882 h 5237164"/>
              <a:gd name="connsiteX9" fmla="*/ 9054818 w 13753692"/>
              <a:gd name="connsiteY9" fmla="*/ 331380 h 5237164"/>
              <a:gd name="connsiteX10" fmla="*/ 9076707 w 13753692"/>
              <a:gd name="connsiteY10" fmla="*/ 269887 h 5237164"/>
              <a:gd name="connsiteX11" fmla="*/ 9142375 w 13753692"/>
              <a:gd name="connsiteY11" fmla="*/ 263054 h 5237164"/>
              <a:gd name="connsiteX12" fmla="*/ 9189801 w 13753692"/>
              <a:gd name="connsiteY12" fmla="*/ 235724 h 5237164"/>
              <a:gd name="connsiteX13" fmla="*/ 9277358 w 13753692"/>
              <a:gd name="connsiteY13" fmla="*/ 259638 h 5237164"/>
              <a:gd name="connsiteX14" fmla="*/ 9291951 w 13753692"/>
              <a:gd name="connsiteY14" fmla="*/ 184480 h 5237164"/>
              <a:gd name="connsiteX15" fmla="*/ 9423286 w 13753692"/>
              <a:gd name="connsiteY15" fmla="*/ 177647 h 5237164"/>
              <a:gd name="connsiteX16" fmla="*/ 9488953 w 13753692"/>
              <a:gd name="connsiteY16" fmla="*/ 146901 h 5237164"/>
              <a:gd name="connsiteX17" fmla="*/ 9518139 w 13753692"/>
              <a:gd name="connsiteY17" fmla="*/ 177647 h 5237164"/>
              <a:gd name="connsiteX18" fmla="*/ 9580158 w 13753692"/>
              <a:gd name="connsiteY18" fmla="*/ 177647 h 5237164"/>
              <a:gd name="connsiteX19" fmla="*/ 9631233 w 13753692"/>
              <a:gd name="connsiteY19" fmla="*/ 225475 h 5237164"/>
              <a:gd name="connsiteX20" fmla="*/ 9591102 w 13753692"/>
              <a:gd name="connsiteY20" fmla="*/ 307466 h 5237164"/>
              <a:gd name="connsiteX21" fmla="*/ 9620288 w 13753692"/>
              <a:gd name="connsiteY21" fmla="*/ 324547 h 5237164"/>
              <a:gd name="connsiteX22" fmla="*/ 9744327 w 13753692"/>
              <a:gd name="connsiteY22" fmla="*/ 286968 h 5237164"/>
              <a:gd name="connsiteX23" fmla="*/ 9766216 w 13753692"/>
              <a:gd name="connsiteY23" fmla="*/ 266470 h 5237164"/>
              <a:gd name="connsiteX24" fmla="*/ 9828235 w 13753692"/>
              <a:gd name="connsiteY24" fmla="*/ 266470 h 5237164"/>
              <a:gd name="connsiteX25" fmla="*/ 9861069 w 13753692"/>
              <a:gd name="connsiteY25" fmla="*/ 297217 h 5237164"/>
              <a:gd name="connsiteX26" fmla="*/ 9923088 w 13753692"/>
              <a:gd name="connsiteY26" fmla="*/ 297217 h 5237164"/>
              <a:gd name="connsiteX27" fmla="*/ 9959570 w 13753692"/>
              <a:gd name="connsiteY27" fmla="*/ 331380 h 5237164"/>
              <a:gd name="connsiteX28" fmla="*/ 10028886 w 13753692"/>
              <a:gd name="connsiteY28" fmla="*/ 300633 h 5237164"/>
              <a:gd name="connsiteX29" fmla="*/ 10109146 w 13753692"/>
              <a:gd name="connsiteY29" fmla="*/ 300633 h 5237164"/>
              <a:gd name="connsiteX30" fmla="*/ 10156573 w 13753692"/>
              <a:gd name="connsiteY30" fmla="*/ 338212 h 5237164"/>
              <a:gd name="connsiteX31" fmla="*/ 10156573 w 13753692"/>
              <a:gd name="connsiteY31" fmla="*/ 389457 h 5237164"/>
              <a:gd name="connsiteX32" fmla="*/ 10098201 w 13753692"/>
              <a:gd name="connsiteY32" fmla="*/ 491945 h 5237164"/>
              <a:gd name="connsiteX33" fmla="*/ 10174814 w 13753692"/>
              <a:gd name="connsiteY33" fmla="*/ 471447 h 5237164"/>
              <a:gd name="connsiteX34" fmla="*/ 10266018 w 13753692"/>
              <a:gd name="connsiteY34" fmla="*/ 471447 h 5237164"/>
              <a:gd name="connsiteX35" fmla="*/ 10291556 w 13753692"/>
              <a:gd name="connsiteY35" fmla="*/ 447533 h 5237164"/>
              <a:gd name="connsiteX36" fmla="*/ 10360871 w 13753692"/>
              <a:gd name="connsiteY36" fmla="*/ 447533 h 5237164"/>
              <a:gd name="connsiteX37" fmla="*/ 10404650 w 13753692"/>
              <a:gd name="connsiteY37" fmla="*/ 488529 h 5237164"/>
              <a:gd name="connsiteX38" fmla="*/ 10404650 w 13753692"/>
              <a:gd name="connsiteY38" fmla="*/ 536357 h 5237164"/>
              <a:gd name="connsiteX39" fmla="*/ 10313445 w 13753692"/>
              <a:gd name="connsiteY39" fmla="*/ 703755 h 5237164"/>
              <a:gd name="connsiteX40" fmla="*/ 10360871 w 13753692"/>
              <a:gd name="connsiteY40" fmla="*/ 714004 h 5237164"/>
              <a:gd name="connsiteX41" fmla="*/ 10393705 w 13753692"/>
              <a:gd name="connsiteY41" fmla="*/ 768664 h 5237164"/>
              <a:gd name="connsiteX42" fmla="*/ 10408298 w 13753692"/>
              <a:gd name="connsiteY42" fmla="*/ 768664 h 5237164"/>
              <a:gd name="connsiteX43" fmla="*/ 10484910 w 13753692"/>
              <a:gd name="connsiteY43" fmla="*/ 717420 h 5237164"/>
              <a:gd name="connsiteX44" fmla="*/ 10514096 w 13753692"/>
              <a:gd name="connsiteY44" fmla="*/ 737918 h 5237164"/>
              <a:gd name="connsiteX45" fmla="*/ 10572467 w 13753692"/>
              <a:gd name="connsiteY45" fmla="*/ 737918 h 5237164"/>
              <a:gd name="connsiteX46" fmla="*/ 10605300 w 13753692"/>
              <a:gd name="connsiteY46" fmla="*/ 768664 h 5237164"/>
              <a:gd name="connsiteX47" fmla="*/ 10674616 w 13753692"/>
              <a:gd name="connsiteY47" fmla="*/ 768664 h 5237164"/>
              <a:gd name="connsiteX48" fmla="*/ 10685561 w 13753692"/>
              <a:gd name="connsiteY48" fmla="*/ 816492 h 5237164"/>
              <a:gd name="connsiteX49" fmla="*/ 10616245 w 13753692"/>
              <a:gd name="connsiteY49" fmla="*/ 840406 h 5237164"/>
              <a:gd name="connsiteX50" fmla="*/ 10681913 w 13753692"/>
              <a:gd name="connsiteY50" fmla="*/ 871153 h 5237164"/>
              <a:gd name="connsiteX51" fmla="*/ 10652727 w 13753692"/>
              <a:gd name="connsiteY51" fmla="*/ 901899 h 5237164"/>
              <a:gd name="connsiteX52" fmla="*/ 10652727 w 13753692"/>
              <a:gd name="connsiteY52" fmla="*/ 953144 h 5237164"/>
              <a:gd name="connsiteX53" fmla="*/ 10696505 w 13753692"/>
              <a:gd name="connsiteY53" fmla="*/ 1035134 h 5237164"/>
              <a:gd name="connsiteX54" fmla="*/ 10732987 w 13753692"/>
              <a:gd name="connsiteY54" fmla="*/ 1004388 h 5237164"/>
              <a:gd name="connsiteX55" fmla="*/ 10751228 w 13753692"/>
              <a:gd name="connsiteY55" fmla="*/ 1048800 h 5237164"/>
              <a:gd name="connsiteX56" fmla="*/ 10685561 w 13753692"/>
              <a:gd name="connsiteY56" fmla="*/ 1076130 h 5237164"/>
              <a:gd name="connsiteX57" fmla="*/ 10623541 w 13753692"/>
              <a:gd name="connsiteY57" fmla="*/ 1106876 h 5237164"/>
              <a:gd name="connsiteX58" fmla="*/ 10619893 w 13753692"/>
              <a:gd name="connsiteY58" fmla="*/ 1144456 h 5237164"/>
              <a:gd name="connsiteX59" fmla="*/ 10514096 w 13753692"/>
              <a:gd name="connsiteY59" fmla="*/ 1243528 h 5237164"/>
              <a:gd name="connsiteX60" fmla="*/ 10404650 w 13753692"/>
              <a:gd name="connsiteY60" fmla="*/ 1315270 h 5237164"/>
              <a:gd name="connsiteX61" fmla="*/ 10251426 w 13753692"/>
              <a:gd name="connsiteY61" fmla="*/ 1390428 h 5237164"/>
              <a:gd name="connsiteX62" fmla="*/ 10171165 w 13753692"/>
              <a:gd name="connsiteY62" fmla="*/ 1421175 h 5237164"/>
              <a:gd name="connsiteX63" fmla="*/ 10105498 w 13753692"/>
              <a:gd name="connsiteY63" fmla="*/ 1479251 h 5237164"/>
              <a:gd name="connsiteX64" fmla="*/ 10058071 w 13753692"/>
              <a:gd name="connsiteY64" fmla="*/ 1479251 h 5237164"/>
              <a:gd name="connsiteX65" fmla="*/ 9981459 w 13753692"/>
              <a:gd name="connsiteY65" fmla="*/ 1516831 h 5237164"/>
              <a:gd name="connsiteX66" fmla="*/ 9926736 w 13753692"/>
              <a:gd name="connsiteY66" fmla="*/ 1568075 h 5237164"/>
              <a:gd name="connsiteX67" fmla="*/ 9788105 w 13753692"/>
              <a:gd name="connsiteY67" fmla="*/ 1619319 h 5237164"/>
              <a:gd name="connsiteX68" fmla="*/ 9799050 w 13753692"/>
              <a:gd name="connsiteY68" fmla="*/ 1629568 h 5237164"/>
              <a:gd name="connsiteX69" fmla="*/ 9941329 w 13753692"/>
              <a:gd name="connsiteY69" fmla="*/ 1629568 h 5237164"/>
              <a:gd name="connsiteX70" fmla="*/ 10028886 w 13753692"/>
              <a:gd name="connsiteY70" fmla="*/ 1585156 h 5237164"/>
              <a:gd name="connsiteX71" fmla="*/ 10105498 w 13753692"/>
              <a:gd name="connsiteY71" fmla="*/ 1544161 h 5237164"/>
              <a:gd name="connsiteX72" fmla="*/ 10182110 w 13753692"/>
              <a:gd name="connsiteY72" fmla="*/ 1509998 h 5237164"/>
              <a:gd name="connsiteX73" fmla="*/ 10262370 w 13753692"/>
              <a:gd name="connsiteY73" fmla="*/ 1479251 h 5237164"/>
              <a:gd name="connsiteX74" fmla="*/ 10324389 w 13753692"/>
              <a:gd name="connsiteY74" fmla="*/ 1479251 h 5237164"/>
              <a:gd name="connsiteX75" fmla="*/ 10401002 w 13753692"/>
              <a:gd name="connsiteY75" fmla="*/ 1520247 h 5237164"/>
              <a:gd name="connsiteX76" fmla="*/ 10401002 w 13753692"/>
              <a:gd name="connsiteY76" fmla="*/ 1619319 h 5237164"/>
              <a:gd name="connsiteX77" fmla="*/ 10342630 w 13753692"/>
              <a:gd name="connsiteY77" fmla="*/ 1639817 h 5237164"/>
              <a:gd name="connsiteX78" fmla="*/ 10364520 w 13753692"/>
              <a:gd name="connsiteY78" fmla="*/ 1656898 h 5237164"/>
              <a:gd name="connsiteX79" fmla="*/ 10422891 w 13753692"/>
              <a:gd name="connsiteY79" fmla="*/ 1653482 h 5237164"/>
              <a:gd name="connsiteX80" fmla="*/ 10506799 w 13753692"/>
              <a:gd name="connsiteY80" fmla="*/ 1626152 h 5237164"/>
              <a:gd name="connsiteX81" fmla="*/ 10565170 w 13753692"/>
              <a:gd name="connsiteY81" fmla="*/ 1591989 h 5237164"/>
              <a:gd name="connsiteX82" fmla="*/ 10605300 w 13753692"/>
              <a:gd name="connsiteY82" fmla="*/ 1626152 h 5237164"/>
              <a:gd name="connsiteX83" fmla="*/ 10696505 w 13753692"/>
              <a:gd name="connsiteY83" fmla="*/ 1626152 h 5237164"/>
              <a:gd name="connsiteX84" fmla="*/ 10762173 w 13753692"/>
              <a:gd name="connsiteY84" fmla="*/ 1687645 h 5237164"/>
              <a:gd name="connsiteX85" fmla="*/ 10919045 w 13753692"/>
              <a:gd name="connsiteY85" fmla="*/ 1687645 h 5237164"/>
              <a:gd name="connsiteX86" fmla="*/ 10962823 w 13753692"/>
              <a:gd name="connsiteY86" fmla="*/ 1732056 h 5237164"/>
              <a:gd name="connsiteX87" fmla="*/ 10900804 w 13753692"/>
              <a:gd name="connsiteY87" fmla="*/ 1793550 h 5237164"/>
              <a:gd name="connsiteX88" fmla="*/ 11006602 w 13753692"/>
              <a:gd name="connsiteY88" fmla="*/ 1807215 h 5237164"/>
              <a:gd name="connsiteX89" fmla="*/ 11057677 w 13753692"/>
              <a:gd name="connsiteY89" fmla="*/ 1776468 h 5237164"/>
              <a:gd name="connsiteX90" fmla="*/ 11068621 w 13753692"/>
              <a:gd name="connsiteY90" fmla="*/ 1807215 h 5237164"/>
              <a:gd name="connsiteX91" fmla="*/ 11229142 w 13753692"/>
              <a:gd name="connsiteY91" fmla="*/ 1807215 h 5237164"/>
              <a:gd name="connsiteX92" fmla="*/ 11243734 w 13753692"/>
              <a:gd name="connsiteY92" fmla="*/ 1896038 h 5237164"/>
              <a:gd name="connsiteX93" fmla="*/ 11181715 w 13753692"/>
              <a:gd name="connsiteY93" fmla="*/ 1954115 h 5237164"/>
              <a:gd name="connsiteX94" fmla="*/ 11196308 w 13753692"/>
              <a:gd name="connsiteY94" fmla="*/ 1981445 h 5237164"/>
              <a:gd name="connsiteX95" fmla="*/ 11258327 w 13753692"/>
              <a:gd name="connsiteY95" fmla="*/ 2012192 h 5237164"/>
              <a:gd name="connsiteX96" fmla="*/ 11298457 w 13753692"/>
              <a:gd name="connsiteY96" fmla="*/ 1978029 h 5237164"/>
              <a:gd name="connsiteX97" fmla="*/ 11426144 w 13753692"/>
              <a:gd name="connsiteY97" fmla="*/ 2046355 h 5237164"/>
              <a:gd name="connsiteX98" fmla="*/ 11371421 w 13753692"/>
              <a:gd name="connsiteY98" fmla="*/ 2152260 h 5237164"/>
              <a:gd name="connsiteX99" fmla="*/ 11433441 w 13753692"/>
              <a:gd name="connsiteY99" fmla="*/ 2172757 h 5237164"/>
              <a:gd name="connsiteX100" fmla="*/ 11305754 w 13753692"/>
              <a:gd name="connsiteY100" fmla="*/ 2295743 h 5237164"/>
              <a:gd name="connsiteX101" fmla="*/ 11382366 w 13753692"/>
              <a:gd name="connsiteY101" fmla="*/ 2282078 h 5237164"/>
              <a:gd name="connsiteX102" fmla="*/ 11601257 w 13753692"/>
              <a:gd name="connsiteY102" fmla="*/ 2282078 h 5237164"/>
              <a:gd name="connsiteX103" fmla="*/ 11663277 w 13753692"/>
              <a:gd name="connsiteY103" fmla="*/ 2340155 h 5237164"/>
              <a:gd name="connsiteX104" fmla="*/ 11816501 w 13753692"/>
              <a:gd name="connsiteY104" fmla="*/ 2340155 h 5237164"/>
              <a:gd name="connsiteX105" fmla="*/ 11809205 w 13753692"/>
              <a:gd name="connsiteY105" fmla="*/ 2449476 h 5237164"/>
              <a:gd name="connsiteX106" fmla="*/ 11845686 w 13753692"/>
              <a:gd name="connsiteY106" fmla="*/ 2459725 h 5237164"/>
              <a:gd name="connsiteX107" fmla="*/ 11878520 w 13753692"/>
              <a:gd name="connsiteY107" fmla="*/ 2428979 h 5237164"/>
              <a:gd name="connsiteX108" fmla="*/ 11907706 w 13753692"/>
              <a:gd name="connsiteY108" fmla="*/ 2452892 h 5237164"/>
              <a:gd name="connsiteX109" fmla="*/ 12060930 w 13753692"/>
              <a:gd name="connsiteY109" fmla="*/ 2452892 h 5237164"/>
              <a:gd name="connsiteX110" fmla="*/ 12082819 w 13753692"/>
              <a:gd name="connsiteY110" fmla="*/ 2528051 h 5237164"/>
              <a:gd name="connsiteX111" fmla="*/ 12020800 w 13753692"/>
              <a:gd name="connsiteY111" fmla="*/ 2592960 h 5237164"/>
              <a:gd name="connsiteX112" fmla="*/ 12064578 w 13753692"/>
              <a:gd name="connsiteY112" fmla="*/ 2633955 h 5237164"/>
              <a:gd name="connsiteX113" fmla="*/ 12097412 w 13753692"/>
              <a:gd name="connsiteY113" fmla="*/ 2606625 h 5237164"/>
              <a:gd name="connsiteX114" fmla="*/ 12163079 w 13753692"/>
              <a:gd name="connsiteY114" fmla="*/ 2633955 h 5237164"/>
              <a:gd name="connsiteX115" fmla="*/ 12206858 w 13753692"/>
              <a:gd name="connsiteY115" fmla="*/ 2674951 h 5237164"/>
              <a:gd name="connsiteX116" fmla="*/ 12246988 w 13753692"/>
              <a:gd name="connsiteY116" fmla="*/ 2715946 h 5237164"/>
              <a:gd name="connsiteX117" fmla="*/ 12338193 w 13753692"/>
              <a:gd name="connsiteY117" fmla="*/ 2756942 h 5237164"/>
              <a:gd name="connsiteX118" fmla="*/ 12378323 w 13753692"/>
              <a:gd name="connsiteY118" fmla="*/ 2726195 h 5237164"/>
              <a:gd name="connsiteX119" fmla="*/ 12465879 w 13753692"/>
              <a:gd name="connsiteY119" fmla="*/ 2726195 h 5237164"/>
              <a:gd name="connsiteX120" fmla="*/ 12502361 w 13753692"/>
              <a:gd name="connsiteY120" fmla="*/ 2695449 h 5237164"/>
              <a:gd name="connsiteX121" fmla="*/ 12604511 w 13753692"/>
              <a:gd name="connsiteY121" fmla="*/ 2705698 h 5237164"/>
              <a:gd name="connsiteX122" fmla="*/ 12568029 w 13753692"/>
              <a:gd name="connsiteY122" fmla="*/ 2777440 h 5237164"/>
              <a:gd name="connsiteX123" fmla="*/ 12524251 w 13753692"/>
              <a:gd name="connsiteY123" fmla="*/ 2787688 h 5237164"/>
              <a:gd name="connsiteX124" fmla="*/ 12513306 w 13753692"/>
              <a:gd name="connsiteY124" fmla="*/ 2828684 h 5237164"/>
              <a:gd name="connsiteX125" fmla="*/ 12403860 w 13753692"/>
              <a:gd name="connsiteY125" fmla="*/ 2808186 h 5237164"/>
              <a:gd name="connsiteX126" fmla="*/ 12360082 w 13753692"/>
              <a:gd name="connsiteY126" fmla="*/ 2873096 h 5237164"/>
              <a:gd name="connsiteX127" fmla="*/ 12316303 w 13753692"/>
              <a:gd name="connsiteY127" fmla="*/ 2873096 h 5237164"/>
              <a:gd name="connsiteX128" fmla="*/ 12283470 w 13753692"/>
              <a:gd name="connsiteY128" fmla="*/ 2900426 h 5237164"/>
              <a:gd name="connsiteX129" fmla="*/ 12192265 w 13753692"/>
              <a:gd name="connsiteY129" fmla="*/ 2900426 h 5237164"/>
              <a:gd name="connsiteX130" fmla="*/ 12159431 w 13753692"/>
              <a:gd name="connsiteY130" fmla="*/ 2876512 h 5237164"/>
              <a:gd name="connsiteX131" fmla="*/ 12079171 w 13753692"/>
              <a:gd name="connsiteY131" fmla="*/ 2948254 h 5237164"/>
              <a:gd name="connsiteX132" fmla="*/ 12090115 w 13753692"/>
              <a:gd name="connsiteY132" fmla="*/ 2992666 h 5237164"/>
              <a:gd name="connsiteX133" fmla="*/ 12159431 w 13753692"/>
              <a:gd name="connsiteY133" fmla="*/ 2931172 h 5237164"/>
              <a:gd name="connsiteX134" fmla="*/ 12221450 w 13753692"/>
              <a:gd name="connsiteY134" fmla="*/ 2931172 h 5237164"/>
              <a:gd name="connsiteX135" fmla="*/ 12254284 w 13753692"/>
              <a:gd name="connsiteY135" fmla="*/ 2958503 h 5237164"/>
              <a:gd name="connsiteX136" fmla="*/ 12279822 w 13753692"/>
              <a:gd name="connsiteY136" fmla="*/ 2934589 h 5237164"/>
              <a:gd name="connsiteX137" fmla="*/ 12378323 w 13753692"/>
              <a:gd name="connsiteY137" fmla="*/ 2931172 h 5237164"/>
              <a:gd name="connsiteX138" fmla="*/ 12407508 w 13753692"/>
              <a:gd name="connsiteY138" fmla="*/ 2900426 h 5237164"/>
              <a:gd name="connsiteX139" fmla="*/ 12531547 w 13753692"/>
              <a:gd name="connsiteY139" fmla="*/ 2900426 h 5237164"/>
              <a:gd name="connsiteX140" fmla="*/ 12560733 w 13753692"/>
              <a:gd name="connsiteY140" fmla="*/ 2873096 h 5237164"/>
              <a:gd name="connsiteX141" fmla="*/ 12651937 w 13753692"/>
              <a:gd name="connsiteY141" fmla="*/ 2873096 h 5237164"/>
              <a:gd name="connsiteX142" fmla="*/ 12688419 w 13753692"/>
              <a:gd name="connsiteY142" fmla="*/ 2842349 h 5237164"/>
              <a:gd name="connsiteX143" fmla="*/ 12746790 w 13753692"/>
              <a:gd name="connsiteY143" fmla="*/ 2842349 h 5237164"/>
              <a:gd name="connsiteX144" fmla="*/ 12783272 w 13753692"/>
              <a:gd name="connsiteY144" fmla="*/ 2873096 h 5237164"/>
              <a:gd name="connsiteX145" fmla="*/ 12801513 w 13753692"/>
              <a:gd name="connsiteY145" fmla="*/ 2821851 h 5237164"/>
              <a:gd name="connsiteX146" fmla="*/ 12903663 w 13753692"/>
              <a:gd name="connsiteY146" fmla="*/ 2811602 h 5237164"/>
              <a:gd name="connsiteX147" fmla="*/ 12951089 w 13753692"/>
              <a:gd name="connsiteY147" fmla="*/ 2856014 h 5237164"/>
              <a:gd name="connsiteX148" fmla="*/ 12837995 w 13753692"/>
              <a:gd name="connsiteY148" fmla="*/ 2876512 h 5237164"/>
              <a:gd name="connsiteX149" fmla="*/ 12812458 w 13753692"/>
              <a:gd name="connsiteY149" fmla="*/ 2900426 h 5237164"/>
              <a:gd name="connsiteX150" fmla="*/ 12728549 w 13753692"/>
              <a:gd name="connsiteY150" fmla="*/ 2900426 h 5237164"/>
              <a:gd name="connsiteX151" fmla="*/ 12640993 w 13753692"/>
              <a:gd name="connsiteY151" fmla="*/ 2961919 h 5237164"/>
              <a:gd name="connsiteX152" fmla="*/ 12582622 w 13753692"/>
              <a:gd name="connsiteY152" fmla="*/ 2944838 h 5237164"/>
              <a:gd name="connsiteX153" fmla="*/ 12640993 w 13753692"/>
              <a:gd name="connsiteY153" fmla="*/ 2961919 h 5237164"/>
              <a:gd name="connsiteX154" fmla="*/ 12651937 w 13753692"/>
              <a:gd name="connsiteY154" fmla="*/ 2985833 h 5237164"/>
              <a:gd name="connsiteX155" fmla="*/ 12783272 w 13753692"/>
              <a:gd name="connsiteY155" fmla="*/ 2985833 h 5237164"/>
              <a:gd name="connsiteX156" fmla="*/ 12808810 w 13753692"/>
              <a:gd name="connsiteY156" fmla="*/ 2961919 h 5237164"/>
              <a:gd name="connsiteX157" fmla="*/ 12900015 w 13753692"/>
              <a:gd name="connsiteY157" fmla="*/ 2961919 h 5237164"/>
              <a:gd name="connsiteX158" fmla="*/ 12936497 w 13753692"/>
              <a:gd name="connsiteY158" fmla="*/ 2931172 h 5237164"/>
              <a:gd name="connsiteX159" fmla="*/ 13056887 w 13753692"/>
              <a:gd name="connsiteY159" fmla="*/ 2931172 h 5237164"/>
              <a:gd name="connsiteX160" fmla="*/ 13093369 w 13753692"/>
              <a:gd name="connsiteY160" fmla="*/ 2903842 h 5237164"/>
              <a:gd name="connsiteX161" fmla="*/ 13184574 w 13753692"/>
              <a:gd name="connsiteY161" fmla="*/ 2903842 h 5237164"/>
              <a:gd name="connsiteX162" fmla="*/ 13228352 w 13753692"/>
              <a:gd name="connsiteY162" fmla="*/ 2944838 h 5237164"/>
              <a:gd name="connsiteX163" fmla="*/ 13232000 w 13753692"/>
              <a:gd name="connsiteY163" fmla="*/ 2975584 h 5237164"/>
              <a:gd name="connsiteX164" fmla="*/ 13133499 w 13753692"/>
              <a:gd name="connsiteY164" fmla="*/ 2989249 h 5237164"/>
              <a:gd name="connsiteX165" fmla="*/ 13045942 w 13753692"/>
              <a:gd name="connsiteY165" fmla="*/ 3037077 h 5237164"/>
              <a:gd name="connsiteX166" fmla="*/ 13126203 w 13753692"/>
              <a:gd name="connsiteY166" fmla="*/ 3057575 h 5237164"/>
              <a:gd name="connsiteX167" fmla="*/ 13191870 w 13753692"/>
              <a:gd name="connsiteY167" fmla="*/ 3112235 h 5237164"/>
              <a:gd name="connsiteX168" fmla="*/ 13261186 w 13753692"/>
              <a:gd name="connsiteY168" fmla="*/ 3081489 h 5237164"/>
              <a:gd name="connsiteX169" fmla="*/ 13345094 w 13753692"/>
              <a:gd name="connsiteY169" fmla="*/ 3081489 h 5237164"/>
              <a:gd name="connsiteX170" fmla="*/ 13425355 w 13753692"/>
              <a:gd name="connsiteY170" fmla="*/ 3050742 h 5237164"/>
              <a:gd name="connsiteX171" fmla="*/ 13480077 w 13753692"/>
              <a:gd name="connsiteY171" fmla="*/ 3033661 h 5237164"/>
              <a:gd name="connsiteX172" fmla="*/ 13534800 w 13753692"/>
              <a:gd name="connsiteY172" fmla="*/ 3026828 h 5237164"/>
              <a:gd name="connsiteX173" fmla="*/ 13527504 w 13753692"/>
              <a:gd name="connsiteY173" fmla="*/ 3078073 h 5237164"/>
              <a:gd name="connsiteX174" fmla="*/ 13429003 w 13753692"/>
              <a:gd name="connsiteY174" fmla="*/ 3139566 h 5237164"/>
              <a:gd name="connsiteX175" fmla="*/ 13337798 w 13753692"/>
              <a:gd name="connsiteY175" fmla="*/ 3139566 h 5237164"/>
              <a:gd name="connsiteX176" fmla="*/ 13239297 w 13753692"/>
              <a:gd name="connsiteY176" fmla="*/ 3166896 h 5237164"/>
              <a:gd name="connsiteX177" fmla="*/ 13180926 w 13753692"/>
              <a:gd name="connsiteY177" fmla="*/ 3255719 h 5237164"/>
              <a:gd name="connsiteX178" fmla="*/ 13275779 w 13753692"/>
              <a:gd name="connsiteY178" fmla="*/ 3255719 h 5237164"/>
              <a:gd name="connsiteX179" fmla="*/ 13323205 w 13753692"/>
              <a:gd name="connsiteY179" fmla="*/ 3221557 h 5237164"/>
              <a:gd name="connsiteX180" fmla="*/ 13370632 w 13753692"/>
              <a:gd name="connsiteY180" fmla="*/ 3255719 h 5237164"/>
              <a:gd name="connsiteX181" fmla="*/ 13429003 w 13753692"/>
              <a:gd name="connsiteY181" fmla="*/ 3255719 h 5237164"/>
              <a:gd name="connsiteX182" fmla="*/ 13491022 w 13753692"/>
              <a:gd name="connsiteY182" fmla="*/ 3214724 h 5237164"/>
              <a:gd name="connsiteX183" fmla="*/ 13534800 w 13753692"/>
              <a:gd name="connsiteY183" fmla="*/ 3279633 h 5237164"/>
              <a:gd name="connsiteX184" fmla="*/ 13647894 w 13753692"/>
              <a:gd name="connsiteY184" fmla="*/ 3255719 h 5237164"/>
              <a:gd name="connsiteX185" fmla="*/ 13739099 w 13753692"/>
              <a:gd name="connsiteY185" fmla="*/ 3259136 h 5237164"/>
              <a:gd name="connsiteX186" fmla="*/ 13753692 w 13753692"/>
              <a:gd name="connsiteY186" fmla="*/ 3265968 h 5237164"/>
              <a:gd name="connsiteX187" fmla="*/ 13706265 w 13753692"/>
              <a:gd name="connsiteY187" fmla="*/ 3317213 h 5237164"/>
              <a:gd name="connsiteX188" fmla="*/ 13647894 w 13753692"/>
              <a:gd name="connsiteY188" fmla="*/ 3317213 h 5237164"/>
              <a:gd name="connsiteX189" fmla="*/ 13604116 w 13753692"/>
              <a:gd name="connsiteY189" fmla="*/ 3361624 h 5237164"/>
              <a:gd name="connsiteX190" fmla="*/ 13698969 w 13753692"/>
              <a:gd name="connsiteY190" fmla="*/ 3450447 h 5237164"/>
              <a:gd name="connsiteX191" fmla="*/ 13615061 w 13753692"/>
              <a:gd name="connsiteY191" fmla="*/ 3494859 h 5237164"/>
              <a:gd name="connsiteX192" fmla="*/ 13520208 w 13753692"/>
              <a:gd name="connsiteY192" fmla="*/ 3494859 h 5237164"/>
              <a:gd name="connsiteX193" fmla="*/ 13505615 w 13753692"/>
              <a:gd name="connsiteY193" fmla="*/ 3539271 h 5237164"/>
              <a:gd name="connsiteX194" fmla="*/ 13359687 w 13753692"/>
              <a:gd name="connsiteY194" fmla="*/ 3611013 h 5237164"/>
              <a:gd name="connsiteX195" fmla="*/ 13250241 w 13753692"/>
              <a:gd name="connsiteY195" fmla="*/ 3611013 h 5237164"/>
              <a:gd name="connsiteX196" fmla="*/ 13213759 w 13753692"/>
              <a:gd name="connsiteY196" fmla="*/ 3641759 h 5237164"/>
              <a:gd name="connsiteX197" fmla="*/ 13155388 w 13753692"/>
              <a:gd name="connsiteY197" fmla="*/ 3641759 h 5237164"/>
              <a:gd name="connsiteX198" fmla="*/ 13118906 w 13753692"/>
              <a:gd name="connsiteY198" fmla="*/ 3672506 h 5237164"/>
              <a:gd name="connsiteX199" fmla="*/ 12965682 w 13753692"/>
              <a:gd name="connsiteY199" fmla="*/ 3672506 h 5237164"/>
              <a:gd name="connsiteX200" fmla="*/ 12885422 w 13753692"/>
              <a:gd name="connsiteY200" fmla="*/ 3703252 h 5237164"/>
              <a:gd name="connsiteX201" fmla="*/ 12805162 w 13753692"/>
              <a:gd name="connsiteY201" fmla="*/ 3730583 h 5237164"/>
              <a:gd name="connsiteX202" fmla="*/ 12721253 w 13753692"/>
              <a:gd name="connsiteY202" fmla="*/ 3754497 h 5237164"/>
              <a:gd name="connsiteX203" fmla="*/ 12626400 w 13753692"/>
              <a:gd name="connsiteY203" fmla="*/ 3761329 h 5237164"/>
              <a:gd name="connsiteX204" fmla="*/ 12593566 w 13753692"/>
              <a:gd name="connsiteY204" fmla="*/ 3788660 h 5237164"/>
              <a:gd name="connsiteX205" fmla="*/ 12440342 w 13753692"/>
              <a:gd name="connsiteY205" fmla="*/ 3788660 h 5237164"/>
              <a:gd name="connsiteX206" fmla="*/ 12407508 w 13753692"/>
              <a:gd name="connsiteY206" fmla="*/ 3819406 h 5237164"/>
              <a:gd name="connsiteX207" fmla="*/ 12345489 w 13753692"/>
              <a:gd name="connsiteY207" fmla="*/ 3819406 h 5237164"/>
              <a:gd name="connsiteX208" fmla="*/ 12312655 w 13753692"/>
              <a:gd name="connsiteY208" fmla="*/ 3850153 h 5237164"/>
              <a:gd name="connsiteX209" fmla="*/ 12254284 w 13753692"/>
              <a:gd name="connsiteY209" fmla="*/ 3850153 h 5237164"/>
              <a:gd name="connsiteX210" fmla="*/ 12217802 w 13753692"/>
              <a:gd name="connsiteY210" fmla="*/ 3880899 h 5237164"/>
              <a:gd name="connsiteX211" fmla="*/ 12093764 w 13753692"/>
              <a:gd name="connsiteY211" fmla="*/ 3880899 h 5237164"/>
              <a:gd name="connsiteX212" fmla="*/ 12064578 w 13753692"/>
              <a:gd name="connsiteY212" fmla="*/ 3908229 h 5237164"/>
              <a:gd name="connsiteX213" fmla="*/ 12013503 w 13753692"/>
              <a:gd name="connsiteY213" fmla="*/ 3908229 h 5237164"/>
              <a:gd name="connsiteX214" fmla="*/ 11936891 w 13753692"/>
              <a:gd name="connsiteY214" fmla="*/ 3915062 h 5237164"/>
              <a:gd name="connsiteX215" fmla="*/ 11831094 w 13753692"/>
              <a:gd name="connsiteY215" fmla="*/ 3956057 h 5237164"/>
              <a:gd name="connsiteX216" fmla="*/ 11747185 w 13753692"/>
              <a:gd name="connsiteY216" fmla="*/ 3976555 h 5237164"/>
              <a:gd name="connsiteX217" fmla="*/ 11725296 w 13753692"/>
              <a:gd name="connsiteY217" fmla="*/ 3997053 h 5237164"/>
              <a:gd name="connsiteX218" fmla="*/ 11630443 w 13753692"/>
              <a:gd name="connsiteY218" fmla="*/ 3997053 h 5237164"/>
              <a:gd name="connsiteX219" fmla="*/ 11597609 w 13753692"/>
              <a:gd name="connsiteY219" fmla="*/ 4027799 h 5237164"/>
              <a:gd name="connsiteX220" fmla="*/ 11539238 w 13753692"/>
              <a:gd name="connsiteY220" fmla="*/ 4027799 h 5237164"/>
              <a:gd name="connsiteX221" fmla="*/ 11499108 w 13753692"/>
              <a:gd name="connsiteY221" fmla="*/ 4061962 h 5237164"/>
              <a:gd name="connsiteX222" fmla="*/ 11316698 w 13753692"/>
              <a:gd name="connsiteY222" fmla="*/ 4092709 h 5237164"/>
              <a:gd name="connsiteX223" fmla="*/ 11280216 w 13753692"/>
              <a:gd name="connsiteY223" fmla="*/ 4116623 h 5237164"/>
              <a:gd name="connsiteX224" fmla="*/ 11199956 w 13753692"/>
              <a:gd name="connsiteY224" fmla="*/ 4116623 h 5237164"/>
              <a:gd name="connsiteX225" fmla="*/ 11163474 w 13753692"/>
              <a:gd name="connsiteY225" fmla="*/ 4143953 h 5237164"/>
              <a:gd name="connsiteX226" fmla="*/ 11075917 w 13753692"/>
              <a:gd name="connsiteY226" fmla="*/ 4143953 h 5237164"/>
              <a:gd name="connsiteX227" fmla="*/ 11039436 w 13753692"/>
              <a:gd name="connsiteY227" fmla="*/ 4174700 h 5237164"/>
              <a:gd name="connsiteX228" fmla="*/ 10981064 w 13753692"/>
              <a:gd name="connsiteY228" fmla="*/ 4174700 h 5237164"/>
              <a:gd name="connsiteX229" fmla="*/ 10944582 w 13753692"/>
              <a:gd name="connsiteY229" fmla="*/ 4205446 h 5237164"/>
              <a:gd name="connsiteX230" fmla="*/ 10853378 w 13753692"/>
              <a:gd name="connsiteY230" fmla="*/ 4205446 h 5237164"/>
              <a:gd name="connsiteX231" fmla="*/ 10831488 w 13753692"/>
              <a:gd name="connsiteY231" fmla="*/ 4225944 h 5237164"/>
              <a:gd name="connsiteX232" fmla="*/ 10660023 w 13753692"/>
              <a:gd name="connsiteY232" fmla="*/ 4263523 h 5237164"/>
              <a:gd name="connsiteX233" fmla="*/ 10630838 w 13753692"/>
              <a:gd name="connsiteY233" fmla="*/ 4270356 h 5237164"/>
              <a:gd name="connsiteX234" fmla="*/ 10525040 w 13753692"/>
              <a:gd name="connsiteY234" fmla="*/ 4311351 h 5237164"/>
              <a:gd name="connsiteX235" fmla="*/ 10514096 w 13753692"/>
              <a:gd name="connsiteY235" fmla="*/ 4321600 h 5237164"/>
              <a:gd name="connsiteX236" fmla="*/ 10422891 w 13753692"/>
              <a:gd name="connsiteY236" fmla="*/ 4321600 h 5237164"/>
              <a:gd name="connsiteX237" fmla="*/ 10386409 w 13753692"/>
              <a:gd name="connsiteY237" fmla="*/ 4352347 h 5237164"/>
              <a:gd name="connsiteX238" fmla="*/ 10295204 w 13753692"/>
              <a:gd name="connsiteY238" fmla="*/ 4352347 h 5237164"/>
              <a:gd name="connsiteX239" fmla="*/ 10266018 w 13753692"/>
              <a:gd name="connsiteY239" fmla="*/ 4379677 h 5237164"/>
              <a:gd name="connsiteX240" fmla="*/ 10200351 w 13753692"/>
              <a:gd name="connsiteY240" fmla="*/ 4383093 h 5237164"/>
              <a:gd name="connsiteX241" fmla="*/ 10167517 w 13753692"/>
              <a:gd name="connsiteY241" fmla="*/ 4413840 h 5237164"/>
              <a:gd name="connsiteX242" fmla="*/ 10101850 w 13753692"/>
              <a:gd name="connsiteY242" fmla="*/ 4410423 h 5237164"/>
              <a:gd name="connsiteX243" fmla="*/ 10039830 w 13753692"/>
              <a:gd name="connsiteY243" fmla="*/ 4441170 h 5237164"/>
              <a:gd name="connsiteX244" fmla="*/ 9981459 w 13753692"/>
              <a:gd name="connsiteY244" fmla="*/ 4448003 h 5237164"/>
              <a:gd name="connsiteX245" fmla="*/ 9912144 w 13753692"/>
              <a:gd name="connsiteY245" fmla="*/ 4471917 h 5237164"/>
              <a:gd name="connsiteX246" fmla="*/ 9850124 w 13753692"/>
              <a:gd name="connsiteY246" fmla="*/ 4499247 h 5237164"/>
              <a:gd name="connsiteX247" fmla="*/ 9769864 w 13753692"/>
              <a:gd name="connsiteY247" fmla="*/ 4499247 h 5237164"/>
              <a:gd name="connsiteX248" fmla="*/ 9737030 w 13753692"/>
              <a:gd name="connsiteY248" fmla="*/ 4529993 h 5237164"/>
              <a:gd name="connsiteX249" fmla="*/ 9642177 w 13753692"/>
              <a:gd name="connsiteY249" fmla="*/ 4529993 h 5237164"/>
              <a:gd name="connsiteX250" fmla="*/ 9609343 w 13753692"/>
              <a:gd name="connsiteY250" fmla="*/ 4560740 h 5237164"/>
              <a:gd name="connsiteX251" fmla="*/ 9525435 w 13753692"/>
              <a:gd name="connsiteY251" fmla="*/ 4560740 h 5237164"/>
              <a:gd name="connsiteX252" fmla="*/ 9485305 w 13753692"/>
              <a:gd name="connsiteY252" fmla="*/ 4588070 h 5237164"/>
              <a:gd name="connsiteX253" fmla="*/ 9394100 w 13753692"/>
              <a:gd name="connsiteY253" fmla="*/ 4591486 h 5237164"/>
              <a:gd name="connsiteX254" fmla="*/ 9361266 w 13753692"/>
              <a:gd name="connsiteY254" fmla="*/ 4618817 h 5237164"/>
              <a:gd name="connsiteX255" fmla="*/ 9208042 w 13753692"/>
              <a:gd name="connsiteY255" fmla="*/ 4618817 h 5237164"/>
              <a:gd name="connsiteX256" fmla="*/ 9178857 w 13753692"/>
              <a:gd name="connsiteY256" fmla="*/ 4649563 h 5237164"/>
              <a:gd name="connsiteX257" fmla="*/ 8868760 w 13753692"/>
              <a:gd name="connsiteY257" fmla="*/ 4649563 h 5237164"/>
              <a:gd name="connsiteX258" fmla="*/ 8803093 w 13753692"/>
              <a:gd name="connsiteY258" fmla="*/ 4591486 h 5237164"/>
              <a:gd name="connsiteX259" fmla="*/ 8781203 w 13753692"/>
              <a:gd name="connsiteY259" fmla="*/ 4611984 h 5237164"/>
              <a:gd name="connsiteX260" fmla="*/ 8755666 w 13753692"/>
              <a:gd name="connsiteY260" fmla="*/ 4618817 h 5237164"/>
              <a:gd name="connsiteX261" fmla="*/ 8492996 w 13753692"/>
              <a:gd name="connsiteY261" fmla="*/ 4618817 h 5237164"/>
              <a:gd name="connsiteX262" fmla="*/ 8398143 w 13753692"/>
              <a:gd name="connsiteY262" fmla="*/ 4591486 h 5237164"/>
              <a:gd name="connsiteX263" fmla="*/ 8321531 w 13753692"/>
              <a:gd name="connsiteY263" fmla="*/ 4509496 h 5237164"/>
              <a:gd name="connsiteX264" fmla="*/ 8321531 w 13753692"/>
              <a:gd name="connsiteY264" fmla="*/ 4420672 h 5237164"/>
              <a:gd name="connsiteX265" fmla="*/ 8274105 w 13753692"/>
              <a:gd name="connsiteY265" fmla="*/ 4410423 h 5237164"/>
              <a:gd name="connsiteX266" fmla="*/ 8168307 w 13753692"/>
              <a:gd name="connsiteY266" fmla="*/ 4307935 h 5237164"/>
              <a:gd name="connsiteX267" fmla="*/ 8168307 w 13753692"/>
              <a:gd name="connsiteY267" fmla="*/ 4215695 h 5237164"/>
              <a:gd name="connsiteX268" fmla="*/ 8295993 w 13753692"/>
              <a:gd name="connsiteY268" fmla="*/ 4038048 h 5237164"/>
              <a:gd name="connsiteX269" fmla="*/ 8237623 w 13753692"/>
              <a:gd name="connsiteY269" fmla="*/ 4024383 h 5237164"/>
              <a:gd name="connsiteX270" fmla="*/ 8226678 w 13753692"/>
              <a:gd name="connsiteY270" fmla="*/ 3979971 h 5237164"/>
              <a:gd name="connsiteX271" fmla="*/ 8193844 w 13753692"/>
              <a:gd name="connsiteY271" fmla="*/ 3969723 h 5237164"/>
              <a:gd name="connsiteX272" fmla="*/ 8109935 w 13753692"/>
              <a:gd name="connsiteY272" fmla="*/ 4000469 h 5237164"/>
              <a:gd name="connsiteX273" fmla="*/ 8047917 w 13753692"/>
              <a:gd name="connsiteY273" fmla="*/ 4027799 h 5237164"/>
              <a:gd name="connsiteX274" fmla="*/ 8000490 w 13753692"/>
              <a:gd name="connsiteY274" fmla="*/ 4027799 h 5237164"/>
              <a:gd name="connsiteX275" fmla="*/ 7964008 w 13753692"/>
              <a:gd name="connsiteY275" fmla="*/ 4058546 h 5237164"/>
              <a:gd name="connsiteX276" fmla="*/ 7905637 w 13753692"/>
              <a:gd name="connsiteY276" fmla="*/ 4058546 h 5237164"/>
              <a:gd name="connsiteX277" fmla="*/ 7818080 w 13753692"/>
              <a:gd name="connsiteY277" fmla="*/ 4109790 h 5237164"/>
              <a:gd name="connsiteX278" fmla="*/ 7774302 w 13753692"/>
              <a:gd name="connsiteY278" fmla="*/ 4116623 h 5237164"/>
              <a:gd name="connsiteX279" fmla="*/ 7664856 w 13753692"/>
              <a:gd name="connsiteY279" fmla="*/ 4147369 h 5237164"/>
              <a:gd name="connsiteX280" fmla="*/ 7555410 w 13753692"/>
              <a:gd name="connsiteY280" fmla="*/ 4181532 h 5237164"/>
              <a:gd name="connsiteX281" fmla="*/ 7533521 w 13753692"/>
              <a:gd name="connsiteY281" fmla="*/ 4205446 h 5237164"/>
              <a:gd name="connsiteX282" fmla="*/ 7471501 w 13753692"/>
              <a:gd name="connsiteY282" fmla="*/ 4205446 h 5237164"/>
              <a:gd name="connsiteX283" fmla="*/ 7438668 w 13753692"/>
              <a:gd name="connsiteY283" fmla="*/ 4236193 h 5237164"/>
              <a:gd name="connsiteX284" fmla="*/ 7376649 w 13753692"/>
              <a:gd name="connsiteY284" fmla="*/ 4236193 h 5237164"/>
              <a:gd name="connsiteX285" fmla="*/ 7347463 w 13753692"/>
              <a:gd name="connsiteY285" fmla="*/ 4260107 h 5237164"/>
              <a:gd name="connsiteX286" fmla="*/ 7281795 w 13753692"/>
              <a:gd name="connsiteY286" fmla="*/ 4266939 h 5237164"/>
              <a:gd name="connsiteX287" fmla="*/ 7252610 w 13753692"/>
              <a:gd name="connsiteY287" fmla="*/ 4290853 h 5237164"/>
              <a:gd name="connsiteX288" fmla="*/ 7154109 w 13753692"/>
              <a:gd name="connsiteY288" fmla="*/ 4297686 h 5237164"/>
              <a:gd name="connsiteX289" fmla="*/ 7037367 w 13753692"/>
              <a:gd name="connsiteY289" fmla="*/ 4352347 h 5237164"/>
              <a:gd name="connsiteX290" fmla="*/ 6822123 w 13753692"/>
              <a:gd name="connsiteY290" fmla="*/ 4352347 h 5237164"/>
              <a:gd name="connsiteX291" fmla="*/ 6719973 w 13753692"/>
              <a:gd name="connsiteY291" fmla="*/ 4297686 h 5237164"/>
              <a:gd name="connsiteX292" fmla="*/ 6701733 w 13753692"/>
              <a:gd name="connsiteY292" fmla="*/ 4314767 h 5237164"/>
              <a:gd name="connsiteX293" fmla="*/ 6690788 w 13753692"/>
              <a:gd name="connsiteY293" fmla="*/ 4321600 h 5237164"/>
              <a:gd name="connsiteX294" fmla="*/ 6413525 w 13753692"/>
              <a:gd name="connsiteY294" fmla="*/ 4325016 h 5237164"/>
              <a:gd name="connsiteX295" fmla="*/ 6315024 w 13753692"/>
              <a:gd name="connsiteY295" fmla="*/ 4294270 h 5237164"/>
              <a:gd name="connsiteX296" fmla="*/ 6242060 w 13753692"/>
              <a:gd name="connsiteY296" fmla="*/ 4184949 h 5237164"/>
              <a:gd name="connsiteX297" fmla="*/ 6242060 w 13753692"/>
              <a:gd name="connsiteY297" fmla="*/ 4123455 h 5237164"/>
              <a:gd name="connsiteX298" fmla="*/ 6187337 w 13753692"/>
              <a:gd name="connsiteY298" fmla="*/ 4113207 h 5237164"/>
              <a:gd name="connsiteX299" fmla="*/ 6132615 w 13753692"/>
              <a:gd name="connsiteY299" fmla="*/ 4055130 h 5237164"/>
              <a:gd name="connsiteX300" fmla="*/ 6088836 w 13753692"/>
              <a:gd name="connsiteY300" fmla="*/ 3973139 h 5237164"/>
              <a:gd name="connsiteX301" fmla="*/ 6088836 w 13753692"/>
              <a:gd name="connsiteY301" fmla="*/ 3915062 h 5237164"/>
              <a:gd name="connsiteX302" fmla="*/ 6150855 w 13753692"/>
              <a:gd name="connsiteY302" fmla="*/ 3867234 h 5237164"/>
              <a:gd name="connsiteX303" fmla="*/ 6147207 w 13753692"/>
              <a:gd name="connsiteY303" fmla="*/ 3829655 h 5237164"/>
              <a:gd name="connsiteX304" fmla="*/ 6118021 w 13753692"/>
              <a:gd name="connsiteY304" fmla="*/ 3819406 h 5237164"/>
              <a:gd name="connsiteX305" fmla="*/ 6048706 w 13753692"/>
              <a:gd name="connsiteY305" fmla="*/ 3839904 h 5237164"/>
              <a:gd name="connsiteX306" fmla="*/ 5921019 w 13753692"/>
              <a:gd name="connsiteY306" fmla="*/ 3904813 h 5237164"/>
              <a:gd name="connsiteX307" fmla="*/ 5782389 w 13753692"/>
              <a:gd name="connsiteY307" fmla="*/ 3942392 h 5237164"/>
              <a:gd name="connsiteX308" fmla="*/ 5654701 w 13753692"/>
              <a:gd name="connsiteY308" fmla="*/ 3997053 h 5237164"/>
              <a:gd name="connsiteX309" fmla="*/ 5607275 w 13753692"/>
              <a:gd name="connsiteY309" fmla="*/ 3997053 h 5237164"/>
              <a:gd name="connsiteX310" fmla="*/ 5570793 w 13753692"/>
              <a:gd name="connsiteY310" fmla="*/ 4027799 h 5237164"/>
              <a:gd name="connsiteX311" fmla="*/ 5512422 w 13753692"/>
              <a:gd name="connsiteY311" fmla="*/ 4027799 h 5237164"/>
              <a:gd name="connsiteX312" fmla="*/ 5486884 w 13753692"/>
              <a:gd name="connsiteY312" fmla="*/ 4051713 h 5237164"/>
              <a:gd name="connsiteX313" fmla="*/ 5406624 w 13753692"/>
              <a:gd name="connsiteY313" fmla="*/ 4051713 h 5237164"/>
              <a:gd name="connsiteX314" fmla="*/ 5267993 w 13753692"/>
              <a:gd name="connsiteY314" fmla="*/ 4113207 h 5237164"/>
              <a:gd name="connsiteX315" fmla="*/ 5147602 w 13753692"/>
              <a:gd name="connsiteY315" fmla="*/ 4140537 h 5237164"/>
              <a:gd name="connsiteX316" fmla="*/ 5107473 w 13753692"/>
              <a:gd name="connsiteY316" fmla="*/ 4174700 h 5237164"/>
              <a:gd name="connsiteX317" fmla="*/ 5056398 w 13753692"/>
              <a:gd name="connsiteY317" fmla="*/ 4174700 h 5237164"/>
              <a:gd name="connsiteX318" fmla="*/ 4943303 w 13753692"/>
              <a:gd name="connsiteY318" fmla="*/ 4236193 h 5237164"/>
              <a:gd name="connsiteX319" fmla="*/ 4870339 w 13753692"/>
              <a:gd name="connsiteY319" fmla="*/ 4236193 h 5237164"/>
              <a:gd name="connsiteX320" fmla="*/ 4771838 w 13753692"/>
              <a:gd name="connsiteY320" fmla="*/ 4290853 h 5237164"/>
              <a:gd name="connsiteX321" fmla="*/ 4676985 w 13753692"/>
              <a:gd name="connsiteY321" fmla="*/ 4321600 h 5237164"/>
              <a:gd name="connsiteX322" fmla="*/ 4614966 w 13753692"/>
              <a:gd name="connsiteY322" fmla="*/ 4321600 h 5237164"/>
              <a:gd name="connsiteX323" fmla="*/ 4578484 w 13753692"/>
              <a:gd name="connsiteY323" fmla="*/ 4352347 h 5237164"/>
              <a:gd name="connsiteX324" fmla="*/ 4520113 w 13753692"/>
              <a:gd name="connsiteY324" fmla="*/ 4352347 h 5237164"/>
              <a:gd name="connsiteX325" fmla="*/ 4490928 w 13753692"/>
              <a:gd name="connsiteY325" fmla="*/ 4379677 h 5237164"/>
              <a:gd name="connsiteX326" fmla="*/ 4366889 w 13753692"/>
              <a:gd name="connsiteY326" fmla="*/ 4379677 h 5237164"/>
              <a:gd name="connsiteX327" fmla="*/ 4334055 w 13753692"/>
              <a:gd name="connsiteY327" fmla="*/ 4410423 h 5237164"/>
              <a:gd name="connsiteX328" fmla="*/ 4235554 w 13753692"/>
              <a:gd name="connsiteY328" fmla="*/ 4413840 h 5237164"/>
              <a:gd name="connsiteX329" fmla="*/ 4210016 w 13753692"/>
              <a:gd name="connsiteY329" fmla="*/ 4437754 h 5237164"/>
              <a:gd name="connsiteX330" fmla="*/ 4049496 w 13753692"/>
              <a:gd name="connsiteY330" fmla="*/ 4437754 h 5237164"/>
              <a:gd name="connsiteX331" fmla="*/ 4023959 w 13753692"/>
              <a:gd name="connsiteY331" fmla="*/ 4413840 h 5237164"/>
              <a:gd name="connsiteX332" fmla="*/ 3899920 w 13753692"/>
              <a:gd name="connsiteY332" fmla="*/ 4413840 h 5237164"/>
              <a:gd name="connsiteX333" fmla="*/ 3867087 w 13753692"/>
              <a:gd name="connsiteY333" fmla="*/ 4441170 h 5237164"/>
              <a:gd name="connsiteX334" fmla="*/ 3834253 w 13753692"/>
              <a:gd name="connsiteY334" fmla="*/ 4413840 h 5237164"/>
              <a:gd name="connsiteX335" fmla="*/ 3812364 w 13753692"/>
              <a:gd name="connsiteY335" fmla="*/ 4434337 h 5237164"/>
              <a:gd name="connsiteX336" fmla="*/ 3786826 w 13753692"/>
              <a:gd name="connsiteY336" fmla="*/ 4441170 h 5237164"/>
              <a:gd name="connsiteX337" fmla="*/ 3586175 w 13753692"/>
              <a:gd name="connsiteY337" fmla="*/ 4441170 h 5237164"/>
              <a:gd name="connsiteX338" fmla="*/ 3502267 w 13753692"/>
              <a:gd name="connsiteY338" fmla="*/ 4413840 h 5237164"/>
              <a:gd name="connsiteX339" fmla="*/ 3425655 w 13753692"/>
              <a:gd name="connsiteY339" fmla="*/ 4314767 h 5237164"/>
              <a:gd name="connsiteX340" fmla="*/ 3345394 w 13753692"/>
              <a:gd name="connsiteY340" fmla="*/ 4212279 h 5237164"/>
              <a:gd name="connsiteX341" fmla="*/ 3199467 w 13753692"/>
              <a:gd name="connsiteY341" fmla="*/ 4102958 h 5237164"/>
              <a:gd name="connsiteX342" fmla="*/ 3228652 w 13753692"/>
              <a:gd name="connsiteY342" fmla="*/ 4017551 h 5237164"/>
              <a:gd name="connsiteX343" fmla="*/ 3228652 w 13753692"/>
              <a:gd name="connsiteY343" fmla="*/ 3894564 h 5237164"/>
              <a:gd name="connsiteX344" fmla="*/ 3203115 w 13753692"/>
              <a:gd name="connsiteY344" fmla="*/ 3891148 h 5237164"/>
              <a:gd name="connsiteX345" fmla="*/ 3017057 w 13753692"/>
              <a:gd name="connsiteY345" fmla="*/ 4000469 h 5237164"/>
              <a:gd name="connsiteX346" fmla="*/ 2838296 w 13753692"/>
              <a:gd name="connsiteY346" fmla="*/ 4085876 h 5237164"/>
              <a:gd name="connsiteX347" fmla="*/ 2721553 w 13753692"/>
              <a:gd name="connsiteY347" fmla="*/ 4147369 h 5237164"/>
              <a:gd name="connsiteX348" fmla="*/ 2495366 w 13753692"/>
              <a:gd name="connsiteY348" fmla="*/ 4263523 h 5237164"/>
              <a:gd name="connsiteX349" fmla="*/ 2382272 w 13753692"/>
              <a:gd name="connsiteY349" fmla="*/ 4325016 h 5237164"/>
              <a:gd name="connsiteX350" fmla="*/ 2218103 w 13753692"/>
              <a:gd name="connsiteY350" fmla="*/ 4413840 h 5237164"/>
              <a:gd name="connsiteX351" fmla="*/ 2105008 w 13753692"/>
              <a:gd name="connsiteY351" fmla="*/ 4471917 h 5237164"/>
              <a:gd name="connsiteX352" fmla="*/ 1991914 w 13753692"/>
              <a:gd name="connsiteY352" fmla="*/ 4540242 h 5237164"/>
              <a:gd name="connsiteX353" fmla="*/ 1940839 w 13753692"/>
              <a:gd name="connsiteY353" fmla="*/ 4564156 h 5237164"/>
              <a:gd name="connsiteX354" fmla="*/ 1805857 w 13753692"/>
              <a:gd name="connsiteY354" fmla="*/ 4646147 h 5237164"/>
              <a:gd name="connsiteX355" fmla="*/ 1670873 w 13753692"/>
              <a:gd name="connsiteY355" fmla="*/ 4728138 h 5237164"/>
              <a:gd name="connsiteX356" fmla="*/ 1619799 w 13753692"/>
              <a:gd name="connsiteY356" fmla="*/ 4748636 h 5237164"/>
              <a:gd name="connsiteX357" fmla="*/ 1481167 w 13753692"/>
              <a:gd name="connsiteY357" fmla="*/ 4823794 h 5237164"/>
              <a:gd name="connsiteX358" fmla="*/ 1342536 w 13753692"/>
              <a:gd name="connsiteY358" fmla="*/ 4898952 h 5237164"/>
              <a:gd name="connsiteX359" fmla="*/ 1211201 w 13753692"/>
              <a:gd name="connsiteY359" fmla="*/ 4991192 h 5237164"/>
              <a:gd name="connsiteX360" fmla="*/ 992309 w 13753692"/>
              <a:gd name="connsiteY360" fmla="*/ 5093680 h 5237164"/>
              <a:gd name="connsiteX361" fmla="*/ 751528 w 13753692"/>
              <a:gd name="connsiteY361" fmla="*/ 5209834 h 5237164"/>
              <a:gd name="connsiteX362" fmla="*/ 638434 w 13753692"/>
              <a:gd name="connsiteY362" fmla="*/ 5209834 h 5237164"/>
              <a:gd name="connsiteX363" fmla="*/ 605601 w 13753692"/>
              <a:gd name="connsiteY363" fmla="*/ 5182504 h 5237164"/>
              <a:gd name="connsiteX364" fmla="*/ 543581 w 13753692"/>
              <a:gd name="connsiteY364" fmla="*/ 5182504 h 5237164"/>
              <a:gd name="connsiteX365" fmla="*/ 510748 w 13753692"/>
              <a:gd name="connsiteY365" fmla="*/ 5213250 h 5237164"/>
              <a:gd name="connsiteX366" fmla="*/ 357523 w 13753692"/>
              <a:gd name="connsiteY366" fmla="*/ 5213250 h 5237164"/>
              <a:gd name="connsiteX367" fmla="*/ 328338 w 13753692"/>
              <a:gd name="connsiteY367" fmla="*/ 5237164 h 5237164"/>
              <a:gd name="connsiteX368" fmla="*/ 197003 w 13753692"/>
              <a:gd name="connsiteY368" fmla="*/ 5237164 h 5237164"/>
              <a:gd name="connsiteX369" fmla="*/ 145928 w 13753692"/>
              <a:gd name="connsiteY369" fmla="*/ 5134676 h 5237164"/>
              <a:gd name="connsiteX370" fmla="*/ 69316 w 13753692"/>
              <a:gd name="connsiteY370" fmla="*/ 5093680 h 5237164"/>
              <a:gd name="connsiteX371" fmla="*/ 3649 w 13753692"/>
              <a:gd name="connsiteY371" fmla="*/ 5090264 h 5237164"/>
              <a:gd name="connsiteX372" fmla="*/ 3649 w 13753692"/>
              <a:gd name="connsiteY372" fmla="*/ 4902368 h 5237164"/>
              <a:gd name="connsiteX373" fmla="*/ 29186 w 13753692"/>
              <a:gd name="connsiteY373" fmla="*/ 4871622 h 5237164"/>
              <a:gd name="connsiteX374" fmla="*/ 29186 w 13753692"/>
              <a:gd name="connsiteY374" fmla="*/ 4782798 h 5237164"/>
              <a:gd name="connsiteX375" fmla="*/ 0 w 13753692"/>
              <a:gd name="connsiteY375" fmla="*/ 4752052 h 5237164"/>
              <a:gd name="connsiteX376" fmla="*/ 0 w 13753692"/>
              <a:gd name="connsiteY376" fmla="*/ 4693975 h 5237164"/>
              <a:gd name="connsiteX377" fmla="*/ 32834 w 13753692"/>
              <a:gd name="connsiteY377" fmla="*/ 4663228 h 5237164"/>
              <a:gd name="connsiteX378" fmla="*/ 32834 w 13753692"/>
              <a:gd name="connsiteY378" fmla="*/ 4608568 h 5237164"/>
              <a:gd name="connsiteX379" fmla="*/ 94853 w 13753692"/>
              <a:gd name="connsiteY379" fmla="*/ 4512912 h 5237164"/>
              <a:gd name="connsiteX380" fmla="*/ 153225 w 13753692"/>
              <a:gd name="connsiteY380" fmla="*/ 4448003 h 5237164"/>
              <a:gd name="connsiteX381" fmla="*/ 204299 w 13753692"/>
              <a:gd name="connsiteY381" fmla="*/ 4348930 h 5237164"/>
              <a:gd name="connsiteX382" fmla="*/ 306449 w 13753692"/>
              <a:gd name="connsiteY382" fmla="*/ 4253274 h 5237164"/>
              <a:gd name="connsiteX383" fmla="*/ 379413 w 13753692"/>
              <a:gd name="connsiteY383" fmla="*/ 4123455 h 5237164"/>
              <a:gd name="connsiteX384" fmla="*/ 423191 w 13753692"/>
              <a:gd name="connsiteY384" fmla="*/ 4113207 h 5237164"/>
              <a:gd name="connsiteX385" fmla="*/ 466969 w 13753692"/>
              <a:gd name="connsiteY385" fmla="*/ 4010718 h 5237164"/>
              <a:gd name="connsiteX386" fmla="*/ 565470 w 13753692"/>
              <a:gd name="connsiteY386" fmla="*/ 3887732 h 5237164"/>
              <a:gd name="connsiteX387" fmla="*/ 623842 w 13753692"/>
              <a:gd name="connsiteY387" fmla="*/ 3805741 h 5237164"/>
              <a:gd name="connsiteX388" fmla="*/ 685861 w 13753692"/>
              <a:gd name="connsiteY388" fmla="*/ 3727166 h 5237164"/>
              <a:gd name="connsiteX389" fmla="*/ 744232 w 13753692"/>
              <a:gd name="connsiteY389" fmla="*/ 3645176 h 5237164"/>
              <a:gd name="connsiteX390" fmla="*/ 831789 w 13753692"/>
              <a:gd name="connsiteY390" fmla="*/ 3549520 h 5237164"/>
              <a:gd name="connsiteX391" fmla="*/ 886512 w 13753692"/>
              <a:gd name="connsiteY391" fmla="*/ 3464113 h 5237164"/>
              <a:gd name="connsiteX392" fmla="*/ 915697 w 13753692"/>
              <a:gd name="connsiteY392" fmla="*/ 3464113 h 5237164"/>
              <a:gd name="connsiteX393" fmla="*/ 1254979 w 13753692"/>
              <a:gd name="connsiteY393" fmla="*/ 3139566 h 5237164"/>
              <a:gd name="connsiteX394" fmla="*/ 1287813 w 13753692"/>
              <a:gd name="connsiteY394" fmla="*/ 3139566 h 5237164"/>
              <a:gd name="connsiteX395" fmla="*/ 1353480 w 13753692"/>
              <a:gd name="connsiteY395" fmla="*/ 3047326 h 5237164"/>
              <a:gd name="connsiteX396" fmla="*/ 1638039 w 13753692"/>
              <a:gd name="connsiteY396" fmla="*/ 2774023 h 5237164"/>
              <a:gd name="connsiteX397" fmla="*/ 1656280 w 13753692"/>
              <a:gd name="connsiteY397" fmla="*/ 2726195 h 5237164"/>
              <a:gd name="connsiteX398" fmla="*/ 1689114 w 13753692"/>
              <a:gd name="connsiteY398" fmla="*/ 2726195 h 5237164"/>
              <a:gd name="connsiteX399" fmla="*/ 1794912 w 13753692"/>
              <a:gd name="connsiteY399" fmla="*/ 2637372 h 5237164"/>
              <a:gd name="connsiteX400" fmla="*/ 1893413 w 13753692"/>
              <a:gd name="connsiteY400" fmla="*/ 2558797 h 5237164"/>
              <a:gd name="connsiteX401" fmla="*/ 1889765 w 13753692"/>
              <a:gd name="connsiteY401" fmla="*/ 2524635 h 5237164"/>
              <a:gd name="connsiteX402" fmla="*/ 1831394 w 13753692"/>
              <a:gd name="connsiteY402" fmla="*/ 2548548 h 5237164"/>
              <a:gd name="connsiteX403" fmla="*/ 1736541 w 13753692"/>
              <a:gd name="connsiteY403" fmla="*/ 2579295 h 5237164"/>
              <a:gd name="connsiteX404" fmla="*/ 1634391 w 13753692"/>
              <a:gd name="connsiteY404" fmla="*/ 2630539 h 5237164"/>
              <a:gd name="connsiteX405" fmla="*/ 1539538 w 13753692"/>
              <a:gd name="connsiteY405" fmla="*/ 2664702 h 5237164"/>
              <a:gd name="connsiteX406" fmla="*/ 1338888 w 13753692"/>
              <a:gd name="connsiteY406" fmla="*/ 2736444 h 5237164"/>
              <a:gd name="connsiteX407" fmla="*/ 1145533 w 13753692"/>
              <a:gd name="connsiteY407" fmla="*/ 2832100 h 5237164"/>
              <a:gd name="connsiteX408" fmla="*/ 1083514 w 13753692"/>
              <a:gd name="connsiteY408" fmla="*/ 2862847 h 5237164"/>
              <a:gd name="connsiteX409" fmla="*/ 1072569 w 13753692"/>
              <a:gd name="connsiteY409" fmla="*/ 2873096 h 5237164"/>
              <a:gd name="connsiteX410" fmla="*/ 977716 w 13753692"/>
              <a:gd name="connsiteY410" fmla="*/ 2873096 h 5237164"/>
              <a:gd name="connsiteX411" fmla="*/ 955827 w 13753692"/>
              <a:gd name="connsiteY411" fmla="*/ 2893593 h 5237164"/>
              <a:gd name="connsiteX412" fmla="*/ 944883 w 13753692"/>
              <a:gd name="connsiteY412" fmla="*/ 2900426 h 5237164"/>
              <a:gd name="connsiteX413" fmla="*/ 733287 w 13753692"/>
              <a:gd name="connsiteY413" fmla="*/ 2900426 h 5237164"/>
              <a:gd name="connsiteX414" fmla="*/ 481562 w 13753692"/>
              <a:gd name="connsiteY414" fmla="*/ 3019996 h 5237164"/>
              <a:gd name="connsiteX415" fmla="*/ 419543 w 13753692"/>
              <a:gd name="connsiteY415" fmla="*/ 3019996 h 5237164"/>
              <a:gd name="connsiteX416" fmla="*/ 197003 w 13753692"/>
              <a:gd name="connsiteY416" fmla="*/ 2866263 h 5237164"/>
              <a:gd name="connsiteX417" fmla="*/ 164169 w 13753692"/>
              <a:gd name="connsiteY417" fmla="*/ 2835516 h 5237164"/>
              <a:gd name="connsiteX418" fmla="*/ 156873 w 13753692"/>
              <a:gd name="connsiteY418" fmla="*/ 2821851 h 5237164"/>
              <a:gd name="connsiteX419" fmla="*/ 156873 w 13753692"/>
              <a:gd name="connsiteY419" fmla="*/ 2709114 h 5237164"/>
              <a:gd name="connsiteX420" fmla="*/ 182410 w 13753692"/>
              <a:gd name="connsiteY420" fmla="*/ 2681784 h 5237164"/>
              <a:gd name="connsiteX421" fmla="*/ 182410 w 13753692"/>
              <a:gd name="connsiteY421" fmla="*/ 2599793 h 5237164"/>
              <a:gd name="connsiteX422" fmla="*/ 299152 w 13753692"/>
              <a:gd name="connsiteY422" fmla="*/ 2483639 h 5237164"/>
              <a:gd name="connsiteX423" fmla="*/ 466969 w 13753692"/>
              <a:gd name="connsiteY423" fmla="*/ 2346988 h 5237164"/>
              <a:gd name="connsiteX424" fmla="*/ 474266 w 13753692"/>
              <a:gd name="connsiteY424" fmla="*/ 2316241 h 5237164"/>
              <a:gd name="connsiteX425" fmla="*/ 514396 w 13753692"/>
              <a:gd name="connsiteY425" fmla="*/ 2305992 h 5237164"/>
              <a:gd name="connsiteX426" fmla="*/ 601952 w 13753692"/>
              <a:gd name="connsiteY426" fmla="*/ 2224002 h 5237164"/>
              <a:gd name="connsiteX427" fmla="*/ 649379 w 13753692"/>
              <a:gd name="connsiteY427" fmla="*/ 2169341 h 5237164"/>
              <a:gd name="connsiteX428" fmla="*/ 601952 w 13753692"/>
              <a:gd name="connsiteY428" fmla="*/ 2138594 h 5237164"/>
              <a:gd name="connsiteX429" fmla="*/ 528988 w 13753692"/>
              <a:gd name="connsiteY429" fmla="*/ 2176173 h 5237164"/>
              <a:gd name="connsiteX430" fmla="*/ 463321 w 13753692"/>
              <a:gd name="connsiteY430" fmla="*/ 2237667 h 5237164"/>
              <a:gd name="connsiteX431" fmla="*/ 452376 w 13753692"/>
              <a:gd name="connsiteY431" fmla="*/ 2247916 h 5237164"/>
              <a:gd name="connsiteX432" fmla="*/ 353875 w 13753692"/>
              <a:gd name="connsiteY432" fmla="*/ 2340155 h 5237164"/>
              <a:gd name="connsiteX433" fmla="*/ 324690 w 13753692"/>
              <a:gd name="connsiteY433" fmla="*/ 2340155 h 5237164"/>
              <a:gd name="connsiteX434" fmla="*/ 189706 w 13753692"/>
              <a:gd name="connsiteY434" fmla="*/ 2469974 h 5237164"/>
              <a:gd name="connsiteX435" fmla="*/ 186058 w 13753692"/>
              <a:gd name="connsiteY435" fmla="*/ 2538299 h 5237164"/>
              <a:gd name="connsiteX436" fmla="*/ 134984 w 13753692"/>
              <a:gd name="connsiteY436" fmla="*/ 2572463 h 5237164"/>
              <a:gd name="connsiteX437" fmla="*/ 124039 w 13753692"/>
              <a:gd name="connsiteY437" fmla="*/ 2504137 h 5237164"/>
              <a:gd name="connsiteX438" fmla="*/ 153225 w 13753692"/>
              <a:gd name="connsiteY438" fmla="*/ 2473390 h 5237164"/>
              <a:gd name="connsiteX439" fmla="*/ 153225 w 13753692"/>
              <a:gd name="connsiteY439" fmla="*/ 2415313 h 5237164"/>
              <a:gd name="connsiteX440" fmla="*/ 186058 w 13753692"/>
              <a:gd name="connsiteY440" fmla="*/ 2381151 h 5237164"/>
              <a:gd name="connsiteX441" fmla="*/ 186058 w 13753692"/>
              <a:gd name="connsiteY441" fmla="*/ 2323074 h 5237164"/>
              <a:gd name="connsiteX442" fmla="*/ 310097 w 13753692"/>
              <a:gd name="connsiteY442" fmla="*/ 2241083 h 5237164"/>
              <a:gd name="connsiteX443" fmla="*/ 415894 w 13753692"/>
              <a:gd name="connsiteY443" fmla="*/ 2165924 h 5237164"/>
              <a:gd name="connsiteX444" fmla="*/ 532637 w 13753692"/>
              <a:gd name="connsiteY444" fmla="*/ 2080517 h 5237164"/>
              <a:gd name="connsiteX445" fmla="*/ 634786 w 13753692"/>
              <a:gd name="connsiteY445" fmla="*/ 1984861 h 5237164"/>
              <a:gd name="connsiteX446" fmla="*/ 718695 w 13753692"/>
              <a:gd name="connsiteY446" fmla="*/ 1984861 h 5237164"/>
              <a:gd name="connsiteX447" fmla="*/ 820844 w 13753692"/>
              <a:gd name="connsiteY447" fmla="*/ 1923368 h 5237164"/>
              <a:gd name="connsiteX448" fmla="*/ 904752 w 13753692"/>
              <a:gd name="connsiteY448" fmla="*/ 1865292 h 5237164"/>
              <a:gd name="connsiteX449" fmla="*/ 1003254 w 13753692"/>
              <a:gd name="connsiteY449" fmla="*/ 1803798 h 5237164"/>
              <a:gd name="connsiteX450" fmla="*/ 1061625 w 13753692"/>
              <a:gd name="connsiteY450" fmla="*/ 1759387 h 5237164"/>
              <a:gd name="connsiteX451" fmla="*/ 1112700 w 13753692"/>
              <a:gd name="connsiteY451" fmla="*/ 1735473 h 5237164"/>
              <a:gd name="connsiteX452" fmla="*/ 1196608 w 13753692"/>
              <a:gd name="connsiteY452" fmla="*/ 1714975 h 5237164"/>
              <a:gd name="connsiteX453" fmla="*/ 1280516 w 13753692"/>
              <a:gd name="connsiteY453" fmla="*/ 1656898 h 5237164"/>
              <a:gd name="connsiteX454" fmla="*/ 1353480 w 13753692"/>
              <a:gd name="connsiteY454" fmla="*/ 1598821 h 5237164"/>
              <a:gd name="connsiteX455" fmla="*/ 1411851 w 13753692"/>
              <a:gd name="connsiteY455" fmla="*/ 1598821 h 5237164"/>
              <a:gd name="connsiteX456" fmla="*/ 1444685 w 13753692"/>
              <a:gd name="connsiteY456" fmla="*/ 1568075 h 5237164"/>
              <a:gd name="connsiteX457" fmla="*/ 1503056 w 13753692"/>
              <a:gd name="connsiteY457" fmla="*/ 1568075 h 5237164"/>
              <a:gd name="connsiteX458" fmla="*/ 1685466 w 13753692"/>
              <a:gd name="connsiteY458" fmla="*/ 1455337 h 5237164"/>
              <a:gd name="connsiteX459" fmla="*/ 1703707 w 13753692"/>
              <a:gd name="connsiteY459" fmla="*/ 1451921 h 5237164"/>
              <a:gd name="connsiteX460" fmla="*/ 1762079 w 13753692"/>
              <a:gd name="connsiteY460" fmla="*/ 1441672 h 5237164"/>
              <a:gd name="connsiteX461" fmla="*/ 1849635 w 13753692"/>
              <a:gd name="connsiteY461" fmla="*/ 1390428 h 5237164"/>
              <a:gd name="connsiteX462" fmla="*/ 1908006 w 13753692"/>
              <a:gd name="connsiteY462" fmla="*/ 1390428 h 5237164"/>
              <a:gd name="connsiteX463" fmla="*/ 1940839 w 13753692"/>
              <a:gd name="connsiteY463" fmla="*/ 1421175 h 5237164"/>
              <a:gd name="connsiteX464" fmla="*/ 1988266 w 13753692"/>
              <a:gd name="connsiteY464" fmla="*/ 1376763 h 5237164"/>
              <a:gd name="connsiteX465" fmla="*/ 1959081 w 13753692"/>
              <a:gd name="connsiteY465" fmla="*/ 1346016 h 5237164"/>
              <a:gd name="connsiteX466" fmla="*/ 2203509 w 13753692"/>
              <a:gd name="connsiteY466" fmla="*/ 1229863 h 5237164"/>
              <a:gd name="connsiteX467" fmla="*/ 2247288 w 13753692"/>
              <a:gd name="connsiteY467" fmla="*/ 1188867 h 5237164"/>
              <a:gd name="connsiteX468" fmla="*/ 2320252 w 13753692"/>
              <a:gd name="connsiteY468" fmla="*/ 1178618 h 5237164"/>
              <a:gd name="connsiteX469" fmla="*/ 2436995 w 13753692"/>
              <a:gd name="connsiteY469" fmla="*/ 1096627 h 5237164"/>
              <a:gd name="connsiteX470" fmla="*/ 2499013 w 13753692"/>
              <a:gd name="connsiteY470" fmla="*/ 1096627 h 5237164"/>
              <a:gd name="connsiteX471" fmla="*/ 2539144 w 13753692"/>
              <a:gd name="connsiteY471" fmla="*/ 1059048 h 5237164"/>
              <a:gd name="connsiteX472" fmla="*/ 2601163 w 13753692"/>
              <a:gd name="connsiteY472" fmla="*/ 1093211 h 5237164"/>
              <a:gd name="connsiteX473" fmla="*/ 2612107 w 13753692"/>
              <a:gd name="connsiteY473" fmla="*/ 1045383 h 5237164"/>
              <a:gd name="connsiteX474" fmla="*/ 2681424 w 13753692"/>
              <a:gd name="connsiteY474" fmla="*/ 1035134 h 5237164"/>
              <a:gd name="connsiteX475" fmla="*/ 2779924 w 13753692"/>
              <a:gd name="connsiteY475" fmla="*/ 977057 h 5237164"/>
              <a:gd name="connsiteX476" fmla="*/ 2871129 w 13753692"/>
              <a:gd name="connsiteY476" fmla="*/ 949727 h 5237164"/>
              <a:gd name="connsiteX477" fmla="*/ 2933148 w 13753692"/>
              <a:gd name="connsiteY477" fmla="*/ 891650 h 5237164"/>
              <a:gd name="connsiteX478" fmla="*/ 3031649 w 13753692"/>
              <a:gd name="connsiteY478" fmla="*/ 881402 h 5237164"/>
              <a:gd name="connsiteX479" fmla="*/ 3115558 w 13753692"/>
              <a:gd name="connsiteY479" fmla="*/ 857488 h 5237164"/>
              <a:gd name="connsiteX480" fmla="*/ 3199467 w 13753692"/>
              <a:gd name="connsiteY480" fmla="*/ 799411 h 5237164"/>
              <a:gd name="connsiteX481" fmla="*/ 3265135 w 13753692"/>
              <a:gd name="connsiteY481" fmla="*/ 768664 h 5237164"/>
              <a:gd name="connsiteX482" fmla="*/ 3308913 w 13753692"/>
              <a:gd name="connsiteY482" fmla="*/ 768664 h 5237164"/>
              <a:gd name="connsiteX483" fmla="*/ 3363636 w 13753692"/>
              <a:gd name="connsiteY483" fmla="*/ 714004 h 5237164"/>
              <a:gd name="connsiteX484" fmla="*/ 3458489 w 13753692"/>
              <a:gd name="connsiteY484" fmla="*/ 683257 h 5237164"/>
              <a:gd name="connsiteX485" fmla="*/ 3553341 w 13753692"/>
              <a:gd name="connsiteY485" fmla="*/ 683257 h 5237164"/>
              <a:gd name="connsiteX486" fmla="*/ 3589823 w 13753692"/>
              <a:gd name="connsiteY486" fmla="*/ 710587 h 5237164"/>
              <a:gd name="connsiteX487" fmla="*/ 3651842 w 13753692"/>
              <a:gd name="connsiteY487" fmla="*/ 628596 h 5237164"/>
              <a:gd name="connsiteX488" fmla="*/ 3812364 w 13753692"/>
              <a:gd name="connsiteY488" fmla="*/ 556855 h 5237164"/>
              <a:gd name="connsiteX489" fmla="*/ 3958291 w 13753692"/>
              <a:gd name="connsiteY489" fmla="*/ 502194 h 5237164"/>
              <a:gd name="connsiteX490" fmla="*/ 3991125 w 13753692"/>
              <a:gd name="connsiteY490" fmla="*/ 474864 h 5237164"/>
              <a:gd name="connsiteX491" fmla="*/ 4053144 w 13753692"/>
              <a:gd name="connsiteY491" fmla="*/ 474864 h 5237164"/>
              <a:gd name="connsiteX492" fmla="*/ 4085978 w 13753692"/>
              <a:gd name="connsiteY492" fmla="*/ 444117 h 5237164"/>
              <a:gd name="connsiteX493" fmla="*/ 4304869 w 13753692"/>
              <a:gd name="connsiteY493" fmla="*/ 386040 h 5237164"/>
              <a:gd name="connsiteX494" fmla="*/ 4348648 w 13753692"/>
              <a:gd name="connsiteY494" fmla="*/ 327964 h 5237164"/>
              <a:gd name="connsiteX495" fmla="*/ 4458094 w 13753692"/>
              <a:gd name="connsiteY495" fmla="*/ 297217 h 5237164"/>
              <a:gd name="connsiteX496" fmla="*/ 4600374 w 13753692"/>
              <a:gd name="connsiteY496" fmla="*/ 232308 h 5237164"/>
              <a:gd name="connsiteX497" fmla="*/ 4746301 w 13753692"/>
              <a:gd name="connsiteY497" fmla="*/ 177647 h 5237164"/>
              <a:gd name="connsiteX498" fmla="*/ 4808321 w 13753692"/>
              <a:gd name="connsiteY498" fmla="*/ 146901 h 5237164"/>
              <a:gd name="connsiteX499" fmla="*/ 4921414 w 13753692"/>
              <a:gd name="connsiteY499" fmla="*/ 146901 h 5237164"/>
              <a:gd name="connsiteX500" fmla="*/ 4954248 w 13753692"/>
              <a:gd name="connsiteY500" fmla="*/ 119570 h 5237164"/>
              <a:gd name="connsiteX501" fmla="*/ 4987082 w 13753692"/>
              <a:gd name="connsiteY501" fmla="*/ 146901 h 5237164"/>
              <a:gd name="connsiteX502" fmla="*/ 5019916 w 13753692"/>
              <a:gd name="connsiteY502" fmla="*/ 143484 h 5237164"/>
              <a:gd name="connsiteX503" fmla="*/ 5041805 w 13753692"/>
              <a:gd name="connsiteY503" fmla="*/ 92240 h 5237164"/>
              <a:gd name="connsiteX504" fmla="*/ 5129361 w 13753692"/>
              <a:gd name="connsiteY504" fmla="*/ 92240 h 5237164"/>
              <a:gd name="connsiteX505" fmla="*/ 5169492 w 13753692"/>
              <a:gd name="connsiteY505" fmla="*/ 61493 h 5237164"/>
              <a:gd name="connsiteX506" fmla="*/ 5202325 w 13753692"/>
              <a:gd name="connsiteY506" fmla="*/ 85407 h 5237164"/>
              <a:gd name="connsiteX507" fmla="*/ 5231511 w 13753692"/>
              <a:gd name="connsiteY507" fmla="*/ 61493 h 5237164"/>
              <a:gd name="connsiteX508" fmla="*/ 5278938 w 13753692"/>
              <a:gd name="connsiteY508" fmla="*/ 143484 h 5237164"/>
              <a:gd name="connsiteX509" fmla="*/ 5260697 w 13753692"/>
              <a:gd name="connsiteY509" fmla="*/ 232308 h 5237164"/>
              <a:gd name="connsiteX510" fmla="*/ 5297178 w 13753692"/>
              <a:gd name="connsiteY510" fmla="*/ 208394 h 5237164"/>
              <a:gd name="connsiteX511" fmla="*/ 5377439 w 13753692"/>
              <a:gd name="connsiteY511" fmla="*/ 208394 h 5237164"/>
              <a:gd name="connsiteX512" fmla="*/ 5490532 w 13753692"/>
              <a:gd name="connsiteY512" fmla="*/ 146901 h 5237164"/>
              <a:gd name="connsiteX513" fmla="*/ 5629164 w 13753692"/>
              <a:gd name="connsiteY513" fmla="*/ 146901 h 5237164"/>
              <a:gd name="connsiteX514" fmla="*/ 5734962 w 13753692"/>
              <a:gd name="connsiteY514" fmla="*/ 201561 h 5237164"/>
              <a:gd name="connsiteX515" fmla="*/ 6045057 w 13753692"/>
              <a:gd name="connsiteY515" fmla="*/ 201561 h 5237164"/>
              <a:gd name="connsiteX516" fmla="*/ 6070595 w 13753692"/>
              <a:gd name="connsiteY516" fmla="*/ 181063 h 5237164"/>
              <a:gd name="connsiteX517" fmla="*/ 6165448 w 13753692"/>
              <a:gd name="connsiteY517" fmla="*/ 181063 h 5237164"/>
              <a:gd name="connsiteX518" fmla="*/ 6201930 w 13753692"/>
              <a:gd name="connsiteY518" fmla="*/ 211810 h 5237164"/>
              <a:gd name="connsiteX519" fmla="*/ 6209227 w 13753692"/>
              <a:gd name="connsiteY519" fmla="*/ 280135 h 5237164"/>
              <a:gd name="connsiteX520" fmla="*/ 6180041 w 13753692"/>
              <a:gd name="connsiteY520" fmla="*/ 314298 h 5237164"/>
              <a:gd name="connsiteX521" fmla="*/ 6216523 w 13753692"/>
              <a:gd name="connsiteY521" fmla="*/ 327964 h 5237164"/>
              <a:gd name="connsiteX522" fmla="*/ 6289487 w 13753692"/>
              <a:gd name="connsiteY522" fmla="*/ 269887 h 5237164"/>
              <a:gd name="connsiteX523" fmla="*/ 6329617 w 13753692"/>
              <a:gd name="connsiteY523" fmla="*/ 300633 h 5237164"/>
              <a:gd name="connsiteX524" fmla="*/ 6391636 w 13753692"/>
              <a:gd name="connsiteY524" fmla="*/ 266470 h 5237164"/>
              <a:gd name="connsiteX525" fmla="*/ 6457303 w 13753692"/>
              <a:gd name="connsiteY525" fmla="*/ 307466 h 5237164"/>
              <a:gd name="connsiteX526" fmla="*/ 6460952 w 13753692"/>
              <a:gd name="connsiteY526" fmla="*/ 368959 h 5237164"/>
              <a:gd name="connsiteX527" fmla="*/ 6402581 w 13753692"/>
              <a:gd name="connsiteY527" fmla="*/ 427036 h 5237164"/>
              <a:gd name="connsiteX528" fmla="*/ 6366099 w 13753692"/>
              <a:gd name="connsiteY528" fmla="*/ 488529 h 5237164"/>
              <a:gd name="connsiteX529" fmla="*/ 6482841 w 13753692"/>
              <a:gd name="connsiteY529" fmla="*/ 509027 h 5237164"/>
              <a:gd name="connsiteX530" fmla="*/ 6504730 w 13753692"/>
              <a:gd name="connsiteY530" fmla="*/ 529524 h 5237164"/>
              <a:gd name="connsiteX531" fmla="*/ 6537564 w 13753692"/>
              <a:gd name="connsiteY531" fmla="*/ 502194 h 5237164"/>
              <a:gd name="connsiteX532" fmla="*/ 6690788 w 13753692"/>
              <a:gd name="connsiteY532" fmla="*/ 502194 h 5237164"/>
              <a:gd name="connsiteX533" fmla="*/ 6767400 w 13753692"/>
              <a:gd name="connsiteY533" fmla="*/ 543189 h 5237164"/>
              <a:gd name="connsiteX534" fmla="*/ 6738215 w 13753692"/>
              <a:gd name="connsiteY534" fmla="*/ 618348 h 5237164"/>
              <a:gd name="connsiteX535" fmla="*/ 6771049 w 13753692"/>
              <a:gd name="connsiteY535" fmla="*/ 666176 h 5237164"/>
              <a:gd name="connsiteX536" fmla="*/ 6781993 w 13753692"/>
              <a:gd name="connsiteY536" fmla="*/ 703755 h 5237164"/>
              <a:gd name="connsiteX537" fmla="*/ 6800234 w 13753692"/>
              <a:gd name="connsiteY537" fmla="*/ 754999 h 5237164"/>
              <a:gd name="connsiteX538" fmla="*/ 6690788 w 13753692"/>
              <a:gd name="connsiteY538" fmla="*/ 857488 h 5237164"/>
              <a:gd name="connsiteX539" fmla="*/ 6661603 w 13753692"/>
              <a:gd name="connsiteY539" fmla="*/ 857488 h 5237164"/>
              <a:gd name="connsiteX540" fmla="*/ 6588639 w 13753692"/>
              <a:gd name="connsiteY540" fmla="*/ 946311 h 5237164"/>
              <a:gd name="connsiteX541" fmla="*/ 6566749 w 13753692"/>
              <a:gd name="connsiteY541" fmla="*/ 973641 h 5237164"/>
              <a:gd name="connsiteX542" fmla="*/ 6588639 w 13753692"/>
              <a:gd name="connsiteY542" fmla="*/ 946311 h 5237164"/>
              <a:gd name="connsiteX543" fmla="*/ 6636065 w 13753692"/>
              <a:gd name="connsiteY543" fmla="*/ 946311 h 5237164"/>
              <a:gd name="connsiteX544" fmla="*/ 6749159 w 13753692"/>
              <a:gd name="connsiteY544" fmla="*/ 864320 h 5237164"/>
              <a:gd name="connsiteX545" fmla="*/ 6822123 w 13753692"/>
              <a:gd name="connsiteY545" fmla="*/ 854071 h 5237164"/>
              <a:gd name="connsiteX546" fmla="*/ 6851309 w 13753692"/>
              <a:gd name="connsiteY546" fmla="*/ 799411 h 5237164"/>
              <a:gd name="connsiteX547" fmla="*/ 6938865 w 13753692"/>
              <a:gd name="connsiteY547" fmla="*/ 799411 h 5237164"/>
              <a:gd name="connsiteX548" fmla="*/ 6971699 w 13753692"/>
              <a:gd name="connsiteY548" fmla="*/ 768664 h 5237164"/>
              <a:gd name="connsiteX549" fmla="*/ 7066552 w 13753692"/>
              <a:gd name="connsiteY549" fmla="*/ 768664 h 5237164"/>
              <a:gd name="connsiteX550" fmla="*/ 7121275 w 13753692"/>
              <a:gd name="connsiteY550" fmla="*/ 714004 h 5237164"/>
              <a:gd name="connsiteX551" fmla="*/ 7194239 w 13753692"/>
              <a:gd name="connsiteY551" fmla="*/ 707171 h 5237164"/>
              <a:gd name="connsiteX552" fmla="*/ 7219777 w 13753692"/>
              <a:gd name="connsiteY552" fmla="*/ 683257 h 5237164"/>
              <a:gd name="connsiteX553" fmla="*/ 7318277 w 13753692"/>
              <a:gd name="connsiteY553" fmla="*/ 683257 h 5237164"/>
              <a:gd name="connsiteX554" fmla="*/ 7362056 w 13753692"/>
              <a:gd name="connsiteY554" fmla="*/ 621764 h 5237164"/>
              <a:gd name="connsiteX555" fmla="*/ 7435019 w 13753692"/>
              <a:gd name="connsiteY555" fmla="*/ 621764 h 5237164"/>
              <a:gd name="connsiteX556" fmla="*/ 7471501 w 13753692"/>
              <a:gd name="connsiteY556" fmla="*/ 591018 h 5237164"/>
              <a:gd name="connsiteX557" fmla="*/ 7533521 w 13753692"/>
              <a:gd name="connsiteY557" fmla="*/ 591018 h 5237164"/>
              <a:gd name="connsiteX558" fmla="*/ 7551762 w 13753692"/>
              <a:gd name="connsiteY558" fmla="*/ 573936 h 5237164"/>
              <a:gd name="connsiteX559" fmla="*/ 7664856 w 13753692"/>
              <a:gd name="connsiteY559" fmla="*/ 556855 h 5237164"/>
              <a:gd name="connsiteX560" fmla="*/ 7741468 w 13753692"/>
              <a:gd name="connsiteY560" fmla="*/ 498778 h 5237164"/>
              <a:gd name="connsiteX561" fmla="*/ 7814432 w 13753692"/>
              <a:gd name="connsiteY561" fmla="*/ 444117 h 5237164"/>
              <a:gd name="connsiteX562" fmla="*/ 7901989 w 13753692"/>
              <a:gd name="connsiteY562" fmla="*/ 444117 h 5237164"/>
              <a:gd name="connsiteX563" fmla="*/ 7934823 w 13753692"/>
              <a:gd name="connsiteY563" fmla="*/ 413371 h 5237164"/>
              <a:gd name="connsiteX564" fmla="*/ 8036971 w 13753692"/>
              <a:gd name="connsiteY564" fmla="*/ 413371 h 5237164"/>
              <a:gd name="connsiteX565" fmla="*/ 8088047 w 13753692"/>
              <a:gd name="connsiteY565" fmla="*/ 351877 h 5237164"/>
              <a:gd name="connsiteX566" fmla="*/ 8153714 w 13753692"/>
              <a:gd name="connsiteY566" fmla="*/ 351877 h 5237164"/>
              <a:gd name="connsiteX567" fmla="*/ 8179251 w 13753692"/>
              <a:gd name="connsiteY567" fmla="*/ 327964 h 5237164"/>
              <a:gd name="connsiteX568" fmla="*/ 8226678 w 13753692"/>
              <a:gd name="connsiteY568" fmla="*/ 355294 h 5237164"/>
              <a:gd name="connsiteX569" fmla="*/ 8347068 w 13753692"/>
              <a:gd name="connsiteY569" fmla="*/ 297217 h 5237164"/>
              <a:gd name="connsiteX570" fmla="*/ 8434625 w 13753692"/>
              <a:gd name="connsiteY570" fmla="*/ 297217 h 5237164"/>
              <a:gd name="connsiteX571" fmla="*/ 8562312 w 13753692"/>
              <a:gd name="connsiteY571" fmla="*/ 211810 h 5237164"/>
              <a:gd name="connsiteX572" fmla="*/ 8584201 w 13753692"/>
              <a:gd name="connsiteY572" fmla="*/ 232308 h 5237164"/>
              <a:gd name="connsiteX573" fmla="*/ 8642572 w 13753692"/>
              <a:gd name="connsiteY573" fmla="*/ 201561 h 5237164"/>
              <a:gd name="connsiteX574" fmla="*/ 8653517 w 13753692"/>
              <a:gd name="connsiteY574" fmla="*/ 211810 h 5237164"/>
              <a:gd name="connsiteX575" fmla="*/ 8741073 w 13753692"/>
              <a:gd name="connsiteY575" fmla="*/ 119570 h 5237164"/>
              <a:gd name="connsiteX576" fmla="*/ 8799444 w 13753692"/>
              <a:gd name="connsiteY576" fmla="*/ 119570 h 5237164"/>
              <a:gd name="connsiteX577" fmla="*/ 8901594 w 13753692"/>
              <a:gd name="connsiteY577" fmla="*/ 30747 h 5237164"/>
              <a:gd name="connsiteX578" fmla="*/ 9014688 w 13753692"/>
              <a:gd name="connsiteY578" fmla="*/ 30747 h 5237164"/>
              <a:gd name="connsiteX579" fmla="*/ 9062114 w 13753692"/>
              <a:gd name="connsiteY579" fmla="*/ 0 h 5237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</a:cxnLst>
            <a:rect l="l" t="t" r="r" b="b"/>
            <a:pathLst>
              <a:path w="13753692" h="5237164">
                <a:moveTo>
                  <a:pt x="9062114" y="0"/>
                </a:moveTo>
                <a:cubicBezTo>
                  <a:pt x="9102244" y="3416"/>
                  <a:pt x="9116837" y="27330"/>
                  <a:pt x="9131430" y="58077"/>
                </a:cubicBezTo>
                <a:cubicBezTo>
                  <a:pt x="9120485" y="75158"/>
                  <a:pt x="9109541" y="95656"/>
                  <a:pt x="9094948" y="119570"/>
                </a:cubicBezTo>
                <a:cubicBezTo>
                  <a:pt x="9105893" y="133235"/>
                  <a:pt x="9116837" y="150317"/>
                  <a:pt x="9127782" y="163982"/>
                </a:cubicBezTo>
                <a:cubicBezTo>
                  <a:pt x="9116837" y="177647"/>
                  <a:pt x="9102244" y="191312"/>
                  <a:pt x="9084003" y="204977"/>
                </a:cubicBezTo>
                <a:cubicBezTo>
                  <a:pt x="9065762" y="204977"/>
                  <a:pt x="9047522" y="204977"/>
                  <a:pt x="9018336" y="204977"/>
                </a:cubicBezTo>
                <a:cubicBezTo>
                  <a:pt x="9014688" y="222059"/>
                  <a:pt x="9007391" y="239140"/>
                  <a:pt x="9000095" y="259638"/>
                </a:cubicBezTo>
                <a:cubicBezTo>
                  <a:pt x="8989150" y="263054"/>
                  <a:pt x="8974558" y="266470"/>
                  <a:pt x="8952668" y="269887"/>
                </a:cubicBezTo>
                <a:cubicBezTo>
                  <a:pt x="8949020" y="280135"/>
                  <a:pt x="8945372" y="297217"/>
                  <a:pt x="8945372" y="310882"/>
                </a:cubicBezTo>
                <a:cubicBezTo>
                  <a:pt x="8981854" y="338212"/>
                  <a:pt x="9018336" y="317715"/>
                  <a:pt x="9054818" y="331380"/>
                </a:cubicBezTo>
                <a:cubicBezTo>
                  <a:pt x="9062114" y="307466"/>
                  <a:pt x="9069411" y="290384"/>
                  <a:pt x="9076707" y="269887"/>
                </a:cubicBezTo>
                <a:cubicBezTo>
                  <a:pt x="9098596" y="266470"/>
                  <a:pt x="9124134" y="266470"/>
                  <a:pt x="9142375" y="263054"/>
                </a:cubicBezTo>
                <a:cubicBezTo>
                  <a:pt x="9164264" y="252805"/>
                  <a:pt x="9178857" y="242557"/>
                  <a:pt x="9189801" y="235724"/>
                </a:cubicBezTo>
                <a:cubicBezTo>
                  <a:pt x="9226283" y="242557"/>
                  <a:pt x="9240876" y="283552"/>
                  <a:pt x="9277358" y="259638"/>
                </a:cubicBezTo>
                <a:cubicBezTo>
                  <a:pt x="9295599" y="239140"/>
                  <a:pt x="9281006" y="211810"/>
                  <a:pt x="9291951" y="184480"/>
                </a:cubicBezTo>
                <a:cubicBezTo>
                  <a:pt x="9332081" y="170814"/>
                  <a:pt x="9375859" y="181063"/>
                  <a:pt x="9423286" y="177647"/>
                </a:cubicBezTo>
                <a:cubicBezTo>
                  <a:pt x="9441526" y="167398"/>
                  <a:pt x="9452471" y="136651"/>
                  <a:pt x="9488953" y="146901"/>
                </a:cubicBezTo>
                <a:cubicBezTo>
                  <a:pt x="9496249" y="157149"/>
                  <a:pt x="9507194" y="167398"/>
                  <a:pt x="9518139" y="177647"/>
                </a:cubicBezTo>
                <a:cubicBezTo>
                  <a:pt x="9540028" y="177647"/>
                  <a:pt x="9561917" y="177647"/>
                  <a:pt x="9580158" y="177647"/>
                </a:cubicBezTo>
                <a:cubicBezTo>
                  <a:pt x="9594751" y="191312"/>
                  <a:pt x="9609343" y="204977"/>
                  <a:pt x="9631233" y="225475"/>
                </a:cubicBezTo>
                <a:cubicBezTo>
                  <a:pt x="9620288" y="249389"/>
                  <a:pt x="9605695" y="280135"/>
                  <a:pt x="9591102" y="307466"/>
                </a:cubicBezTo>
                <a:cubicBezTo>
                  <a:pt x="9605695" y="314298"/>
                  <a:pt x="9612992" y="324547"/>
                  <a:pt x="9620288" y="324547"/>
                </a:cubicBezTo>
                <a:cubicBezTo>
                  <a:pt x="9660418" y="310882"/>
                  <a:pt x="9700548" y="290384"/>
                  <a:pt x="9744327" y="286968"/>
                </a:cubicBezTo>
                <a:cubicBezTo>
                  <a:pt x="9751623" y="286968"/>
                  <a:pt x="9758919" y="273303"/>
                  <a:pt x="9766216" y="266470"/>
                </a:cubicBezTo>
                <a:cubicBezTo>
                  <a:pt x="9788105" y="266470"/>
                  <a:pt x="9806346" y="266470"/>
                  <a:pt x="9828235" y="266470"/>
                </a:cubicBezTo>
                <a:cubicBezTo>
                  <a:pt x="9839180" y="276719"/>
                  <a:pt x="9850124" y="286968"/>
                  <a:pt x="9861069" y="297217"/>
                </a:cubicBezTo>
                <a:cubicBezTo>
                  <a:pt x="9882958" y="297217"/>
                  <a:pt x="9901199" y="297217"/>
                  <a:pt x="9923088" y="297217"/>
                </a:cubicBezTo>
                <a:cubicBezTo>
                  <a:pt x="9934033" y="307466"/>
                  <a:pt x="9944977" y="314298"/>
                  <a:pt x="9959570" y="331380"/>
                </a:cubicBezTo>
                <a:cubicBezTo>
                  <a:pt x="9977811" y="321131"/>
                  <a:pt x="9992404" y="314298"/>
                  <a:pt x="10028886" y="300633"/>
                </a:cubicBezTo>
                <a:cubicBezTo>
                  <a:pt x="10043479" y="300633"/>
                  <a:pt x="10076312" y="300633"/>
                  <a:pt x="10109146" y="300633"/>
                </a:cubicBezTo>
                <a:cubicBezTo>
                  <a:pt x="10127387" y="314298"/>
                  <a:pt x="10141980" y="327964"/>
                  <a:pt x="10156573" y="338212"/>
                </a:cubicBezTo>
                <a:cubicBezTo>
                  <a:pt x="10156573" y="362126"/>
                  <a:pt x="10156573" y="379208"/>
                  <a:pt x="10156573" y="389457"/>
                </a:cubicBezTo>
                <a:cubicBezTo>
                  <a:pt x="10134683" y="430452"/>
                  <a:pt x="10116442" y="461199"/>
                  <a:pt x="10098201" y="491945"/>
                </a:cubicBezTo>
                <a:cubicBezTo>
                  <a:pt x="10134683" y="526108"/>
                  <a:pt x="10149276" y="485113"/>
                  <a:pt x="10174814" y="471447"/>
                </a:cubicBezTo>
                <a:cubicBezTo>
                  <a:pt x="10203999" y="471447"/>
                  <a:pt x="10236833" y="471447"/>
                  <a:pt x="10266018" y="471447"/>
                </a:cubicBezTo>
                <a:cubicBezTo>
                  <a:pt x="10273315" y="464615"/>
                  <a:pt x="10280611" y="457782"/>
                  <a:pt x="10291556" y="447533"/>
                </a:cubicBezTo>
                <a:cubicBezTo>
                  <a:pt x="10313445" y="447533"/>
                  <a:pt x="10335334" y="447533"/>
                  <a:pt x="10360871" y="447533"/>
                </a:cubicBezTo>
                <a:cubicBezTo>
                  <a:pt x="10375464" y="461199"/>
                  <a:pt x="10390057" y="474864"/>
                  <a:pt x="10404650" y="488529"/>
                </a:cubicBezTo>
                <a:cubicBezTo>
                  <a:pt x="10404650" y="509027"/>
                  <a:pt x="10404650" y="529524"/>
                  <a:pt x="10404650" y="536357"/>
                </a:cubicBezTo>
                <a:cubicBezTo>
                  <a:pt x="10371816" y="597850"/>
                  <a:pt x="10342630" y="649094"/>
                  <a:pt x="10313445" y="703755"/>
                </a:cubicBezTo>
                <a:cubicBezTo>
                  <a:pt x="10331686" y="707171"/>
                  <a:pt x="10346279" y="710587"/>
                  <a:pt x="10360871" y="714004"/>
                </a:cubicBezTo>
                <a:cubicBezTo>
                  <a:pt x="10371816" y="731085"/>
                  <a:pt x="10382761" y="751583"/>
                  <a:pt x="10393705" y="768664"/>
                </a:cubicBezTo>
                <a:cubicBezTo>
                  <a:pt x="10393705" y="772081"/>
                  <a:pt x="10404650" y="768664"/>
                  <a:pt x="10408298" y="768664"/>
                </a:cubicBezTo>
                <a:cubicBezTo>
                  <a:pt x="10441132" y="761832"/>
                  <a:pt x="10448428" y="727669"/>
                  <a:pt x="10484910" y="717420"/>
                </a:cubicBezTo>
                <a:cubicBezTo>
                  <a:pt x="10488558" y="720836"/>
                  <a:pt x="10499503" y="727669"/>
                  <a:pt x="10514096" y="737918"/>
                </a:cubicBezTo>
                <a:cubicBezTo>
                  <a:pt x="10532337" y="737918"/>
                  <a:pt x="10550578" y="737918"/>
                  <a:pt x="10572467" y="737918"/>
                </a:cubicBezTo>
                <a:cubicBezTo>
                  <a:pt x="10583411" y="748166"/>
                  <a:pt x="10594356" y="758415"/>
                  <a:pt x="10605300" y="768664"/>
                </a:cubicBezTo>
                <a:cubicBezTo>
                  <a:pt x="10627190" y="768664"/>
                  <a:pt x="10645431" y="768664"/>
                  <a:pt x="10674616" y="768664"/>
                </a:cubicBezTo>
                <a:cubicBezTo>
                  <a:pt x="10678264" y="785746"/>
                  <a:pt x="10681913" y="802827"/>
                  <a:pt x="10685561" y="816492"/>
                </a:cubicBezTo>
                <a:cubicBezTo>
                  <a:pt x="10660023" y="826741"/>
                  <a:pt x="10641782" y="833574"/>
                  <a:pt x="10616245" y="840406"/>
                </a:cubicBezTo>
                <a:cubicBezTo>
                  <a:pt x="10641782" y="854071"/>
                  <a:pt x="10663672" y="860904"/>
                  <a:pt x="10681913" y="871153"/>
                </a:cubicBezTo>
                <a:cubicBezTo>
                  <a:pt x="10674616" y="881402"/>
                  <a:pt x="10663672" y="891650"/>
                  <a:pt x="10652727" y="901899"/>
                </a:cubicBezTo>
                <a:cubicBezTo>
                  <a:pt x="10652727" y="922397"/>
                  <a:pt x="10652727" y="942895"/>
                  <a:pt x="10652727" y="953144"/>
                </a:cubicBezTo>
                <a:cubicBezTo>
                  <a:pt x="10670968" y="983890"/>
                  <a:pt x="10681913" y="1007804"/>
                  <a:pt x="10696505" y="1035134"/>
                </a:cubicBezTo>
                <a:cubicBezTo>
                  <a:pt x="10707450" y="1024885"/>
                  <a:pt x="10718394" y="1018053"/>
                  <a:pt x="10732987" y="1004388"/>
                </a:cubicBezTo>
                <a:cubicBezTo>
                  <a:pt x="10736635" y="1018053"/>
                  <a:pt x="10743932" y="1031718"/>
                  <a:pt x="10751228" y="1048800"/>
                </a:cubicBezTo>
                <a:cubicBezTo>
                  <a:pt x="10729339" y="1059048"/>
                  <a:pt x="10707450" y="1069297"/>
                  <a:pt x="10685561" y="1076130"/>
                </a:cubicBezTo>
                <a:cubicBezTo>
                  <a:pt x="10667320" y="1086379"/>
                  <a:pt x="10645431" y="1096627"/>
                  <a:pt x="10623541" y="1106876"/>
                </a:cubicBezTo>
                <a:cubicBezTo>
                  <a:pt x="10623541" y="1117125"/>
                  <a:pt x="10623541" y="1127374"/>
                  <a:pt x="10619893" y="1144456"/>
                </a:cubicBezTo>
                <a:cubicBezTo>
                  <a:pt x="10587059" y="1175202"/>
                  <a:pt x="10550578" y="1209365"/>
                  <a:pt x="10514096" y="1243528"/>
                </a:cubicBezTo>
                <a:cubicBezTo>
                  <a:pt x="10455724" y="1240112"/>
                  <a:pt x="10444780" y="1294772"/>
                  <a:pt x="10404650" y="1315270"/>
                </a:cubicBezTo>
                <a:cubicBezTo>
                  <a:pt x="10357223" y="1342600"/>
                  <a:pt x="10306149" y="1373347"/>
                  <a:pt x="10251426" y="1390428"/>
                </a:cubicBezTo>
                <a:cubicBezTo>
                  <a:pt x="10222240" y="1397261"/>
                  <a:pt x="10207647" y="1434840"/>
                  <a:pt x="10171165" y="1421175"/>
                </a:cubicBezTo>
                <a:cubicBezTo>
                  <a:pt x="10149276" y="1441672"/>
                  <a:pt x="10127387" y="1462170"/>
                  <a:pt x="10105498" y="1479251"/>
                </a:cubicBezTo>
                <a:cubicBezTo>
                  <a:pt x="10090905" y="1479251"/>
                  <a:pt x="10072664" y="1479251"/>
                  <a:pt x="10058071" y="1479251"/>
                </a:cubicBezTo>
                <a:cubicBezTo>
                  <a:pt x="10028886" y="1486084"/>
                  <a:pt x="10014293" y="1513414"/>
                  <a:pt x="9981459" y="1516831"/>
                </a:cubicBezTo>
                <a:cubicBezTo>
                  <a:pt x="9959570" y="1520247"/>
                  <a:pt x="9944977" y="1547577"/>
                  <a:pt x="9926736" y="1568075"/>
                </a:cubicBezTo>
                <a:cubicBezTo>
                  <a:pt x="9861069" y="1571491"/>
                  <a:pt x="9861069" y="1571491"/>
                  <a:pt x="9788105" y="1619319"/>
                </a:cubicBezTo>
                <a:cubicBezTo>
                  <a:pt x="9791753" y="1622735"/>
                  <a:pt x="9795401" y="1629568"/>
                  <a:pt x="9799050" y="1629568"/>
                </a:cubicBezTo>
                <a:cubicBezTo>
                  <a:pt x="9850124" y="1629568"/>
                  <a:pt x="9904847" y="1629568"/>
                  <a:pt x="9941329" y="1629568"/>
                </a:cubicBezTo>
                <a:cubicBezTo>
                  <a:pt x="9977811" y="1612487"/>
                  <a:pt x="10006997" y="1602238"/>
                  <a:pt x="10028886" y="1585156"/>
                </a:cubicBezTo>
                <a:cubicBezTo>
                  <a:pt x="10050775" y="1564659"/>
                  <a:pt x="10083609" y="1568075"/>
                  <a:pt x="10105498" y="1544161"/>
                </a:cubicBezTo>
                <a:cubicBezTo>
                  <a:pt x="10123739" y="1527079"/>
                  <a:pt x="10156573" y="1516831"/>
                  <a:pt x="10182110" y="1509998"/>
                </a:cubicBezTo>
                <a:cubicBezTo>
                  <a:pt x="10211295" y="1506582"/>
                  <a:pt x="10244129" y="1513414"/>
                  <a:pt x="10262370" y="1479251"/>
                </a:cubicBezTo>
                <a:cubicBezTo>
                  <a:pt x="10284259" y="1479251"/>
                  <a:pt x="10302500" y="1479251"/>
                  <a:pt x="10324389" y="1479251"/>
                </a:cubicBezTo>
                <a:cubicBezTo>
                  <a:pt x="10342630" y="1506582"/>
                  <a:pt x="10375464" y="1506582"/>
                  <a:pt x="10401002" y="1520247"/>
                </a:cubicBezTo>
                <a:cubicBezTo>
                  <a:pt x="10401002" y="1554410"/>
                  <a:pt x="10401002" y="1588573"/>
                  <a:pt x="10401002" y="1619319"/>
                </a:cubicBezTo>
                <a:cubicBezTo>
                  <a:pt x="10379112" y="1626152"/>
                  <a:pt x="10360871" y="1632984"/>
                  <a:pt x="10342630" y="1639817"/>
                </a:cubicBezTo>
                <a:cubicBezTo>
                  <a:pt x="10349927" y="1646649"/>
                  <a:pt x="10357223" y="1656898"/>
                  <a:pt x="10364520" y="1656898"/>
                </a:cubicBezTo>
                <a:cubicBezTo>
                  <a:pt x="10382761" y="1656898"/>
                  <a:pt x="10411946" y="1663731"/>
                  <a:pt x="10422891" y="1653482"/>
                </a:cubicBezTo>
                <a:cubicBezTo>
                  <a:pt x="10448428" y="1626152"/>
                  <a:pt x="10477614" y="1632984"/>
                  <a:pt x="10506799" y="1626152"/>
                </a:cubicBezTo>
                <a:cubicBezTo>
                  <a:pt x="10528688" y="1622735"/>
                  <a:pt x="10546929" y="1605654"/>
                  <a:pt x="10565170" y="1591989"/>
                </a:cubicBezTo>
                <a:cubicBezTo>
                  <a:pt x="10583411" y="1605654"/>
                  <a:pt x="10594356" y="1615903"/>
                  <a:pt x="10605300" y="1626152"/>
                </a:cubicBezTo>
                <a:cubicBezTo>
                  <a:pt x="10634486" y="1626152"/>
                  <a:pt x="10667320" y="1626152"/>
                  <a:pt x="10696505" y="1626152"/>
                </a:cubicBezTo>
                <a:cubicBezTo>
                  <a:pt x="10718394" y="1646649"/>
                  <a:pt x="10740284" y="1667147"/>
                  <a:pt x="10762173" y="1687645"/>
                </a:cubicBezTo>
                <a:cubicBezTo>
                  <a:pt x="10816896" y="1687645"/>
                  <a:pt x="10867970" y="1687645"/>
                  <a:pt x="10919045" y="1687645"/>
                </a:cubicBezTo>
                <a:cubicBezTo>
                  <a:pt x="10933638" y="1704726"/>
                  <a:pt x="10948231" y="1718391"/>
                  <a:pt x="10962823" y="1732056"/>
                </a:cubicBezTo>
                <a:cubicBezTo>
                  <a:pt x="10940934" y="1752554"/>
                  <a:pt x="10922693" y="1773052"/>
                  <a:pt x="10900804" y="1793550"/>
                </a:cubicBezTo>
                <a:cubicBezTo>
                  <a:pt x="10937286" y="1817463"/>
                  <a:pt x="10973768" y="1800382"/>
                  <a:pt x="11006602" y="1807215"/>
                </a:cubicBezTo>
                <a:cubicBezTo>
                  <a:pt x="11024843" y="1800382"/>
                  <a:pt x="11032139" y="1773052"/>
                  <a:pt x="11057677" y="1776468"/>
                </a:cubicBezTo>
                <a:cubicBezTo>
                  <a:pt x="11061325" y="1783301"/>
                  <a:pt x="11064973" y="1793550"/>
                  <a:pt x="11068621" y="1807215"/>
                </a:cubicBezTo>
                <a:cubicBezTo>
                  <a:pt x="11123344" y="1807215"/>
                  <a:pt x="11178067" y="1807215"/>
                  <a:pt x="11229142" y="1807215"/>
                </a:cubicBezTo>
                <a:cubicBezTo>
                  <a:pt x="11251031" y="1834545"/>
                  <a:pt x="11240086" y="1858459"/>
                  <a:pt x="11243734" y="1896038"/>
                </a:cubicBezTo>
                <a:cubicBezTo>
                  <a:pt x="11225493" y="1909703"/>
                  <a:pt x="11207252" y="1930201"/>
                  <a:pt x="11181715" y="1954115"/>
                </a:cubicBezTo>
                <a:cubicBezTo>
                  <a:pt x="11185363" y="1960948"/>
                  <a:pt x="11192660" y="1981445"/>
                  <a:pt x="11196308" y="1981445"/>
                </a:cubicBezTo>
                <a:cubicBezTo>
                  <a:pt x="11225493" y="1978029"/>
                  <a:pt x="11243734" y="1995110"/>
                  <a:pt x="11258327" y="2012192"/>
                </a:cubicBezTo>
                <a:cubicBezTo>
                  <a:pt x="11272920" y="2001943"/>
                  <a:pt x="11283865" y="1991694"/>
                  <a:pt x="11298457" y="1978029"/>
                </a:cubicBezTo>
                <a:cubicBezTo>
                  <a:pt x="11342236" y="2001943"/>
                  <a:pt x="11382366" y="2022441"/>
                  <a:pt x="11426144" y="2046355"/>
                </a:cubicBezTo>
                <a:cubicBezTo>
                  <a:pt x="11407903" y="2083934"/>
                  <a:pt x="11389662" y="2118097"/>
                  <a:pt x="11371421" y="2152260"/>
                </a:cubicBezTo>
                <a:cubicBezTo>
                  <a:pt x="11393310" y="2159092"/>
                  <a:pt x="11411551" y="2165924"/>
                  <a:pt x="11433441" y="2172757"/>
                </a:cubicBezTo>
                <a:cubicBezTo>
                  <a:pt x="11386014" y="2217169"/>
                  <a:pt x="11345884" y="2254748"/>
                  <a:pt x="11305754" y="2295743"/>
                </a:cubicBezTo>
                <a:cubicBezTo>
                  <a:pt x="11345884" y="2336739"/>
                  <a:pt x="11360477" y="2292327"/>
                  <a:pt x="11382366" y="2282078"/>
                </a:cubicBezTo>
                <a:cubicBezTo>
                  <a:pt x="11458978" y="2282078"/>
                  <a:pt x="11528294" y="2282078"/>
                  <a:pt x="11601257" y="2282078"/>
                </a:cubicBezTo>
                <a:cubicBezTo>
                  <a:pt x="11619498" y="2299160"/>
                  <a:pt x="11637739" y="2316241"/>
                  <a:pt x="11663277" y="2340155"/>
                </a:cubicBezTo>
                <a:cubicBezTo>
                  <a:pt x="11710703" y="2340155"/>
                  <a:pt x="11769074" y="2340155"/>
                  <a:pt x="11816501" y="2340155"/>
                </a:cubicBezTo>
                <a:cubicBezTo>
                  <a:pt x="11871224" y="2387983"/>
                  <a:pt x="11772723" y="2405065"/>
                  <a:pt x="11809205" y="2449476"/>
                </a:cubicBezTo>
                <a:cubicBezTo>
                  <a:pt x="11816501" y="2452892"/>
                  <a:pt x="11831094" y="2456309"/>
                  <a:pt x="11845686" y="2459725"/>
                </a:cubicBezTo>
                <a:cubicBezTo>
                  <a:pt x="11856631" y="2449476"/>
                  <a:pt x="11867576" y="2439227"/>
                  <a:pt x="11878520" y="2428979"/>
                </a:cubicBezTo>
                <a:cubicBezTo>
                  <a:pt x="11885817" y="2435811"/>
                  <a:pt x="11893113" y="2442643"/>
                  <a:pt x="11907706" y="2452892"/>
                </a:cubicBezTo>
                <a:cubicBezTo>
                  <a:pt x="11955132" y="2452892"/>
                  <a:pt x="12013503" y="2452892"/>
                  <a:pt x="12060930" y="2452892"/>
                </a:cubicBezTo>
                <a:cubicBezTo>
                  <a:pt x="12093764" y="2476807"/>
                  <a:pt x="12075523" y="2504137"/>
                  <a:pt x="12082819" y="2528051"/>
                </a:cubicBezTo>
                <a:cubicBezTo>
                  <a:pt x="12060930" y="2548548"/>
                  <a:pt x="12039041" y="2569046"/>
                  <a:pt x="12020800" y="2592960"/>
                </a:cubicBezTo>
                <a:cubicBezTo>
                  <a:pt x="12035393" y="2606625"/>
                  <a:pt x="12049985" y="2620291"/>
                  <a:pt x="12064578" y="2633955"/>
                </a:cubicBezTo>
                <a:cubicBezTo>
                  <a:pt x="12075523" y="2623707"/>
                  <a:pt x="12086467" y="2616874"/>
                  <a:pt x="12097412" y="2606625"/>
                </a:cubicBezTo>
                <a:cubicBezTo>
                  <a:pt x="12126597" y="2596377"/>
                  <a:pt x="12141190" y="2630539"/>
                  <a:pt x="12163079" y="2633955"/>
                </a:cubicBezTo>
                <a:cubicBezTo>
                  <a:pt x="12192265" y="2637372"/>
                  <a:pt x="12203209" y="2644204"/>
                  <a:pt x="12206858" y="2674951"/>
                </a:cubicBezTo>
                <a:cubicBezTo>
                  <a:pt x="12210506" y="2692032"/>
                  <a:pt x="12228747" y="2709114"/>
                  <a:pt x="12246988" y="2715946"/>
                </a:cubicBezTo>
                <a:cubicBezTo>
                  <a:pt x="12276173" y="2733028"/>
                  <a:pt x="12309007" y="2743277"/>
                  <a:pt x="12338193" y="2756942"/>
                </a:cubicBezTo>
                <a:cubicBezTo>
                  <a:pt x="12352785" y="2746693"/>
                  <a:pt x="12363730" y="2736444"/>
                  <a:pt x="12378323" y="2726195"/>
                </a:cubicBezTo>
                <a:cubicBezTo>
                  <a:pt x="12403860" y="2726195"/>
                  <a:pt x="12436694" y="2726195"/>
                  <a:pt x="12465879" y="2726195"/>
                </a:cubicBezTo>
                <a:cubicBezTo>
                  <a:pt x="12476824" y="2715946"/>
                  <a:pt x="12487769" y="2705698"/>
                  <a:pt x="12502361" y="2695449"/>
                </a:cubicBezTo>
                <a:cubicBezTo>
                  <a:pt x="12535195" y="2698865"/>
                  <a:pt x="12571677" y="2685200"/>
                  <a:pt x="12604511" y="2705698"/>
                </a:cubicBezTo>
                <a:cubicBezTo>
                  <a:pt x="12593566" y="2729611"/>
                  <a:pt x="12578973" y="2750109"/>
                  <a:pt x="12568029" y="2777440"/>
                </a:cubicBezTo>
                <a:cubicBezTo>
                  <a:pt x="12557084" y="2780856"/>
                  <a:pt x="12542492" y="2784272"/>
                  <a:pt x="12524251" y="2787688"/>
                </a:cubicBezTo>
                <a:cubicBezTo>
                  <a:pt x="12520602" y="2797937"/>
                  <a:pt x="12516954" y="2811602"/>
                  <a:pt x="12513306" y="2828684"/>
                </a:cubicBezTo>
                <a:cubicBezTo>
                  <a:pt x="12476824" y="2856014"/>
                  <a:pt x="12443990" y="2852598"/>
                  <a:pt x="12403860" y="2808186"/>
                </a:cubicBezTo>
                <a:cubicBezTo>
                  <a:pt x="12385619" y="2832100"/>
                  <a:pt x="12371026" y="2856014"/>
                  <a:pt x="12360082" y="2873096"/>
                </a:cubicBezTo>
                <a:cubicBezTo>
                  <a:pt x="12334544" y="2873096"/>
                  <a:pt x="12327248" y="2873096"/>
                  <a:pt x="12316303" y="2873096"/>
                </a:cubicBezTo>
                <a:cubicBezTo>
                  <a:pt x="12305359" y="2883344"/>
                  <a:pt x="12294414" y="2893593"/>
                  <a:pt x="12283470" y="2900426"/>
                </a:cubicBezTo>
                <a:cubicBezTo>
                  <a:pt x="12250636" y="2900426"/>
                  <a:pt x="12221450" y="2900426"/>
                  <a:pt x="12192265" y="2900426"/>
                </a:cubicBezTo>
                <a:cubicBezTo>
                  <a:pt x="12177672" y="2890177"/>
                  <a:pt x="12166728" y="2883344"/>
                  <a:pt x="12159431" y="2876512"/>
                </a:cubicBezTo>
                <a:cubicBezTo>
                  <a:pt x="12133894" y="2900426"/>
                  <a:pt x="12104708" y="2924340"/>
                  <a:pt x="12079171" y="2948254"/>
                </a:cubicBezTo>
                <a:cubicBezTo>
                  <a:pt x="12082819" y="2961919"/>
                  <a:pt x="12086467" y="2975584"/>
                  <a:pt x="12090115" y="2992666"/>
                </a:cubicBezTo>
                <a:cubicBezTo>
                  <a:pt x="12115653" y="2968752"/>
                  <a:pt x="12137542" y="2951670"/>
                  <a:pt x="12159431" y="2931172"/>
                </a:cubicBezTo>
                <a:cubicBezTo>
                  <a:pt x="12181320" y="2931172"/>
                  <a:pt x="12199561" y="2931172"/>
                  <a:pt x="12221450" y="2931172"/>
                </a:cubicBezTo>
                <a:cubicBezTo>
                  <a:pt x="12232395" y="2941421"/>
                  <a:pt x="12243340" y="2951670"/>
                  <a:pt x="12254284" y="2958503"/>
                </a:cubicBezTo>
                <a:cubicBezTo>
                  <a:pt x="12261581" y="2951670"/>
                  <a:pt x="12268877" y="2944838"/>
                  <a:pt x="12279822" y="2934589"/>
                </a:cubicBezTo>
                <a:cubicBezTo>
                  <a:pt x="12312655" y="2931172"/>
                  <a:pt x="12345489" y="2931172"/>
                  <a:pt x="12378323" y="2931172"/>
                </a:cubicBezTo>
                <a:cubicBezTo>
                  <a:pt x="12389267" y="2920923"/>
                  <a:pt x="12396564" y="2914091"/>
                  <a:pt x="12407508" y="2900426"/>
                </a:cubicBezTo>
                <a:cubicBezTo>
                  <a:pt x="12447638" y="2900426"/>
                  <a:pt x="12491417" y="2900426"/>
                  <a:pt x="12531547" y="2900426"/>
                </a:cubicBezTo>
                <a:cubicBezTo>
                  <a:pt x="12546140" y="2890177"/>
                  <a:pt x="12553436" y="2883344"/>
                  <a:pt x="12560733" y="2873096"/>
                </a:cubicBezTo>
                <a:cubicBezTo>
                  <a:pt x="12589918" y="2873096"/>
                  <a:pt x="12619104" y="2873096"/>
                  <a:pt x="12651937" y="2873096"/>
                </a:cubicBezTo>
                <a:cubicBezTo>
                  <a:pt x="12662882" y="2862847"/>
                  <a:pt x="12673827" y="2852598"/>
                  <a:pt x="12688419" y="2842349"/>
                </a:cubicBezTo>
                <a:cubicBezTo>
                  <a:pt x="12706660" y="2842349"/>
                  <a:pt x="12724901" y="2842349"/>
                  <a:pt x="12746790" y="2842349"/>
                </a:cubicBezTo>
                <a:cubicBezTo>
                  <a:pt x="12757735" y="2852598"/>
                  <a:pt x="12768680" y="2862847"/>
                  <a:pt x="12783272" y="2873096"/>
                </a:cubicBezTo>
                <a:cubicBezTo>
                  <a:pt x="12790569" y="2856014"/>
                  <a:pt x="12797865" y="2838933"/>
                  <a:pt x="12801513" y="2821851"/>
                </a:cubicBezTo>
                <a:cubicBezTo>
                  <a:pt x="12834347" y="2801354"/>
                  <a:pt x="12870829" y="2821851"/>
                  <a:pt x="12903663" y="2811602"/>
                </a:cubicBezTo>
                <a:cubicBezTo>
                  <a:pt x="12921904" y="2828684"/>
                  <a:pt x="12936497" y="2842349"/>
                  <a:pt x="12951089" y="2856014"/>
                </a:cubicBezTo>
                <a:cubicBezTo>
                  <a:pt x="12918256" y="2893593"/>
                  <a:pt x="12870829" y="2859430"/>
                  <a:pt x="12837995" y="2876512"/>
                </a:cubicBezTo>
                <a:cubicBezTo>
                  <a:pt x="12830699" y="2883344"/>
                  <a:pt x="12823402" y="2890177"/>
                  <a:pt x="12812458" y="2900426"/>
                </a:cubicBezTo>
                <a:cubicBezTo>
                  <a:pt x="12783272" y="2900426"/>
                  <a:pt x="12754087" y="2900426"/>
                  <a:pt x="12728549" y="2900426"/>
                </a:cubicBezTo>
                <a:cubicBezTo>
                  <a:pt x="12692067" y="2914091"/>
                  <a:pt x="12681123" y="2955086"/>
                  <a:pt x="12640993" y="2961919"/>
                </a:cubicBezTo>
                <a:cubicBezTo>
                  <a:pt x="12622752" y="2931172"/>
                  <a:pt x="12622752" y="2931172"/>
                  <a:pt x="12582622" y="2944838"/>
                </a:cubicBezTo>
                <a:cubicBezTo>
                  <a:pt x="12593566" y="2975584"/>
                  <a:pt x="12619104" y="2955086"/>
                  <a:pt x="12640993" y="2961919"/>
                </a:cubicBezTo>
                <a:cubicBezTo>
                  <a:pt x="12644641" y="2968752"/>
                  <a:pt x="12648289" y="2985833"/>
                  <a:pt x="12651937" y="2985833"/>
                </a:cubicBezTo>
                <a:cubicBezTo>
                  <a:pt x="12695716" y="2985833"/>
                  <a:pt x="12743142" y="2985833"/>
                  <a:pt x="12783272" y="2985833"/>
                </a:cubicBezTo>
                <a:cubicBezTo>
                  <a:pt x="12794217" y="2979000"/>
                  <a:pt x="12801513" y="2972168"/>
                  <a:pt x="12808810" y="2961919"/>
                </a:cubicBezTo>
                <a:cubicBezTo>
                  <a:pt x="12837995" y="2961919"/>
                  <a:pt x="12870829" y="2961919"/>
                  <a:pt x="12900015" y="2961919"/>
                </a:cubicBezTo>
                <a:cubicBezTo>
                  <a:pt x="12910959" y="2951670"/>
                  <a:pt x="12921904" y="2941421"/>
                  <a:pt x="12936497" y="2931172"/>
                </a:cubicBezTo>
                <a:cubicBezTo>
                  <a:pt x="12976627" y="2931172"/>
                  <a:pt x="13016757" y="2931172"/>
                  <a:pt x="13056887" y="2931172"/>
                </a:cubicBezTo>
                <a:cubicBezTo>
                  <a:pt x="13071480" y="2920923"/>
                  <a:pt x="13082424" y="2910674"/>
                  <a:pt x="13093369" y="2903842"/>
                </a:cubicBezTo>
                <a:cubicBezTo>
                  <a:pt x="13122554" y="2903842"/>
                  <a:pt x="13155388" y="2903842"/>
                  <a:pt x="13184574" y="2903842"/>
                </a:cubicBezTo>
                <a:cubicBezTo>
                  <a:pt x="13199166" y="2917507"/>
                  <a:pt x="13213759" y="2931172"/>
                  <a:pt x="13228352" y="2944838"/>
                </a:cubicBezTo>
                <a:cubicBezTo>
                  <a:pt x="13228352" y="2955086"/>
                  <a:pt x="13228352" y="2965335"/>
                  <a:pt x="13232000" y="2975584"/>
                </a:cubicBezTo>
                <a:cubicBezTo>
                  <a:pt x="13202815" y="3009747"/>
                  <a:pt x="13162685" y="2985833"/>
                  <a:pt x="13133499" y="2989249"/>
                </a:cubicBezTo>
                <a:cubicBezTo>
                  <a:pt x="13100665" y="3006330"/>
                  <a:pt x="13075128" y="3019996"/>
                  <a:pt x="13045942" y="3037077"/>
                </a:cubicBezTo>
                <a:cubicBezTo>
                  <a:pt x="13067831" y="3060991"/>
                  <a:pt x="13093369" y="3043910"/>
                  <a:pt x="13126203" y="3057575"/>
                </a:cubicBezTo>
                <a:cubicBezTo>
                  <a:pt x="13140795" y="3067824"/>
                  <a:pt x="13162685" y="3088321"/>
                  <a:pt x="13191870" y="3112235"/>
                </a:cubicBezTo>
                <a:cubicBezTo>
                  <a:pt x="13206463" y="3105403"/>
                  <a:pt x="13224704" y="3098570"/>
                  <a:pt x="13261186" y="3081489"/>
                </a:cubicBezTo>
                <a:cubicBezTo>
                  <a:pt x="13283075" y="3081489"/>
                  <a:pt x="13326853" y="3081489"/>
                  <a:pt x="13345094" y="3081489"/>
                </a:cubicBezTo>
                <a:cubicBezTo>
                  <a:pt x="13388873" y="3064407"/>
                  <a:pt x="13407114" y="3054159"/>
                  <a:pt x="13425355" y="3050742"/>
                </a:cubicBezTo>
                <a:cubicBezTo>
                  <a:pt x="13443595" y="3047326"/>
                  <a:pt x="13465485" y="3054159"/>
                  <a:pt x="13480077" y="3033661"/>
                </a:cubicBezTo>
                <a:cubicBezTo>
                  <a:pt x="13494670" y="3016579"/>
                  <a:pt x="13512911" y="3016579"/>
                  <a:pt x="13534800" y="3026828"/>
                </a:cubicBezTo>
                <a:cubicBezTo>
                  <a:pt x="13545745" y="3043910"/>
                  <a:pt x="13542097" y="3060991"/>
                  <a:pt x="13527504" y="3078073"/>
                </a:cubicBezTo>
                <a:cubicBezTo>
                  <a:pt x="13505615" y="3112235"/>
                  <a:pt x="13450892" y="3105403"/>
                  <a:pt x="13429003" y="3139566"/>
                </a:cubicBezTo>
                <a:cubicBezTo>
                  <a:pt x="13399817" y="3139566"/>
                  <a:pt x="13366983" y="3139566"/>
                  <a:pt x="13337798" y="3139566"/>
                </a:cubicBezTo>
                <a:cubicBezTo>
                  <a:pt x="13319557" y="3170312"/>
                  <a:pt x="13286723" y="3170312"/>
                  <a:pt x="13239297" y="3166896"/>
                </a:cubicBezTo>
                <a:cubicBezTo>
                  <a:pt x="13224704" y="3190810"/>
                  <a:pt x="13202815" y="3221557"/>
                  <a:pt x="13180926" y="3255719"/>
                </a:cubicBezTo>
                <a:cubicBezTo>
                  <a:pt x="13213759" y="3255719"/>
                  <a:pt x="13242945" y="3255719"/>
                  <a:pt x="13275779" y="3255719"/>
                </a:cubicBezTo>
                <a:cubicBezTo>
                  <a:pt x="13290371" y="3245471"/>
                  <a:pt x="13304964" y="3235222"/>
                  <a:pt x="13323205" y="3221557"/>
                </a:cubicBezTo>
                <a:cubicBezTo>
                  <a:pt x="13341446" y="3235222"/>
                  <a:pt x="13356039" y="3245471"/>
                  <a:pt x="13370632" y="3255719"/>
                </a:cubicBezTo>
                <a:cubicBezTo>
                  <a:pt x="13392521" y="3255719"/>
                  <a:pt x="13414410" y="3255719"/>
                  <a:pt x="13429003" y="3255719"/>
                </a:cubicBezTo>
                <a:cubicBezTo>
                  <a:pt x="13447244" y="3242054"/>
                  <a:pt x="13465485" y="3231805"/>
                  <a:pt x="13491022" y="3214724"/>
                </a:cubicBezTo>
                <a:cubicBezTo>
                  <a:pt x="13509263" y="3242054"/>
                  <a:pt x="13527504" y="3269385"/>
                  <a:pt x="13534800" y="3279633"/>
                </a:cubicBezTo>
                <a:cubicBezTo>
                  <a:pt x="13589523" y="3289882"/>
                  <a:pt x="13626005" y="3293298"/>
                  <a:pt x="13647894" y="3255719"/>
                </a:cubicBezTo>
                <a:cubicBezTo>
                  <a:pt x="13680728" y="3255719"/>
                  <a:pt x="13709914" y="3255719"/>
                  <a:pt x="13739099" y="3259136"/>
                </a:cubicBezTo>
                <a:cubicBezTo>
                  <a:pt x="13746396" y="3259136"/>
                  <a:pt x="13750044" y="3262552"/>
                  <a:pt x="13753692" y="3265968"/>
                </a:cubicBezTo>
                <a:cubicBezTo>
                  <a:pt x="13746396" y="3289882"/>
                  <a:pt x="13724506" y="3300131"/>
                  <a:pt x="13706265" y="3317213"/>
                </a:cubicBezTo>
                <a:cubicBezTo>
                  <a:pt x="13688025" y="3317213"/>
                  <a:pt x="13666135" y="3317213"/>
                  <a:pt x="13647894" y="3317213"/>
                </a:cubicBezTo>
                <a:cubicBezTo>
                  <a:pt x="13633302" y="3334294"/>
                  <a:pt x="13618709" y="3347959"/>
                  <a:pt x="13604116" y="3361624"/>
                </a:cubicBezTo>
                <a:cubicBezTo>
                  <a:pt x="13633302" y="3392371"/>
                  <a:pt x="13666135" y="3419701"/>
                  <a:pt x="13698969" y="3450447"/>
                </a:cubicBezTo>
                <a:cubicBezTo>
                  <a:pt x="13666135" y="3464113"/>
                  <a:pt x="13633302" y="3470945"/>
                  <a:pt x="13615061" y="3494859"/>
                </a:cubicBezTo>
                <a:cubicBezTo>
                  <a:pt x="13585875" y="3494859"/>
                  <a:pt x="13553041" y="3494859"/>
                  <a:pt x="13520208" y="3494859"/>
                </a:cubicBezTo>
                <a:cubicBezTo>
                  <a:pt x="13516559" y="3508524"/>
                  <a:pt x="13512911" y="3522189"/>
                  <a:pt x="13505615" y="3539271"/>
                </a:cubicBezTo>
                <a:cubicBezTo>
                  <a:pt x="13465485" y="3559768"/>
                  <a:pt x="13418058" y="3583682"/>
                  <a:pt x="13359687" y="3611013"/>
                </a:cubicBezTo>
                <a:cubicBezTo>
                  <a:pt x="13330501" y="3611013"/>
                  <a:pt x="13290371" y="3611013"/>
                  <a:pt x="13250241" y="3611013"/>
                </a:cubicBezTo>
                <a:cubicBezTo>
                  <a:pt x="13239297" y="3621262"/>
                  <a:pt x="13228352" y="3631510"/>
                  <a:pt x="13213759" y="3641759"/>
                </a:cubicBezTo>
                <a:cubicBezTo>
                  <a:pt x="13195518" y="3641759"/>
                  <a:pt x="13173629" y="3641759"/>
                  <a:pt x="13155388" y="3641759"/>
                </a:cubicBezTo>
                <a:cubicBezTo>
                  <a:pt x="13144444" y="3652008"/>
                  <a:pt x="13129851" y="3662257"/>
                  <a:pt x="13118906" y="3672506"/>
                </a:cubicBezTo>
                <a:cubicBezTo>
                  <a:pt x="13067831" y="3672506"/>
                  <a:pt x="13016757" y="3672506"/>
                  <a:pt x="12965682" y="3672506"/>
                </a:cubicBezTo>
                <a:cubicBezTo>
                  <a:pt x="12947441" y="3703252"/>
                  <a:pt x="12914607" y="3699836"/>
                  <a:pt x="12885422" y="3703252"/>
                </a:cubicBezTo>
                <a:cubicBezTo>
                  <a:pt x="12856236" y="3703252"/>
                  <a:pt x="12841643" y="3737415"/>
                  <a:pt x="12805162" y="3730583"/>
                </a:cubicBezTo>
                <a:cubicBezTo>
                  <a:pt x="12775976" y="3727166"/>
                  <a:pt x="12746790" y="3733999"/>
                  <a:pt x="12721253" y="3754497"/>
                </a:cubicBezTo>
                <a:cubicBezTo>
                  <a:pt x="12699364" y="3768162"/>
                  <a:pt x="12662882" y="3761329"/>
                  <a:pt x="12626400" y="3761329"/>
                </a:cubicBezTo>
                <a:cubicBezTo>
                  <a:pt x="12619104" y="3768162"/>
                  <a:pt x="12608159" y="3778411"/>
                  <a:pt x="12593566" y="3788660"/>
                </a:cubicBezTo>
                <a:cubicBezTo>
                  <a:pt x="12546140" y="3788660"/>
                  <a:pt x="12495065" y="3788660"/>
                  <a:pt x="12440342" y="3788660"/>
                </a:cubicBezTo>
                <a:cubicBezTo>
                  <a:pt x="12429398" y="3798908"/>
                  <a:pt x="12418453" y="3809157"/>
                  <a:pt x="12407508" y="3819406"/>
                </a:cubicBezTo>
                <a:cubicBezTo>
                  <a:pt x="12385619" y="3819406"/>
                  <a:pt x="12367378" y="3819406"/>
                  <a:pt x="12345489" y="3819406"/>
                </a:cubicBezTo>
                <a:cubicBezTo>
                  <a:pt x="12334544" y="3829655"/>
                  <a:pt x="12323600" y="3839904"/>
                  <a:pt x="12312655" y="3850153"/>
                </a:cubicBezTo>
                <a:cubicBezTo>
                  <a:pt x="12290766" y="3850153"/>
                  <a:pt x="12272525" y="3850153"/>
                  <a:pt x="12254284" y="3850153"/>
                </a:cubicBezTo>
                <a:cubicBezTo>
                  <a:pt x="12239691" y="3860402"/>
                  <a:pt x="12228747" y="3870650"/>
                  <a:pt x="12217802" y="3880899"/>
                </a:cubicBezTo>
                <a:cubicBezTo>
                  <a:pt x="12174024" y="3880899"/>
                  <a:pt x="12133894" y="3880899"/>
                  <a:pt x="12093764" y="3880899"/>
                </a:cubicBezTo>
                <a:cubicBezTo>
                  <a:pt x="12086467" y="3887732"/>
                  <a:pt x="12079171" y="3894564"/>
                  <a:pt x="12064578" y="3908229"/>
                </a:cubicBezTo>
                <a:cubicBezTo>
                  <a:pt x="12049985" y="3908229"/>
                  <a:pt x="12031744" y="3908229"/>
                  <a:pt x="12013503" y="3908229"/>
                </a:cubicBezTo>
                <a:cubicBezTo>
                  <a:pt x="11987966" y="3911646"/>
                  <a:pt x="11962429" y="3911646"/>
                  <a:pt x="11936891" y="3915062"/>
                </a:cubicBezTo>
                <a:cubicBezTo>
                  <a:pt x="11915002" y="3959474"/>
                  <a:pt x="11856631" y="3918478"/>
                  <a:pt x="11831094" y="3956057"/>
                </a:cubicBezTo>
                <a:cubicBezTo>
                  <a:pt x="11812853" y="3979971"/>
                  <a:pt x="11780019" y="3959474"/>
                  <a:pt x="11747185" y="3976555"/>
                </a:cubicBezTo>
                <a:cubicBezTo>
                  <a:pt x="11747185" y="3976555"/>
                  <a:pt x="11736241" y="3986804"/>
                  <a:pt x="11725296" y="3997053"/>
                </a:cubicBezTo>
                <a:cubicBezTo>
                  <a:pt x="11692462" y="3997053"/>
                  <a:pt x="11663277" y="3997053"/>
                  <a:pt x="11630443" y="3997053"/>
                </a:cubicBezTo>
                <a:cubicBezTo>
                  <a:pt x="11619498" y="4007302"/>
                  <a:pt x="11608554" y="4017551"/>
                  <a:pt x="11597609" y="4027799"/>
                </a:cubicBezTo>
                <a:cubicBezTo>
                  <a:pt x="11575720" y="4027799"/>
                  <a:pt x="11557479" y="4027799"/>
                  <a:pt x="11539238" y="4027799"/>
                </a:cubicBezTo>
                <a:cubicBezTo>
                  <a:pt x="11524645" y="4038048"/>
                  <a:pt x="11513701" y="4048297"/>
                  <a:pt x="11499108" y="4061962"/>
                </a:cubicBezTo>
                <a:cubicBezTo>
                  <a:pt x="11433441" y="4031216"/>
                  <a:pt x="11382366" y="4096125"/>
                  <a:pt x="11316698" y="4092709"/>
                </a:cubicBezTo>
                <a:cubicBezTo>
                  <a:pt x="11302106" y="4092709"/>
                  <a:pt x="11291161" y="4113207"/>
                  <a:pt x="11280216" y="4116623"/>
                </a:cubicBezTo>
                <a:cubicBezTo>
                  <a:pt x="11254679" y="4120039"/>
                  <a:pt x="11225493" y="4116623"/>
                  <a:pt x="11199956" y="4116623"/>
                </a:cubicBezTo>
                <a:cubicBezTo>
                  <a:pt x="11189012" y="4123455"/>
                  <a:pt x="11178067" y="4133704"/>
                  <a:pt x="11163474" y="4143953"/>
                </a:cubicBezTo>
                <a:cubicBezTo>
                  <a:pt x="11137937" y="4143953"/>
                  <a:pt x="11105103" y="4143953"/>
                  <a:pt x="11075917" y="4143953"/>
                </a:cubicBezTo>
                <a:cubicBezTo>
                  <a:pt x="11061325" y="4154202"/>
                  <a:pt x="11050380" y="4164451"/>
                  <a:pt x="11039436" y="4174700"/>
                </a:cubicBezTo>
                <a:cubicBezTo>
                  <a:pt x="11021195" y="4174700"/>
                  <a:pt x="10999305" y="4174700"/>
                  <a:pt x="10981064" y="4174700"/>
                </a:cubicBezTo>
                <a:cubicBezTo>
                  <a:pt x="10966472" y="4184949"/>
                  <a:pt x="10955527" y="4195198"/>
                  <a:pt x="10944582" y="4205446"/>
                </a:cubicBezTo>
                <a:cubicBezTo>
                  <a:pt x="10915397" y="4205446"/>
                  <a:pt x="10882563" y="4205446"/>
                  <a:pt x="10853378" y="4205446"/>
                </a:cubicBezTo>
                <a:cubicBezTo>
                  <a:pt x="10846081" y="4212279"/>
                  <a:pt x="10838785" y="4225944"/>
                  <a:pt x="10831488" y="4225944"/>
                </a:cubicBezTo>
                <a:cubicBezTo>
                  <a:pt x="10769469" y="4225944"/>
                  <a:pt x="10722043" y="4277188"/>
                  <a:pt x="10660023" y="4263523"/>
                </a:cubicBezTo>
                <a:cubicBezTo>
                  <a:pt x="10652727" y="4263523"/>
                  <a:pt x="10634486" y="4263523"/>
                  <a:pt x="10630838" y="4270356"/>
                </a:cubicBezTo>
                <a:cubicBezTo>
                  <a:pt x="10608949" y="4314767"/>
                  <a:pt x="10550578" y="4273772"/>
                  <a:pt x="10525040" y="4311351"/>
                </a:cubicBezTo>
                <a:cubicBezTo>
                  <a:pt x="10521392" y="4314767"/>
                  <a:pt x="10517744" y="4318184"/>
                  <a:pt x="10514096" y="4321600"/>
                </a:cubicBezTo>
                <a:cubicBezTo>
                  <a:pt x="10484910" y="4321600"/>
                  <a:pt x="10452076" y="4321600"/>
                  <a:pt x="10422891" y="4321600"/>
                </a:cubicBezTo>
                <a:cubicBezTo>
                  <a:pt x="10411946" y="4331849"/>
                  <a:pt x="10401002" y="4342098"/>
                  <a:pt x="10386409" y="4352347"/>
                </a:cubicBezTo>
                <a:cubicBezTo>
                  <a:pt x="10357223" y="4352347"/>
                  <a:pt x="10324389" y="4352347"/>
                  <a:pt x="10295204" y="4352347"/>
                </a:cubicBezTo>
                <a:cubicBezTo>
                  <a:pt x="10287908" y="4359179"/>
                  <a:pt x="10280611" y="4366012"/>
                  <a:pt x="10266018" y="4379677"/>
                </a:cubicBezTo>
                <a:cubicBezTo>
                  <a:pt x="10247777" y="4379677"/>
                  <a:pt x="10225888" y="4383093"/>
                  <a:pt x="10200351" y="4383093"/>
                </a:cubicBezTo>
                <a:cubicBezTo>
                  <a:pt x="10189406" y="4393342"/>
                  <a:pt x="10178462" y="4403591"/>
                  <a:pt x="10167517" y="4413840"/>
                </a:cubicBezTo>
                <a:cubicBezTo>
                  <a:pt x="10145628" y="4413840"/>
                  <a:pt x="10123739" y="4413840"/>
                  <a:pt x="10101850" y="4410423"/>
                </a:cubicBezTo>
                <a:cubicBezTo>
                  <a:pt x="10072664" y="4407007"/>
                  <a:pt x="10061720" y="4437754"/>
                  <a:pt x="10039830" y="4441170"/>
                </a:cubicBezTo>
                <a:cubicBezTo>
                  <a:pt x="10017941" y="4444586"/>
                  <a:pt x="9992404" y="4437754"/>
                  <a:pt x="9981459" y="4448003"/>
                </a:cubicBezTo>
                <a:cubicBezTo>
                  <a:pt x="9959570" y="4468500"/>
                  <a:pt x="9937681" y="4471917"/>
                  <a:pt x="9912144" y="4471917"/>
                </a:cubicBezTo>
                <a:cubicBezTo>
                  <a:pt x="9893903" y="4475333"/>
                  <a:pt x="9875662" y="4488998"/>
                  <a:pt x="9850124" y="4499247"/>
                </a:cubicBezTo>
                <a:cubicBezTo>
                  <a:pt x="9831883" y="4499247"/>
                  <a:pt x="9799050" y="4499247"/>
                  <a:pt x="9769864" y="4499247"/>
                </a:cubicBezTo>
                <a:cubicBezTo>
                  <a:pt x="9758919" y="4509496"/>
                  <a:pt x="9747975" y="4519745"/>
                  <a:pt x="9737030" y="4529993"/>
                </a:cubicBezTo>
                <a:cubicBezTo>
                  <a:pt x="9704196" y="4529993"/>
                  <a:pt x="9675011" y="4529993"/>
                  <a:pt x="9642177" y="4529993"/>
                </a:cubicBezTo>
                <a:cubicBezTo>
                  <a:pt x="9631233" y="4540242"/>
                  <a:pt x="9620288" y="4550491"/>
                  <a:pt x="9609343" y="4560740"/>
                </a:cubicBezTo>
                <a:cubicBezTo>
                  <a:pt x="9583806" y="4560740"/>
                  <a:pt x="9558269" y="4560740"/>
                  <a:pt x="9525435" y="4560740"/>
                </a:cubicBezTo>
                <a:cubicBezTo>
                  <a:pt x="9518139" y="4567573"/>
                  <a:pt x="9503546" y="4574405"/>
                  <a:pt x="9485305" y="4588070"/>
                </a:cubicBezTo>
                <a:cubicBezTo>
                  <a:pt x="9459767" y="4588070"/>
                  <a:pt x="9426934" y="4591486"/>
                  <a:pt x="9394100" y="4591486"/>
                </a:cubicBezTo>
                <a:cubicBezTo>
                  <a:pt x="9383155" y="4601735"/>
                  <a:pt x="9375859" y="4608568"/>
                  <a:pt x="9361266" y="4618817"/>
                </a:cubicBezTo>
                <a:cubicBezTo>
                  <a:pt x="9313840" y="4618817"/>
                  <a:pt x="9259117" y="4618817"/>
                  <a:pt x="9208042" y="4618817"/>
                </a:cubicBezTo>
                <a:cubicBezTo>
                  <a:pt x="9193449" y="4632482"/>
                  <a:pt x="9186153" y="4639314"/>
                  <a:pt x="9178857" y="4649563"/>
                </a:cubicBezTo>
                <a:cubicBezTo>
                  <a:pt x="9076707" y="4649563"/>
                  <a:pt x="8974558" y="4649563"/>
                  <a:pt x="8868760" y="4649563"/>
                </a:cubicBezTo>
                <a:cubicBezTo>
                  <a:pt x="8846871" y="4629066"/>
                  <a:pt x="8824982" y="4611984"/>
                  <a:pt x="8803093" y="4591486"/>
                </a:cubicBezTo>
                <a:cubicBezTo>
                  <a:pt x="8795796" y="4598319"/>
                  <a:pt x="8788500" y="4605152"/>
                  <a:pt x="8781203" y="4611984"/>
                </a:cubicBezTo>
                <a:cubicBezTo>
                  <a:pt x="8773907" y="4615400"/>
                  <a:pt x="8762962" y="4618817"/>
                  <a:pt x="8755666" y="4618817"/>
                </a:cubicBezTo>
                <a:cubicBezTo>
                  <a:pt x="8668109" y="4618817"/>
                  <a:pt x="8580553" y="4618817"/>
                  <a:pt x="8492996" y="4618817"/>
                </a:cubicBezTo>
                <a:cubicBezTo>
                  <a:pt x="8471107" y="4584654"/>
                  <a:pt x="8441921" y="4591486"/>
                  <a:pt x="8398143" y="4591486"/>
                </a:cubicBezTo>
                <a:cubicBezTo>
                  <a:pt x="8376254" y="4567573"/>
                  <a:pt x="8350717" y="4540242"/>
                  <a:pt x="8321531" y="4509496"/>
                </a:cubicBezTo>
                <a:cubicBezTo>
                  <a:pt x="8321531" y="4482165"/>
                  <a:pt x="8321531" y="4451419"/>
                  <a:pt x="8321531" y="4420672"/>
                </a:cubicBezTo>
                <a:cubicBezTo>
                  <a:pt x="8306938" y="4417256"/>
                  <a:pt x="8292345" y="4413840"/>
                  <a:pt x="8274105" y="4410423"/>
                </a:cubicBezTo>
                <a:cubicBezTo>
                  <a:pt x="8241271" y="4376261"/>
                  <a:pt x="8204789" y="4342098"/>
                  <a:pt x="8168307" y="4307935"/>
                </a:cubicBezTo>
                <a:cubicBezTo>
                  <a:pt x="8168307" y="4277188"/>
                  <a:pt x="8168307" y="4249858"/>
                  <a:pt x="8168307" y="4215695"/>
                </a:cubicBezTo>
                <a:cubicBezTo>
                  <a:pt x="8241271" y="4178116"/>
                  <a:pt x="8241271" y="4092709"/>
                  <a:pt x="8295993" y="4038048"/>
                </a:cubicBezTo>
                <a:cubicBezTo>
                  <a:pt x="8270456" y="4031216"/>
                  <a:pt x="8255863" y="4027799"/>
                  <a:pt x="8237623" y="4024383"/>
                </a:cubicBezTo>
                <a:cubicBezTo>
                  <a:pt x="8233974" y="4010718"/>
                  <a:pt x="8230326" y="3997053"/>
                  <a:pt x="8226678" y="3979971"/>
                </a:cubicBezTo>
                <a:cubicBezTo>
                  <a:pt x="8219381" y="3976555"/>
                  <a:pt x="8201141" y="3966306"/>
                  <a:pt x="8193844" y="3969723"/>
                </a:cubicBezTo>
                <a:cubicBezTo>
                  <a:pt x="8164659" y="3979971"/>
                  <a:pt x="8146417" y="4000469"/>
                  <a:pt x="8109935" y="4000469"/>
                </a:cubicBezTo>
                <a:cubicBezTo>
                  <a:pt x="8091695" y="4000469"/>
                  <a:pt x="8069805" y="4020967"/>
                  <a:pt x="8047917" y="4027799"/>
                </a:cubicBezTo>
                <a:cubicBezTo>
                  <a:pt x="8033323" y="4031216"/>
                  <a:pt x="8015083" y="4027799"/>
                  <a:pt x="8000490" y="4027799"/>
                </a:cubicBezTo>
                <a:cubicBezTo>
                  <a:pt x="7989545" y="4038048"/>
                  <a:pt x="7978601" y="4048297"/>
                  <a:pt x="7964008" y="4058546"/>
                </a:cubicBezTo>
                <a:cubicBezTo>
                  <a:pt x="7945767" y="4058546"/>
                  <a:pt x="7923877" y="4058546"/>
                  <a:pt x="7905637" y="4058546"/>
                </a:cubicBezTo>
                <a:cubicBezTo>
                  <a:pt x="7887396" y="4092709"/>
                  <a:pt x="7839969" y="4079044"/>
                  <a:pt x="7818080" y="4109790"/>
                </a:cubicBezTo>
                <a:cubicBezTo>
                  <a:pt x="7810783" y="4116623"/>
                  <a:pt x="7788895" y="4116623"/>
                  <a:pt x="7774302" y="4116623"/>
                </a:cubicBezTo>
                <a:cubicBezTo>
                  <a:pt x="7734171" y="4116623"/>
                  <a:pt x="7708635" y="4164451"/>
                  <a:pt x="7664856" y="4147369"/>
                </a:cubicBezTo>
                <a:cubicBezTo>
                  <a:pt x="7635671" y="4181532"/>
                  <a:pt x="7591892" y="4171283"/>
                  <a:pt x="7555410" y="4181532"/>
                </a:cubicBezTo>
                <a:cubicBezTo>
                  <a:pt x="7548113" y="4184949"/>
                  <a:pt x="7540817" y="4195198"/>
                  <a:pt x="7533521" y="4205446"/>
                </a:cubicBezTo>
                <a:cubicBezTo>
                  <a:pt x="7511632" y="4205446"/>
                  <a:pt x="7493391" y="4205446"/>
                  <a:pt x="7471501" y="4205446"/>
                </a:cubicBezTo>
                <a:cubicBezTo>
                  <a:pt x="7460557" y="4215695"/>
                  <a:pt x="7449613" y="4225944"/>
                  <a:pt x="7438668" y="4236193"/>
                </a:cubicBezTo>
                <a:cubicBezTo>
                  <a:pt x="7416779" y="4236193"/>
                  <a:pt x="7394889" y="4236193"/>
                  <a:pt x="7376649" y="4236193"/>
                </a:cubicBezTo>
                <a:cubicBezTo>
                  <a:pt x="7369352" y="4243025"/>
                  <a:pt x="7362056" y="4249858"/>
                  <a:pt x="7347463" y="4260107"/>
                </a:cubicBezTo>
                <a:cubicBezTo>
                  <a:pt x="7329222" y="4263523"/>
                  <a:pt x="7303685" y="4263523"/>
                  <a:pt x="7281795" y="4266939"/>
                </a:cubicBezTo>
                <a:cubicBezTo>
                  <a:pt x="7270851" y="4277188"/>
                  <a:pt x="7259907" y="4284021"/>
                  <a:pt x="7252610" y="4290853"/>
                </a:cubicBezTo>
                <a:cubicBezTo>
                  <a:pt x="7216128" y="4294270"/>
                  <a:pt x="7186943" y="4294270"/>
                  <a:pt x="7154109" y="4297686"/>
                </a:cubicBezTo>
                <a:cubicBezTo>
                  <a:pt x="7132219" y="4345514"/>
                  <a:pt x="7059255" y="4301102"/>
                  <a:pt x="7037367" y="4352347"/>
                </a:cubicBezTo>
                <a:cubicBezTo>
                  <a:pt x="6964403" y="4352347"/>
                  <a:pt x="6895087" y="4352347"/>
                  <a:pt x="6822123" y="4352347"/>
                </a:cubicBezTo>
                <a:cubicBezTo>
                  <a:pt x="6789289" y="4331849"/>
                  <a:pt x="6756455" y="4314767"/>
                  <a:pt x="6719973" y="4297686"/>
                </a:cubicBezTo>
                <a:cubicBezTo>
                  <a:pt x="6716325" y="4301102"/>
                  <a:pt x="6709029" y="4307935"/>
                  <a:pt x="6701733" y="4314767"/>
                </a:cubicBezTo>
                <a:cubicBezTo>
                  <a:pt x="6698085" y="4318184"/>
                  <a:pt x="6694437" y="4321600"/>
                  <a:pt x="6690788" y="4321600"/>
                </a:cubicBezTo>
                <a:cubicBezTo>
                  <a:pt x="6595935" y="4325016"/>
                  <a:pt x="6504730" y="4325016"/>
                  <a:pt x="6413525" y="4325016"/>
                </a:cubicBezTo>
                <a:cubicBezTo>
                  <a:pt x="6391636" y="4287437"/>
                  <a:pt x="6358803" y="4294270"/>
                  <a:pt x="6315024" y="4294270"/>
                </a:cubicBezTo>
                <a:cubicBezTo>
                  <a:pt x="6296783" y="4270356"/>
                  <a:pt x="6274894" y="4236193"/>
                  <a:pt x="6242060" y="4184949"/>
                </a:cubicBezTo>
                <a:cubicBezTo>
                  <a:pt x="6242060" y="4184949"/>
                  <a:pt x="6242060" y="4157618"/>
                  <a:pt x="6242060" y="4123455"/>
                </a:cubicBezTo>
                <a:cubicBezTo>
                  <a:pt x="6227467" y="4120039"/>
                  <a:pt x="6212875" y="4116623"/>
                  <a:pt x="6187337" y="4113207"/>
                </a:cubicBezTo>
                <a:cubicBezTo>
                  <a:pt x="6172745" y="4096125"/>
                  <a:pt x="6150855" y="4079044"/>
                  <a:pt x="6132615" y="4055130"/>
                </a:cubicBezTo>
                <a:cubicBezTo>
                  <a:pt x="6114373" y="4031216"/>
                  <a:pt x="6103429" y="4003885"/>
                  <a:pt x="6088836" y="3973139"/>
                </a:cubicBezTo>
                <a:cubicBezTo>
                  <a:pt x="6088836" y="3962890"/>
                  <a:pt x="6088836" y="3942392"/>
                  <a:pt x="6088836" y="3915062"/>
                </a:cubicBezTo>
                <a:cubicBezTo>
                  <a:pt x="6107077" y="3901397"/>
                  <a:pt x="6128966" y="3880899"/>
                  <a:pt x="6150855" y="3867234"/>
                </a:cubicBezTo>
                <a:cubicBezTo>
                  <a:pt x="6147207" y="3850153"/>
                  <a:pt x="6147207" y="3839904"/>
                  <a:pt x="6147207" y="3829655"/>
                </a:cubicBezTo>
                <a:cubicBezTo>
                  <a:pt x="6136263" y="3826239"/>
                  <a:pt x="6128966" y="3819406"/>
                  <a:pt x="6118021" y="3819406"/>
                </a:cubicBezTo>
                <a:cubicBezTo>
                  <a:pt x="6092485" y="3819406"/>
                  <a:pt x="6074243" y="3822822"/>
                  <a:pt x="6048706" y="3839904"/>
                </a:cubicBezTo>
                <a:cubicBezTo>
                  <a:pt x="6008576" y="3863818"/>
                  <a:pt x="5961149" y="3874067"/>
                  <a:pt x="5921019" y="3904813"/>
                </a:cubicBezTo>
                <a:cubicBezTo>
                  <a:pt x="5869945" y="3897981"/>
                  <a:pt x="5833463" y="3935560"/>
                  <a:pt x="5782389" y="3942392"/>
                </a:cubicBezTo>
                <a:cubicBezTo>
                  <a:pt x="5742258" y="3945809"/>
                  <a:pt x="5705776" y="3973139"/>
                  <a:pt x="5654701" y="3997053"/>
                </a:cubicBezTo>
                <a:cubicBezTo>
                  <a:pt x="5647405" y="3997053"/>
                  <a:pt x="5625516" y="3997053"/>
                  <a:pt x="5607275" y="3997053"/>
                </a:cubicBezTo>
                <a:cubicBezTo>
                  <a:pt x="5596330" y="4007302"/>
                  <a:pt x="5585386" y="4017551"/>
                  <a:pt x="5570793" y="4027799"/>
                </a:cubicBezTo>
                <a:cubicBezTo>
                  <a:pt x="5552552" y="4027799"/>
                  <a:pt x="5530663" y="4027799"/>
                  <a:pt x="5512422" y="4027799"/>
                </a:cubicBezTo>
                <a:cubicBezTo>
                  <a:pt x="5505125" y="4034632"/>
                  <a:pt x="5497829" y="4041465"/>
                  <a:pt x="5486884" y="4051713"/>
                </a:cubicBezTo>
                <a:cubicBezTo>
                  <a:pt x="5457699" y="4051713"/>
                  <a:pt x="5428514" y="4051713"/>
                  <a:pt x="5406624" y="4051713"/>
                </a:cubicBezTo>
                <a:cubicBezTo>
                  <a:pt x="5359198" y="4079044"/>
                  <a:pt x="5315420" y="4109790"/>
                  <a:pt x="5267993" y="4113207"/>
                </a:cubicBezTo>
                <a:cubicBezTo>
                  <a:pt x="5224215" y="4116623"/>
                  <a:pt x="5195029" y="4174700"/>
                  <a:pt x="5147602" y="4140537"/>
                </a:cubicBezTo>
                <a:cubicBezTo>
                  <a:pt x="5129361" y="4154202"/>
                  <a:pt x="5118417" y="4164451"/>
                  <a:pt x="5107473" y="4174700"/>
                </a:cubicBezTo>
                <a:cubicBezTo>
                  <a:pt x="5092879" y="4174700"/>
                  <a:pt x="5078287" y="4174700"/>
                  <a:pt x="5056398" y="4174700"/>
                </a:cubicBezTo>
                <a:cubicBezTo>
                  <a:pt x="5023564" y="4191781"/>
                  <a:pt x="4987082" y="4212279"/>
                  <a:pt x="4943303" y="4236193"/>
                </a:cubicBezTo>
                <a:cubicBezTo>
                  <a:pt x="4921414" y="4236193"/>
                  <a:pt x="4895877" y="4236193"/>
                  <a:pt x="4870339" y="4236193"/>
                </a:cubicBezTo>
                <a:cubicBezTo>
                  <a:pt x="4837506" y="4253274"/>
                  <a:pt x="4804672" y="4277188"/>
                  <a:pt x="4771838" y="4290853"/>
                </a:cubicBezTo>
                <a:cubicBezTo>
                  <a:pt x="4739004" y="4301102"/>
                  <a:pt x="4698875" y="4284021"/>
                  <a:pt x="4676985" y="4321600"/>
                </a:cubicBezTo>
                <a:cubicBezTo>
                  <a:pt x="4655097" y="4321600"/>
                  <a:pt x="4633207" y="4321600"/>
                  <a:pt x="4614966" y="4321600"/>
                </a:cubicBezTo>
                <a:cubicBezTo>
                  <a:pt x="4604022" y="4331849"/>
                  <a:pt x="4593077" y="4342098"/>
                  <a:pt x="4578484" y="4352347"/>
                </a:cubicBezTo>
                <a:cubicBezTo>
                  <a:pt x="4560243" y="4352347"/>
                  <a:pt x="4538354" y="4352347"/>
                  <a:pt x="4520113" y="4352347"/>
                </a:cubicBezTo>
                <a:cubicBezTo>
                  <a:pt x="4512816" y="4359179"/>
                  <a:pt x="4505521" y="4366012"/>
                  <a:pt x="4490928" y="4379677"/>
                </a:cubicBezTo>
                <a:cubicBezTo>
                  <a:pt x="4450798" y="4379677"/>
                  <a:pt x="4407019" y="4379677"/>
                  <a:pt x="4366889" y="4379677"/>
                </a:cubicBezTo>
                <a:cubicBezTo>
                  <a:pt x="4355944" y="4393342"/>
                  <a:pt x="4348648" y="4400175"/>
                  <a:pt x="4334055" y="4410423"/>
                </a:cubicBezTo>
                <a:cubicBezTo>
                  <a:pt x="4304869" y="4410423"/>
                  <a:pt x="4268387" y="4413840"/>
                  <a:pt x="4235554" y="4413840"/>
                </a:cubicBezTo>
                <a:cubicBezTo>
                  <a:pt x="4228258" y="4424089"/>
                  <a:pt x="4220961" y="4430921"/>
                  <a:pt x="4210016" y="4437754"/>
                </a:cubicBezTo>
                <a:cubicBezTo>
                  <a:pt x="4158941" y="4437754"/>
                  <a:pt x="4104219" y="4437754"/>
                  <a:pt x="4049496" y="4437754"/>
                </a:cubicBezTo>
                <a:cubicBezTo>
                  <a:pt x="4038552" y="4430921"/>
                  <a:pt x="4031255" y="4420672"/>
                  <a:pt x="4023959" y="4413840"/>
                </a:cubicBezTo>
                <a:cubicBezTo>
                  <a:pt x="3983829" y="4413840"/>
                  <a:pt x="3943698" y="4413840"/>
                  <a:pt x="3899920" y="4413840"/>
                </a:cubicBezTo>
                <a:cubicBezTo>
                  <a:pt x="3888975" y="4420672"/>
                  <a:pt x="3878031" y="4430921"/>
                  <a:pt x="3867087" y="4441170"/>
                </a:cubicBezTo>
                <a:cubicBezTo>
                  <a:pt x="3856141" y="4430921"/>
                  <a:pt x="3845197" y="4420672"/>
                  <a:pt x="3834253" y="4413840"/>
                </a:cubicBezTo>
                <a:cubicBezTo>
                  <a:pt x="3826957" y="4420672"/>
                  <a:pt x="3819660" y="4427505"/>
                  <a:pt x="3812364" y="4434337"/>
                </a:cubicBezTo>
                <a:cubicBezTo>
                  <a:pt x="3805067" y="4437754"/>
                  <a:pt x="3794122" y="4441170"/>
                  <a:pt x="3786826" y="4441170"/>
                </a:cubicBezTo>
                <a:cubicBezTo>
                  <a:pt x="3717511" y="4441170"/>
                  <a:pt x="3651842" y="4441170"/>
                  <a:pt x="3586175" y="4441170"/>
                </a:cubicBezTo>
                <a:cubicBezTo>
                  <a:pt x="3549693" y="4413840"/>
                  <a:pt x="3549693" y="4413840"/>
                  <a:pt x="3502267" y="4413840"/>
                </a:cubicBezTo>
                <a:cubicBezTo>
                  <a:pt x="3447544" y="4400175"/>
                  <a:pt x="3443895" y="4348930"/>
                  <a:pt x="3425655" y="4314767"/>
                </a:cubicBezTo>
                <a:cubicBezTo>
                  <a:pt x="3407414" y="4273772"/>
                  <a:pt x="3378228" y="4243025"/>
                  <a:pt x="3345394" y="4212279"/>
                </a:cubicBezTo>
                <a:cubicBezTo>
                  <a:pt x="3276078" y="4202030"/>
                  <a:pt x="3250542" y="4133704"/>
                  <a:pt x="3199467" y="4102958"/>
                </a:cubicBezTo>
                <a:cubicBezTo>
                  <a:pt x="3199467" y="4068795"/>
                  <a:pt x="3188522" y="4034632"/>
                  <a:pt x="3228652" y="4017551"/>
                </a:cubicBezTo>
                <a:cubicBezTo>
                  <a:pt x="3228652" y="3973139"/>
                  <a:pt x="3228652" y="3932143"/>
                  <a:pt x="3228652" y="3894564"/>
                </a:cubicBezTo>
                <a:cubicBezTo>
                  <a:pt x="3217708" y="3877483"/>
                  <a:pt x="3214060" y="3884315"/>
                  <a:pt x="3203115" y="3891148"/>
                </a:cubicBezTo>
                <a:cubicBezTo>
                  <a:pt x="3133799" y="3915062"/>
                  <a:pt x="3086372" y="3973139"/>
                  <a:pt x="3017057" y="4000469"/>
                </a:cubicBezTo>
                <a:cubicBezTo>
                  <a:pt x="2955038" y="4024383"/>
                  <a:pt x="2893019" y="4048297"/>
                  <a:pt x="2838296" y="4085876"/>
                </a:cubicBezTo>
                <a:cubicBezTo>
                  <a:pt x="2783573" y="4079044"/>
                  <a:pt x="2776276" y="4154202"/>
                  <a:pt x="2721553" y="4147369"/>
                </a:cubicBezTo>
                <a:cubicBezTo>
                  <a:pt x="2652238" y="4195198"/>
                  <a:pt x="2564681" y="4212279"/>
                  <a:pt x="2495366" y="4263523"/>
                </a:cubicBezTo>
                <a:cubicBezTo>
                  <a:pt x="2440643" y="4256691"/>
                  <a:pt x="2433346" y="4331849"/>
                  <a:pt x="2382272" y="4325016"/>
                </a:cubicBezTo>
                <a:cubicBezTo>
                  <a:pt x="2331197" y="4362595"/>
                  <a:pt x="2265529" y="4372844"/>
                  <a:pt x="2218103" y="4413840"/>
                </a:cubicBezTo>
                <a:cubicBezTo>
                  <a:pt x="2163379" y="4403591"/>
                  <a:pt x="2156083" y="4478749"/>
                  <a:pt x="2105008" y="4471917"/>
                </a:cubicBezTo>
                <a:cubicBezTo>
                  <a:pt x="2072175" y="4499247"/>
                  <a:pt x="2021100" y="4502663"/>
                  <a:pt x="1991914" y="4540242"/>
                </a:cubicBezTo>
                <a:cubicBezTo>
                  <a:pt x="1980970" y="4557324"/>
                  <a:pt x="1959081" y="4553907"/>
                  <a:pt x="1940839" y="4564156"/>
                </a:cubicBezTo>
                <a:cubicBezTo>
                  <a:pt x="1893413" y="4584654"/>
                  <a:pt x="1853283" y="4618817"/>
                  <a:pt x="1805857" y="4646147"/>
                </a:cubicBezTo>
                <a:cubicBezTo>
                  <a:pt x="1762079" y="4676894"/>
                  <a:pt x="1707355" y="4687142"/>
                  <a:pt x="1670873" y="4728138"/>
                </a:cubicBezTo>
                <a:cubicBezTo>
                  <a:pt x="1659929" y="4738387"/>
                  <a:pt x="1634391" y="4738387"/>
                  <a:pt x="1619799" y="4748636"/>
                </a:cubicBezTo>
                <a:cubicBezTo>
                  <a:pt x="1576020" y="4779382"/>
                  <a:pt x="1517649" y="4782798"/>
                  <a:pt x="1481167" y="4823794"/>
                </a:cubicBezTo>
                <a:cubicBezTo>
                  <a:pt x="1441037" y="4861373"/>
                  <a:pt x="1379018" y="4864789"/>
                  <a:pt x="1342536" y="4898952"/>
                </a:cubicBezTo>
                <a:cubicBezTo>
                  <a:pt x="1302406" y="4936531"/>
                  <a:pt x="1240386" y="4943364"/>
                  <a:pt x="1211201" y="4991192"/>
                </a:cubicBezTo>
                <a:cubicBezTo>
                  <a:pt x="1138237" y="5025355"/>
                  <a:pt x="1065273" y="5059517"/>
                  <a:pt x="992309" y="5093680"/>
                </a:cubicBezTo>
                <a:cubicBezTo>
                  <a:pt x="915697" y="5131259"/>
                  <a:pt x="839085" y="5168839"/>
                  <a:pt x="751528" y="5209834"/>
                </a:cubicBezTo>
                <a:cubicBezTo>
                  <a:pt x="722343" y="5209834"/>
                  <a:pt x="682213" y="5209834"/>
                  <a:pt x="638434" y="5209834"/>
                </a:cubicBezTo>
                <a:cubicBezTo>
                  <a:pt x="627490" y="5203001"/>
                  <a:pt x="616545" y="5192753"/>
                  <a:pt x="605601" y="5182504"/>
                </a:cubicBezTo>
                <a:cubicBezTo>
                  <a:pt x="583711" y="5182504"/>
                  <a:pt x="565470" y="5182504"/>
                  <a:pt x="543581" y="5182504"/>
                </a:cubicBezTo>
                <a:cubicBezTo>
                  <a:pt x="532637" y="5192753"/>
                  <a:pt x="521692" y="5203001"/>
                  <a:pt x="510748" y="5213250"/>
                </a:cubicBezTo>
                <a:cubicBezTo>
                  <a:pt x="459673" y="5213250"/>
                  <a:pt x="408598" y="5213250"/>
                  <a:pt x="357523" y="5213250"/>
                </a:cubicBezTo>
                <a:cubicBezTo>
                  <a:pt x="346579" y="5220083"/>
                  <a:pt x="339282" y="5226915"/>
                  <a:pt x="328338" y="5237164"/>
                </a:cubicBezTo>
                <a:cubicBezTo>
                  <a:pt x="288208" y="5237164"/>
                  <a:pt x="244429" y="5237164"/>
                  <a:pt x="197003" y="5237164"/>
                </a:cubicBezTo>
                <a:cubicBezTo>
                  <a:pt x="182410" y="5206418"/>
                  <a:pt x="164169" y="5172255"/>
                  <a:pt x="145928" y="5134676"/>
                </a:cubicBezTo>
                <a:cubicBezTo>
                  <a:pt x="127687" y="5124427"/>
                  <a:pt x="102150" y="5110762"/>
                  <a:pt x="69316" y="5093680"/>
                </a:cubicBezTo>
                <a:cubicBezTo>
                  <a:pt x="54723" y="5093680"/>
                  <a:pt x="29186" y="5093680"/>
                  <a:pt x="3649" y="5090264"/>
                </a:cubicBezTo>
                <a:cubicBezTo>
                  <a:pt x="3649" y="5025355"/>
                  <a:pt x="3649" y="4967278"/>
                  <a:pt x="3649" y="4902368"/>
                </a:cubicBezTo>
                <a:cubicBezTo>
                  <a:pt x="7297" y="4895536"/>
                  <a:pt x="18241" y="4885287"/>
                  <a:pt x="29186" y="4871622"/>
                </a:cubicBezTo>
                <a:cubicBezTo>
                  <a:pt x="29186" y="4847708"/>
                  <a:pt x="29186" y="4816961"/>
                  <a:pt x="29186" y="4782798"/>
                </a:cubicBezTo>
                <a:cubicBezTo>
                  <a:pt x="21890" y="4775966"/>
                  <a:pt x="14593" y="4765717"/>
                  <a:pt x="0" y="4752052"/>
                </a:cubicBezTo>
                <a:cubicBezTo>
                  <a:pt x="0" y="4734970"/>
                  <a:pt x="0" y="4717889"/>
                  <a:pt x="0" y="4693975"/>
                </a:cubicBezTo>
                <a:cubicBezTo>
                  <a:pt x="10945" y="4687142"/>
                  <a:pt x="18241" y="4673477"/>
                  <a:pt x="32834" y="4663228"/>
                </a:cubicBezTo>
                <a:cubicBezTo>
                  <a:pt x="32834" y="4646147"/>
                  <a:pt x="21890" y="4615400"/>
                  <a:pt x="32834" y="4608568"/>
                </a:cubicBezTo>
                <a:cubicBezTo>
                  <a:pt x="65668" y="4581238"/>
                  <a:pt x="58371" y="4536826"/>
                  <a:pt x="94853" y="4512912"/>
                </a:cubicBezTo>
                <a:cubicBezTo>
                  <a:pt x="120391" y="4495831"/>
                  <a:pt x="138632" y="4471917"/>
                  <a:pt x="153225" y="4448003"/>
                </a:cubicBezTo>
                <a:cubicBezTo>
                  <a:pt x="171465" y="4424089"/>
                  <a:pt x="178762" y="4396758"/>
                  <a:pt x="204299" y="4348930"/>
                </a:cubicBezTo>
                <a:cubicBezTo>
                  <a:pt x="222540" y="4328433"/>
                  <a:pt x="262670" y="4290853"/>
                  <a:pt x="306449" y="4253274"/>
                </a:cubicBezTo>
                <a:cubicBezTo>
                  <a:pt x="302800" y="4195198"/>
                  <a:pt x="386709" y="4181532"/>
                  <a:pt x="379413" y="4123455"/>
                </a:cubicBezTo>
                <a:cubicBezTo>
                  <a:pt x="397654" y="4120039"/>
                  <a:pt x="408598" y="4116623"/>
                  <a:pt x="423191" y="4113207"/>
                </a:cubicBezTo>
                <a:cubicBezTo>
                  <a:pt x="434135" y="4075627"/>
                  <a:pt x="466969" y="4048297"/>
                  <a:pt x="466969" y="4010718"/>
                </a:cubicBezTo>
                <a:cubicBezTo>
                  <a:pt x="514396" y="3979971"/>
                  <a:pt x="525340" y="3921895"/>
                  <a:pt x="565470" y="3887732"/>
                </a:cubicBezTo>
                <a:cubicBezTo>
                  <a:pt x="591008" y="3863818"/>
                  <a:pt x="620193" y="3846736"/>
                  <a:pt x="623842" y="3805741"/>
                </a:cubicBezTo>
                <a:cubicBezTo>
                  <a:pt x="627490" y="3774994"/>
                  <a:pt x="674916" y="3764746"/>
                  <a:pt x="685861" y="3727166"/>
                </a:cubicBezTo>
                <a:cubicBezTo>
                  <a:pt x="693157" y="3696420"/>
                  <a:pt x="733287" y="3675922"/>
                  <a:pt x="744232" y="3645176"/>
                </a:cubicBezTo>
                <a:cubicBezTo>
                  <a:pt x="762473" y="3600764"/>
                  <a:pt x="798955" y="3576850"/>
                  <a:pt x="831789" y="3549520"/>
                </a:cubicBezTo>
                <a:cubicBezTo>
                  <a:pt x="857326" y="3522189"/>
                  <a:pt x="860974" y="3488027"/>
                  <a:pt x="886512" y="3464113"/>
                </a:cubicBezTo>
                <a:cubicBezTo>
                  <a:pt x="893808" y="3464113"/>
                  <a:pt x="904752" y="3464113"/>
                  <a:pt x="915697" y="3464113"/>
                </a:cubicBezTo>
                <a:cubicBezTo>
                  <a:pt x="1028791" y="3354792"/>
                  <a:pt x="1141885" y="3248887"/>
                  <a:pt x="1254979" y="3139566"/>
                </a:cubicBezTo>
                <a:cubicBezTo>
                  <a:pt x="1265924" y="3139566"/>
                  <a:pt x="1276868" y="3139566"/>
                  <a:pt x="1287813" y="3139566"/>
                </a:cubicBezTo>
                <a:cubicBezTo>
                  <a:pt x="1298757" y="3101986"/>
                  <a:pt x="1324295" y="3074656"/>
                  <a:pt x="1353480" y="3047326"/>
                </a:cubicBezTo>
                <a:cubicBezTo>
                  <a:pt x="1451982" y="2955086"/>
                  <a:pt x="1550483" y="2859430"/>
                  <a:pt x="1638039" y="2774023"/>
                </a:cubicBezTo>
                <a:cubicBezTo>
                  <a:pt x="1648984" y="2750109"/>
                  <a:pt x="1652632" y="2736444"/>
                  <a:pt x="1656280" y="2726195"/>
                </a:cubicBezTo>
                <a:cubicBezTo>
                  <a:pt x="1670873" y="2726195"/>
                  <a:pt x="1681818" y="2726195"/>
                  <a:pt x="1689114" y="2726195"/>
                </a:cubicBezTo>
                <a:cubicBezTo>
                  <a:pt x="1725596" y="2695449"/>
                  <a:pt x="1754782" y="2654453"/>
                  <a:pt x="1794912" y="2637372"/>
                </a:cubicBezTo>
                <a:cubicBezTo>
                  <a:pt x="1838690" y="2620291"/>
                  <a:pt x="1864228" y="2586128"/>
                  <a:pt x="1893413" y="2558797"/>
                </a:cubicBezTo>
                <a:cubicBezTo>
                  <a:pt x="1893413" y="2545132"/>
                  <a:pt x="1893413" y="2538299"/>
                  <a:pt x="1889765" y="2524635"/>
                </a:cubicBezTo>
                <a:cubicBezTo>
                  <a:pt x="1860580" y="2507553"/>
                  <a:pt x="1856932" y="2548548"/>
                  <a:pt x="1831394" y="2548548"/>
                </a:cubicBezTo>
                <a:cubicBezTo>
                  <a:pt x="1798560" y="2548548"/>
                  <a:pt x="1773023" y="2575879"/>
                  <a:pt x="1736541" y="2579295"/>
                </a:cubicBezTo>
                <a:cubicBezTo>
                  <a:pt x="1700059" y="2582711"/>
                  <a:pt x="1663577" y="2606625"/>
                  <a:pt x="1634391" y="2630539"/>
                </a:cubicBezTo>
                <a:cubicBezTo>
                  <a:pt x="1608854" y="2647621"/>
                  <a:pt x="1561427" y="2623707"/>
                  <a:pt x="1539538" y="2664702"/>
                </a:cubicBezTo>
                <a:cubicBezTo>
                  <a:pt x="1462926" y="2661286"/>
                  <a:pt x="1404555" y="2712530"/>
                  <a:pt x="1338888" y="2736444"/>
                </a:cubicBezTo>
                <a:cubicBezTo>
                  <a:pt x="1273220" y="2763774"/>
                  <a:pt x="1211201" y="2797937"/>
                  <a:pt x="1145533" y="2832100"/>
                </a:cubicBezTo>
                <a:cubicBezTo>
                  <a:pt x="1123644" y="2842349"/>
                  <a:pt x="1101755" y="2852598"/>
                  <a:pt x="1083514" y="2862847"/>
                </a:cubicBezTo>
                <a:cubicBezTo>
                  <a:pt x="1079866" y="2862847"/>
                  <a:pt x="1076218" y="2869679"/>
                  <a:pt x="1072569" y="2873096"/>
                </a:cubicBezTo>
                <a:cubicBezTo>
                  <a:pt x="1039736" y="2873096"/>
                  <a:pt x="1010550" y="2873096"/>
                  <a:pt x="977716" y="2873096"/>
                </a:cubicBezTo>
                <a:cubicBezTo>
                  <a:pt x="970420" y="2879928"/>
                  <a:pt x="963124" y="2886761"/>
                  <a:pt x="955827" y="2893593"/>
                </a:cubicBezTo>
                <a:cubicBezTo>
                  <a:pt x="952179" y="2897010"/>
                  <a:pt x="948531" y="2900426"/>
                  <a:pt x="944883" y="2900426"/>
                </a:cubicBezTo>
                <a:cubicBezTo>
                  <a:pt x="871919" y="2900426"/>
                  <a:pt x="798955" y="2900426"/>
                  <a:pt x="733287" y="2900426"/>
                </a:cubicBezTo>
                <a:cubicBezTo>
                  <a:pt x="660323" y="2965335"/>
                  <a:pt x="550878" y="2955086"/>
                  <a:pt x="481562" y="3019996"/>
                </a:cubicBezTo>
                <a:cubicBezTo>
                  <a:pt x="463321" y="3019996"/>
                  <a:pt x="441432" y="3019996"/>
                  <a:pt x="419543" y="3019996"/>
                </a:cubicBezTo>
                <a:cubicBezTo>
                  <a:pt x="288208" y="2879928"/>
                  <a:pt x="288208" y="2879928"/>
                  <a:pt x="197003" y="2866263"/>
                </a:cubicBezTo>
                <a:cubicBezTo>
                  <a:pt x="186058" y="2856014"/>
                  <a:pt x="175114" y="2845765"/>
                  <a:pt x="164169" y="2835516"/>
                </a:cubicBezTo>
                <a:cubicBezTo>
                  <a:pt x="160521" y="2832100"/>
                  <a:pt x="156873" y="2828684"/>
                  <a:pt x="156873" y="2821851"/>
                </a:cubicBezTo>
                <a:cubicBezTo>
                  <a:pt x="156873" y="2784272"/>
                  <a:pt x="156873" y="2746693"/>
                  <a:pt x="156873" y="2709114"/>
                </a:cubicBezTo>
                <a:cubicBezTo>
                  <a:pt x="167817" y="2698865"/>
                  <a:pt x="175114" y="2692032"/>
                  <a:pt x="182410" y="2681784"/>
                </a:cubicBezTo>
                <a:cubicBezTo>
                  <a:pt x="182410" y="2657870"/>
                  <a:pt x="182410" y="2627123"/>
                  <a:pt x="182410" y="2599793"/>
                </a:cubicBezTo>
                <a:cubicBezTo>
                  <a:pt x="226188" y="2558797"/>
                  <a:pt x="218892" y="2483639"/>
                  <a:pt x="299152" y="2483639"/>
                </a:cubicBezTo>
                <a:cubicBezTo>
                  <a:pt x="342931" y="2425562"/>
                  <a:pt x="423191" y="2418730"/>
                  <a:pt x="466969" y="2346988"/>
                </a:cubicBezTo>
                <a:cubicBezTo>
                  <a:pt x="466969" y="2343571"/>
                  <a:pt x="470617" y="2329906"/>
                  <a:pt x="474266" y="2316241"/>
                </a:cubicBezTo>
                <a:cubicBezTo>
                  <a:pt x="488858" y="2312825"/>
                  <a:pt x="499803" y="2309409"/>
                  <a:pt x="514396" y="2305992"/>
                </a:cubicBezTo>
                <a:cubicBezTo>
                  <a:pt x="543581" y="2278662"/>
                  <a:pt x="572767" y="2251332"/>
                  <a:pt x="601952" y="2224002"/>
                </a:cubicBezTo>
                <a:cubicBezTo>
                  <a:pt x="627490" y="2220585"/>
                  <a:pt x="656675" y="2224002"/>
                  <a:pt x="649379" y="2169341"/>
                </a:cubicBezTo>
                <a:cubicBezTo>
                  <a:pt x="642083" y="2162508"/>
                  <a:pt x="620193" y="2148843"/>
                  <a:pt x="601952" y="2138594"/>
                </a:cubicBezTo>
                <a:cubicBezTo>
                  <a:pt x="580063" y="2148843"/>
                  <a:pt x="554526" y="2159092"/>
                  <a:pt x="528988" y="2176173"/>
                </a:cubicBezTo>
                <a:cubicBezTo>
                  <a:pt x="503451" y="2193255"/>
                  <a:pt x="485210" y="2217169"/>
                  <a:pt x="463321" y="2237667"/>
                </a:cubicBezTo>
                <a:cubicBezTo>
                  <a:pt x="459673" y="2241083"/>
                  <a:pt x="456025" y="2247916"/>
                  <a:pt x="452376" y="2247916"/>
                </a:cubicBezTo>
                <a:cubicBezTo>
                  <a:pt x="386709" y="2247916"/>
                  <a:pt x="379413" y="2302576"/>
                  <a:pt x="353875" y="2340155"/>
                </a:cubicBezTo>
                <a:cubicBezTo>
                  <a:pt x="342931" y="2340155"/>
                  <a:pt x="335634" y="2340155"/>
                  <a:pt x="324690" y="2340155"/>
                </a:cubicBezTo>
                <a:cubicBezTo>
                  <a:pt x="280911" y="2381151"/>
                  <a:pt x="237133" y="2425562"/>
                  <a:pt x="189706" y="2469974"/>
                </a:cubicBezTo>
                <a:cubicBezTo>
                  <a:pt x="186058" y="2483639"/>
                  <a:pt x="186058" y="2504137"/>
                  <a:pt x="186058" y="2538299"/>
                </a:cubicBezTo>
                <a:cubicBezTo>
                  <a:pt x="175114" y="2545132"/>
                  <a:pt x="156873" y="2558797"/>
                  <a:pt x="134984" y="2572463"/>
                </a:cubicBezTo>
                <a:cubicBezTo>
                  <a:pt x="113094" y="2555381"/>
                  <a:pt x="127687" y="2528051"/>
                  <a:pt x="124039" y="2504137"/>
                </a:cubicBezTo>
                <a:cubicBezTo>
                  <a:pt x="134984" y="2493888"/>
                  <a:pt x="142280" y="2483639"/>
                  <a:pt x="153225" y="2473390"/>
                </a:cubicBezTo>
                <a:cubicBezTo>
                  <a:pt x="153225" y="2452892"/>
                  <a:pt x="153225" y="2432395"/>
                  <a:pt x="153225" y="2415313"/>
                </a:cubicBezTo>
                <a:cubicBezTo>
                  <a:pt x="164169" y="2405065"/>
                  <a:pt x="175114" y="2391399"/>
                  <a:pt x="186058" y="2381151"/>
                </a:cubicBezTo>
                <a:cubicBezTo>
                  <a:pt x="186058" y="2360653"/>
                  <a:pt x="186058" y="2343571"/>
                  <a:pt x="186058" y="2323074"/>
                </a:cubicBezTo>
                <a:cubicBezTo>
                  <a:pt x="215244" y="2278662"/>
                  <a:pt x="269967" y="2275246"/>
                  <a:pt x="310097" y="2241083"/>
                </a:cubicBezTo>
                <a:cubicBezTo>
                  <a:pt x="339282" y="2213753"/>
                  <a:pt x="386709" y="2200088"/>
                  <a:pt x="415894" y="2165924"/>
                </a:cubicBezTo>
                <a:cubicBezTo>
                  <a:pt x="445080" y="2124929"/>
                  <a:pt x="492507" y="2107848"/>
                  <a:pt x="532637" y="2080517"/>
                </a:cubicBezTo>
                <a:cubicBezTo>
                  <a:pt x="569119" y="2056604"/>
                  <a:pt x="598304" y="2019024"/>
                  <a:pt x="634786" y="1984861"/>
                </a:cubicBezTo>
                <a:cubicBezTo>
                  <a:pt x="663972" y="1984861"/>
                  <a:pt x="693157" y="1984861"/>
                  <a:pt x="718695" y="1984861"/>
                </a:cubicBezTo>
                <a:cubicBezTo>
                  <a:pt x="762473" y="1971196"/>
                  <a:pt x="769769" y="1923368"/>
                  <a:pt x="820844" y="1923368"/>
                </a:cubicBezTo>
                <a:cubicBezTo>
                  <a:pt x="853678" y="1919952"/>
                  <a:pt x="860974" y="1868708"/>
                  <a:pt x="904752" y="1865292"/>
                </a:cubicBezTo>
                <a:cubicBezTo>
                  <a:pt x="948531" y="1861875"/>
                  <a:pt x="952179" y="1803798"/>
                  <a:pt x="1003254" y="1803798"/>
                </a:cubicBezTo>
                <a:cubicBezTo>
                  <a:pt x="1021495" y="1803798"/>
                  <a:pt x="1039736" y="1773052"/>
                  <a:pt x="1061625" y="1759387"/>
                </a:cubicBezTo>
                <a:cubicBezTo>
                  <a:pt x="1076218" y="1749138"/>
                  <a:pt x="1094459" y="1745722"/>
                  <a:pt x="1112700" y="1735473"/>
                </a:cubicBezTo>
                <a:cubicBezTo>
                  <a:pt x="1145533" y="1718391"/>
                  <a:pt x="1145533" y="1718391"/>
                  <a:pt x="1196608" y="1714975"/>
                </a:cubicBezTo>
                <a:cubicBezTo>
                  <a:pt x="1225794" y="1697894"/>
                  <a:pt x="1236738" y="1663731"/>
                  <a:pt x="1280516" y="1656898"/>
                </a:cubicBezTo>
                <a:cubicBezTo>
                  <a:pt x="1306054" y="1650066"/>
                  <a:pt x="1327943" y="1619319"/>
                  <a:pt x="1353480" y="1598821"/>
                </a:cubicBezTo>
                <a:cubicBezTo>
                  <a:pt x="1368073" y="1598821"/>
                  <a:pt x="1389962" y="1598821"/>
                  <a:pt x="1411851" y="1598821"/>
                </a:cubicBezTo>
                <a:cubicBezTo>
                  <a:pt x="1422796" y="1588573"/>
                  <a:pt x="1433741" y="1578324"/>
                  <a:pt x="1444685" y="1568075"/>
                </a:cubicBezTo>
                <a:cubicBezTo>
                  <a:pt x="1466574" y="1568075"/>
                  <a:pt x="1492112" y="1578324"/>
                  <a:pt x="1503056" y="1568075"/>
                </a:cubicBezTo>
                <a:cubicBezTo>
                  <a:pt x="1561427" y="1520247"/>
                  <a:pt x="1648984" y="1523663"/>
                  <a:pt x="1685466" y="1455337"/>
                </a:cubicBezTo>
                <a:cubicBezTo>
                  <a:pt x="1692762" y="1451921"/>
                  <a:pt x="1700059" y="1451921"/>
                  <a:pt x="1703707" y="1451921"/>
                </a:cubicBezTo>
                <a:cubicBezTo>
                  <a:pt x="1721948" y="1448505"/>
                  <a:pt x="1751133" y="1451921"/>
                  <a:pt x="1762079" y="1441672"/>
                </a:cubicBezTo>
                <a:cubicBezTo>
                  <a:pt x="1783967" y="1414342"/>
                  <a:pt x="1831394" y="1428007"/>
                  <a:pt x="1849635" y="1390428"/>
                </a:cubicBezTo>
                <a:cubicBezTo>
                  <a:pt x="1867876" y="1390428"/>
                  <a:pt x="1889765" y="1390428"/>
                  <a:pt x="1908006" y="1390428"/>
                </a:cubicBezTo>
                <a:cubicBezTo>
                  <a:pt x="1918951" y="1400677"/>
                  <a:pt x="1929896" y="1410926"/>
                  <a:pt x="1940839" y="1421175"/>
                </a:cubicBezTo>
                <a:cubicBezTo>
                  <a:pt x="1959081" y="1404093"/>
                  <a:pt x="1973674" y="1390428"/>
                  <a:pt x="1988266" y="1376763"/>
                </a:cubicBezTo>
                <a:cubicBezTo>
                  <a:pt x="1977322" y="1366514"/>
                  <a:pt x="1966377" y="1356265"/>
                  <a:pt x="1959081" y="1346016"/>
                </a:cubicBezTo>
                <a:cubicBezTo>
                  <a:pt x="2039341" y="1308437"/>
                  <a:pt x="2123250" y="1270858"/>
                  <a:pt x="2203509" y="1229863"/>
                </a:cubicBezTo>
                <a:cubicBezTo>
                  <a:pt x="2221751" y="1219614"/>
                  <a:pt x="2232696" y="1202532"/>
                  <a:pt x="2247288" y="1188867"/>
                </a:cubicBezTo>
                <a:cubicBezTo>
                  <a:pt x="2272826" y="1185451"/>
                  <a:pt x="2302011" y="1188867"/>
                  <a:pt x="2320252" y="1178618"/>
                </a:cubicBezTo>
                <a:cubicBezTo>
                  <a:pt x="2360382" y="1151288"/>
                  <a:pt x="2411456" y="1141039"/>
                  <a:pt x="2436995" y="1096627"/>
                </a:cubicBezTo>
                <a:cubicBezTo>
                  <a:pt x="2458883" y="1096627"/>
                  <a:pt x="2480773" y="1096627"/>
                  <a:pt x="2499013" y="1096627"/>
                </a:cubicBezTo>
                <a:cubicBezTo>
                  <a:pt x="2513606" y="1082962"/>
                  <a:pt x="2524550" y="1076130"/>
                  <a:pt x="2539144" y="1059048"/>
                </a:cubicBezTo>
                <a:cubicBezTo>
                  <a:pt x="2557384" y="1069297"/>
                  <a:pt x="2579274" y="1079546"/>
                  <a:pt x="2601163" y="1093211"/>
                </a:cubicBezTo>
                <a:cubicBezTo>
                  <a:pt x="2604811" y="1079546"/>
                  <a:pt x="2608459" y="1065881"/>
                  <a:pt x="2612107" y="1045383"/>
                </a:cubicBezTo>
                <a:cubicBezTo>
                  <a:pt x="2626700" y="1024885"/>
                  <a:pt x="2655885" y="1038551"/>
                  <a:pt x="2681424" y="1035134"/>
                </a:cubicBezTo>
                <a:cubicBezTo>
                  <a:pt x="2717905" y="1024885"/>
                  <a:pt x="2728849" y="966809"/>
                  <a:pt x="2779924" y="977057"/>
                </a:cubicBezTo>
                <a:cubicBezTo>
                  <a:pt x="2801814" y="946311"/>
                  <a:pt x="2834648" y="939478"/>
                  <a:pt x="2871129" y="949727"/>
                </a:cubicBezTo>
                <a:cubicBezTo>
                  <a:pt x="2893019" y="929230"/>
                  <a:pt x="2911259" y="912148"/>
                  <a:pt x="2933148" y="891650"/>
                </a:cubicBezTo>
                <a:cubicBezTo>
                  <a:pt x="2962334" y="888234"/>
                  <a:pt x="3006113" y="898483"/>
                  <a:pt x="3031649" y="881402"/>
                </a:cubicBezTo>
                <a:cubicBezTo>
                  <a:pt x="3060836" y="857488"/>
                  <a:pt x="3086372" y="860904"/>
                  <a:pt x="3115558" y="857488"/>
                </a:cubicBezTo>
                <a:cubicBezTo>
                  <a:pt x="3148392" y="847239"/>
                  <a:pt x="3159337" y="806243"/>
                  <a:pt x="3199467" y="799411"/>
                </a:cubicBezTo>
                <a:cubicBezTo>
                  <a:pt x="3221356" y="792578"/>
                  <a:pt x="3239597" y="778913"/>
                  <a:pt x="3265135" y="768664"/>
                </a:cubicBezTo>
                <a:cubicBezTo>
                  <a:pt x="3276078" y="765248"/>
                  <a:pt x="3294319" y="768664"/>
                  <a:pt x="3308913" y="768664"/>
                </a:cubicBezTo>
                <a:cubicBezTo>
                  <a:pt x="3327153" y="751583"/>
                  <a:pt x="3345394" y="734501"/>
                  <a:pt x="3363636" y="714004"/>
                </a:cubicBezTo>
                <a:cubicBezTo>
                  <a:pt x="3392821" y="700338"/>
                  <a:pt x="3436599" y="724252"/>
                  <a:pt x="3458489" y="683257"/>
                </a:cubicBezTo>
                <a:cubicBezTo>
                  <a:pt x="3491322" y="683257"/>
                  <a:pt x="3520508" y="683257"/>
                  <a:pt x="3553341" y="683257"/>
                </a:cubicBezTo>
                <a:cubicBezTo>
                  <a:pt x="3564287" y="690090"/>
                  <a:pt x="3575231" y="696922"/>
                  <a:pt x="3589823" y="710587"/>
                </a:cubicBezTo>
                <a:cubicBezTo>
                  <a:pt x="3608065" y="686674"/>
                  <a:pt x="3626306" y="659343"/>
                  <a:pt x="3651842" y="628596"/>
                </a:cubicBezTo>
                <a:cubicBezTo>
                  <a:pt x="3702917" y="618348"/>
                  <a:pt x="3761288" y="601266"/>
                  <a:pt x="3812364" y="556855"/>
                </a:cubicBezTo>
                <a:cubicBezTo>
                  <a:pt x="3852493" y="526108"/>
                  <a:pt x="3899920" y="495362"/>
                  <a:pt x="3958291" y="502194"/>
                </a:cubicBezTo>
                <a:cubicBezTo>
                  <a:pt x="3969236" y="491945"/>
                  <a:pt x="3980181" y="485113"/>
                  <a:pt x="3991125" y="474864"/>
                </a:cubicBezTo>
                <a:cubicBezTo>
                  <a:pt x="4013014" y="474864"/>
                  <a:pt x="4031255" y="474864"/>
                  <a:pt x="4053144" y="474864"/>
                </a:cubicBezTo>
                <a:cubicBezTo>
                  <a:pt x="4064088" y="464615"/>
                  <a:pt x="4075034" y="454366"/>
                  <a:pt x="4085978" y="444117"/>
                </a:cubicBezTo>
                <a:cubicBezTo>
                  <a:pt x="4166238" y="457782"/>
                  <a:pt x="4213665" y="372375"/>
                  <a:pt x="4304869" y="386040"/>
                </a:cubicBezTo>
                <a:cubicBezTo>
                  <a:pt x="4319462" y="368959"/>
                  <a:pt x="4337704" y="345045"/>
                  <a:pt x="4348648" y="327964"/>
                </a:cubicBezTo>
                <a:cubicBezTo>
                  <a:pt x="4396075" y="327964"/>
                  <a:pt x="4436205" y="331380"/>
                  <a:pt x="4458094" y="297217"/>
                </a:cubicBezTo>
                <a:cubicBezTo>
                  <a:pt x="4512816" y="290384"/>
                  <a:pt x="4556595" y="259638"/>
                  <a:pt x="4600374" y="232308"/>
                </a:cubicBezTo>
                <a:cubicBezTo>
                  <a:pt x="4647800" y="204977"/>
                  <a:pt x="4706171" y="215226"/>
                  <a:pt x="4746301" y="177647"/>
                </a:cubicBezTo>
                <a:cubicBezTo>
                  <a:pt x="4760894" y="167398"/>
                  <a:pt x="4782783" y="160566"/>
                  <a:pt x="4808321" y="146901"/>
                </a:cubicBezTo>
                <a:cubicBezTo>
                  <a:pt x="4837506" y="146901"/>
                  <a:pt x="4881284" y="146901"/>
                  <a:pt x="4921414" y="146901"/>
                </a:cubicBezTo>
                <a:cubicBezTo>
                  <a:pt x="4932359" y="136651"/>
                  <a:pt x="4943303" y="129819"/>
                  <a:pt x="4954248" y="119570"/>
                </a:cubicBezTo>
                <a:cubicBezTo>
                  <a:pt x="4965193" y="129819"/>
                  <a:pt x="4976137" y="140068"/>
                  <a:pt x="4987082" y="146901"/>
                </a:cubicBezTo>
                <a:cubicBezTo>
                  <a:pt x="4998027" y="146901"/>
                  <a:pt x="5008971" y="146901"/>
                  <a:pt x="5019916" y="143484"/>
                </a:cubicBezTo>
                <a:cubicBezTo>
                  <a:pt x="5027212" y="129819"/>
                  <a:pt x="5034508" y="112738"/>
                  <a:pt x="5041805" y="92240"/>
                </a:cubicBezTo>
                <a:cubicBezTo>
                  <a:pt x="5070991" y="92240"/>
                  <a:pt x="5100176" y="92240"/>
                  <a:pt x="5129361" y="92240"/>
                </a:cubicBezTo>
                <a:cubicBezTo>
                  <a:pt x="5143954" y="81991"/>
                  <a:pt x="5154899" y="71742"/>
                  <a:pt x="5169492" y="61493"/>
                </a:cubicBezTo>
                <a:cubicBezTo>
                  <a:pt x="5180436" y="68326"/>
                  <a:pt x="5187732" y="78575"/>
                  <a:pt x="5202325" y="85407"/>
                </a:cubicBezTo>
                <a:cubicBezTo>
                  <a:pt x="5209622" y="78575"/>
                  <a:pt x="5220567" y="68326"/>
                  <a:pt x="5231511" y="61493"/>
                </a:cubicBezTo>
                <a:cubicBezTo>
                  <a:pt x="5249752" y="88824"/>
                  <a:pt x="5264345" y="116154"/>
                  <a:pt x="5278938" y="143484"/>
                </a:cubicBezTo>
                <a:cubicBezTo>
                  <a:pt x="5293530" y="177647"/>
                  <a:pt x="5213270" y="191312"/>
                  <a:pt x="5260697" y="232308"/>
                </a:cubicBezTo>
                <a:cubicBezTo>
                  <a:pt x="5271641" y="225475"/>
                  <a:pt x="5282585" y="218642"/>
                  <a:pt x="5297178" y="208394"/>
                </a:cubicBezTo>
                <a:cubicBezTo>
                  <a:pt x="5322716" y="208394"/>
                  <a:pt x="5351901" y="208394"/>
                  <a:pt x="5377439" y="208394"/>
                </a:cubicBezTo>
                <a:cubicBezTo>
                  <a:pt x="5413921" y="187896"/>
                  <a:pt x="5450402" y="170814"/>
                  <a:pt x="5490532" y="146901"/>
                </a:cubicBezTo>
                <a:cubicBezTo>
                  <a:pt x="5534311" y="146901"/>
                  <a:pt x="5585386" y="146901"/>
                  <a:pt x="5629164" y="146901"/>
                </a:cubicBezTo>
                <a:cubicBezTo>
                  <a:pt x="5665646" y="167398"/>
                  <a:pt x="5694831" y="181063"/>
                  <a:pt x="5734962" y="201561"/>
                </a:cubicBezTo>
                <a:cubicBezTo>
                  <a:pt x="5829815" y="201561"/>
                  <a:pt x="5935612" y="201561"/>
                  <a:pt x="6045057" y="201561"/>
                </a:cubicBezTo>
                <a:cubicBezTo>
                  <a:pt x="6052354" y="198145"/>
                  <a:pt x="6059651" y="191312"/>
                  <a:pt x="6070595" y="181063"/>
                </a:cubicBezTo>
                <a:cubicBezTo>
                  <a:pt x="6096133" y="181063"/>
                  <a:pt x="6125318" y="181063"/>
                  <a:pt x="6165448" y="181063"/>
                </a:cubicBezTo>
                <a:cubicBezTo>
                  <a:pt x="6172745" y="187896"/>
                  <a:pt x="6187337" y="201561"/>
                  <a:pt x="6201930" y="211810"/>
                </a:cubicBezTo>
                <a:cubicBezTo>
                  <a:pt x="6220171" y="235724"/>
                  <a:pt x="6209227" y="259638"/>
                  <a:pt x="6209227" y="280135"/>
                </a:cubicBezTo>
                <a:cubicBezTo>
                  <a:pt x="6198282" y="293801"/>
                  <a:pt x="6190985" y="304049"/>
                  <a:pt x="6180041" y="314298"/>
                </a:cubicBezTo>
                <a:cubicBezTo>
                  <a:pt x="6194633" y="317715"/>
                  <a:pt x="6201930" y="321131"/>
                  <a:pt x="6216523" y="327964"/>
                </a:cubicBezTo>
                <a:cubicBezTo>
                  <a:pt x="6242060" y="310882"/>
                  <a:pt x="6267597" y="290384"/>
                  <a:pt x="6289487" y="269887"/>
                </a:cubicBezTo>
                <a:cubicBezTo>
                  <a:pt x="6304079" y="280135"/>
                  <a:pt x="6315024" y="286968"/>
                  <a:pt x="6329617" y="300633"/>
                </a:cubicBezTo>
                <a:cubicBezTo>
                  <a:pt x="6351506" y="290384"/>
                  <a:pt x="6373395" y="276719"/>
                  <a:pt x="6391636" y="266470"/>
                </a:cubicBezTo>
                <a:cubicBezTo>
                  <a:pt x="6424470" y="263054"/>
                  <a:pt x="6431767" y="290384"/>
                  <a:pt x="6457303" y="307466"/>
                </a:cubicBezTo>
                <a:cubicBezTo>
                  <a:pt x="6457303" y="324547"/>
                  <a:pt x="6460952" y="341629"/>
                  <a:pt x="6460952" y="368959"/>
                </a:cubicBezTo>
                <a:cubicBezTo>
                  <a:pt x="6442711" y="386040"/>
                  <a:pt x="6413525" y="403122"/>
                  <a:pt x="6402581" y="427036"/>
                </a:cubicBezTo>
                <a:cubicBezTo>
                  <a:pt x="6391636" y="447533"/>
                  <a:pt x="6387988" y="471447"/>
                  <a:pt x="6366099" y="488529"/>
                </a:cubicBezTo>
                <a:cubicBezTo>
                  <a:pt x="6398933" y="526108"/>
                  <a:pt x="6446359" y="488529"/>
                  <a:pt x="6482841" y="509027"/>
                </a:cubicBezTo>
                <a:cubicBezTo>
                  <a:pt x="6490137" y="515859"/>
                  <a:pt x="6497434" y="522692"/>
                  <a:pt x="6504730" y="529524"/>
                </a:cubicBezTo>
                <a:cubicBezTo>
                  <a:pt x="6515675" y="522692"/>
                  <a:pt x="6526619" y="512443"/>
                  <a:pt x="6537564" y="502194"/>
                </a:cubicBezTo>
                <a:cubicBezTo>
                  <a:pt x="6588639" y="502194"/>
                  <a:pt x="6639713" y="502194"/>
                  <a:pt x="6690788" y="502194"/>
                </a:cubicBezTo>
                <a:cubicBezTo>
                  <a:pt x="6709029" y="529524"/>
                  <a:pt x="6741863" y="529524"/>
                  <a:pt x="6767400" y="543189"/>
                </a:cubicBezTo>
                <a:cubicBezTo>
                  <a:pt x="6789289" y="577352"/>
                  <a:pt x="6741863" y="591018"/>
                  <a:pt x="6738215" y="618348"/>
                </a:cubicBezTo>
                <a:cubicBezTo>
                  <a:pt x="6734567" y="642262"/>
                  <a:pt x="6760104" y="649094"/>
                  <a:pt x="6771049" y="666176"/>
                </a:cubicBezTo>
                <a:cubicBezTo>
                  <a:pt x="6774697" y="676425"/>
                  <a:pt x="6774697" y="696922"/>
                  <a:pt x="6781993" y="703755"/>
                </a:cubicBezTo>
                <a:cubicBezTo>
                  <a:pt x="6796585" y="720836"/>
                  <a:pt x="6807531" y="734501"/>
                  <a:pt x="6800234" y="754999"/>
                </a:cubicBezTo>
                <a:cubicBezTo>
                  <a:pt x="6730918" y="789162"/>
                  <a:pt x="6730918" y="789162"/>
                  <a:pt x="6690788" y="857488"/>
                </a:cubicBezTo>
                <a:cubicBezTo>
                  <a:pt x="6679843" y="857488"/>
                  <a:pt x="6672547" y="857488"/>
                  <a:pt x="6661603" y="857488"/>
                </a:cubicBezTo>
                <a:cubicBezTo>
                  <a:pt x="6639713" y="891650"/>
                  <a:pt x="6592287" y="905316"/>
                  <a:pt x="6588639" y="946311"/>
                </a:cubicBezTo>
                <a:cubicBezTo>
                  <a:pt x="6570397" y="949727"/>
                  <a:pt x="6544861" y="949727"/>
                  <a:pt x="6566749" y="973641"/>
                </a:cubicBezTo>
                <a:cubicBezTo>
                  <a:pt x="6574046" y="966809"/>
                  <a:pt x="6581343" y="956560"/>
                  <a:pt x="6588639" y="946311"/>
                </a:cubicBezTo>
                <a:cubicBezTo>
                  <a:pt x="6599583" y="946311"/>
                  <a:pt x="6614176" y="946311"/>
                  <a:pt x="6636065" y="946311"/>
                </a:cubicBezTo>
                <a:cubicBezTo>
                  <a:pt x="6654306" y="898483"/>
                  <a:pt x="6712677" y="895067"/>
                  <a:pt x="6749159" y="864320"/>
                </a:cubicBezTo>
                <a:cubicBezTo>
                  <a:pt x="6763752" y="854071"/>
                  <a:pt x="6789289" y="857488"/>
                  <a:pt x="6822123" y="854071"/>
                </a:cubicBezTo>
                <a:cubicBezTo>
                  <a:pt x="6833067" y="840406"/>
                  <a:pt x="6847661" y="813076"/>
                  <a:pt x="6851309" y="799411"/>
                </a:cubicBezTo>
                <a:cubicBezTo>
                  <a:pt x="6898735" y="799411"/>
                  <a:pt x="6916976" y="799411"/>
                  <a:pt x="6938865" y="799411"/>
                </a:cubicBezTo>
                <a:cubicBezTo>
                  <a:pt x="6949810" y="789162"/>
                  <a:pt x="6960755" y="778913"/>
                  <a:pt x="6971699" y="768664"/>
                </a:cubicBezTo>
                <a:cubicBezTo>
                  <a:pt x="7004533" y="768664"/>
                  <a:pt x="7033719" y="768664"/>
                  <a:pt x="7066552" y="768664"/>
                </a:cubicBezTo>
                <a:cubicBezTo>
                  <a:pt x="7084793" y="751583"/>
                  <a:pt x="7103034" y="734501"/>
                  <a:pt x="7121275" y="714004"/>
                </a:cubicBezTo>
                <a:cubicBezTo>
                  <a:pt x="7143164" y="714004"/>
                  <a:pt x="7168701" y="710587"/>
                  <a:pt x="7194239" y="707171"/>
                </a:cubicBezTo>
                <a:cubicBezTo>
                  <a:pt x="7201535" y="700338"/>
                  <a:pt x="7208831" y="693506"/>
                  <a:pt x="7219777" y="683257"/>
                </a:cubicBezTo>
                <a:cubicBezTo>
                  <a:pt x="7245313" y="683257"/>
                  <a:pt x="7274499" y="683257"/>
                  <a:pt x="7318277" y="683257"/>
                </a:cubicBezTo>
                <a:cubicBezTo>
                  <a:pt x="7332871" y="662759"/>
                  <a:pt x="7347463" y="638845"/>
                  <a:pt x="7362056" y="621764"/>
                </a:cubicBezTo>
                <a:cubicBezTo>
                  <a:pt x="7394889" y="621764"/>
                  <a:pt x="7413131" y="621764"/>
                  <a:pt x="7435019" y="621764"/>
                </a:cubicBezTo>
                <a:cubicBezTo>
                  <a:pt x="7445965" y="611515"/>
                  <a:pt x="7456909" y="601266"/>
                  <a:pt x="7471501" y="591018"/>
                </a:cubicBezTo>
                <a:cubicBezTo>
                  <a:pt x="7489743" y="591018"/>
                  <a:pt x="7511632" y="591018"/>
                  <a:pt x="7533521" y="591018"/>
                </a:cubicBezTo>
                <a:cubicBezTo>
                  <a:pt x="7537169" y="584185"/>
                  <a:pt x="7544465" y="577352"/>
                  <a:pt x="7551762" y="573936"/>
                </a:cubicBezTo>
                <a:cubicBezTo>
                  <a:pt x="7584595" y="550022"/>
                  <a:pt x="7624726" y="570520"/>
                  <a:pt x="7664856" y="556855"/>
                </a:cubicBezTo>
                <a:cubicBezTo>
                  <a:pt x="7686745" y="543189"/>
                  <a:pt x="7697689" y="509027"/>
                  <a:pt x="7741468" y="498778"/>
                </a:cubicBezTo>
                <a:cubicBezTo>
                  <a:pt x="7767005" y="495362"/>
                  <a:pt x="7785247" y="464615"/>
                  <a:pt x="7814432" y="444117"/>
                </a:cubicBezTo>
                <a:cubicBezTo>
                  <a:pt x="7839969" y="444117"/>
                  <a:pt x="7869155" y="444117"/>
                  <a:pt x="7901989" y="444117"/>
                </a:cubicBezTo>
                <a:cubicBezTo>
                  <a:pt x="7912933" y="433868"/>
                  <a:pt x="7923877" y="423620"/>
                  <a:pt x="7934823" y="413371"/>
                </a:cubicBezTo>
                <a:cubicBezTo>
                  <a:pt x="7964008" y="413371"/>
                  <a:pt x="7996841" y="413371"/>
                  <a:pt x="8036971" y="413371"/>
                </a:cubicBezTo>
                <a:cubicBezTo>
                  <a:pt x="8051565" y="396289"/>
                  <a:pt x="8069805" y="372375"/>
                  <a:pt x="8088047" y="351877"/>
                </a:cubicBezTo>
                <a:cubicBezTo>
                  <a:pt x="8113584" y="351877"/>
                  <a:pt x="8135473" y="351877"/>
                  <a:pt x="8153714" y="351877"/>
                </a:cubicBezTo>
                <a:cubicBezTo>
                  <a:pt x="8164659" y="345045"/>
                  <a:pt x="8168307" y="338212"/>
                  <a:pt x="8179251" y="327964"/>
                </a:cubicBezTo>
                <a:cubicBezTo>
                  <a:pt x="8193844" y="338212"/>
                  <a:pt x="8208437" y="345045"/>
                  <a:pt x="8226678" y="355294"/>
                </a:cubicBezTo>
                <a:cubicBezTo>
                  <a:pt x="8263160" y="338212"/>
                  <a:pt x="8303290" y="317715"/>
                  <a:pt x="8347068" y="297217"/>
                </a:cubicBezTo>
                <a:cubicBezTo>
                  <a:pt x="8368957" y="297217"/>
                  <a:pt x="8401791" y="297217"/>
                  <a:pt x="8434625" y="297217"/>
                </a:cubicBezTo>
                <a:cubicBezTo>
                  <a:pt x="8460162" y="249389"/>
                  <a:pt x="8518533" y="239140"/>
                  <a:pt x="8562312" y="211810"/>
                </a:cubicBezTo>
                <a:cubicBezTo>
                  <a:pt x="8569608" y="218642"/>
                  <a:pt x="8576904" y="225475"/>
                  <a:pt x="8584201" y="232308"/>
                </a:cubicBezTo>
                <a:cubicBezTo>
                  <a:pt x="8602442" y="222059"/>
                  <a:pt x="8620683" y="211810"/>
                  <a:pt x="8642572" y="201561"/>
                </a:cubicBezTo>
                <a:cubicBezTo>
                  <a:pt x="8646220" y="204977"/>
                  <a:pt x="8649868" y="208394"/>
                  <a:pt x="8653517" y="211810"/>
                </a:cubicBezTo>
                <a:cubicBezTo>
                  <a:pt x="8682702" y="181063"/>
                  <a:pt x="8711888" y="146901"/>
                  <a:pt x="8741073" y="119570"/>
                </a:cubicBezTo>
                <a:cubicBezTo>
                  <a:pt x="8762962" y="119570"/>
                  <a:pt x="8777555" y="119570"/>
                  <a:pt x="8799444" y="119570"/>
                </a:cubicBezTo>
                <a:cubicBezTo>
                  <a:pt x="8835926" y="99072"/>
                  <a:pt x="8857815" y="58077"/>
                  <a:pt x="8901594" y="30747"/>
                </a:cubicBezTo>
                <a:cubicBezTo>
                  <a:pt x="8934428" y="30747"/>
                  <a:pt x="8978206" y="30747"/>
                  <a:pt x="9014688" y="30747"/>
                </a:cubicBezTo>
                <a:cubicBezTo>
                  <a:pt x="9032929" y="17082"/>
                  <a:pt x="9047522" y="6833"/>
                  <a:pt x="9062114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79947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113871" y="568810"/>
            <a:ext cx="14609453" cy="5962351"/>
          </a:xfrm>
          <a:custGeom>
            <a:avLst/>
            <a:gdLst>
              <a:gd name="connsiteX0" fmla="*/ 8368244 w 14609453"/>
              <a:gd name="connsiteY0" fmla="*/ 3782966 h 5962351"/>
              <a:gd name="connsiteX1" fmla="*/ 8368244 w 14609453"/>
              <a:gd name="connsiteY1" fmla="*/ 3792108 h 5962351"/>
              <a:gd name="connsiteX2" fmla="*/ 8367300 w 14609453"/>
              <a:gd name="connsiteY2" fmla="*/ 3791852 h 5962351"/>
              <a:gd name="connsiteX3" fmla="*/ 8368244 w 14609453"/>
              <a:gd name="connsiteY3" fmla="*/ 3782966 h 5962351"/>
              <a:gd name="connsiteX4" fmla="*/ 5326728 w 14609453"/>
              <a:gd name="connsiteY4" fmla="*/ 53 h 5962351"/>
              <a:gd name="connsiteX5" fmla="*/ 5354150 w 14609453"/>
              <a:gd name="connsiteY5" fmla="*/ 4347 h 5962351"/>
              <a:gd name="connsiteX6" fmla="*/ 5373227 w 14609453"/>
              <a:gd name="connsiteY6" fmla="*/ 53965 h 5962351"/>
              <a:gd name="connsiteX7" fmla="*/ 5411380 w 14609453"/>
              <a:gd name="connsiteY7" fmla="*/ 65415 h 5962351"/>
              <a:gd name="connsiteX8" fmla="*/ 5424098 w 14609453"/>
              <a:gd name="connsiteY8" fmla="*/ 134117 h 5962351"/>
              <a:gd name="connsiteX9" fmla="*/ 5389124 w 14609453"/>
              <a:gd name="connsiteY9" fmla="*/ 168468 h 5962351"/>
              <a:gd name="connsiteX10" fmla="*/ 5433636 w 14609453"/>
              <a:gd name="connsiteY10" fmla="*/ 183736 h 5962351"/>
              <a:gd name="connsiteX11" fmla="*/ 5465431 w 14609453"/>
              <a:gd name="connsiteY11" fmla="*/ 149384 h 5962351"/>
              <a:gd name="connsiteX12" fmla="*/ 5497225 w 14609453"/>
              <a:gd name="connsiteY12" fmla="*/ 179919 h 5962351"/>
              <a:gd name="connsiteX13" fmla="*/ 5567172 w 14609453"/>
              <a:gd name="connsiteY13" fmla="*/ 195186 h 5962351"/>
              <a:gd name="connsiteX14" fmla="*/ 5541737 w 14609453"/>
              <a:gd name="connsiteY14" fmla="*/ 225720 h 5962351"/>
              <a:gd name="connsiteX15" fmla="*/ 5541737 w 14609453"/>
              <a:gd name="connsiteY15" fmla="*/ 408926 h 5962351"/>
              <a:gd name="connsiteX16" fmla="*/ 5589428 w 14609453"/>
              <a:gd name="connsiteY16" fmla="*/ 428010 h 5962351"/>
              <a:gd name="connsiteX17" fmla="*/ 5598966 w 14609453"/>
              <a:gd name="connsiteY17" fmla="*/ 527246 h 5962351"/>
              <a:gd name="connsiteX18" fmla="*/ 5624402 w 14609453"/>
              <a:gd name="connsiteY18" fmla="*/ 553964 h 5962351"/>
              <a:gd name="connsiteX19" fmla="*/ 5627581 w 14609453"/>
              <a:gd name="connsiteY19" fmla="*/ 603582 h 5962351"/>
              <a:gd name="connsiteX20" fmla="*/ 5598966 w 14609453"/>
              <a:gd name="connsiteY20" fmla="*/ 699002 h 5962351"/>
              <a:gd name="connsiteX21" fmla="*/ 5592607 w 14609453"/>
              <a:gd name="connsiteY21" fmla="*/ 710452 h 5962351"/>
              <a:gd name="connsiteX22" fmla="*/ 5481328 w 14609453"/>
              <a:gd name="connsiteY22" fmla="*/ 855490 h 5962351"/>
              <a:gd name="connsiteX23" fmla="*/ 5481328 w 14609453"/>
              <a:gd name="connsiteY23" fmla="*/ 916559 h 5962351"/>
              <a:gd name="connsiteX24" fmla="*/ 5424098 w 14609453"/>
              <a:gd name="connsiteY24" fmla="*/ 977627 h 5962351"/>
              <a:gd name="connsiteX25" fmla="*/ 5424098 w 14609453"/>
              <a:gd name="connsiteY25" fmla="*/ 1095948 h 5962351"/>
              <a:gd name="connsiteX26" fmla="*/ 5363689 w 14609453"/>
              <a:gd name="connsiteY26" fmla="*/ 1157016 h 5962351"/>
              <a:gd name="connsiteX27" fmla="*/ 5363689 w 14609453"/>
              <a:gd name="connsiteY27" fmla="*/ 1275337 h 5962351"/>
              <a:gd name="connsiteX28" fmla="*/ 5335074 w 14609453"/>
              <a:gd name="connsiteY28" fmla="*/ 1309688 h 5962351"/>
              <a:gd name="connsiteX29" fmla="*/ 5335074 w 14609453"/>
              <a:gd name="connsiteY29" fmla="*/ 1378390 h 5962351"/>
              <a:gd name="connsiteX30" fmla="*/ 5274665 w 14609453"/>
              <a:gd name="connsiteY30" fmla="*/ 1435642 h 5962351"/>
              <a:gd name="connsiteX31" fmla="*/ 5261947 w 14609453"/>
              <a:gd name="connsiteY31" fmla="*/ 1504344 h 5962351"/>
              <a:gd name="connsiteX32" fmla="*/ 5198359 w 14609453"/>
              <a:gd name="connsiteY32" fmla="*/ 1473810 h 5962351"/>
              <a:gd name="connsiteX33" fmla="*/ 5169744 w 14609453"/>
              <a:gd name="connsiteY33" fmla="*/ 1538695 h 5962351"/>
              <a:gd name="connsiteX34" fmla="*/ 5147488 w 14609453"/>
              <a:gd name="connsiteY34" fmla="*/ 1588313 h 5962351"/>
              <a:gd name="connsiteX35" fmla="*/ 5099797 w 14609453"/>
              <a:gd name="connsiteY35" fmla="*/ 1641748 h 5962351"/>
              <a:gd name="connsiteX36" fmla="*/ 5074361 w 14609453"/>
              <a:gd name="connsiteY36" fmla="*/ 1691367 h 5962351"/>
              <a:gd name="connsiteX37" fmla="*/ 5023491 w 14609453"/>
              <a:gd name="connsiteY37" fmla="*/ 1744802 h 5962351"/>
              <a:gd name="connsiteX38" fmla="*/ 4950364 w 14609453"/>
              <a:gd name="connsiteY38" fmla="*/ 1836404 h 5962351"/>
              <a:gd name="connsiteX39" fmla="*/ 4896313 w 14609453"/>
              <a:gd name="connsiteY39" fmla="*/ 1886023 h 5962351"/>
              <a:gd name="connsiteX40" fmla="*/ 4950364 w 14609453"/>
              <a:gd name="connsiteY40" fmla="*/ 1878389 h 5962351"/>
              <a:gd name="connsiteX41" fmla="*/ 4950364 w 14609453"/>
              <a:gd name="connsiteY41" fmla="*/ 1836404 h 5962351"/>
              <a:gd name="connsiteX42" fmla="*/ 5017132 w 14609453"/>
              <a:gd name="connsiteY42" fmla="*/ 1863122 h 5962351"/>
              <a:gd name="connsiteX43" fmla="*/ 5055284 w 14609453"/>
              <a:gd name="connsiteY43" fmla="*/ 1863122 h 5962351"/>
              <a:gd name="connsiteX44" fmla="*/ 5074361 w 14609453"/>
              <a:gd name="connsiteY44" fmla="*/ 1786786 h 5962351"/>
              <a:gd name="connsiteX45" fmla="*/ 5153846 w 14609453"/>
              <a:gd name="connsiteY45" fmla="*/ 1760069 h 5962351"/>
              <a:gd name="connsiteX46" fmla="*/ 5233333 w 14609453"/>
              <a:gd name="connsiteY46" fmla="*/ 1740985 h 5962351"/>
              <a:gd name="connsiteX47" fmla="*/ 5246050 w 14609453"/>
              <a:gd name="connsiteY47" fmla="*/ 1664649 h 5962351"/>
              <a:gd name="connsiteX48" fmla="*/ 5284203 w 14609453"/>
              <a:gd name="connsiteY48" fmla="*/ 1657015 h 5962351"/>
              <a:gd name="connsiteX49" fmla="*/ 5357330 w 14609453"/>
              <a:gd name="connsiteY49" fmla="*/ 1695183 h 5962351"/>
              <a:gd name="connsiteX50" fmla="*/ 5360510 w 14609453"/>
              <a:gd name="connsiteY50" fmla="*/ 1714267 h 5962351"/>
              <a:gd name="connsiteX51" fmla="*/ 5242871 w 14609453"/>
              <a:gd name="connsiteY51" fmla="*/ 1836404 h 5962351"/>
              <a:gd name="connsiteX52" fmla="*/ 5223794 w 14609453"/>
              <a:gd name="connsiteY52" fmla="*/ 1840221 h 5962351"/>
              <a:gd name="connsiteX53" fmla="*/ 5204717 w 14609453"/>
              <a:gd name="connsiteY53" fmla="*/ 1901290 h 5962351"/>
              <a:gd name="connsiteX54" fmla="*/ 5172923 w 14609453"/>
              <a:gd name="connsiteY54" fmla="*/ 1836404 h 5962351"/>
              <a:gd name="connsiteX55" fmla="*/ 5150668 w 14609453"/>
              <a:gd name="connsiteY55" fmla="*/ 1916557 h 5962351"/>
              <a:gd name="connsiteX56" fmla="*/ 5083900 w 14609453"/>
              <a:gd name="connsiteY56" fmla="*/ 1928007 h 5962351"/>
              <a:gd name="connsiteX57" fmla="*/ 5055284 w 14609453"/>
              <a:gd name="connsiteY57" fmla="*/ 1954725 h 5962351"/>
              <a:gd name="connsiteX58" fmla="*/ 4985337 w 14609453"/>
              <a:gd name="connsiteY58" fmla="*/ 1958542 h 5962351"/>
              <a:gd name="connsiteX59" fmla="*/ 4975799 w 14609453"/>
              <a:gd name="connsiteY59" fmla="*/ 2038694 h 5962351"/>
              <a:gd name="connsiteX60" fmla="*/ 4909031 w 14609453"/>
              <a:gd name="connsiteY60" fmla="*/ 2019610 h 5962351"/>
              <a:gd name="connsiteX61" fmla="*/ 4877237 w 14609453"/>
              <a:gd name="connsiteY61" fmla="*/ 2046328 h 5962351"/>
              <a:gd name="connsiteX62" fmla="*/ 4791393 w 14609453"/>
              <a:gd name="connsiteY62" fmla="*/ 2046328 h 5962351"/>
              <a:gd name="connsiteX63" fmla="*/ 4686472 w 14609453"/>
              <a:gd name="connsiteY63" fmla="*/ 2164648 h 5962351"/>
              <a:gd name="connsiteX64" fmla="*/ 4686472 w 14609453"/>
              <a:gd name="connsiteY64" fmla="*/ 2179915 h 5962351"/>
              <a:gd name="connsiteX65" fmla="*/ 4587909 w 14609453"/>
              <a:gd name="connsiteY65" fmla="*/ 2260068 h 5962351"/>
              <a:gd name="connsiteX66" fmla="*/ 4552936 w 14609453"/>
              <a:gd name="connsiteY66" fmla="*/ 2229533 h 5962351"/>
              <a:gd name="connsiteX67" fmla="*/ 4463911 w 14609453"/>
              <a:gd name="connsiteY67" fmla="*/ 2344037 h 5962351"/>
              <a:gd name="connsiteX68" fmla="*/ 4432117 w 14609453"/>
              <a:gd name="connsiteY68" fmla="*/ 2313503 h 5962351"/>
              <a:gd name="connsiteX69" fmla="*/ 4390785 w 14609453"/>
              <a:gd name="connsiteY69" fmla="*/ 2378388 h 5962351"/>
              <a:gd name="connsiteX70" fmla="*/ 4346273 w 14609453"/>
              <a:gd name="connsiteY70" fmla="*/ 2378388 h 5962351"/>
              <a:gd name="connsiteX71" fmla="*/ 4244532 w 14609453"/>
              <a:gd name="connsiteY71" fmla="*/ 2481442 h 5962351"/>
              <a:gd name="connsiteX72" fmla="*/ 4244532 w 14609453"/>
              <a:gd name="connsiteY72" fmla="*/ 2515793 h 5962351"/>
              <a:gd name="connsiteX73" fmla="*/ 4219096 w 14609453"/>
              <a:gd name="connsiteY73" fmla="*/ 2523426 h 5962351"/>
              <a:gd name="connsiteX74" fmla="*/ 4095099 w 14609453"/>
              <a:gd name="connsiteY74" fmla="*/ 2649380 h 5962351"/>
              <a:gd name="connsiteX75" fmla="*/ 4139610 w 14609453"/>
              <a:gd name="connsiteY75" fmla="*/ 2676098 h 5962351"/>
              <a:gd name="connsiteX76" fmla="*/ 4228635 w 14609453"/>
              <a:gd name="connsiteY76" fmla="*/ 2588312 h 5962351"/>
              <a:gd name="connsiteX77" fmla="*/ 4289043 w 14609453"/>
              <a:gd name="connsiteY77" fmla="*/ 2588312 h 5962351"/>
              <a:gd name="connsiteX78" fmla="*/ 4330376 w 14609453"/>
              <a:gd name="connsiteY78" fmla="*/ 2527243 h 5962351"/>
              <a:gd name="connsiteX79" fmla="*/ 4390785 w 14609453"/>
              <a:gd name="connsiteY79" fmla="*/ 2523426 h 5962351"/>
              <a:gd name="connsiteX80" fmla="*/ 4416220 w 14609453"/>
              <a:gd name="connsiteY80" fmla="*/ 2546327 h 5962351"/>
              <a:gd name="connsiteX81" fmla="*/ 4390785 w 14609453"/>
              <a:gd name="connsiteY81" fmla="*/ 2523426 h 5962351"/>
              <a:gd name="connsiteX82" fmla="*/ 4432117 w 14609453"/>
              <a:gd name="connsiteY82" fmla="*/ 2469991 h 5962351"/>
              <a:gd name="connsiteX83" fmla="*/ 4521141 w 14609453"/>
              <a:gd name="connsiteY83" fmla="*/ 2435640 h 5962351"/>
              <a:gd name="connsiteX84" fmla="*/ 4594268 w 14609453"/>
              <a:gd name="connsiteY84" fmla="*/ 2374571 h 5962351"/>
              <a:gd name="connsiteX85" fmla="*/ 4622883 w 14609453"/>
              <a:gd name="connsiteY85" fmla="*/ 2393655 h 5962351"/>
              <a:gd name="connsiteX86" fmla="*/ 4594268 w 14609453"/>
              <a:gd name="connsiteY86" fmla="*/ 2374571 h 5962351"/>
              <a:gd name="connsiteX87" fmla="*/ 4597447 w 14609453"/>
              <a:gd name="connsiteY87" fmla="*/ 2363121 h 5962351"/>
              <a:gd name="connsiteX88" fmla="*/ 4696009 w 14609453"/>
              <a:gd name="connsiteY88" fmla="*/ 2313503 h 5962351"/>
              <a:gd name="connsiteX89" fmla="*/ 4759598 w 14609453"/>
              <a:gd name="connsiteY89" fmla="*/ 2225717 h 5962351"/>
              <a:gd name="connsiteX90" fmla="*/ 4791393 w 14609453"/>
              <a:gd name="connsiteY90" fmla="*/ 2195183 h 5962351"/>
              <a:gd name="connsiteX91" fmla="*/ 4909031 w 14609453"/>
              <a:gd name="connsiteY91" fmla="*/ 2160831 h 5962351"/>
              <a:gd name="connsiteX92" fmla="*/ 4994875 w 14609453"/>
              <a:gd name="connsiteY92" fmla="*/ 2076862 h 5962351"/>
              <a:gd name="connsiteX93" fmla="*/ 5052105 w 14609453"/>
              <a:gd name="connsiteY93" fmla="*/ 2076862 h 5962351"/>
              <a:gd name="connsiteX94" fmla="*/ 5118873 w 14609453"/>
              <a:gd name="connsiteY94" fmla="*/ 1985259 h 5962351"/>
              <a:gd name="connsiteX95" fmla="*/ 5172923 w 14609453"/>
              <a:gd name="connsiteY95" fmla="*/ 1985259 h 5962351"/>
              <a:gd name="connsiteX96" fmla="*/ 5258768 w 14609453"/>
              <a:gd name="connsiteY96" fmla="*/ 1897473 h 5962351"/>
              <a:gd name="connsiteX97" fmla="*/ 5350971 w 14609453"/>
              <a:gd name="connsiteY97" fmla="*/ 1897473 h 5962351"/>
              <a:gd name="connsiteX98" fmla="*/ 5398663 w 14609453"/>
              <a:gd name="connsiteY98" fmla="*/ 1836404 h 5962351"/>
              <a:gd name="connsiteX99" fmla="*/ 5465431 w 14609453"/>
              <a:gd name="connsiteY99" fmla="*/ 1836404 h 5962351"/>
              <a:gd name="connsiteX100" fmla="*/ 5500404 w 14609453"/>
              <a:gd name="connsiteY100" fmla="*/ 1805870 h 5962351"/>
              <a:gd name="connsiteX101" fmla="*/ 5519480 w 14609453"/>
              <a:gd name="connsiteY101" fmla="*/ 1859305 h 5962351"/>
              <a:gd name="connsiteX102" fmla="*/ 5538557 w 14609453"/>
              <a:gd name="connsiteY102" fmla="*/ 1851672 h 5962351"/>
              <a:gd name="connsiteX103" fmla="*/ 5567172 w 14609453"/>
              <a:gd name="connsiteY103" fmla="*/ 1740985 h 5962351"/>
              <a:gd name="connsiteX104" fmla="*/ 5608505 w 14609453"/>
              <a:gd name="connsiteY104" fmla="*/ 1714267 h 5962351"/>
              <a:gd name="connsiteX105" fmla="*/ 5643478 w 14609453"/>
              <a:gd name="connsiteY105" fmla="*/ 1687550 h 5962351"/>
              <a:gd name="connsiteX106" fmla="*/ 5700707 w 14609453"/>
              <a:gd name="connsiteY106" fmla="*/ 1687550 h 5962351"/>
              <a:gd name="connsiteX107" fmla="*/ 5745219 w 14609453"/>
              <a:gd name="connsiteY107" fmla="*/ 1607397 h 5962351"/>
              <a:gd name="connsiteX108" fmla="*/ 5846961 w 14609453"/>
              <a:gd name="connsiteY108" fmla="*/ 1592130 h 5962351"/>
              <a:gd name="connsiteX109" fmla="*/ 5907370 w 14609453"/>
              <a:gd name="connsiteY109" fmla="*/ 1683733 h 5962351"/>
              <a:gd name="connsiteX110" fmla="*/ 5926446 w 14609453"/>
              <a:gd name="connsiteY110" fmla="*/ 1653199 h 5962351"/>
              <a:gd name="connsiteX111" fmla="*/ 5897832 w 14609453"/>
              <a:gd name="connsiteY111" fmla="*/ 1611214 h 5962351"/>
              <a:gd name="connsiteX112" fmla="*/ 5926446 w 14609453"/>
              <a:gd name="connsiteY112" fmla="*/ 1565412 h 5962351"/>
              <a:gd name="connsiteX113" fmla="*/ 5897832 w 14609453"/>
              <a:gd name="connsiteY113" fmla="*/ 1519611 h 5962351"/>
              <a:gd name="connsiteX114" fmla="*/ 5974138 w 14609453"/>
              <a:gd name="connsiteY114" fmla="*/ 1500527 h 5962351"/>
              <a:gd name="connsiteX115" fmla="*/ 6145827 w 14609453"/>
              <a:gd name="connsiteY115" fmla="*/ 1386023 h 5962351"/>
              <a:gd name="connsiteX116" fmla="*/ 6241209 w 14609453"/>
              <a:gd name="connsiteY116" fmla="*/ 1374573 h 5962351"/>
              <a:gd name="connsiteX117" fmla="*/ 6218954 w 14609453"/>
              <a:gd name="connsiteY117" fmla="*/ 1328772 h 5962351"/>
              <a:gd name="connsiteX118" fmla="*/ 6311156 w 14609453"/>
              <a:gd name="connsiteY118" fmla="*/ 1321138 h 5962351"/>
              <a:gd name="connsiteX119" fmla="*/ 6393822 w 14609453"/>
              <a:gd name="connsiteY119" fmla="*/ 1279154 h 5962351"/>
              <a:gd name="connsiteX120" fmla="*/ 6393822 w 14609453"/>
              <a:gd name="connsiteY120" fmla="*/ 1248619 h 5962351"/>
              <a:gd name="connsiteX121" fmla="*/ 6476486 w 14609453"/>
              <a:gd name="connsiteY121" fmla="*/ 1206635 h 5962351"/>
              <a:gd name="connsiteX122" fmla="*/ 6565510 w 14609453"/>
              <a:gd name="connsiteY122" fmla="*/ 1199001 h 5962351"/>
              <a:gd name="connsiteX123" fmla="*/ 6571870 w 14609453"/>
              <a:gd name="connsiteY123" fmla="*/ 1157016 h 5962351"/>
              <a:gd name="connsiteX124" fmla="*/ 6654534 w 14609453"/>
              <a:gd name="connsiteY124" fmla="*/ 1115032 h 5962351"/>
              <a:gd name="connsiteX125" fmla="*/ 6714944 w 14609453"/>
              <a:gd name="connsiteY125" fmla="*/ 1107398 h 5962351"/>
              <a:gd name="connsiteX126" fmla="*/ 6743558 w 14609453"/>
              <a:gd name="connsiteY126" fmla="*/ 1130299 h 5962351"/>
              <a:gd name="connsiteX127" fmla="*/ 6714944 w 14609453"/>
              <a:gd name="connsiteY127" fmla="*/ 1107398 h 5962351"/>
              <a:gd name="connsiteX128" fmla="*/ 6772173 w 14609453"/>
              <a:gd name="connsiteY128" fmla="*/ 1073047 h 5962351"/>
              <a:gd name="connsiteX129" fmla="*/ 6778532 w 14609453"/>
              <a:gd name="connsiteY129" fmla="*/ 1031062 h 5962351"/>
              <a:gd name="connsiteX130" fmla="*/ 6832582 w 14609453"/>
              <a:gd name="connsiteY130" fmla="*/ 1015795 h 5962351"/>
              <a:gd name="connsiteX131" fmla="*/ 6810326 w 14609453"/>
              <a:gd name="connsiteY131" fmla="*/ 973811 h 5962351"/>
              <a:gd name="connsiteX132" fmla="*/ 6877094 w 14609453"/>
              <a:gd name="connsiteY132" fmla="*/ 962360 h 5962351"/>
              <a:gd name="connsiteX133" fmla="*/ 6908888 w 14609453"/>
              <a:gd name="connsiteY133" fmla="*/ 931826 h 5962351"/>
              <a:gd name="connsiteX134" fmla="*/ 6962938 w 14609453"/>
              <a:gd name="connsiteY134" fmla="*/ 985261 h 5962351"/>
              <a:gd name="connsiteX135" fmla="*/ 7032886 w 14609453"/>
              <a:gd name="connsiteY135" fmla="*/ 958543 h 5962351"/>
              <a:gd name="connsiteX136" fmla="*/ 7042424 w 14609453"/>
              <a:gd name="connsiteY136" fmla="*/ 1008162 h 5962351"/>
              <a:gd name="connsiteX137" fmla="*/ 6950220 w 14609453"/>
              <a:gd name="connsiteY137" fmla="*/ 1076864 h 5962351"/>
              <a:gd name="connsiteX138" fmla="*/ 6962938 w 14609453"/>
              <a:gd name="connsiteY138" fmla="*/ 1115032 h 5962351"/>
              <a:gd name="connsiteX139" fmla="*/ 7029706 w 14609453"/>
              <a:gd name="connsiteY139" fmla="*/ 1053963 h 5962351"/>
              <a:gd name="connsiteX140" fmla="*/ 7144166 w 14609453"/>
              <a:gd name="connsiteY140" fmla="*/ 1053963 h 5962351"/>
              <a:gd name="connsiteX141" fmla="*/ 7198216 w 14609453"/>
              <a:gd name="connsiteY141" fmla="*/ 1000528 h 5962351"/>
              <a:gd name="connsiteX142" fmla="*/ 7334931 w 14609453"/>
              <a:gd name="connsiteY142" fmla="*/ 947093 h 5962351"/>
              <a:gd name="connsiteX143" fmla="*/ 7334931 w 14609453"/>
              <a:gd name="connsiteY143" fmla="*/ 931826 h 5962351"/>
              <a:gd name="connsiteX144" fmla="*/ 7439852 w 14609453"/>
              <a:gd name="connsiteY144" fmla="*/ 931826 h 5962351"/>
              <a:gd name="connsiteX145" fmla="*/ 7478005 w 14609453"/>
              <a:gd name="connsiteY145" fmla="*/ 874574 h 5962351"/>
              <a:gd name="connsiteX146" fmla="*/ 7376264 w 14609453"/>
              <a:gd name="connsiteY146" fmla="*/ 874574 h 5962351"/>
              <a:gd name="connsiteX147" fmla="*/ 7334931 w 14609453"/>
              <a:gd name="connsiteY147" fmla="*/ 931826 h 5962351"/>
              <a:gd name="connsiteX148" fmla="*/ 7233190 w 14609453"/>
              <a:gd name="connsiteY148" fmla="*/ 931826 h 5962351"/>
              <a:gd name="connsiteX149" fmla="*/ 7204574 w 14609453"/>
              <a:gd name="connsiteY149" fmla="*/ 962360 h 5962351"/>
              <a:gd name="connsiteX150" fmla="*/ 7175960 w 14609453"/>
              <a:gd name="connsiteY150" fmla="*/ 935643 h 5962351"/>
              <a:gd name="connsiteX151" fmla="*/ 7080577 w 14609453"/>
              <a:gd name="connsiteY151" fmla="*/ 989078 h 5962351"/>
              <a:gd name="connsiteX152" fmla="*/ 7071039 w 14609453"/>
              <a:gd name="connsiteY152" fmla="*/ 920375 h 5962351"/>
              <a:gd name="connsiteX153" fmla="*/ 7150524 w 14609453"/>
              <a:gd name="connsiteY153" fmla="*/ 897475 h 5962351"/>
              <a:gd name="connsiteX154" fmla="*/ 7169601 w 14609453"/>
              <a:gd name="connsiteY154" fmla="*/ 844040 h 5962351"/>
              <a:gd name="connsiteX155" fmla="*/ 7204574 w 14609453"/>
              <a:gd name="connsiteY155" fmla="*/ 870757 h 5962351"/>
              <a:gd name="connsiteX156" fmla="*/ 7296778 w 14609453"/>
              <a:gd name="connsiteY156" fmla="*/ 870757 h 5962351"/>
              <a:gd name="connsiteX157" fmla="*/ 7306316 w 14609453"/>
              <a:gd name="connsiteY157" fmla="*/ 844040 h 5962351"/>
              <a:gd name="connsiteX158" fmla="*/ 7354008 w 14609453"/>
              <a:gd name="connsiteY158" fmla="*/ 813506 h 5962351"/>
              <a:gd name="connsiteX159" fmla="*/ 7373084 w 14609453"/>
              <a:gd name="connsiteY159" fmla="*/ 836406 h 5962351"/>
              <a:gd name="connsiteX160" fmla="*/ 7398520 w 14609453"/>
              <a:gd name="connsiteY160" fmla="*/ 840223 h 5962351"/>
              <a:gd name="connsiteX161" fmla="*/ 7614720 w 14609453"/>
              <a:gd name="connsiteY161" fmla="*/ 844040 h 5962351"/>
              <a:gd name="connsiteX162" fmla="*/ 7652874 w 14609453"/>
              <a:gd name="connsiteY162" fmla="*/ 805872 h 5962351"/>
              <a:gd name="connsiteX163" fmla="*/ 7716462 w 14609453"/>
              <a:gd name="connsiteY163" fmla="*/ 840223 h 5962351"/>
              <a:gd name="connsiteX164" fmla="*/ 7881792 w 14609453"/>
              <a:gd name="connsiteY164" fmla="*/ 840223 h 5962351"/>
              <a:gd name="connsiteX165" fmla="*/ 7993072 w 14609453"/>
              <a:gd name="connsiteY165" fmla="*/ 897475 h 5962351"/>
              <a:gd name="connsiteX166" fmla="*/ 8120248 w 14609453"/>
              <a:gd name="connsiteY166" fmla="*/ 905108 h 5962351"/>
              <a:gd name="connsiteX167" fmla="*/ 8142504 w 14609453"/>
              <a:gd name="connsiteY167" fmla="*/ 928009 h 5962351"/>
              <a:gd name="connsiteX168" fmla="*/ 8221990 w 14609453"/>
              <a:gd name="connsiteY168" fmla="*/ 928009 h 5962351"/>
              <a:gd name="connsiteX169" fmla="*/ 8307835 w 14609453"/>
              <a:gd name="connsiteY169" fmla="*/ 992894 h 5962351"/>
              <a:gd name="connsiteX170" fmla="*/ 8234708 w 14609453"/>
              <a:gd name="connsiteY170" fmla="*/ 992894 h 5962351"/>
              <a:gd name="connsiteX171" fmla="*/ 8202914 w 14609453"/>
              <a:gd name="connsiteY171" fmla="*/ 962360 h 5962351"/>
              <a:gd name="connsiteX172" fmla="*/ 8104352 w 14609453"/>
              <a:gd name="connsiteY172" fmla="*/ 973811 h 5962351"/>
              <a:gd name="connsiteX173" fmla="*/ 8104352 w 14609453"/>
              <a:gd name="connsiteY173" fmla="*/ 1042513 h 5962351"/>
              <a:gd name="connsiteX174" fmla="*/ 8187016 w 14609453"/>
              <a:gd name="connsiteY174" fmla="*/ 1126482 h 5962351"/>
              <a:gd name="connsiteX175" fmla="*/ 8190196 w 14609453"/>
              <a:gd name="connsiteY175" fmla="*/ 1130299 h 5962351"/>
              <a:gd name="connsiteX176" fmla="*/ 8193376 w 14609453"/>
              <a:gd name="connsiteY176" fmla="*/ 1199001 h 5962351"/>
              <a:gd name="connsiteX177" fmla="*/ 8237888 w 14609453"/>
              <a:gd name="connsiteY177" fmla="*/ 1202818 h 5962351"/>
              <a:gd name="connsiteX178" fmla="*/ 8256964 w 14609453"/>
              <a:gd name="connsiteY178" fmla="*/ 1149383 h 5962351"/>
              <a:gd name="connsiteX179" fmla="*/ 8298296 w 14609453"/>
              <a:gd name="connsiteY179" fmla="*/ 1134116 h 5962351"/>
              <a:gd name="connsiteX180" fmla="*/ 8342808 w 14609453"/>
              <a:gd name="connsiteY180" fmla="*/ 1038696 h 5962351"/>
              <a:gd name="connsiteX181" fmla="*/ 8307835 w 14609453"/>
              <a:gd name="connsiteY181" fmla="*/ 1008162 h 5962351"/>
              <a:gd name="connsiteX182" fmla="*/ 8307835 w 14609453"/>
              <a:gd name="connsiteY182" fmla="*/ 992894 h 5962351"/>
              <a:gd name="connsiteX183" fmla="*/ 8384141 w 14609453"/>
              <a:gd name="connsiteY183" fmla="*/ 992894 h 5962351"/>
              <a:gd name="connsiteX184" fmla="*/ 8396859 w 14609453"/>
              <a:gd name="connsiteY184" fmla="*/ 1031062 h 5962351"/>
              <a:gd name="connsiteX185" fmla="*/ 8412756 w 14609453"/>
              <a:gd name="connsiteY185" fmla="*/ 1084497 h 5962351"/>
              <a:gd name="connsiteX186" fmla="*/ 8428653 w 14609453"/>
              <a:gd name="connsiteY186" fmla="*/ 1122665 h 5962351"/>
              <a:gd name="connsiteX187" fmla="*/ 8396859 w 14609453"/>
              <a:gd name="connsiteY187" fmla="*/ 1157016 h 5962351"/>
              <a:gd name="connsiteX188" fmla="*/ 8485882 w 14609453"/>
              <a:gd name="connsiteY188" fmla="*/ 1271520 h 5962351"/>
              <a:gd name="connsiteX189" fmla="*/ 8485882 w 14609453"/>
              <a:gd name="connsiteY189" fmla="*/ 1298237 h 5962351"/>
              <a:gd name="connsiteX190" fmla="*/ 8431832 w 14609453"/>
              <a:gd name="connsiteY190" fmla="*/ 1401291 h 5962351"/>
              <a:gd name="connsiteX191" fmla="*/ 8466806 w 14609453"/>
              <a:gd name="connsiteY191" fmla="*/ 1469993 h 5962351"/>
              <a:gd name="connsiteX192" fmla="*/ 8533574 w 14609453"/>
              <a:gd name="connsiteY192" fmla="*/ 1477626 h 5962351"/>
              <a:gd name="connsiteX193" fmla="*/ 8549471 w 14609453"/>
              <a:gd name="connsiteY193" fmla="*/ 1584497 h 5962351"/>
              <a:gd name="connsiteX194" fmla="*/ 8555830 w 14609453"/>
              <a:gd name="connsiteY194" fmla="*/ 1592130 h 5962351"/>
              <a:gd name="connsiteX195" fmla="*/ 8622598 w 14609453"/>
              <a:gd name="connsiteY195" fmla="*/ 1599764 h 5962351"/>
              <a:gd name="connsiteX196" fmla="*/ 8632136 w 14609453"/>
              <a:gd name="connsiteY196" fmla="*/ 1630298 h 5962351"/>
              <a:gd name="connsiteX197" fmla="*/ 8539933 w 14609453"/>
              <a:gd name="connsiteY197" fmla="*/ 1771519 h 5962351"/>
              <a:gd name="connsiteX198" fmla="*/ 8438191 w 14609453"/>
              <a:gd name="connsiteY198" fmla="*/ 1779153 h 5962351"/>
              <a:gd name="connsiteX199" fmla="*/ 8425473 w 14609453"/>
              <a:gd name="connsiteY199" fmla="*/ 1886023 h 5962351"/>
              <a:gd name="connsiteX200" fmla="*/ 8345988 w 14609453"/>
              <a:gd name="connsiteY200" fmla="*/ 1966175 h 5962351"/>
              <a:gd name="connsiteX201" fmla="*/ 8314194 w 14609453"/>
              <a:gd name="connsiteY201" fmla="*/ 2038694 h 5962351"/>
              <a:gd name="connsiteX202" fmla="*/ 8339629 w 14609453"/>
              <a:gd name="connsiteY202" fmla="*/ 2061595 h 5962351"/>
              <a:gd name="connsiteX203" fmla="*/ 8241067 w 14609453"/>
              <a:gd name="connsiteY203" fmla="*/ 2107396 h 5962351"/>
              <a:gd name="connsiteX204" fmla="*/ 8187016 w 14609453"/>
              <a:gd name="connsiteY204" fmla="*/ 2187549 h 5962351"/>
              <a:gd name="connsiteX205" fmla="*/ 8148864 w 14609453"/>
              <a:gd name="connsiteY205" fmla="*/ 2198999 h 5962351"/>
              <a:gd name="connsiteX206" fmla="*/ 8053481 w 14609453"/>
              <a:gd name="connsiteY206" fmla="*/ 2317320 h 5962351"/>
              <a:gd name="connsiteX207" fmla="*/ 7983534 w 14609453"/>
              <a:gd name="connsiteY207" fmla="*/ 2332587 h 5962351"/>
              <a:gd name="connsiteX208" fmla="*/ 8012148 w 14609453"/>
              <a:gd name="connsiteY208" fmla="*/ 2363121 h 5962351"/>
              <a:gd name="connsiteX209" fmla="*/ 7939022 w 14609453"/>
              <a:gd name="connsiteY209" fmla="*/ 2408923 h 5962351"/>
              <a:gd name="connsiteX210" fmla="*/ 7802306 w 14609453"/>
              <a:gd name="connsiteY210" fmla="*/ 2553961 h 5962351"/>
              <a:gd name="connsiteX211" fmla="*/ 7767332 w 14609453"/>
              <a:gd name="connsiteY211" fmla="*/ 2557777 h 5962351"/>
              <a:gd name="connsiteX212" fmla="*/ 7754615 w 14609453"/>
              <a:gd name="connsiteY212" fmla="*/ 2565411 h 5962351"/>
              <a:gd name="connsiteX213" fmla="*/ 7738718 w 14609453"/>
              <a:gd name="connsiteY213" fmla="*/ 2615029 h 5962351"/>
              <a:gd name="connsiteX214" fmla="*/ 7710103 w 14609453"/>
              <a:gd name="connsiteY214" fmla="*/ 2618846 h 5962351"/>
              <a:gd name="connsiteX215" fmla="*/ 7357187 w 14609453"/>
              <a:gd name="connsiteY215" fmla="*/ 2977624 h 5962351"/>
              <a:gd name="connsiteX216" fmla="*/ 7322214 w 14609453"/>
              <a:gd name="connsiteY216" fmla="*/ 2981441 h 5962351"/>
              <a:gd name="connsiteX217" fmla="*/ 7293598 w 14609453"/>
              <a:gd name="connsiteY217" fmla="*/ 3038692 h 5962351"/>
              <a:gd name="connsiteX218" fmla="*/ 7261804 w 14609453"/>
              <a:gd name="connsiteY218" fmla="*/ 3038692 h 5962351"/>
              <a:gd name="connsiteX219" fmla="*/ 7115551 w 14609453"/>
              <a:gd name="connsiteY219" fmla="*/ 3187547 h 5962351"/>
              <a:gd name="connsiteX220" fmla="*/ 6953400 w 14609453"/>
              <a:gd name="connsiteY220" fmla="*/ 3328768 h 5962351"/>
              <a:gd name="connsiteX221" fmla="*/ 6803967 w 14609453"/>
              <a:gd name="connsiteY221" fmla="*/ 3477623 h 5962351"/>
              <a:gd name="connsiteX222" fmla="*/ 6845300 w 14609453"/>
              <a:gd name="connsiteY222" fmla="*/ 3496707 h 5962351"/>
              <a:gd name="connsiteX223" fmla="*/ 6956580 w 14609453"/>
              <a:gd name="connsiteY223" fmla="*/ 3408921 h 5962351"/>
              <a:gd name="connsiteX224" fmla="*/ 7077398 w 14609453"/>
              <a:gd name="connsiteY224" fmla="*/ 3340219 h 5962351"/>
              <a:gd name="connsiteX225" fmla="*/ 7169601 w 14609453"/>
              <a:gd name="connsiteY225" fmla="*/ 3279150 h 5962351"/>
              <a:gd name="connsiteX226" fmla="*/ 7395340 w 14609453"/>
              <a:gd name="connsiteY226" fmla="*/ 3145563 h 5962351"/>
              <a:gd name="connsiteX227" fmla="*/ 7576567 w 14609453"/>
              <a:gd name="connsiteY227" fmla="*/ 3019609 h 5962351"/>
              <a:gd name="connsiteX228" fmla="*/ 7738718 w 14609453"/>
              <a:gd name="connsiteY228" fmla="*/ 2943273 h 5962351"/>
              <a:gd name="connsiteX229" fmla="*/ 7792768 w 14609453"/>
              <a:gd name="connsiteY229" fmla="*/ 2889838 h 5962351"/>
              <a:gd name="connsiteX230" fmla="*/ 7853177 w 14609453"/>
              <a:gd name="connsiteY230" fmla="*/ 2889838 h 5962351"/>
              <a:gd name="connsiteX231" fmla="*/ 8056660 w 14609453"/>
              <a:gd name="connsiteY231" fmla="*/ 2740983 h 5962351"/>
              <a:gd name="connsiteX232" fmla="*/ 8126608 w 14609453"/>
              <a:gd name="connsiteY232" fmla="*/ 2737166 h 5962351"/>
              <a:gd name="connsiteX233" fmla="*/ 8155222 w 14609453"/>
              <a:gd name="connsiteY233" fmla="*/ 2698998 h 5962351"/>
              <a:gd name="connsiteX234" fmla="*/ 8241067 w 14609453"/>
              <a:gd name="connsiteY234" fmla="*/ 2618846 h 5962351"/>
              <a:gd name="connsiteX235" fmla="*/ 8307835 w 14609453"/>
              <a:gd name="connsiteY235" fmla="*/ 2607395 h 5962351"/>
              <a:gd name="connsiteX236" fmla="*/ 8368244 w 14609453"/>
              <a:gd name="connsiteY236" fmla="*/ 2573044 h 5962351"/>
              <a:gd name="connsiteX237" fmla="*/ 8368244 w 14609453"/>
              <a:gd name="connsiteY237" fmla="*/ 2542510 h 5962351"/>
              <a:gd name="connsiteX238" fmla="*/ 8520856 w 14609453"/>
              <a:gd name="connsiteY238" fmla="*/ 2450907 h 5962351"/>
              <a:gd name="connsiteX239" fmla="*/ 8641674 w 14609453"/>
              <a:gd name="connsiteY239" fmla="*/ 2386022 h 5962351"/>
              <a:gd name="connsiteX240" fmla="*/ 8733878 w 14609453"/>
              <a:gd name="connsiteY240" fmla="*/ 2317320 h 5962351"/>
              <a:gd name="connsiteX241" fmla="*/ 8857875 w 14609453"/>
              <a:gd name="connsiteY241" fmla="*/ 2282969 h 5962351"/>
              <a:gd name="connsiteX242" fmla="*/ 8934181 w 14609453"/>
              <a:gd name="connsiteY242" fmla="*/ 2202816 h 5962351"/>
              <a:gd name="connsiteX243" fmla="*/ 9064538 w 14609453"/>
              <a:gd name="connsiteY243" fmla="*/ 2157015 h 5962351"/>
              <a:gd name="connsiteX244" fmla="*/ 9175817 w 14609453"/>
              <a:gd name="connsiteY244" fmla="*/ 2076862 h 5962351"/>
              <a:gd name="connsiteX245" fmla="*/ 9223509 w 14609453"/>
              <a:gd name="connsiteY245" fmla="*/ 2076862 h 5962351"/>
              <a:gd name="connsiteX246" fmla="*/ 9306174 w 14609453"/>
              <a:gd name="connsiteY246" fmla="*/ 2034877 h 5962351"/>
              <a:gd name="connsiteX247" fmla="*/ 9401557 w 14609453"/>
              <a:gd name="connsiteY247" fmla="*/ 1969992 h 5962351"/>
              <a:gd name="connsiteX248" fmla="*/ 9484222 w 14609453"/>
              <a:gd name="connsiteY248" fmla="*/ 1928007 h 5962351"/>
              <a:gd name="connsiteX249" fmla="*/ 9576425 w 14609453"/>
              <a:gd name="connsiteY249" fmla="*/ 1893656 h 5962351"/>
              <a:gd name="connsiteX250" fmla="*/ 9662269 w 14609453"/>
              <a:gd name="connsiteY250" fmla="*/ 1851672 h 5962351"/>
              <a:gd name="connsiteX251" fmla="*/ 9757652 w 14609453"/>
              <a:gd name="connsiteY251" fmla="*/ 1802053 h 5962351"/>
              <a:gd name="connsiteX252" fmla="*/ 9853035 w 14609453"/>
              <a:gd name="connsiteY252" fmla="*/ 1775336 h 5962351"/>
              <a:gd name="connsiteX253" fmla="*/ 9989750 w 14609453"/>
              <a:gd name="connsiteY253" fmla="*/ 1664649 h 5962351"/>
              <a:gd name="connsiteX254" fmla="*/ 10075594 w 14609453"/>
              <a:gd name="connsiteY254" fmla="*/ 1641748 h 5962351"/>
              <a:gd name="connsiteX255" fmla="*/ 10205951 w 14609453"/>
              <a:gd name="connsiteY255" fmla="*/ 1565412 h 5962351"/>
              <a:gd name="connsiteX256" fmla="*/ 10342666 w 14609453"/>
              <a:gd name="connsiteY256" fmla="*/ 1531062 h 5962351"/>
              <a:gd name="connsiteX257" fmla="*/ 10476202 w 14609453"/>
              <a:gd name="connsiteY257" fmla="*/ 1466176 h 5962351"/>
              <a:gd name="connsiteX258" fmla="*/ 10609738 w 14609453"/>
              <a:gd name="connsiteY258" fmla="*/ 1386023 h 5962351"/>
              <a:gd name="connsiteX259" fmla="*/ 10676506 w 14609453"/>
              <a:gd name="connsiteY259" fmla="*/ 1386023 h 5962351"/>
              <a:gd name="connsiteX260" fmla="*/ 10708300 w 14609453"/>
              <a:gd name="connsiteY260" fmla="*/ 1355489 h 5962351"/>
              <a:gd name="connsiteX261" fmla="*/ 10740094 w 14609453"/>
              <a:gd name="connsiteY261" fmla="*/ 1386023 h 5962351"/>
              <a:gd name="connsiteX262" fmla="*/ 10771888 w 14609453"/>
              <a:gd name="connsiteY262" fmla="*/ 1382207 h 5962351"/>
              <a:gd name="connsiteX263" fmla="*/ 10790965 w 14609453"/>
              <a:gd name="connsiteY263" fmla="*/ 1324955 h 5962351"/>
              <a:gd name="connsiteX264" fmla="*/ 10825939 w 14609453"/>
              <a:gd name="connsiteY264" fmla="*/ 1351672 h 5962351"/>
              <a:gd name="connsiteX265" fmla="*/ 10854553 w 14609453"/>
              <a:gd name="connsiteY265" fmla="*/ 1324955 h 5962351"/>
              <a:gd name="connsiteX266" fmla="*/ 10969013 w 14609453"/>
              <a:gd name="connsiteY266" fmla="*/ 1324955 h 5962351"/>
              <a:gd name="connsiteX267" fmla="*/ 11003986 w 14609453"/>
              <a:gd name="connsiteY267" fmla="*/ 1294421 h 5962351"/>
              <a:gd name="connsiteX268" fmla="*/ 11061216 w 14609453"/>
              <a:gd name="connsiteY268" fmla="*/ 1294421 h 5962351"/>
              <a:gd name="connsiteX269" fmla="*/ 11093010 w 14609453"/>
              <a:gd name="connsiteY269" fmla="*/ 1263886 h 5962351"/>
              <a:gd name="connsiteX270" fmla="*/ 11121625 w 14609453"/>
              <a:gd name="connsiteY270" fmla="*/ 1294421 h 5962351"/>
              <a:gd name="connsiteX271" fmla="*/ 11178855 w 14609453"/>
              <a:gd name="connsiteY271" fmla="*/ 1294421 h 5962351"/>
              <a:gd name="connsiteX272" fmla="*/ 11213828 w 14609453"/>
              <a:gd name="connsiteY272" fmla="*/ 1263886 h 5962351"/>
              <a:gd name="connsiteX273" fmla="*/ 11223367 w 14609453"/>
              <a:gd name="connsiteY273" fmla="*/ 1386023 h 5962351"/>
              <a:gd name="connsiteX274" fmla="*/ 11207469 w 14609453"/>
              <a:gd name="connsiteY274" fmla="*/ 1443275 h 5962351"/>
              <a:gd name="connsiteX275" fmla="*/ 11223367 w 14609453"/>
              <a:gd name="connsiteY275" fmla="*/ 1386023 h 5962351"/>
              <a:gd name="connsiteX276" fmla="*/ 11261520 w 14609453"/>
              <a:gd name="connsiteY276" fmla="*/ 1439459 h 5962351"/>
              <a:gd name="connsiteX277" fmla="*/ 11325108 w 14609453"/>
              <a:gd name="connsiteY277" fmla="*/ 1447092 h 5962351"/>
              <a:gd name="connsiteX278" fmla="*/ 11356902 w 14609453"/>
              <a:gd name="connsiteY278" fmla="*/ 1416558 h 5962351"/>
              <a:gd name="connsiteX279" fmla="*/ 11401414 w 14609453"/>
              <a:gd name="connsiteY279" fmla="*/ 1500527 h 5962351"/>
              <a:gd name="connsiteX280" fmla="*/ 11401414 w 14609453"/>
              <a:gd name="connsiteY280" fmla="*/ 1550145 h 5962351"/>
              <a:gd name="connsiteX281" fmla="*/ 11442747 w 14609453"/>
              <a:gd name="connsiteY281" fmla="*/ 1588313 h 5962351"/>
              <a:gd name="connsiteX282" fmla="*/ 11499976 w 14609453"/>
              <a:gd name="connsiteY282" fmla="*/ 1500527 h 5962351"/>
              <a:gd name="connsiteX283" fmla="*/ 11512694 w 14609453"/>
              <a:gd name="connsiteY283" fmla="*/ 1615031 h 5962351"/>
              <a:gd name="connsiteX284" fmla="*/ 11487259 w 14609453"/>
              <a:gd name="connsiteY284" fmla="*/ 1649382 h 5962351"/>
              <a:gd name="connsiteX285" fmla="*/ 11534950 w 14609453"/>
              <a:gd name="connsiteY285" fmla="*/ 1657015 h 5962351"/>
              <a:gd name="connsiteX286" fmla="*/ 11547668 w 14609453"/>
              <a:gd name="connsiteY286" fmla="*/ 1729534 h 5962351"/>
              <a:gd name="connsiteX287" fmla="*/ 11576283 w 14609453"/>
              <a:gd name="connsiteY287" fmla="*/ 1760069 h 5962351"/>
              <a:gd name="connsiteX288" fmla="*/ 11576283 w 14609453"/>
              <a:gd name="connsiteY288" fmla="*/ 1851672 h 5962351"/>
              <a:gd name="connsiteX289" fmla="*/ 11519053 w 14609453"/>
              <a:gd name="connsiteY289" fmla="*/ 1878389 h 5962351"/>
              <a:gd name="connsiteX290" fmla="*/ 11547668 w 14609453"/>
              <a:gd name="connsiteY290" fmla="*/ 1912740 h 5962351"/>
              <a:gd name="connsiteX291" fmla="*/ 11369620 w 14609453"/>
              <a:gd name="connsiteY291" fmla="*/ 2092129 h 5962351"/>
              <a:gd name="connsiteX292" fmla="*/ 11369620 w 14609453"/>
              <a:gd name="connsiteY292" fmla="*/ 2153198 h 5962351"/>
              <a:gd name="connsiteX293" fmla="*/ 11255161 w 14609453"/>
              <a:gd name="connsiteY293" fmla="*/ 2271518 h 5962351"/>
              <a:gd name="connsiteX294" fmla="*/ 11255161 w 14609453"/>
              <a:gd name="connsiteY294" fmla="*/ 2328770 h 5962351"/>
              <a:gd name="connsiteX295" fmla="*/ 11188393 w 14609453"/>
              <a:gd name="connsiteY295" fmla="*/ 2370755 h 5962351"/>
              <a:gd name="connsiteX296" fmla="*/ 11140701 w 14609453"/>
              <a:gd name="connsiteY296" fmla="*/ 2435640 h 5962351"/>
              <a:gd name="connsiteX297" fmla="*/ 11118446 w 14609453"/>
              <a:gd name="connsiteY297" fmla="*/ 2466174 h 5962351"/>
              <a:gd name="connsiteX298" fmla="*/ 11140701 w 14609453"/>
              <a:gd name="connsiteY298" fmla="*/ 2435640 h 5962351"/>
              <a:gd name="connsiteX299" fmla="*/ 11159778 w 14609453"/>
              <a:gd name="connsiteY299" fmla="*/ 2447090 h 5962351"/>
              <a:gd name="connsiteX300" fmla="*/ 11166137 w 14609453"/>
              <a:gd name="connsiteY300" fmla="*/ 2500525 h 5962351"/>
              <a:gd name="connsiteX301" fmla="*/ 10934039 w 14609453"/>
              <a:gd name="connsiteY301" fmla="*/ 2737166 h 5962351"/>
              <a:gd name="connsiteX302" fmla="*/ 10870450 w 14609453"/>
              <a:gd name="connsiteY302" fmla="*/ 2802052 h 5962351"/>
              <a:gd name="connsiteX303" fmla="*/ 10787785 w 14609453"/>
              <a:gd name="connsiteY303" fmla="*/ 2866937 h 5962351"/>
              <a:gd name="connsiteX304" fmla="*/ 10775068 w 14609453"/>
              <a:gd name="connsiteY304" fmla="*/ 2912738 h 5962351"/>
              <a:gd name="connsiteX305" fmla="*/ 10736915 w 14609453"/>
              <a:gd name="connsiteY305" fmla="*/ 2920372 h 5962351"/>
              <a:gd name="connsiteX306" fmla="*/ 10654250 w 14609453"/>
              <a:gd name="connsiteY306" fmla="*/ 3031059 h 5962351"/>
              <a:gd name="connsiteX307" fmla="*/ 10527073 w 14609453"/>
              <a:gd name="connsiteY307" fmla="*/ 3130295 h 5962351"/>
              <a:gd name="connsiteX308" fmla="*/ 10501637 w 14609453"/>
              <a:gd name="connsiteY308" fmla="*/ 3130295 h 5962351"/>
              <a:gd name="connsiteX309" fmla="*/ 10422152 w 14609453"/>
              <a:gd name="connsiteY309" fmla="*/ 3221898 h 5962351"/>
              <a:gd name="connsiteX310" fmla="*/ 10358563 w 14609453"/>
              <a:gd name="connsiteY310" fmla="*/ 3305868 h 5962351"/>
              <a:gd name="connsiteX311" fmla="*/ 10329948 w 14609453"/>
              <a:gd name="connsiteY311" fmla="*/ 3309684 h 5962351"/>
              <a:gd name="connsiteX312" fmla="*/ 10164618 w 14609453"/>
              <a:gd name="connsiteY312" fmla="*/ 3447089 h 5962351"/>
              <a:gd name="connsiteX313" fmla="*/ 10164618 w 14609453"/>
              <a:gd name="connsiteY313" fmla="*/ 3477623 h 5962351"/>
              <a:gd name="connsiteX314" fmla="*/ 10081953 w 14609453"/>
              <a:gd name="connsiteY314" fmla="*/ 3561592 h 5962351"/>
              <a:gd name="connsiteX315" fmla="*/ 10078774 w 14609453"/>
              <a:gd name="connsiteY315" fmla="*/ 3573043 h 5962351"/>
              <a:gd name="connsiteX316" fmla="*/ 10151901 w 14609453"/>
              <a:gd name="connsiteY316" fmla="*/ 3550142 h 5962351"/>
              <a:gd name="connsiteX317" fmla="*/ 10221848 w 14609453"/>
              <a:gd name="connsiteY317" fmla="*/ 3538692 h 5962351"/>
              <a:gd name="connsiteX318" fmla="*/ 10291795 w 14609453"/>
              <a:gd name="connsiteY318" fmla="*/ 3496707 h 5962351"/>
              <a:gd name="connsiteX319" fmla="*/ 10371281 w 14609453"/>
              <a:gd name="connsiteY319" fmla="*/ 3462356 h 5962351"/>
              <a:gd name="connsiteX320" fmla="*/ 10428511 w 14609453"/>
              <a:gd name="connsiteY320" fmla="*/ 3462356 h 5962351"/>
              <a:gd name="connsiteX321" fmla="*/ 10549329 w 14609453"/>
              <a:gd name="connsiteY321" fmla="*/ 3405104 h 5962351"/>
              <a:gd name="connsiteX322" fmla="*/ 10651070 w 14609453"/>
              <a:gd name="connsiteY322" fmla="*/ 3366936 h 5962351"/>
              <a:gd name="connsiteX323" fmla="*/ 10765529 w 14609453"/>
              <a:gd name="connsiteY323" fmla="*/ 3313501 h 5962351"/>
              <a:gd name="connsiteX324" fmla="*/ 10797324 w 14609453"/>
              <a:gd name="connsiteY324" fmla="*/ 3340219 h 5962351"/>
              <a:gd name="connsiteX325" fmla="*/ 10857733 w 14609453"/>
              <a:gd name="connsiteY325" fmla="*/ 3279150 h 5962351"/>
              <a:gd name="connsiteX326" fmla="*/ 10905424 w 14609453"/>
              <a:gd name="connsiteY326" fmla="*/ 3279150 h 5962351"/>
              <a:gd name="connsiteX327" fmla="*/ 11010345 w 14609453"/>
              <a:gd name="connsiteY327" fmla="*/ 3221898 h 5962351"/>
              <a:gd name="connsiteX328" fmla="*/ 11083472 w 14609453"/>
              <a:gd name="connsiteY328" fmla="*/ 3221898 h 5962351"/>
              <a:gd name="connsiteX329" fmla="*/ 11166137 w 14609453"/>
              <a:gd name="connsiteY329" fmla="*/ 3172280 h 5962351"/>
              <a:gd name="connsiteX330" fmla="*/ 11245622 w 14609453"/>
              <a:gd name="connsiteY330" fmla="*/ 3149379 h 5962351"/>
              <a:gd name="connsiteX331" fmla="*/ 11328287 w 14609453"/>
              <a:gd name="connsiteY331" fmla="*/ 3099761 h 5962351"/>
              <a:gd name="connsiteX332" fmla="*/ 11442747 w 14609453"/>
              <a:gd name="connsiteY332" fmla="*/ 3099761 h 5962351"/>
              <a:gd name="connsiteX333" fmla="*/ 11477720 w 14609453"/>
              <a:gd name="connsiteY333" fmla="*/ 3073043 h 5962351"/>
              <a:gd name="connsiteX334" fmla="*/ 11608077 w 14609453"/>
              <a:gd name="connsiteY334" fmla="*/ 3023425 h 5962351"/>
              <a:gd name="connsiteX335" fmla="*/ 11630333 w 14609453"/>
              <a:gd name="connsiteY335" fmla="*/ 3011975 h 5962351"/>
              <a:gd name="connsiteX336" fmla="*/ 11735254 w 14609453"/>
              <a:gd name="connsiteY336" fmla="*/ 2977624 h 5962351"/>
              <a:gd name="connsiteX337" fmla="*/ 11767048 w 14609453"/>
              <a:gd name="connsiteY337" fmla="*/ 2977624 h 5962351"/>
              <a:gd name="connsiteX338" fmla="*/ 11798842 w 14609453"/>
              <a:gd name="connsiteY338" fmla="*/ 2950906 h 5962351"/>
              <a:gd name="connsiteX339" fmla="*/ 11884687 w 14609453"/>
              <a:gd name="connsiteY339" fmla="*/ 2950906 h 5962351"/>
              <a:gd name="connsiteX340" fmla="*/ 11916481 w 14609453"/>
              <a:gd name="connsiteY340" fmla="*/ 2916555 h 5962351"/>
              <a:gd name="connsiteX341" fmla="*/ 11976890 w 14609453"/>
              <a:gd name="connsiteY341" fmla="*/ 2916555 h 5962351"/>
              <a:gd name="connsiteX342" fmla="*/ 11986428 w 14609453"/>
              <a:gd name="connsiteY342" fmla="*/ 2905105 h 5962351"/>
              <a:gd name="connsiteX343" fmla="*/ 11995967 w 14609453"/>
              <a:gd name="connsiteY343" fmla="*/ 2897471 h 5962351"/>
              <a:gd name="connsiteX344" fmla="*/ 12100888 w 14609453"/>
              <a:gd name="connsiteY344" fmla="*/ 2859303 h 5962351"/>
              <a:gd name="connsiteX345" fmla="*/ 12199450 w 14609453"/>
              <a:gd name="connsiteY345" fmla="*/ 2859303 h 5962351"/>
              <a:gd name="connsiteX346" fmla="*/ 12361600 w 14609453"/>
              <a:gd name="connsiteY346" fmla="*/ 2771517 h 5962351"/>
              <a:gd name="connsiteX347" fmla="*/ 12390215 w 14609453"/>
              <a:gd name="connsiteY347" fmla="*/ 2836403 h 5962351"/>
              <a:gd name="connsiteX348" fmla="*/ 12406112 w 14609453"/>
              <a:gd name="connsiteY348" fmla="*/ 2782968 h 5962351"/>
              <a:gd name="connsiteX349" fmla="*/ 12663646 w 14609453"/>
              <a:gd name="connsiteY349" fmla="*/ 2649380 h 5962351"/>
              <a:gd name="connsiteX350" fmla="*/ 12803540 w 14609453"/>
              <a:gd name="connsiteY350" fmla="*/ 2649380 h 5962351"/>
              <a:gd name="connsiteX351" fmla="*/ 12921179 w 14609453"/>
              <a:gd name="connsiteY351" fmla="*/ 2561594 h 5962351"/>
              <a:gd name="connsiteX352" fmla="*/ 12997485 w 14609453"/>
              <a:gd name="connsiteY352" fmla="*/ 2561594 h 5962351"/>
              <a:gd name="connsiteX353" fmla="*/ 13035638 w 14609453"/>
              <a:gd name="connsiteY353" fmla="*/ 2531060 h 5962351"/>
              <a:gd name="connsiteX354" fmla="*/ 13121483 w 14609453"/>
              <a:gd name="connsiteY354" fmla="*/ 2531060 h 5962351"/>
              <a:gd name="connsiteX355" fmla="*/ 13150097 w 14609453"/>
              <a:gd name="connsiteY355" fmla="*/ 2553961 h 5962351"/>
              <a:gd name="connsiteX356" fmla="*/ 13220045 w 14609453"/>
              <a:gd name="connsiteY356" fmla="*/ 2515793 h 5962351"/>
              <a:gd name="connsiteX357" fmla="*/ 13235942 w 14609453"/>
              <a:gd name="connsiteY357" fmla="*/ 2469991 h 5962351"/>
              <a:gd name="connsiteX358" fmla="*/ 13302710 w 14609453"/>
              <a:gd name="connsiteY358" fmla="*/ 2466174 h 5962351"/>
              <a:gd name="connsiteX359" fmla="*/ 13391734 w 14609453"/>
              <a:gd name="connsiteY359" fmla="*/ 2435640 h 5962351"/>
              <a:gd name="connsiteX360" fmla="*/ 13413990 w 14609453"/>
              <a:gd name="connsiteY360" fmla="*/ 2412739 h 5962351"/>
              <a:gd name="connsiteX361" fmla="*/ 13458502 w 14609453"/>
              <a:gd name="connsiteY361" fmla="*/ 2439457 h 5962351"/>
              <a:gd name="connsiteX362" fmla="*/ 13579320 w 14609453"/>
              <a:gd name="connsiteY362" fmla="*/ 2378388 h 5962351"/>
              <a:gd name="connsiteX363" fmla="*/ 13639729 w 14609453"/>
              <a:gd name="connsiteY363" fmla="*/ 2378388 h 5962351"/>
              <a:gd name="connsiteX364" fmla="*/ 13728753 w 14609453"/>
              <a:gd name="connsiteY364" fmla="*/ 2286785 h 5962351"/>
              <a:gd name="connsiteX365" fmla="*/ 13766906 w 14609453"/>
              <a:gd name="connsiteY365" fmla="*/ 2344037 h 5962351"/>
              <a:gd name="connsiteX366" fmla="*/ 13820956 w 14609453"/>
              <a:gd name="connsiteY366" fmla="*/ 2256251 h 5962351"/>
              <a:gd name="connsiteX367" fmla="*/ 13919518 w 14609453"/>
              <a:gd name="connsiteY367" fmla="*/ 2256251 h 5962351"/>
              <a:gd name="connsiteX368" fmla="*/ 13954492 w 14609453"/>
              <a:gd name="connsiteY368" fmla="*/ 2290602 h 5962351"/>
              <a:gd name="connsiteX369" fmla="*/ 13989465 w 14609453"/>
              <a:gd name="connsiteY369" fmla="*/ 2275335 h 5962351"/>
              <a:gd name="connsiteX370" fmla="*/ 14043516 w 14609453"/>
              <a:gd name="connsiteY370" fmla="*/ 2195183 h 5962351"/>
              <a:gd name="connsiteX371" fmla="*/ 14091207 w 14609453"/>
              <a:gd name="connsiteY371" fmla="*/ 2252434 h 5962351"/>
              <a:gd name="connsiteX372" fmla="*/ 14151616 w 14609453"/>
              <a:gd name="connsiteY372" fmla="*/ 2164648 h 5962351"/>
              <a:gd name="connsiteX373" fmla="*/ 14196128 w 14609453"/>
              <a:gd name="connsiteY373" fmla="*/ 2176099 h 5962351"/>
              <a:gd name="connsiteX374" fmla="*/ 14164334 w 14609453"/>
              <a:gd name="connsiteY374" fmla="*/ 2233350 h 5962351"/>
              <a:gd name="connsiteX375" fmla="*/ 14250178 w 14609453"/>
              <a:gd name="connsiteY375" fmla="*/ 2252434 h 5962351"/>
              <a:gd name="connsiteX376" fmla="*/ 14259716 w 14609453"/>
              <a:gd name="connsiteY376" fmla="*/ 2210450 h 5962351"/>
              <a:gd name="connsiteX377" fmla="*/ 14301049 w 14609453"/>
              <a:gd name="connsiteY377" fmla="*/ 2168465 h 5962351"/>
              <a:gd name="connsiteX378" fmla="*/ 14386893 w 14609453"/>
              <a:gd name="connsiteY378" fmla="*/ 2168465 h 5962351"/>
              <a:gd name="connsiteX379" fmla="*/ 14418688 w 14609453"/>
              <a:gd name="connsiteY379" fmla="*/ 2137931 h 5962351"/>
              <a:gd name="connsiteX380" fmla="*/ 14479097 w 14609453"/>
              <a:gd name="connsiteY380" fmla="*/ 2137931 h 5962351"/>
              <a:gd name="connsiteX381" fmla="*/ 14494994 w 14609453"/>
              <a:gd name="connsiteY381" fmla="*/ 2214266 h 5962351"/>
              <a:gd name="connsiteX382" fmla="*/ 14428226 w 14609453"/>
              <a:gd name="connsiteY382" fmla="*/ 2252434 h 5962351"/>
              <a:gd name="connsiteX383" fmla="*/ 14520429 w 14609453"/>
              <a:gd name="connsiteY383" fmla="*/ 2302052 h 5962351"/>
              <a:gd name="connsiteX384" fmla="*/ 14491814 w 14609453"/>
              <a:gd name="connsiteY384" fmla="*/ 2332587 h 5962351"/>
              <a:gd name="connsiteX385" fmla="*/ 14494994 w 14609453"/>
              <a:gd name="connsiteY385" fmla="*/ 2366938 h 5962351"/>
              <a:gd name="connsiteX386" fmla="*/ 14539506 w 14609453"/>
              <a:gd name="connsiteY386" fmla="*/ 2382205 h 5962351"/>
              <a:gd name="connsiteX387" fmla="*/ 14606274 w 14609453"/>
              <a:gd name="connsiteY387" fmla="*/ 2477625 h 5962351"/>
              <a:gd name="connsiteX388" fmla="*/ 14485455 w 14609453"/>
              <a:gd name="connsiteY388" fmla="*/ 2584495 h 5962351"/>
              <a:gd name="connsiteX389" fmla="*/ 14405970 w 14609453"/>
              <a:gd name="connsiteY389" fmla="*/ 2603579 h 5962351"/>
              <a:gd name="connsiteX390" fmla="*/ 14418688 w 14609453"/>
              <a:gd name="connsiteY390" fmla="*/ 2618846 h 5962351"/>
              <a:gd name="connsiteX391" fmla="*/ 14568120 w 14609453"/>
              <a:gd name="connsiteY391" fmla="*/ 2618846 h 5962351"/>
              <a:gd name="connsiteX392" fmla="*/ 14609453 w 14609453"/>
              <a:gd name="connsiteY392" fmla="*/ 2664647 h 5962351"/>
              <a:gd name="connsiteX393" fmla="*/ 14609453 w 14609453"/>
              <a:gd name="connsiteY393" fmla="*/ 2721899 h 5962351"/>
              <a:gd name="connsiteX394" fmla="*/ 14571300 w 14609453"/>
              <a:gd name="connsiteY394" fmla="*/ 2763884 h 5962351"/>
              <a:gd name="connsiteX395" fmla="*/ 14504532 w 14609453"/>
              <a:gd name="connsiteY395" fmla="*/ 2763884 h 5962351"/>
              <a:gd name="connsiteX396" fmla="*/ 14482276 w 14609453"/>
              <a:gd name="connsiteY396" fmla="*/ 2740983 h 5962351"/>
              <a:gd name="connsiteX397" fmla="*/ 14463199 w 14609453"/>
              <a:gd name="connsiteY397" fmla="*/ 2756250 h 5962351"/>
              <a:gd name="connsiteX398" fmla="*/ 14418688 w 14609453"/>
              <a:gd name="connsiteY398" fmla="*/ 2828769 h 5962351"/>
              <a:gd name="connsiteX399" fmla="*/ 14320125 w 14609453"/>
              <a:gd name="connsiteY399" fmla="*/ 2893655 h 5962351"/>
              <a:gd name="connsiteX400" fmla="*/ 14266075 w 14609453"/>
              <a:gd name="connsiteY400" fmla="*/ 2863120 h 5962351"/>
              <a:gd name="connsiteX401" fmla="*/ 14256537 w 14609453"/>
              <a:gd name="connsiteY401" fmla="*/ 2935639 h 5962351"/>
              <a:gd name="connsiteX402" fmla="*/ 14113463 w 14609453"/>
              <a:gd name="connsiteY402" fmla="*/ 3011975 h 5962351"/>
              <a:gd name="connsiteX403" fmla="*/ 14059413 w 14609453"/>
              <a:gd name="connsiteY403" fmla="*/ 2954723 h 5962351"/>
              <a:gd name="connsiteX404" fmla="*/ 14053054 w 14609453"/>
              <a:gd name="connsiteY404" fmla="*/ 2962356 h 5962351"/>
              <a:gd name="connsiteX405" fmla="*/ 14053054 w 14609453"/>
              <a:gd name="connsiteY405" fmla="*/ 3111211 h 5962351"/>
              <a:gd name="connsiteX406" fmla="*/ 13916339 w 14609453"/>
              <a:gd name="connsiteY406" fmla="*/ 3157013 h 5962351"/>
              <a:gd name="connsiteX407" fmla="*/ 13868647 w 14609453"/>
              <a:gd name="connsiteY407" fmla="*/ 3221898 h 5962351"/>
              <a:gd name="connsiteX408" fmla="*/ 13801879 w 14609453"/>
              <a:gd name="connsiteY408" fmla="*/ 3221898 h 5962351"/>
              <a:gd name="connsiteX409" fmla="*/ 13766906 w 14609453"/>
              <a:gd name="connsiteY409" fmla="*/ 3187547 h 5962351"/>
              <a:gd name="connsiteX410" fmla="*/ 13725573 w 14609453"/>
              <a:gd name="connsiteY410" fmla="*/ 3198997 h 5962351"/>
              <a:gd name="connsiteX411" fmla="*/ 13757367 w 14609453"/>
              <a:gd name="connsiteY411" fmla="*/ 3237165 h 5962351"/>
              <a:gd name="connsiteX412" fmla="*/ 13716035 w 14609453"/>
              <a:gd name="connsiteY412" fmla="*/ 3275333 h 5962351"/>
              <a:gd name="connsiteX413" fmla="*/ 13563423 w 14609453"/>
              <a:gd name="connsiteY413" fmla="*/ 3344035 h 5962351"/>
              <a:gd name="connsiteX414" fmla="*/ 13512552 w 14609453"/>
              <a:gd name="connsiteY414" fmla="*/ 3393653 h 5962351"/>
              <a:gd name="connsiteX415" fmla="*/ 13487116 w 14609453"/>
              <a:gd name="connsiteY415" fmla="*/ 3401287 h 5962351"/>
              <a:gd name="connsiteX416" fmla="*/ 13391734 w 14609453"/>
              <a:gd name="connsiteY416" fmla="*/ 3424188 h 5962351"/>
              <a:gd name="connsiteX417" fmla="*/ 13220045 w 14609453"/>
              <a:gd name="connsiteY417" fmla="*/ 3458539 h 5962351"/>
              <a:gd name="connsiteX418" fmla="*/ 13099227 w 14609453"/>
              <a:gd name="connsiteY418" fmla="*/ 3546325 h 5962351"/>
              <a:gd name="connsiteX419" fmla="*/ 13035638 w 14609453"/>
              <a:gd name="connsiteY419" fmla="*/ 3523424 h 5962351"/>
              <a:gd name="connsiteX420" fmla="*/ 12975229 w 14609453"/>
              <a:gd name="connsiteY420" fmla="*/ 3523424 h 5962351"/>
              <a:gd name="connsiteX421" fmla="*/ 12917999 w 14609453"/>
              <a:gd name="connsiteY421" fmla="*/ 3580676 h 5962351"/>
              <a:gd name="connsiteX422" fmla="*/ 12832155 w 14609453"/>
              <a:gd name="connsiteY422" fmla="*/ 3580676 h 5962351"/>
              <a:gd name="connsiteX423" fmla="*/ 12800361 w 14609453"/>
              <a:gd name="connsiteY423" fmla="*/ 3611211 h 5962351"/>
              <a:gd name="connsiteX424" fmla="*/ 12733593 w 14609453"/>
              <a:gd name="connsiteY424" fmla="*/ 3511974 h 5962351"/>
              <a:gd name="connsiteX425" fmla="*/ 12720875 w 14609453"/>
              <a:gd name="connsiteY425" fmla="*/ 3603577 h 5962351"/>
              <a:gd name="connsiteX426" fmla="*/ 12631851 w 14609453"/>
              <a:gd name="connsiteY426" fmla="*/ 3588310 h 5962351"/>
              <a:gd name="connsiteX427" fmla="*/ 12698619 w 14609453"/>
              <a:gd name="connsiteY427" fmla="*/ 3538692 h 5962351"/>
              <a:gd name="connsiteX428" fmla="*/ 12625492 w 14609453"/>
              <a:gd name="connsiteY428" fmla="*/ 3519608 h 5962351"/>
              <a:gd name="connsiteX429" fmla="*/ 12590519 w 14609453"/>
              <a:gd name="connsiteY429" fmla="*/ 3550142 h 5962351"/>
              <a:gd name="connsiteX430" fmla="*/ 12533289 w 14609453"/>
              <a:gd name="connsiteY430" fmla="*/ 3550142 h 5962351"/>
              <a:gd name="connsiteX431" fmla="*/ 12469701 w 14609453"/>
              <a:gd name="connsiteY431" fmla="*/ 3637928 h 5962351"/>
              <a:gd name="connsiteX432" fmla="*/ 12447445 w 14609453"/>
              <a:gd name="connsiteY432" fmla="*/ 3611211 h 5962351"/>
              <a:gd name="connsiteX433" fmla="*/ 12396574 w 14609453"/>
              <a:gd name="connsiteY433" fmla="*/ 3611211 h 5962351"/>
              <a:gd name="connsiteX434" fmla="*/ 12285294 w 14609453"/>
              <a:gd name="connsiteY434" fmla="*/ 3653195 h 5962351"/>
              <a:gd name="connsiteX435" fmla="*/ 12310729 w 14609453"/>
              <a:gd name="connsiteY435" fmla="*/ 3687546 h 5962351"/>
              <a:gd name="connsiteX436" fmla="*/ 12313909 w 14609453"/>
              <a:gd name="connsiteY436" fmla="*/ 3752431 h 5962351"/>
              <a:gd name="connsiteX437" fmla="*/ 12263038 w 14609453"/>
              <a:gd name="connsiteY437" fmla="*/ 3794416 h 5962351"/>
              <a:gd name="connsiteX438" fmla="*/ 12253500 w 14609453"/>
              <a:gd name="connsiteY438" fmla="*/ 3752431 h 5962351"/>
              <a:gd name="connsiteX439" fmla="*/ 12282115 w 14609453"/>
              <a:gd name="connsiteY439" fmla="*/ 3718080 h 5962351"/>
              <a:gd name="connsiteX440" fmla="*/ 12208988 w 14609453"/>
              <a:gd name="connsiteY440" fmla="*/ 3676096 h 5962351"/>
              <a:gd name="connsiteX441" fmla="*/ 12113605 w 14609453"/>
              <a:gd name="connsiteY441" fmla="*/ 3748615 h 5962351"/>
              <a:gd name="connsiteX442" fmla="*/ 12164476 w 14609453"/>
              <a:gd name="connsiteY442" fmla="*/ 3775332 h 5962351"/>
              <a:gd name="connsiteX443" fmla="*/ 12167655 w 14609453"/>
              <a:gd name="connsiteY443" fmla="*/ 3805866 h 5962351"/>
              <a:gd name="connsiteX444" fmla="*/ 12081811 w 14609453"/>
              <a:gd name="connsiteY444" fmla="*/ 3828767 h 5962351"/>
              <a:gd name="connsiteX445" fmla="*/ 12075452 w 14609453"/>
              <a:gd name="connsiteY445" fmla="*/ 3866935 h 5962351"/>
              <a:gd name="connsiteX446" fmla="*/ 11948275 w 14609453"/>
              <a:gd name="connsiteY446" fmla="*/ 3912736 h 5962351"/>
              <a:gd name="connsiteX447" fmla="*/ 11919660 w 14609453"/>
              <a:gd name="connsiteY447" fmla="*/ 3886019 h 5962351"/>
              <a:gd name="connsiteX448" fmla="*/ 11757510 w 14609453"/>
              <a:gd name="connsiteY448" fmla="*/ 3969988 h 5962351"/>
              <a:gd name="connsiteX449" fmla="*/ 11614436 w 14609453"/>
              <a:gd name="connsiteY449" fmla="*/ 3969988 h 5962351"/>
              <a:gd name="connsiteX450" fmla="*/ 11604897 w 14609453"/>
              <a:gd name="connsiteY450" fmla="*/ 4019606 h 5962351"/>
              <a:gd name="connsiteX451" fmla="*/ 11563565 w 14609453"/>
              <a:gd name="connsiteY451" fmla="*/ 4061591 h 5962351"/>
              <a:gd name="connsiteX452" fmla="*/ 11541309 w 14609453"/>
              <a:gd name="connsiteY452" fmla="*/ 4008156 h 5962351"/>
              <a:gd name="connsiteX453" fmla="*/ 11499976 w 14609453"/>
              <a:gd name="connsiteY453" fmla="*/ 4000523 h 5962351"/>
              <a:gd name="connsiteX454" fmla="*/ 11484079 w 14609453"/>
              <a:gd name="connsiteY454" fmla="*/ 4053958 h 5962351"/>
              <a:gd name="connsiteX455" fmla="*/ 11471362 w 14609453"/>
              <a:gd name="connsiteY455" fmla="*/ 4061591 h 5962351"/>
              <a:gd name="connsiteX456" fmla="*/ 11296493 w 14609453"/>
              <a:gd name="connsiteY456" fmla="*/ 4061591 h 5962351"/>
              <a:gd name="connsiteX457" fmla="*/ 11236084 w 14609453"/>
              <a:gd name="connsiteY457" fmla="*/ 4099759 h 5962351"/>
              <a:gd name="connsiteX458" fmla="*/ 11182034 w 14609453"/>
              <a:gd name="connsiteY458" fmla="*/ 4149377 h 5962351"/>
              <a:gd name="connsiteX459" fmla="*/ 11089831 w 14609453"/>
              <a:gd name="connsiteY459" fmla="*/ 4149377 h 5962351"/>
              <a:gd name="connsiteX460" fmla="*/ 11042139 w 14609453"/>
              <a:gd name="connsiteY460" fmla="*/ 4214263 h 5962351"/>
              <a:gd name="connsiteX461" fmla="*/ 10975371 w 14609453"/>
              <a:gd name="connsiteY461" fmla="*/ 4214263 h 5962351"/>
              <a:gd name="connsiteX462" fmla="*/ 10940398 w 14609453"/>
              <a:gd name="connsiteY462" fmla="*/ 4244797 h 5962351"/>
              <a:gd name="connsiteX463" fmla="*/ 10886348 w 14609453"/>
              <a:gd name="connsiteY463" fmla="*/ 4244797 h 5962351"/>
              <a:gd name="connsiteX464" fmla="*/ 10851374 w 14609453"/>
              <a:gd name="connsiteY464" fmla="*/ 4275331 h 5962351"/>
              <a:gd name="connsiteX465" fmla="*/ 10771888 w 14609453"/>
              <a:gd name="connsiteY465" fmla="*/ 4275331 h 5962351"/>
              <a:gd name="connsiteX466" fmla="*/ 10736915 w 14609453"/>
              <a:gd name="connsiteY466" fmla="*/ 4302049 h 5962351"/>
              <a:gd name="connsiteX467" fmla="*/ 10651070 w 14609453"/>
              <a:gd name="connsiteY467" fmla="*/ 4302049 h 5962351"/>
              <a:gd name="connsiteX468" fmla="*/ 10546149 w 14609453"/>
              <a:gd name="connsiteY468" fmla="*/ 4424186 h 5962351"/>
              <a:gd name="connsiteX469" fmla="*/ 10441228 w 14609453"/>
              <a:gd name="connsiteY469" fmla="*/ 4424186 h 5962351"/>
              <a:gd name="connsiteX470" fmla="*/ 10387178 w 14609453"/>
              <a:gd name="connsiteY470" fmla="*/ 4481438 h 5962351"/>
              <a:gd name="connsiteX471" fmla="*/ 10355384 w 14609453"/>
              <a:gd name="connsiteY471" fmla="*/ 4458537 h 5962351"/>
              <a:gd name="connsiteX472" fmla="*/ 10326769 w 14609453"/>
              <a:gd name="connsiteY472" fmla="*/ 4481438 h 5962351"/>
              <a:gd name="connsiteX473" fmla="*/ 10294975 w 14609453"/>
              <a:gd name="connsiteY473" fmla="*/ 4454720 h 5962351"/>
              <a:gd name="connsiteX474" fmla="*/ 10250463 w 14609453"/>
              <a:gd name="connsiteY474" fmla="*/ 4454720 h 5962351"/>
              <a:gd name="connsiteX475" fmla="*/ 10234566 w 14609453"/>
              <a:gd name="connsiteY475" fmla="*/ 4397469 h 5962351"/>
              <a:gd name="connsiteX476" fmla="*/ 10250463 w 14609453"/>
              <a:gd name="connsiteY476" fmla="*/ 4454720 h 5962351"/>
              <a:gd name="connsiteX477" fmla="*/ 10139183 w 14609453"/>
              <a:gd name="connsiteY477" fmla="*/ 4557774 h 5962351"/>
              <a:gd name="connsiteX478" fmla="*/ 10059697 w 14609453"/>
              <a:gd name="connsiteY478" fmla="*/ 4576858 h 5962351"/>
              <a:gd name="connsiteX479" fmla="*/ 10002468 w 14609453"/>
              <a:gd name="connsiteY479" fmla="*/ 4634109 h 5962351"/>
              <a:gd name="connsiteX480" fmla="*/ 9903906 w 14609453"/>
              <a:gd name="connsiteY480" fmla="*/ 4634109 h 5962351"/>
              <a:gd name="connsiteX481" fmla="*/ 9894367 w 14609453"/>
              <a:gd name="connsiteY481" fmla="*/ 4683728 h 5962351"/>
              <a:gd name="connsiteX482" fmla="*/ 9856214 w 14609453"/>
              <a:gd name="connsiteY482" fmla="*/ 4721895 h 5962351"/>
              <a:gd name="connsiteX483" fmla="*/ 9798985 w 14609453"/>
              <a:gd name="connsiteY483" fmla="*/ 4721895 h 5962351"/>
              <a:gd name="connsiteX484" fmla="*/ 9764011 w 14609453"/>
              <a:gd name="connsiteY484" fmla="*/ 4756247 h 5962351"/>
              <a:gd name="connsiteX485" fmla="*/ 9678166 w 14609453"/>
              <a:gd name="connsiteY485" fmla="*/ 4756247 h 5962351"/>
              <a:gd name="connsiteX486" fmla="*/ 9646372 w 14609453"/>
              <a:gd name="connsiteY486" fmla="*/ 4786781 h 5962351"/>
              <a:gd name="connsiteX487" fmla="*/ 9601860 w 14609453"/>
              <a:gd name="connsiteY487" fmla="*/ 4786781 h 5962351"/>
              <a:gd name="connsiteX488" fmla="*/ 9194894 w 14609453"/>
              <a:gd name="connsiteY488" fmla="*/ 4996704 h 5962351"/>
              <a:gd name="connsiteX489" fmla="*/ 9131306 w 14609453"/>
              <a:gd name="connsiteY489" fmla="*/ 4996704 h 5962351"/>
              <a:gd name="connsiteX490" fmla="*/ 9067717 w 14609453"/>
              <a:gd name="connsiteY490" fmla="*/ 5023422 h 5962351"/>
              <a:gd name="connsiteX491" fmla="*/ 9007308 w 14609453"/>
              <a:gd name="connsiteY491" fmla="*/ 5057773 h 5962351"/>
              <a:gd name="connsiteX492" fmla="*/ 8943720 w 14609453"/>
              <a:gd name="connsiteY492" fmla="*/ 5084490 h 5962351"/>
              <a:gd name="connsiteX493" fmla="*/ 8826081 w 14609453"/>
              <a:gd name="connsiteY493" fmla="*/ 5084490 h 5962351"/>
              <a:gd name="connsiteX494" fmla="*/ 8794287 w 14609453"/>
              <a:gd name="connsiteY494" fmla="*/ 5115025 h 5962351"/>
              <a:gd name="connsiteX495" fmla="*/ 8670289 w 14609453"/>
              <a:gd name="connsiteY495" fmla="*/ 5115025 h 5962351"/>
              <a:gd name="connsiteX496" fmla="*/ 8613059 w 14609453"/>
              <a:gd name="connsiteY496" fmla="*/ 5027238 h 5962351"/>
              <a:gd name="connsiteX497" fmla="*/ 8485882 w 14609453"/>
              <a:gd name="connsiteY497" fmla="*/ 5069223 h 5962351"/>
              <a:gd name="connsiteX498" fmla="*/ 8485882 w 14609453"/>
              <a:gd name="connsiteY498" fmla="*/ 5103574 h 5962351"/>
              <a:gd name="connsiteX499" fmla="*/ 8323732 w 14609453"/>
              <a:gd name="connsiteY499" fmla="*/ 5183727 h 5962351"/>
              <a:gd name="connsiteX500" fmla="*/ 8301476 w 14609453"/>
              <a:gd name="connsiteY500" fmla="*/ 5126475 h 5962351"/>
              <a:gd name="connsiteX501" fmla="*/ 8228349 w 14609453"/>
              <a:gd name="connsiteY501" fmla="*/ 5115025 h 5962351"/>
              <a:gd name="connsiteX502" fmla="*/ 8212452 w 14609453"/>
              <a:gd name="connsiteY502" fmla="*/ 5061589 h 5962351"/>
              <a:gd name="connsiteX503" fmla="*/ 8148864 w 14609453"/>
              <a:gd name="connsiteY503" fmla="*/ 5111208 h 5962351"/>
              <a:gd name="connsiteX504" fmla="*/ 8047122 w 14609453"/>
              <a:gd name="connsiteY504" fmla="*/ 5145559 h 5962351"/>
              <a:gd name="connsiteX505" fmla="*/ 8031225 w 14609453"/>
              <a:gd name="connsiteY505" fmla="*/ 5145559 h 5962351"/>
              <a:gd name="connsiteX506" fmla="*/ 7897689 w 14609453"/>
              <a:gd name="connsiteY506" fmla="*/ 5042506 h 5962351"/>
              <a:gd name="connsiteX507" fmla="*/ 7929484 w 14609453"/>
              <a:gd name="connsiteY507" fmla="*/ 5004338 h 5962351"/>
              <a:gd name="connsiteX508" fmla="*/ 7872254 w 14609453"/>
              <a:gd name="connsiteY508" fmla="*/ 4886017 h 5962351"/>
              <a:gd name="connsiteX509" fmla="*/ 7894510 w 14609453"/>
              <a:gd name="connsiteY509" fmla="*/ 4863117 h 5962351"/>
              <a:gd name="connsiteX510" fmla="*/ 7894510 w 14609453"/>
              <a:gd name="connsiteY510" fmla="*/ 4672277 h 5962351"/>
              <a:gd name="connsiteX511" fmla="*/ 7741898 w 14609453"/>
              <a:gd name="connsiteY511" fmla="*/ 4653193 h 5962351"/>
              <a:gd name="connsiteX512" fmla="*/ 7710103 w 14609453"/>
              <a:gd name="connsiteY512" fmla="*/ 4599758 h 5962351"/>
              <a:gd name="connsiteX513" fmla="*/ 7691026 w 14609453"/>
              <a:gd name="connsiteY513" fmla="*/ 4664644 h 5962351"/>
              <a:gd name="connsiteX514" fmla="*/ 7662412 w 14609453"/>
              <a:gd name="connsiteY514" fmla="*/ 4653193 h 5962351"/>
              <a:gd name="connsiteX515" fmla="*/ 7662412 w 14609453"/>
              <a:gd name="connsiteY515" fmla="*/ 4496705 h 5962351"/>
              <a:gd name="connsiteX516" fmla="*/ 7675130 w 14609453"/>
              <a:gd name="connsiteY516" fmla="*/ 4485255 h 5962351"/>
              <a:gd name="connsiteX517" fmla="*/ 7792768 w 14609453"/>
              <a:gd name="connsiteY517" fmla="*/ 4485255 h 5962351"/>
              <a:gd name="connsiteX518" fmla="*/ 7815024 w 14609453"/>
              <a:gd name="connsiteY518" fmla="*/ 4508155 h 5962351"/>
              <a:gd name="connsiteX519" fmla="*/ 7923124 w 14609453"/>
              <a:gd name="connsiteY519" fmla="*/ 4435636 h 5962351"/>
              <a:gd name="connsiteX520" fmla="*/ 7948560 w 14609453"/>
              <a:gd name="connsiteY520" fmla="*/ 4313499 h 5962351"/>
              <a:gd name="connsiteX521" fmla="*/ 7929484 w 14609453"/>
              <a:gd name="connsiteY521" fmla="*/ 4294415 h 5962351"/>
              <a:gd name="connsiteX522" fmla="*/ 7967636 w 14609453"/>
              <a:gd name="connsiteY522" fmla="*/ 4214263 h 5962351"/>
              <a:gd name="connsiteX523" fmla="*/ 8028046 w 14609453"/>
              <a:gd name="connsiteY523" fmla="*/ 4240980 h 5962351"/>
              <a:gd name="connsiteX524" fmla="*/ 8094814 w 14609453"/>
              <a:gd name="connsiteY524" fmla="*/ 4240980 h 5962351"/>
              <a:gd name="connsiteX525" fmla="*/ 8101172 w 14609453"/>
              <a:gd name="connsiteY525" fmla="*/ 4198996 h 5962351"/>
              <a:gd name="connsiteX526" fmla="*/ 8072558 w 14609453"/>
              <a:gd name="connsiteY526" fmla="*/ 4153194 h 5962351"/>
              <a:gd name="connsiteX527" fmla="*/ 8117070 w 14609453"/>
              <a:gd name="connsiteY527" fmla="*/ 4153194 h 5962351"/>
              <a:gd name="connsiteX528" fmla="*/ 8180658 w 14609453"/>
              <a:gd name="connsiteY528" fmla="*/ 4061591 h 5962351"/>
              <a:gd name="connsiteX529" fmla="*/ 8231528 w 14609453"/>
              <a:gd name="connsiteY529" fmla="*/ 3977622 h 5962351"/>
              <a:gd name="connsiteX530" fmla="*/ 8291938 w 14609453"/>
              <a:gd name="connsiteY530" fmla="*/ 3882202 h 5962351"/>
              <a:gd name="connsiteX531" fmla="*/ 8336450 w 14609453"/>
              <a:gd name="connsiteY531" fmla="*/ 3878385 h 5962351"/>
              <a:gd name="connsiteX532" fmla="*/ 8365064 w 14609453"/>
              <a:gd name="connsiteY532" fmla="*/ 3901286 h 5962351"/>
              <a:gd name="connsiteX533" fmla="*/ 8336450 w 14609453"/>
              <a:gd name="connsiteY533" fmla="*/ 3878385 h 5962351"/>
              <a:gd name="connsiteX534" fmla="*/ 8368244 w 14609453"/>
              <a:gd name="connsiteY534" fmla="*/ 3828767 h 5962351"/>
              <a:gd name="connsiteX535" fmla="*/ 8368244 w 14609453"/>
              <a:gd name="connsiteY535" fmla="*/ 3811592 h 5962351"/>
              <a:gd name="connsiteX536" fmla="*/ 8368244 w 14609453"/>
              <a:gd name="connsiteY536" fmla="*/ 3792108 h 5962351"/>
              <a:gd name="connsiteX537" fmla="*/ 8375000 w 14609453"/>
              <a:gd name="connsiteY537" fmla="*/ 3793939 h 5962351"/>
              <a:gd name="connsiteX538" fmla="*/ 8393679 w 14609453"/>
              <a:gd name="connsiteY538" fmla="*/ 3802050 h 5962351"/>
              <a:gd name="connsiteX539" fmla="*/ 8409576 w 14609453"/>
              <a:gd name="connsiteY539" fmla="*/ 3851668 h 5962351"/>
              <a:gd name="connsiteX540" fmla="*/ 8444550 w 14609453"/>
              <a:gd name="connsiteY540" fmla="*/ 3851668 h 5962351"/>
              <a:gd name="connsiteX541" fmla="*/ 8463627 w 14609453"/>
              <a:gd name="connsiteY541" fmla="*/ 3802050 h 5962351"/>
              <a:gd name="connsiteX542" fmla="*/ 8482703 w 14609453"/>
              <a:gd name="connsiteY542" fmla="*/ 3748615 h 5962351"/>
              <a:gd name="connsiteX543" fmla="*/ 8460447 w 14609453"/>
              <a:gd name="connsiteY543" fmla="*/ 3729531 h 5962351"/>
              <a:gd name="connsiteX544" fmla="*/ 8368244 w 14609453"/>
              <a:gd name="connsiteY544" fmla="*/ 3782966 h 5962351"/>
              <a:gd name="connsiteX545" fmla="*/ 8288758 w 14609453"/>
              <a:gd name="connsiteY545" fmla="*/ 3790599 h 5962351"/>
              <a:gd name="connsiteX546" fmla="*/ 8269682 w 14609453"/>
              <a:gd name="connsiteY546" fmla="*/ 3847851 h 5962351"/>
              <a:gd name="connsiteX547" fmla="*/ 8180658 w 14609453"/>
              <a:gd name="connsiteY547" fmla="*/ 3847851 h 5962351"/>
              <a:gd name="connsiteX548" fmla="*/ 8082096 w 14609453"/>
              <a:gd name="connsiteY548" fmla="*/ 3920370 h 5962351"/>
              <a:gd name="connsiteX549" fmla="*/ 7999430 w 14609453"/>
              <a:gd name="connsiteY549" fmla="*/ 4004339 h 5962351"/>
              <a:gd name="connsiteX550" fmla="*/ 7939022 w 14609453"/>
              <a:gd name="connsiteY550" fmla="*/ 4004339 h 5962351"/>
              <a:gd name="connsiteX551" fmla="*/ 7795948 w 14609453"/>
              <a:gd name="connsiteY551" fmla="*/ 4118843 h 5962351"/>
              <a:gd name="connsiteX552" fmla="*/ 7706924 w 14609453"/>
              <a:gd name="connsiteY552" fmla="*/ 4153194 h 5962351"/>
              <a:gd name="connsiteX553" fmla="*/ 7646514 w 14609453"/>
              <a:gd name="connsiteY553" fmla="*/ 4153194 h 5962351"/>
              <a:gd name="connsiteX554" fmla="*/ 7506620 w 14609453"/>
              <a:gd name="connsiteY554" fmla="*/ 4271515 h 5962351"/>
              <a:gd name="connsiteX555" fmla="*/ 7408058 w 14609453"/>
              <a:gd name="connsiteY555" fmla="*/ 4271515 h 5962351"/>
              <a:gd name="connsiteX556" fmla="*/ 7376264 w 14609453"/>
              <a:gd name="connsiteY556" fmla="*/ 4324950 h 5962351"/>
              <a:gd name="connsiteX557" fmla="*/ 7309496 w 14609453"/>
              <a:gd name="connsiteY557" fmla="*/ 4340217 h 5962351"/>
              <a:gd name="connsiteX558" fmla="*/ 7303137 w 14609453"/>
              <a:gd name="connsiteY558" fmla="*/ 4412736 h 5962351"/>
              <a:gd name="connsiteX559" fmla="*/ 7230010 w 14609453"/>
              <a:gd name="connsiteY559" fmla="*/ 4458537 h 5962351"/>
              <a:gd name="connsiteX560" fmla="*/ 7160062 w 14609453"/>
              <a:gd name="connsiteY560" fmla="*/ 4500522 h 5962351"/>
              <a:gd name="connsiteX561" fmla="*/ 7160062 w 14609453"/>
              <a:gd name="connsiteY561" fmla="*/ 4531056 h 5962351"/>
              <a:gd name="connsiteX562" fmla="*/ 7083756 w 14609453"/>
              <a:gd name="connsiteY562" fmla="*/ 4569224 h 5962351"/>
              <a:gd name="connsiteX563" fmla="*/ 7020168 w 14609453"/>
              <a:gd name="connsiteY563" fmla="*/ 4477621 h 5962351"/>
              <a:gd name="connsiteX564" fmla="*/ 7007450 w 14609453"/>
              <a:gd name="connsiteY564" fmla="*/ 4569224 h 5962351"/>
              <a:gd name="connsiteX565" fmla="*/ 6966118 w 14609453"/>
              <a:gd name="connsiteY565" fmla="*/ 4576858 h 5962351"/>
              <a:gd name="connsiteX566" fmla="*/ 6883453 w 14609453"/>
              <a:gd name="connsiteY566" fmla="*/ 4660827 h 5962351"/>
              <a:gd name="connsiteX567" fmla="*/ 6823044 w 14609453"/>
              <a:gd name="connsiteY567" fmla="*/ 4634109 h 5962351"/>
              <a:gd name="connsiteX568" fmla="*/ 6737200 w 14609453"/>
              <a:gd name="connsiteY568" fmla="*/ 4748613 h 5962351"/>
              <a:gd name="connsiteX569" fmla="*/ 6676790 w 14609453"/>
              <a:gd name="connsiteY569" fmla="*/ 4698995 h 5962351"/>
              <a:gd name="connsiteX570" fmla="*/ 6654534 w 14609453"/>
              <a:gd name="connsiteY570" fmla="*/ 4775330 h 5962351"/>
              <a:gd name="connsiteX571" fmla="*/ 6584587 w 14609453"/>
              <a:gd name="connsiteY571" fmla="*/ 4786781 h 5962351"/>
              <a:gd name="connsiteX572" fmla="*/ 6473307 w 14609453"/>
              <a:gd name="connsiteY572" fmla="*/ 4901284 h 5962351"/>
              <a:gd name="connsiteX573" fmla="*/ 6431974 w 14609453"/>
              <a:gd name="connsiteY573" fmla="*/ 4912735 h 5962351"/>
              <a:gd name="connsiteX574" fmla="*/ 6397001 w 14609453"/>
              <a:gd name="connsiteY574" fmla="*/ 4966170 h 5962351"/>
              <a:gd name="connsiteX575" fmla="*/ 6381104 w 14609453"/>
              <a:gd name="connsiteY575" fmla="*/ 4966170 h 5962351"/>
              <a:gd name="connsiteX576" fmla="*/ 6247569 w 14609453"/>
              <a:gd name="connsiteY576" fmla="*/ 5069223 h 5962351"/>
              <a:gd name="connsiteX577" fmla="*/ 6247569 w 14609453"/>
              <a:gd name="connsiteY577" fmla="*/ 5099757 h 5962351"/>
              <a:gd name="connsiteX578" fmla="*/ 6059982 w 14609453"/>
              <a:gd name="connsiteY578" fmla="*/ 5198994 h 5962351"/>
              <a:gd name="connsiteX579" fmla="*/ 6002753 w 14609453"/>
              <a:gd name="connsiteY579" fmla="*/ 5260062 h 5962351"/>
              <a:gd name="connsiteX580" fmla="*/ 5910549 w 14609453"/>
              <a:gd name="connsiteY580" fmla="*/ 5324948 h 5962351"/>
              <a:gd name="connsiteX581" fmla="*/ 5818346 w 14609453"/>
              <a:gd name="connsiteY581" fmla="*/ 5386016 h 5962351"/>
              <a:gd name="connsiteX582" fmla="*/ 5742040 w 14609453"/>
              <a:gd name="connsiteY582" fmla="*/ 5450902 h 5962351"/>
              <a:gd name="connsiteX583" fmla="*/ 5646658 w 14609453"/>
              <a:gd name="connsiteY583" fmla="*/ 5504337 h 5962351"/>
              <a:gd name="connsiteX584" fmla="*/ 5554454 w 14609453"/>
              <a:gd name="connsiteY584" fmla="*/ 5565405 h 5962351"/>
              <a:gd name="connsiteX585" fmla="*/ 5519480 w 14609453"/>
              <a:gd name="connsiteY585" fmla="*/ 5534871 h 5962351"/>
              <a:gd name="connsiteX586" fmla="*/ 5405021 w 14609453"/>
              <a:gd name="connsiteY586" fmla="*/ 5569222 h 5962351"/>
              <a:gd name="connsiteX587" fmla="*/ 5392304 w 14609453"/>
              <a:gd name="connsiteY587" fmla="*/ 5595940 h 5962351"/>
              <a:gd name="connsiteX588" fmla="*/ 5392304 w 14609453"/>
              <a:gd name="connsiteY588" fmla="*/ 5611207 h 5962351"/>
              <a:gd name="connsiteX589" fmla="*/ 5252409 w 14609453"/>
              <a:gd name="connsiteY589" fmla="*/ 5657008 h 5962351"/>
              <a:gd name="connsiteX590" fmla="*/ 5176103 w 14609453"/>
              <a:gd name="connsiteY590" fmla="*/ 5756245 h 5962351"/>
              <a:gd name="connsiteX591" fmla="*/ 5163385 w 14609453"/>
              <a:gd name="connsiteY591" fmla="*/ 5740978 h 5962351"/>
              <a:gd name="connsiteX592" fmla="*/ 5106155 w 14609453"/>
              <a:gd name="connsiteY592" fmla="*/ 5779145 h 5962351"/>
              <a:gd name="connsiteX593" fmla="*/ 5039387 w 14609453"/>
              <a:gd name="connsiteY593" fmla="*/ 5794413 h 5962351"/>
              <a:gd name="connsiteX594" fmla="*/ 5039387 w 14609453"/>
              <a:gd name="connsiteY594" fmla="*/ 5824947 h 5962351"/>
              <a:gd name="connsiteX595" fmla="*/ 4963081 w 14609453"/>
              <a:gd name="connsiteY595" fmla="*/ 5863115 h 5962351"/>
              <a:gd name="connsiteX596" fmla="*/ 4905851 w 14609453"/>
              <a:gd name="connsiteY596" fmla="*/ 5840214 h 5962351"/>
              <a:gd name="connsiteX597" fmla="*/ 4877237 w 14609453"/>
              <a:gd name="connsiteY597" fmla="*/ 5779145 h 5962351"/>
              <a:gd name="connsiteX598" fmla="*/ 4845442 w 14609453"/>
              <a:gd name="connsiteY598" fmla="*/ 5779145 h 5962351"/>
              <a:gd name="connsiteX599" fmla="*/ 4832725 w 14609453"/>
              <a:gd name="connsiteY599" fmla="*/ 5878382 h 5962351"/>
              <a:gd name="connsiteX600" fmla="*/ 4864519 w 14609453"/>
              <a:gd name="connsiteY600" fmla="*/ 5916550 h 5962351"/>
              <a:gd name="connsiteX601" fmla="*/ 4756419 w 14609453"/>
              <a:gd name="connsiteY601" fmla="*/ 5924183 h 5962351"/>
              <a:gd name="connsiteX602" fmla="*/ 4743701 w 14609453"/>
              <a:gd name="connsiteY602" fmla="*/ 5897466 h 5962351"/>
              <a:gd name="connsiteX603" fmla="*/ 4788213 w 14609453"/>
              <a:gd name="connsiteY603" fmla="*/ 5897466 h 5962351"/>
              <a:gd name="connsiteX604" fmla="*/ 4797751 w 14609453"/>
              <a:gd name="connsiteY604" fmla="*/ 5889832 h 5962351"/>
              <a:gd name="connsiteX605" fmla="*/ 4788213 w 14609453"/>
              <a:gd name="connsiteY605" fmla="*/ 5870748 h 5962351"/>
              <a:gd name="connsiteX606" fmla="*/ 4743701 w 14609453"/>
              <a:gd name="connsiteY606" fmla="*/ 5866932 h 5962351"/>
              <a:gd name="connsiteX607" fmla="*/ 4734163 w 14609453"/>
              <a:gd name="connsiteY607" fmla="*/ 5844031 h 5962351"/>
              <a:gd name="connsiteX608" fmla="*/ 4715086 w 14609453"/>
              <a:gd name="connsiteY608" fmla="*/ 5866932 h 5962351"/>
              <a:gd name="connsiteX609" fmla="*/ 4661036 w 14609453"/>
              <a:gd name="connsiteY609" fmla="*/ 5878382 h 5962351"/>
              <a:gd name="connsiteX610" fmla="*/ 4600627 w 14609453"/>
              <a:gd name="connsiteY610" fmla="*/ 5908916 h 5962351"/>
              <a:gd name="connsiteX611" fmla="*/ 4533859 w 14609453"/>
              <a:gd name="connsiteY611" fmla="*/ 5928000 h 5962351"/>
              <a:gd name="connsiteX612" fmla="*/ 4489347 w 14609453"/>
              <a:gd name="connsiteY612" fmla="*/ 5954718 h 5962351"/>
              <a:gd name="connsiteX613" fmla="*/ 4470271 w 14609453"/>
              <a:gd name="connsiteY613" fmla="*/ 5931817 h 5962351"/>
              <a:gd name="connsiteX614" fmla="*/ 4413041 w 14609453"/>
              <a:gd name="connsiteY614" fmla="*/ 5962351 h 5962351"/>
              <a:gd name="connsiteX615" fmla="*/ 4374888 w 14609453"/>
              <a:gd name="connsiteY615" fmla="*/ 5928000 h 5962351"/>
              <a:gd name="connsiteX616" fmla="*/ 4317658 w 14609453"/>
              <a:gd name="connsiteY616" fmla="*/ 5928000 h 5962351"/>
              <a:gd name="connsiteX617" fmla="*/ 4282684 w 14609453"/>
              <a:gd name="connsiteY617" fmla="*/ 5962351 h 5962351"/>
              <a:gd name="connsiteX618" fmla="*/ 4209558 w 14609453"/>
              <a:gd name="connsiteY618" fmla="*/ 5928000 h 5962351"/>
              <a:gd name="connsiteX619" fmla="*/ 4171404 w 14609453"/>
              <a:gd name="connsiteY619" fmla="*/ 5954718 h 5962351"/>
              <a:gd name="connsiteX620" fmla="*/ 4168226 w 14609453"/>
              <a:gd name="connsiteY620" fmla="*/ 5954718 h 5962351"/>
              <a:gd name="connsiteX621" fmla="*/ 4079202 w 14609453"/>
              <a:gd name="connsiteY621" fmla="*/ 5924183 h 5962351"/>
              <a:gd name="connsiteX622" fmla="*/ 3993357 w 14609453"/>
              <a:gd name="connsiteY622" fmla="*/ 5897466 h 5962351"/>
              <a:gd name="connsiteX623" fmla="*/ 4009254 w 14609453"/>
              <a:gd name="connsiteY623" fmla="*/ 5805863 h 5962351"/>
              <a:gd name="connsiteX624" fmla="*/ 3967922 w 14609453"/>
              <a:gd name="connsiteY624" fmla="*/ 5748611 h 5962351"/>
              <a:gd name="connsiteX625" fmla="*/ 3904333 w 14609453"/>
              <a:gd name="connsiteY625" fmla="*/ 5748611 h 5962351"/>
              <a:gd name="connsiteX626" fmla="*/ 3853463 w 14609453"/>
              <a:gd name="connsiteY626" fmla="*/ 5664642 h 5962351"/>
              <a:gd name="connsiteX627" fmla="*/ 3802592 w 14609453"/>
              <a:gd name="connsiteY627" fmla="*/ 5595940 h 5962351"/>
              <a:gd name="connsiteX628" fmla="*/ 3863001 w 14609453"/>
              <a:gd name="connsiteY628" fmla="*/ 5557772 h 5962351"/>
              <a:gd name="connsiteX629" fmla="*/ 3818489 w 14609453"/>
              <a:gd name="connsiteY629" fmla="*/ 5508154 h 5962351"/>
              <a:gd name="connsiteX630" fmla="*/ 3751721 w 14609453"/>
              <a:gd name="connsiteY630" fmla="*/ 5504337 h 5962351"/>
              <a:gd name="connsiteX631" fmla="*/ 3716747 w 14609453"/>
              <a:gd name="connsiteY631" fmla="*/ 5458535 h 5962351"/>
              <a:gd name="connsiteX632" fmla="*/ 3789873 w 14609453"/>
              <a:gd name="connsiteY632" fmla="*/ 5447085 h 5962351"/>
              <a:gd name="connsiteX633" fmla="*/ 3834386 w 14609453"/>
              <a:gd name="connsiteY633" fmla="*/ 5393650 h 5962351"/>
              <a:gd name="connsiteX634" fmla="*/ 3805771 w 14609453"/>
              <a:gd name="connsiteY634" fmla="*/ 5336398 h 5962351"/>
              <a:gd name="connsiteX635" fmla="*/ 3875718 w 14609453"/>
              <a:gd name="connsiteY635" fmla="*/ 5355482 h 5962351"/>
              <a:gd name="connsiteX636" fmla="*/ 3936128 w 14609453"/>
              <a:gd name="connsiteY636" fmla="*/ 5355482 h 5962351"/>
              <a:gd name="connsiteX637" fmla="*/ 3980640 w 14609453"/>
              <a:gd name="connsiteY637" fmla="*/ 5309681 h 5962351"/>
              <a:gd name="connsiteX638" fmla="*/ 3920231 w 14609453"/>
              <a:gd name="connsiteY638" fmla="*/ 5282963 h 5962351"/>
              <a:gd name="connsiteX639" fmla="*/ 3945666 w 14609453"/>
              <a:gd name="connsiteY639" fmla="*/ 5252429 h 5962351"/>
              <a:gd name="connsiteX640" fmla="*/ 3952025 w 14609453"/>
              <a:gd name="connsiteY640" fmla="*/ 5187543 h 5962351"/>
              <a:gd name="connsiteX641" fmla="*/ 3993357 w 14609453"/>
              <a:gd name="connsiteY641" fmla="*/ 5145559 h 5962351"/>
              <a:gd name="connsiteX642" fmla="*/ 4050587 w 14609453"/>
              <a:gd name="connsiteY642" fmla="*/ 5145559 h 5962351"/>
              <a:gd name="connsiteX643" fmla="*/ 4037869 w 14609453"/>
              <a:gd name="connsiteY643" fmla="*/ 5084490 h 5962351"/>
              <a:gd name="connsiteX644" fmla="*/ 4047408 w 14609453"/>
              <a:gd name="connsiteY644" fmla="*/ 5061589 h 5962351"/>
              <a:gd name="connsiteX645" fmla="*/ 4120534 w 14609453"/>
              <a:gd name="connsiteY645" fmla="*/ 5050139 h 5962351"/>
              <a:gd name="connsiteX646" fmla="*/ 4126893 w 14609453"/>
              <a:gd name="connsiteY646" fmla="*/ 5004338 h 5962351"/>
              <a:gd name="connsiteX647" fmla="*/ 4044228 w 14609453"/>
              <a:gd name="connsiteY647" fmla="*/ 4989071 h 5962351"/>
              <a:gd name="connsiteX648" fmla="*/ 4050587 w 14609453"/>
              <a:gd name="connsiteY648" fmla="*/ 4969987 h 5962351"/>
              <a:gd name="connsiteX649" fmla="*/ 4110996 w 14609453"/>
              <a:gd name="connsiteY649" fmla="*/ 4935636 h 5962351"/>
              <a:gd name="connsiteX650" fmla="*/ 4190481 w 14609453"/>
              <a:gd name="connsiteY650" fmla="*/ 4901284 h 5962351"/>
              <a:gd name="connsiteX651" fmla="*/ 4155507 w 14609453"/>
              <a:gd name="connsiteY651" fmla="*/ 4859300 h 5962351"/>
              <a:gd name="connsiteX652" fmla="*/ 4206378 w 14609453"/>
              <a:gd name="connsiteY652" fmla="*/ 4840216 h 5962351"/>
              <a:gd name="connsiteX653" fmla="*/ 4215916 w 14609453"/>
              <a:gd name="connsiteY653" fmla="*/ 4725712 h 5962351"/>
              <a:gd name="connsiteX654" fmla="*/ 4260429 w 14609453"/>
              <a:gd name="connsiteY654" fmla="*/ 4725712 h 5962351"/>
              <a:gd name="connsiteX655" fmla="*/ 4301761 w 14609453"/>
              <a:gd name="connsiteY655" fmla="*/ 4679911 h 5962351"/>
              <a:gd name="connsiteX656" fmla="*/ 4263608 w 14609453"/>
              <a:gd name="connsiteY656" fmla="*/ 4637926 h 5962351"/>
              <a:gd name="connsiteX657" fmla="*/ 4196840 w 14609453"/>
              <a:gd name="connsiteY657" fmla="*/ 4637926 h 5962351"/>
              <a:gd name="connsiteX658" fmla="*/ 4155507 w 14609453"/>
              <a:gd name="connsiteY658" fmla="*/ 4679911 h 5962351"/>
              <a:gd name="connsiteX659" fmla="*/ 4155507 w 14609453"/>
              <a:gd name="connsiteY659" fmla="*/ 4740979 h 5962351"/>
              <a:gd name="connsiteX660" fmla="*/ 4110996 w 14609453"/>
              <a:gd name="connsiteY660" fmla="*/ 4779147 h 5962351"/>
              <a:gd name="connsiteX661" fmla="*/ 3977460 w 14609453"/>
              <a:gd name="connsiteY661" fmla="*/ 4832582 h 5962351"/>
              <a:gd name="connsiteX662" fmla="*/ 3977460 w 14609453"/>
              <a:gd name="connsiteY662" fmla="*/ 4874567 h 5962351"/>
              <a:gd name="connsiteX663" fmla="*/ 3955204 w 14609453"/>
              <a:gd name="connsiteY663" fmla="*/ 4886017 h 5962351"/>
              <a:gd name="connsiteX664" fmla="*/ 3977460 w 14609453"/>
              <a:gd name="connsiteY664" fmla="*/ 4905101 h 5962351"/>
              <a:gd name="connsiteX665" fmla="*/ 4006074 w 14609453"/>
              <a:gd name="connsiteY665" fmla="*/ 4950903 h 5962351"/>
              <a:gd name="connsiteX666" fmla="*/ 3936128 w 14609453"/>
              <a:gd name="connsiteY666" fmla="*/ 5027238 h 5962351"/>
              <a:gd name="connsiteX667" fmla="*/ 3834386 w 14609453"/>
              <a:gd name="connsiteY667" fmla="*/ 5034872 h 5962351"/>
              <a:gd name="connsiteX668" fmla="*/ 3843924 w 14609453"/>
              <a:gd name="connsiteY668" fmla="*/ 5115025 h 5962351"/>
              <a:gd name="connsiteX669" fmla="*/ 3821668 w 14609453"/>
              <a:gd name="connsiteY669" fmla="*/ 5092124 h 5962351"/>
              <a:gd name="connsiteX670" fmla="*/ 3758079 w 14609453"/>
              <a:gd name="connsiteY670" fmla="*/ 5145559 h 5962351"/>
              <a:gd name="connsiteX671" fmla="*/ 3707208 w 14609453"/>
              <a:gd name="connsiteY671" fmla="*/ 5103574 h 5962351"/>
              <a:gd name="connsiteX672" fmla="*/ 3726285 w 14609453"/>
              <a:gd name="connsiteY672" fmla="*/ 5053956 h 5962351"/>
              <a:gd name="connsiteX673" fmla="*/ 3758079 w 14609453"/>
              <a:gd name="connsiteY673" fmla="*/ 5084490 h 5962351"/>
              <a:gd name="connsiteX674" fmla="*/ 3802592 w 14609453"/>
              <a:gd name="connsiteY674" fmla="*/ 5042506 h 5962351"/>
              <a:gd name="connsiteX675" fmla="*/ 3802592 w 14609453"/>
              <a:gd name="connsiteY675" fmla="*/ 4996704 h 5962351"/>
              <a:gd name="connsiteX676" fmla="*/ 3888436 w 14609453"/>
              <a:gd name="connsiteY676" fmla="*/ 4916552 h 5962351"/>
              <a:gd name="connsiteX677" fmla="*/ 3869360 w 14609453"/>
              <a:gd name="connsiteY677" fmla="*/ 4901284 h 5962351"/>
              <a:gd name="connsiteX678" fmla="*/ 3983819 w 14609453"/>
              <a:gd name="connsiteY678" fmla="*/ 4786781 h 5962351"/>
              <a:gd name="connsiteX679" fmla="*/ 4037869 w 14609453"/>
              <a:gd name="connsiteY679" fmla="*/ 4721895 h 5962351"/>
              <a:gd name="connsiteX680" fmla="*/ 4095099 w 14609453"/>
              <a:gd name="connsiteY680" fmla="*/ 4664644 h 5962351"/>
              <a:gd name="connsiteX681" fmla="*/ 4114175 w 14609453"/>
              <a:gd name="connsiteY681" fmla="*/ 4721895 h 5962351"/>
              <a:gd name="connsiteX682" fmla="*/ 4095099 w 14609453"/>
              <a:gd name="connsiteY682" fmla="*/ 4664644 h 5962351"/>
              <a:gd name="connsiteX683" fmla="*/ 4098278 w 14609453"/>
              <a:gd name="connsiteY683" fmla="*/ 4622659 h 5962351"/>
              <a:gd name="connsiteX684" fmla="*/ 4165045 w 14609453"/>
              <a:gd name="connsiteY684" fmla="*/ 4515789 h 5962351"/>
              <a:gd name="connsiteX685" fmla="*/ 4212737 w 14609453"/>
              <a:gd name="connsiteY685" fmla="*/ 4515789 h 5962351"/>
              <a:gd name="connsiteX686" fmla="*/ 4263608 w 14609453"/>
              <a:gd name="connsiteY686" fmla="*/ 4569224 h 5962351"/>
              <a:gd name="connsiteX687" fmla="*/ 4254070 w 14609453"/>
              <a:gd name="connsiteY687" fmla="*/ 4515789 h 5962351"/>
              <a:gd name="connsiteX688" fmla="*/ 4215916 w 14609453"/>
              <a:gd name="connsiteY688" fmla="*/ 4515789 h 5962351"/>
              <a:gd name="connsiteX689" fmla="*/ 4215916 w 14609453"/>
              <a:gd name="connsiteY689" fmla="*/ 4462354 h 5962351"/>
              <a:gd name="connsiteX690" fmla="*/ 4298581 w 14609453"/>
              <a:gd name="connsiteY690" fmla="*/ 4447087 h 5962351"/>
              <a:gd name="connsiteX691" fmla="*/ 4304940 w 14609453"/>
              <a:gd name="connsiteY691" fmla="*/ 4405102 h 5962351"/>
              <a:gd name="connsiteX692" fmla="*/ 4352632 w 14609453"/>
              <a:gd name="connsiteY692" fmla="*/ 4386018 h 5962351"/>
              <a:gd name="connsiteX693" fmla="*/ 4406682 w 14609453"/>
              <a:gd name="connsiteY693" fmla="*/ 4363117 h 5962351"/>
              <a:gd name="connsiteX694" fmla="*/ 4416220 w 14609453"/>
              <a:gd name="connsiteY694" fmla="*/ 4443270 h 5962351"/>
              <a:gd name="connsiteX695" fmla="*/ 4393965 w 14609453"/>
              <a:gd name="connsiteY695" fmla="*/ 4466171 h 5962351"/>
              <a:gd name="connsiteX696" fmla="*/ 4393965 w 14609453"/>
              <a:gd name="connsiteY696" fmla="*/ 4569224 h 5962351"/>
              <a:gd name="connsiteX697" fmla="*/ 4419400 w 14609453"/>
              <a:gd name="connsiteY697" fmla="*/ 4561590 h 5962351"/>
              <a:gd name="connsiteX698" fmla="*/ 4479809 w 14609453"/>
              <a:gd name="connsiteY698" fmla="*/ 4500522 h 5962351"/>
              <a:gd name="connsiteX699" fmla="*/ 4451194 w 14609453"/>
              <a:gd name="connsiteY699" fmla="*/ 4466171 h 5962351"/>
              <a:gd name="connsiteX700" fmla="*/ 4454373 w 14609453"/>
              <a:gd name="connsiteY700" fmla="*/ 4435636 h 5962351"/>
              <a:gd name="connsiteX701" fmla="*/ 4565653 w 14609453"/>
              <a:gd name="connsiteY701" fmla="*/ 4412736 h 5962351"/>
              <a:gd name="connsiteX702" fmla="*/ 4540218 w 14609453"/>
              <a:gd name="connsiteY702" fmla="*/ 4382201 h 5962351"/>
              <a:gd name="connsiteX703" fmla="*/ 4626063 w 14609453"/>
              <a:gd name="connsiteY703" fmla="*/ 4317316 h 5962351"/>
              <a:gd name="connsiteX704" fmla="*/ 4626063 w 14609453"/>
              <a:gd name="connsiteY704" fmla="*/ 4286782 h 5962351"/>
              <a:gd name="connsiteX705" fmla="*/ 4584730 w 14609453"/>
              <a:gd name="connsiteY705" fmla="*/ 4244797 h 5962351"/>
              <a:gd name="connsiteX706" fmla="*/ 4552936 w 14609453"/>
              <a:gd name="connsiteY706" fmla="*/ 4271515 h 5962351"/>
              <a:gd name="connsiteX707" fmla="*/ 4521141 w 14609453"/>
              <a:gd name="connsiteY707" fmla="*/ 4244797 h 5962351"/>
              <a:gd name="connsiteX708" fmla="*/ 4508424 w 14609453"/>
              <a:gd name="connsiteY708" fmla="*/ 4317316 h 5962351"/>
              <a:gd name="connsiteX709" fmla="*/ 4470271 w 14609453"/>
              <a:gd name="connsiteY709" fmla="*/ 4359301 h 5962351"/>
              <a:gd name="connsiteX710" fmla="*/ 4390785 w 14609453"/>
              <a:gd name="connsiteY710" fmla="*/ 4317316 h 5962351"/>
              <a:gd name="connsiteX711" fmla="*/ 4435297 w 14609453"/>
              <a:gd name="connsiteY711" fmla="*/ 4244797 h 5962351"/>
              <a:gd name="connsiteX712" fmla="*/ 4467091 w 14609453"/>
              <a:gd name="connsiteY712" fmla="*/ 4271515 h 5962351"/>
              <a:gd name="connsiteX713" fmla="*/ 4486168 w 14609453"/>
              <a:gd name="connsiteY713" fmla="*/ 4195179 h 5962351"/>
              <a:gd name="connsiteX714" fmla="*/ 4540218 w 14609453"/>
              <a:gd name="connsiteY714" fmla="*/ 4137927 h 5962351"/>
              <a:gd name="connsiteX715" fmla="*/ 4540218 w 14609453"/>
              <a:gd name="connsiteY715" fmla="*/ 4107393 h 5962351"/>
              <a:gd name="connsiteX716" fmla="*/ 4597447 w 14609453"/>
              <a:gd name="connsiteY716" fmla="*/ 4073042 h 5962351"/>
              <a:gd name="connsiteX717" fmla="*/ 4680112 w 14609453"/>
              <a:gd name="connsiteY717" fmla="*/ 4053958 h 5962351"/>
              <a:gd name="connsiteX718" fmla="*/ 4740522 w 14609453"/>
              <a:gd name="connsiteY718" fmla="*/ 4023423 h 5962351"/>
              <a:gd name="connsiteX719" fmla="*/ 4750060 w 14609453"/>
              <a:gd name="connsiteY719" fmla="*/ 3981439 h 5962351"/>
              <a:gd name="connsiteX720" fmla="*/ 4800931 w 14609453"/>
              <a:gd name="connsiteY720" fmla="*/ 3962355 h 5962351"/>
              <a:gd name="connsiteX721" fmla="*/ 4762777 w 14609453"/>
              <a:gd name="connsiteY721" fmla="*/ 3893653 h 5962351"/>
              <a:gd name="connsiteX722" fmla="*/ 4858161 w 14609453"/>
              <a:gd name="connsiteY722" fmla="*/ 3874569 h 5962351"/>
              <a:gd name="connsiteX723" fmla="*/ 4864519 w 14609453"/>
              <a:gd name="connsiteY723" fmla="*/ 3832584 h 5962351"/>
              <a:gd name="connsiteX724" fmla="*/ 4940826 w 14609453"/>
              <a:gd name="connsiteY724" fmla="*/ 3821134 h 5962351"/>
              <a:gd name="connsiteX725" fmla="*/ 5007593 w 14609453"/>
              <a:gd name="connsiteY725" fmla="*/ 3737164 h 5962351"/>
              <a:gd name="connsiteX726" fmla="*/ 5007593 w 14609453"/>
              <a:gd name="connsiteY726" fmla="*/ 3691363 h 5962351"/>
              <a:gd name="connsiteX727" fmla="*/ 5122052 w 14609453"/>
              <a:gd name="connsiteY727" fmla="*/ 3607394 h 5962351"/>
              <a:gd name="connsiteX728" fmla="*/ 5131591 w 14609453"/>
              <a:gd name="connsiteY728" fmla="*/ 3561592 h 5962351"/>
              <a:gd name="connsiteX729" fmla="*/ 5198359 w 14609453"/>
              <a:gd name="connsiteY729" fmla="*/ 3550142 h 5962351"/>
              <a:gd name="connsiteX730" fmla="*/ 5239691 w 14609453"/>
              <a:gd name="connsiteY730" fmla="*/ 3592127 h 5962351"/>
              <a:gd name="connsiteX731" fmla="*/ 5144308 w 14609453"/>
              <a:gd name="connsiteY731" fmla="*/ 3641745 h 5962351"/>
              <a:gd name="connsiteX732" fmla="*/ 5188820 w 14609453"/>
              <a:gd name="connsiteY732" fmla="*/ 3729531 h 5962351"/>
              <a:gd name="connsiteX733" fmla="*/ 5169744 w 14609453"/>
              <a:gd name="connsiteY733" fmla="*/ 3760065 h 5962351"/>
              <a:gd name="connsiteX734" fmla="*/ 5188820 w 14609453"/>
              <a:gd name="connsiteY734" fmla="*/ 3729531 h 5962351"/>
              <a:gd name="connsiteX735" fmla="*/ 5268306 w 14609453"/>
              <a:gd name="connsiteY735" fmla="*/ 3691363 h 5962351"/>
              <a:gd name="connsiteX736" fmla="*/ 5281024 w 14609453"/>
              <a:gd name="connsiteY736" fmla="*/ 3622661 h 5962351"/>
              <a:gd name="connsiteX737" fmla="*/ 5303279 w 14609453"/>
              <a:gd name="connsiteY737" fmla="*/ 3607394 h 5962351"/>
              <a:gd name="connsiteX738" fmla="*/ 5331895 w 14609453"/>
              <a:gd name="connsiteY738" fmla="*/ 3630294 h 5962351"/>
              <a:gd name="connsiteX739" fmla="*/ 5303279 w 14609453"/>
              <a:gd name="connsiteY739" fmla="*/ 3607394 h 5962351"/>
              <a:gd name="connsiteX740" fmla="*/ 5214256 w 14609453"/>
              <a:gd name="connsiteY740" fmla="*/ 3500524 h 5962351"/>
              <a:gd name="connsiteX741" fmla="*/ 5274665 w 14609453"/>
              <a:gd name="connsiteY741" fmla="*/ 3473806 h 5962351"/>
              <a:gd name="connsiteX742" fmla="*/ 5331895 w 14609453"/>
              <a:gd name="connsiteY742" fmla="*/ 3504340 h 5962351"/>
              <a:gd name="connsiteX743" fmla="*/ 5347792 w 14609453"/>
              <a:gd name="connsiteY743" fmla="*/ 3580676 h 5962351"/>
              <a:gd name="connsiteX744" fmla="*/ 5392304 w 14609453"/>
              <a:gd name="connsiteY744" fmla="*/ 3485257 h 5962351"/>
              <a:gd name="connsiteX745" fmla="*/ 5389124 w 14609453"/>
              <a:gd name="connsiteY745" fmla="*/ 3469989 h 5962351"/>
              <a:gd name="connsiteX746" fmla="*/ 5319177 w 14609453"/>
              <a:gd name="connsiteY746" fmla="*/ 3462356 h 5962351"/>
              <a:gd name="connsiteX747" fmla="*/ 5309639 w 14609453"/>
              <a:gd name="connsiteY747" fmla="*/ 3439455 h 5962351"/>
              <a:gd name="connsiteX748" fmla="*/ 5335074 w 14609453"/>
              <a:gd name="connsiteY748" fmla="*/ 3374570 h 5962351"/>
              <a:gd name="connsiteX749" fmla="*/ 5350971 w 14609453"/>
              <a:gd name="connsiteY749" fmla="*/ 3332585 h 5962351"/>
              <a:gd name="connsiteX750" fmla="*/ 5373227 w 14609453"/>
              <a:gd name="connsiteY750" fmla="*/ 3393653 h 5962351"/>
              <a:gd name="connsiteX751" fmla="*/ 5430457 w 14609453"/>
              <a:gd name="connsiteY751" fmla="*/ 3374570 h 5962351"/>
              <a:gd name="connsiteX752" fmla="*/ 5389124 w 14609453"/>
              <a:gd name="connsiteY752" fmla="*/ 3321134 h 5962351"/>
              <a:gd name="connsiteX753" fmla="*/ 5465431 w 14609453"/>
              <a:gd name="connsiteY753" fmla="*/ 3221898 h 5962351"/>
              <a:gd name="connsiteX754" fmla="*/ 5490866 w 14609453"/>
              <a:gd name="connsiteY754" fmla="*/ 3244799 h 5962351"/>
              <a:gd name="connsiteX755" fmla="*/ 5554454 w 14609453"/>
              <a:gd name="connsiteY755" fmla="*/ 3244799 h 5962351"/>
              <a:gd name="connsiteX756" fmla="*/ 5598966 w 14609453"/>
              <a:gd name="connsiteY756" fmla="*/ 3206631 h 5962351"/>
              <a:gd name="connsiteX757" fmla="*/ 5570351 w 14609453"/>
              <a:gd name="connsiteY757" fmla="*/ 3172280 h 5962351"/>
              <a:gd name="connsiteX758" fmla="*/ 5592607 w 14609453"/>
              <a:gd name="connsiteY758" fmla="*/ 3118845 h 5962351"/>
              <a:gd name="connsiteX759" fmla="*/ 5608505 w 14609453"/>
              <a:gd name="connsiteY759" fmla="*/ 3069227 h 5962351"/>
              <a:gd name="connsiteX760" fmla="*/ 5646658 w 14609453"/>
              <a:gd name="connsiteY760" fmla="*/ 3069227 h 5962351"/>
              <a:gd name="connsiteX761" fmla="*/ 5684810 w 14609453"/>
              <a:gd name="connsiteY761" fmla="*/ 3011975 h 5962351"/>
              <a:gd name="connsiteX762" fmla="*/ 5751578 w 14609453"/>
              <a:gd name="connsiteY762" fmla="*/ 2947090 h 5962351"/>
              <a:gd name="connsiteX763" fmla="*/ 5875576 w 14609453"/>
              <a:gd name="connsiteY763" fmla="*/ 2859303 h 5962351"/>
              <a:gd name="connsiteX764" fmla="*/ 5920088 w 14609453"/>
              <a:gd name="connsiteY764" fmla="*/ 2855487 h 5962351"/>
              <a:gd name="connsiteX765" fmla="*/ 5948703 w 14609453"/>
              <a:gd name="connsiteY765" fmla="*/ 2878387 h 5962351"/>
              <a:gd name="connsiteX766" fmla="*/ 5920088 w 14609453"/>
              <a:gd name="connsiteY766" fmla="*/ 2855487 h 5962351"/>
              <a:gd name="connsiteX767" fmla="*/ 5923268 w 14609453"/>
              <a:gd name="connsiteY767" fmla="*/ 2786785 h 5962351"/>
              <a:gd name="connsiteX768" fmla="*/ 6002753 w 14609453"/>
              <a:gd name="connsiteY768" fmla="*/ 2737166 h 5962351"/>
              <a:gd name="connsiteX769" fmla="*/ 6098136 w 14609453"/>
              <a:gd name="connsiteY769" fmla="*/ 2737166 h 5962351"/>
              <a:gd name="connsiteX770" fmla="*/ 6098136 w 14609453"/>
              <a:gd name="connsiteY770" fmla="*/ 2786785 h 5962351"/>
              <a:gd name="connsiteX771" fmla="*/ 6037727 w 14609453"/>
              <a:gd name="connsiteY771" fmla="*/ 2813502 h 5962351"/>
              <a:gd name="connsiteX772" fmla="*/ 6050445 w 14609453"/>
              <a:gd name="connsiteY772" fmla="*/ 2863120 h 5962351"/>
              <a:gd name="connsiteX773" fmla="*/ 6152186 w 14609453"/>
              <a:gd name="connsiteY773" fmla="*/ 2821136 h 5962351"/>
              <a:gd name="connsiteX774" fmla="*/ 6168083 w 14609453"/>
              <a:gd name="connsiteY774" fmla="*/ 2767700 h 5962351"/>
              <a:gd name="connsiteX775" fmla="*/ 6231672 w 14609453"/>
              <a:gd name="connsiteY775" fmla="*/ 2767700 h 5962351"/>
              <a:gd name="connsiteX776" fmla="*/ 6327054 w 14609453"/>
              <a:gd name="connsiteY776" fmla="*/ 2649380 h 5962351"/>
              <a:gd name="connsiteX777" fmla="*/ 6393822 w 14609453"/>
              <a:gd name="connsiteY777" fmla="*/ 2634113 h 5962351"/>
              <a:gd name="connsiteX778" fmla="*/ 6393822 w 14609453"/>
              <a:gd name="connsiteY778" fmla="*/ 2599762 h 5962351"/>
              <a:gd name="connsiteX779" fmla="*/ 6555972 w 14609453"/>
              <a:gd name="connsiteY779" fmla="*/ 2408923 h 5962351"/>
              <a:gd name="connsiteX780" fmla="*/ 6590946 w 14609453"/>
              <a:gd name="connsiteY780" fmla="*/ 2405106 h 5962351"/>
              <a:gd name="connsiteX781" fmla="*/ 6689508 w 14609453"/>
              <a:gd name="connsiteY781" fmla="*/ 2271518 h 5962351"/>
              <a:gd name="connsiteX782" fmla="*/ 6791250 w 14609453"/>
              <a:gd name="connsiteY782" fmla="*/ 2134114 h 5962351"/>
              <a:gd name="connsiteX783" fmla="*/ 6858018 w 14609453"/>
              <a:gd name="connsiteY783" fmla="*/ 2134114 h 5962351"/>
              <a:gd name="connsiteX784" fmla="*/ 6892991 w 14609453"/>
              <a:gd name="connsiteY784" fmla="*/ 2061595 h 5962351"/>
              <a:gd name="connsiteX785" fmla="*/ 6889812 w 14609453"/>
              <a:gd name="connsiteY785" fmla="*/ 2015793 h 5962351"/>
              <a:gd name="connsiteX786" fmla="*/ 6807146 w 14609453"/>
              <a:gd name="connsiteY786" fmla="*/ 2076862 h 5962351"/>
              <a:gd name="connsiteX787" fmla="*/ 6702226 w 14609453"/>
              <a:gd name="connsiteY787" fmla="*/ 2107396 h 5962351"/>
              <a:gd name="connsiteX788" fmla="*/ 6635458 w 14609453"/>
              <a:gd name="connsiteY788" fmla="*/ 2149381 h 5962351"/>
              <a:gd name="connsiteX789" fmla="*/ 6581408 w 14609453"/>
              <a:gd name="connsiteY789" fmla="*/ 2233350 h 5962351"/>
              <a:gd name="connsiteX790" fmla="*/ 6540075 w 14609453"/>
              <a:gd name="connsiteY790" fmla="*/ 2317320 h 5962351"/>
              <a:gd name="connsiteX791" fmla="*/ 6498742 w 14609453"/>
              <a:gd name="connsiteY791" fmla="*/ 2405106 h 5962351"/>
              <a:gd name="connsiteX792" fmla="*/ 6466948 w 14609453"/>
              <a:gd name="connsiteY792" fmla="*/ 2378388 h 5962351"/>
              <a:gd name="connsiteX793" fmla="*/ 6425616 w 14609453"/>
              <a:gd name="connsiteY793" fmla="*/ 2420373 h 5962351"/>
              <a:gd name="connsiteX794" fmla="*/ 6419257 w 14609453"/>
              <a:gd name="connsiteY794" fmla="*/ 2523426 h 5962351"/>
              <a:gd name="connsiteX795" fmla="*/ 6346130 w 14609453"/>
              <a:gd name="connsiteY795" fmla="*/ 2531060 h 5962351"/>
              <a:gd name="connsiteX796" fmla="*/ 6304798 w 14609453"/>
              <a:gd name="connsiteY796" fmla="*/ 2573044 h 5962351"/>
              <a:gd name="connsiteX797" fmla="*/ 6304798 w 14609453"/>
              <a:gd name="connsiteY797" fmla="*/ 2603579 h 5962351"/>
              <a:gd name="connsiteX798" fmla="*/ 6171263 w 14609453"/>
              <a:gd name="connsiteY798" fmla="*/ 2737166 h 5962351"/>
              <a:gd name="connsiteX799" fmla="*/ 6098136 w 14609453"/>
              <a:gd name="connsiteY799" fmla="*/ 2737166 h 5962351"/>
              <a:gd name="connsiteX800" fmla="*/ 6066342 w 14609453"/>
              <a:gd name="connsiteY800" fmla="*/ 2668464 h 5962351"/>
              <a:gd name="connsiteX801" fmla="*/ 6142647 w 14609453"/>
              <a:gd name="connsiteY801" fmla="*/ 2649380 h 5962351"/>
              <a:gd name="connsiteX802" fmla="*/ 6183980 w 14609453"/>
              <a:gd name="connsiteY802" fmla="*/ 2607395 h 5962351"/>
              <a:gd name="connsiteX803" fmla="*/ 6193518 w 14609453"/>
              <a:gd name="connsiteY803" fmla="*/ 2538693 h 5962351"/>
              <a:gd name="connsiteX804" fmla="*/ 6244389 w 14609453"/>
              <a:gd name="connsiteY804" fmla="*/ 2424189 h 5962351"/>
              <a:gd name="connsiteX805" fmla="*/ 6164904 w 14609453"/>
              <a:gd name="connsiteY805" fmla="*/ 2412739 h 5962351"/>
              <a:gd name="connsiteX806" fmla="*/ 6155365 w 14609453"/>
              <a:gd name="connsiteY806" fmla="*/ 2454724 h 5962351"/>
              <a:gd name="connsiteX807" fmla="*/ 6098136 w 14609453"/>
              <a:gd name="connsiteY807" fmla="*/ 2485258 h 5962351"/>
              <a:gd name="connsiteX808" fmla="*/ 6028188 w 14609453"/>
              <a:gd name="connsiteY808" fmla="*/ 2531060 h 5962351"/>
              <a:gd name="connsiteX809" fmla="*/ 5974138 w 14609453"/>
              <a:gd name="connsiteY809" fmla="*/ 2580678 h 5962351"/>
              <a:gd name="connsiteX810" fmla="*/ 5881935 w 14609453"/>
              <a:gd name="connsiteY810" fmla="*/ 2641747 h 5962351"/>
              <a:gd name="connsiteX811" fmla="*/ 5818346 w 14609453"/>
              <a:gd name="connsiteY811" fmla="*/ 2649380 h 5962351"/>
              <a:gd name="connsiteX812" fmla="*/ 5710246 w 14609453"/>
              <a:gd name="connsiteY812" fmla="*/ 2725716 h 5962351"/>
              <a:gd name="connsiteX813" fmla="*/ 5611684 w 14609453"/>
              <a:gd name="connsiteY813" fmla="*/ 2775334 h 5962351"/>
              <a:gd name="connsiteX814" fmla="*/ 5519480 w 14609453"/>
              <a:gd name="connsiteY814" fmla="*/ 2836403 h 5962351"/>
              <a:gd name="connsiteX815" fmla="*/ 5414560 w 14609453"/>
              <a:gd name="connsiteY815" fmla="*/ 2939456 h 5962351"/>
              <a:gd name="connsiteX816" fmla="*/ 5255588 w 14609453"/>
              <a:gd name="connsiteY816" fmla="*/ 3015792 h 5962351"/>
              <a:gd name="connsiteX817" fmla="*/ 5214256 w 14609453"/>
              <a:gd name="connsiteY817" fmla="*/ 3099761 h 5962351"/>
              <a:gd name="connsiteX818" fmla="*/ 5166565 w 14609453"/>
              <a:gd name="connsiteY818" fmla="*/ 3099761 h 5962351"/>
              <a:gd name="connsiteX819" fmla="*/ 5099797 w 14609453"/>
              <a:gd name="connsiteY819" fmla="*/ 3172280 h 5962351"/>
              <a:gd name="connsiteX820" fmla="*/ 5029849 w 14609453"/>
              <a:gd name="connsiteY820" fmla="*/ 3221898 h 5962351"/>
              <a:gd name="connsiteX821" fmla="*/ 4953543 w 14609453"/>
              <a:gd name="connsiteY821" fmla="*/ 3279150 h 5962351"/>
              <a:gd name="connsiteX822" fmla="*/ 4883596 w 14609453"/>
              <a:gd name="connsiteY822" fmla="*/ 3332585 h 5962351"/>
              <a:gd name="connsiteX823" fmla="*/ 4797751 w 14609453"/>
              <a:gd name="connsiteY823" fmla="*/ 3370753 h 5962351"/>
              <a:gd name="connsiteX824" fmla="*/ 4718266 w 14609453"/>
              <a:gd name="connsiteY824" fmla="*/ 3412738 h 5962351"/>
              <a:gd name="connsiteX825" fmla="*/ 4651498 w 14609453"/>
              <a:gd name="connsiteY825" fmla="*/ 3481440 h 5962351"/>
              <a:gd name="connsiteX826" fmla="*/ 4517962 w 14609453"/>
              <a:gd name="connsiteY826" fmla="*/ 3588310 h 5962351"/>
              <a:gd name="connsiteX827" fmla="*/ 4384426 w 14609453"/>
              <a:gd name="connsiteY827" fmla="*/ 3691363 h 5962351"/>
              <a:gd name="connsiteX828" fmla="*/ 4320838 w 14609453"/>
              <a:gd name="connsiteY828" fmla="*/ 3721897 h 5962351"/>
              <a:gd name="connsiteX829" fmla="*/ 4250891 w 14609453"/>
              <a:gd name="connsiteY829" fmla="*/ 3767699 h 5962351"/>
              <a:gd name="connsiteX830" fmla="*/ 4171404 w 14609453"/>
              <a:gd name="connsiteY830" fmla="*/ 3824950 h 5962351"/>
              <a:gd name="connsiteX831" fmla="*/ 4095099 w 14609453"/>
              <a:gd name="connsiteY831" fmla="*/ 3882202 h 5962351"/>
              <a:gd name="connsiteX832" fmla="*/ 4009254 w 14609453"/>
              <a:gd name="connsiteY832" fmla="*/ 3928004 h 5962351"/>
              <a:gd name="connsiteX833" fmla="*/ 4009254 w 14609453"/>
              <a:gd name="connsiteY833" fmla="*/ 3962355 h 5962351"/>
              <a:gd name="connsiteX834" fmla="*/ 3929769 w 14609453"/>
              <a:gd name="connsiteY834" fmla="*/ 3981439 h 5962351"/>
              <a:gd name="connsiteX835" fmla="*/ 3869360 w 14609453"/>
              <a:gd name="connsiteY835" fmla="*/ 4011973 h 5962351"/>
              <a:gd name="connsiteX836" fmla="*/ 3796233 w 14609453"/>
              <a:gd name="connsiteY836" fmla="*/ 4050141 h 5962351"/>
              <a:gd name="connsiteX837" fmla="*/ 3745362 w 14609453"/>
              <a:gd name="connsiteY837" fmla="*/ 4107393 h 5962351"/>
              <a:gd name="connsiteX838" fmla="*/ 3742182 w 14609453"/>
              <a:gd name="connsiteY838" fmla="*/ 4134110 h 5962351"/>
              <a:gd name="connsiteX839" fmla="*/ 3662697 w 14609453"/>
              <a:gd name="connsiteY839" fmla="*/ 4183728 h 5962351"/>
              <a:gd name="connsiteX840" fmla="*/ 3646800 w 14609453"/>
              <a:gd name="connsiteY840" fmla="*/ 4183728 h 5962351"/>
              <a:gd name="connsiteX841" fmla="*/ 3615005 w 14609453"/>
              <a:gd name="connsiteY841" fmla="*/ 4183728 h 5962351"/>
              <a:gd name="connsiteX842" fmla="*/ 3535520 w 14609453"/>
              <a:gd name="connsiteY842" fmla="*/ 4275331 h 5962351"/>
              <a:gd name="connsiteX843" fmla="*/ 3462394 w 14609453"/>
              <a:gd name="connsiteY843" fmla="*/ 4275331 h 5962351"/>
              <a:gd name="connsiteX844" fmla="*/ 3389267 w 14609453"/>
              <a:gd name="connsiteY844" fmla="*/ 4347850 h 5962351"/>
              <a:gd name="connsiteX845" fmla="*/ 3389267 w 14609453"/>
              <a:gd name="connsiteY845" fmla="*/ 4382201 h 5962351"/>
              <a:gd name="connsiteX846" fmla="*/ 3281166 w 14609453"/>
              <a:gd name="connsiteY846" fmla="*/ 4431820 h 5962351"/>
              <a:gd name="connsiteX847" fmla="*/ 3204860 w 14609453"/>
              <a:gd name="connsiteY847" fmla="*/ 4515789 h 5962351"/>
              <a:gd name="connsiteX848" fmla="*/ 3138092 w 14609453"/>
              <a:gd name="connsiteY848" fmla="*/ 4515789 h 5962351"/>
              <a:gd name="connsiteX849" fmla="*/ 3080863 w 14609453"/>
              <a:gd name="connsiteY849" fmla="*/ 4603575 h 5962351"/>
              <a:gd name="connsiteX850" fmla="*/ 3026812 w 14609453"/>
              <a:gd name="connsiteY850" fmla="*/ 4603575 h 5962351"/>
              <a:gd name="connsiteX851" fmla="*/ 3017273 w 14609453"/>
              <a:gd name="connsiteY851" fmla="*/ 4611209 h 5962351"/>
              <a:gd name="connsiteX852" fmla="*/ 2877379 w 14609453"/>
              <a:gd name="connsiteY852" fmla="*/ 4721895 h 5962351"/>
              <a:gd name="connsiteX853" fmla="*/ 2816970 w 14609453"/>
              <a:gd name="connsiteY853" fmla="*/ 4679911 h 5962351"/>
              <a:gd name="connsiteX854" fmla="*/ 2775637 w 14609453"/>
              <a:gd name="connsiteY854" fmla="*/ 4752430 h 5962351"/>
              <a:gd name="connsiteX855" fmla="*/ 2696152 w 14609453"/>
              <a:gd name="connsiteY855" fmla="*/ 4752430 h 5962351"/>
              <a:gd name="connsiteX856" fmla="*/ 2603949 w 14609453"/>
              <a:gd name="connsiteY856" fmla="*/ 4870750 h 5962351"/>
              <a:gd name="connsiteX857" fmla="*/ 2546719 w 14609453"/>
              <a:gd name="connsiteY857" fmla="*/ 4901284 h 5962351"/>
              <a:gd name="connsiteX858" fmla="*/ 2524463 w 14609453"/>
              <a:gd name="connsiteY858" fmla="*/ 4878384 h 5962351"/>
              <a:gd name="connsiteX859" fmla="*/ 2457696 w 14609453"/>
              <a:gd name="connsiteY859" fmla="*/ 4966170 h 5962351"/>
              <a:gd name="connsiteX860" fmla="*/ 2375031 w 14609453"/>
              <a:gd name="connsiteY860" fmla="*/ 4966170 h 5962351"/>
              <a:gd name="connsiteX861" fmla="*/ 2289186 w 14609453"/>
              <a:gd name="connsiteY861" fmla="*/ 5050139 h 5962351"/>
              <a:gd name="connsiteX862" fmla="*/ 2107959 w 14609453"/>
              <a:gd name="connsiteY862" fmla="*/ 5115025 h 5962351"/>
              <a:gd name="connsiteX863" fmla="*/ 2047549 w 14609453"/>
              <a:gd name="connsiteY863" fmla="*/ 5176093 h 5962351"/>
              <a:gd name="connsiteX864" fmla="*/ 1990320 w 14609453"/>
              <a:gd name="connsiteY864" fmla="*/ 5176093 h 5962351"/>
              <a:gd name="connsiteX865" fmla="*/ 1904475 w 14609453"/>
              <a:gd name="connsiteY865" fmla="*/ 5263879 h 5962351"/>
              <a:gd name="connsiteX866" fmla="*/ 1821810 w 14609453"/>
              <a:gd name="connsiteY866" fmla="*/ 5294414 h 5962351"/>
              <a:gd name="connsiteX867" fmla="*/ 1462535 w 14609453"/>
              <a:gd name="connsiteY867" fmla="*/ 5294414 h 5962351"/>
              <a:gd name="connsiteX868" fmla="*/ 1430741 w 14609453"/>
              <a:gd name="connsiteY868" fmla="*/ 5324948 h 5962351"/>
              <a:gd name="connsiteX869" fmla="*/ 1344897 w 14609453"/>
              <a:gd name="connsiteY869" fmla="*/ 5324948 h 5962351"/>
              <a:gd name="connsiteX870" fmla="*/ 1309923 w 14609453"/>
              <a:gd name="connsiteY870" fmla="*/ 5359299 h 5962351"/>
              <a:gd name="connsiteX871" fmla="*/ 1290846 w 14609453"/>
              <a:gd name="connsiteY871" fmla="*/ 5302047 h 5962351"/>
              <a:gd name="connsiteX872" fmla="*/ 1252693 w 14609453"/>
              <a:gd name="connsiteY872" fmla="*/ 5298230 h 5962351"/>
              <a:gd name="connsiteX873" fmla="*/ 1239976 w 14609453"/>
              <a:gd name="connsiteY873" fmla="*/ 5370749 h 5962351"/>
              <a:gd name="connsiteX874" fmla="*/ 1217720 w 14609453"/>
              <a:gd name="connsiteY874" fmla="*/ 5386016 h 5962351"/>
              <a:gd name="connsiteX875" fmla="*/ 1106440 w 14609453"/>
              <a:gd name="connsiteY875" fmla="*/ 5386016 h 5962351"/>
              <a:gd name="connsiteX876" fmla="*/ 1049210 w 14609453"/>
              <a:gd name="connsiteY876" fmla="*/ 5328765 h 5962351"/>
              <a:gd name="connsiteX877" fmla="*/ 1033313 w 14609453"/>
              <a:gd name="connsiteY877" fmla="*/ 5428001 h 5962351"/>
              <a:gd name="connsiteX878" fmla="*/ 988801 w 14609453"/>
              <a:gd name="connsiteY878" fmla="*/ 5481436 h 5962351"/>
              <a:gd name="connsiteX879" fmla="*/ 944289 w 14609453"/>
              <a:gd name="connsiteY879" fmla="*/ 5469986 h 5962351"/>
              <a:gd name="connsiteX880" fmla="*/ 972904 w 14609453"/>
              <a:gd name="connsiteY880" fmla="*/ 5431818 h 5962351"/>
              <a:gd name="connsiteX881" fmla="*/ 861624 w 14609453"/>
              <a:gd name="connsiteY881" fmla="*/ 5408917 h 5962351"/>
              <a:gd name="connsiteX882" fmla="*/ 855265 w 14609453"/>
              <a:gd name="connsiteY882" fmla="*/ 5374566 h 5962351"/>
              <a:gd name="connsiteX883" fmla="*/ 887060 w 14609453"/>
              <a:gd name="connsiteY883" fmla="*/ 5336398 h 5962351"/>
              <a:gd name="connsiteX884" fmla="*/ 842548 w 14609453"/>
              <a:gd name="connsiteY884" fmla="*/ 5324948 h 5962351"/>
              <a:gd name="connsiteX885" fmla="*/ 813933 w 14609453"/>
              <a:gd name="connsiteY885" fmla="*/ 5386016 h 5962351"/>
              <a:gd name="connsiteX886" fmla="*/ 785318 w 14609453"/>
              <a:gd name="connsiteY886" fmla="*/ 5359299 h 5962351"/>
              <a:gd name="connsiteX887" fmla="*/ 661321 w 14609453"/>
              <a:gd name="connsiteY887" fmla="*/ 5355482 h 5962351"/>
              <a:gd name="connsiteX888" fmla="*/ 623167 w 14609453"/>
              <a:gd name="connsiteY888" fmla="*/ 5313497 h 5962351"/>
              <a:gd name="connsiteX889" fmla="*/ 651783 w 14609453"/>
              <a:gd name="connsiteY889" fmla="*/ 5267696 h 5962351"/>
              <a:gd name="connsiteX890" fmla="*/ 667679 w 14609453"/>
              <a:gd name="connsiteY890" fmla="*/ 5210444 h 5962351"/>
              <a:gd name="connsiteX891" fmla="*/ 651783 w 14609453"/>
              <a:gd name="connsiteY891" fmla="*/ 5267696 h 5962351"/>
              <a:gd name="connsiteX892" fmla="*/ 607270 w 14609453"/>
              <a:gd name="connsiteY892" fmla="*/ 5267696 h 5962351"/>
              <a:gd name="connsiteX893" fmla="*/ 505529 w 14609453"/>
              <a:gd name="connsiteY893" fmla="*/ 5069223 h 5962351"/>
              <a:gd name="connsiteX894" fmla="*/ 613629 w 14609453"/>
              <a:gd name="connsiteY894" fmla="*/ 5050139 h 5962351"/>
              <a:gd name="connsiteX895" fmla="*/ 600911 w 14609453"/>
              <a:gd name="connsiteY895" fmla="*/ 4989071 h 5962351"/>
              <a:gd name="connsiteX896" fmla="*/ 616809 w 14609453"/>
              <a:gd name="connsiteY896" fmla="*/ 4935636 h 5962351"/>
              <a:gd name="connsiteX897" fmla="*/ 705832 w 14609453"/>
              <a:gd name="connsiteY897" fmla="*/ 4950903 h 5962351"/>
              <a:gd name="connsiteX898" fmla="*/ 683576 w 14609453"/>
              <a:gd name="connsiteY898" fmla="*/ 4924185 h 5962351"/>
              <a:gd name="connsiteX899" fmla="*/ 737627 w 14609453"/>
              <a:gd name="connsiteY899" fmla="*/ 4821132 h 5962351"/>
              <a:gd name="connsiteX900" fmla="*/ 820292 w 14609453"/>
              <a:gd name="connsiteY900" fmla="*/ 4809682 h 5962351"/>
              <a:gd name="connsiteX901" fmla="*/ 829830 w 14609453"/>
              <a:gd name="connsiteY901" fmla="*/ 4771514 h 5962351"/>
              <a:gd name="connsiteX902" fmla="*/ 785318 w 14609453"/>
              <a:gd name="connsiteY902" fmla="*/ 4725712 h 5962351"/>
              <a:gd name="connsiteX903" fmla="*/ 724909 w 14609453"/>
              <a:gd name="connsiteY903" fmla="*/ 4752430 h 5962351"/>
              <a:gd name="connsiteX904" fmla="*/ 715371 w 14609453"/>
              <a:gd name="connsiteY904" fmla="*/ 4676094 h 5962351"/>
              <a:gd name="connsiteX905" fmla="*/ 737627 w 14609453"/>
              <a:gd name="connsiteY905" fmla="*/ 4660827 h 5962351"/>
              <a:gd name="connsiteX906" fmla="*/ 766242 w 14609453"/>
              <a:gd name="connsiteY906" fmla="*/ 4683728 h 5962351"/>
              <a:gd name="connsiteX907" fmla="*/ 737627 w 14609453"/>
              <a:gd name="connsiteY907" fmla="*/ 4660827 h 5962351"/>
              <a:gd name="connsiteX908" fmla="*/ 737627 w 14609453"/>
              <a:gd name="connsiteY908" fmla="*/ 4588308 h 5962351"/>
              <a:gd name="connsiteX909" fmla="*/ 788497 w 14609453"/>
              <a:gd name="connsiteY909" fmla="*/ 4569224 h 5962351"/>
              <a:gd name="connsiteX910" fmla="*/ 798036 w 14609453"/>
              <a:gd name="connsiteY910" fmla="*/ 4500522 h 5962351"/>
              <a:gd name="connsiteX911" fmla="*/ 826651 w 14609453"/>
              <a:gd name="connsiteY911" fmla="*/ 4469987 h 5962351"/>
              <a:gd name="connsiteX912" fmla="*/ 826651 w 14609453"/>
              <a:gd name="connsiteY912" fmla="*/ 4439453 h 5962351"/>
              <a:gd name="connsiteX913" fmla="*/ 817112 w 14609453"/>
              <a:gd name="connsiteY913" fmla="*/ 4428003 h 5962351"/>
              <a:gd name="connsiteX914" fmla="*/ 715371 w 14609453"/>
              <a:gd name="connsiteY914" fmla="*/ 4450904 h 5962351"/>
              <a:gd name="connsiteX915" fmla="*/ 709012 w 14609453"/>
              <a:gd name="connsiteY915" fmla="*/ 4504339 h 5962351"/>
              <a:gd name="connsiteX916" fmla="*/ 763062 w 14609453"/>
              <a:gd name="connsiteY916" fmla="*/ 4523423 h 5962351"/>
              <a:gd name="connsiteX917" fmla="*/ 753524 w 14609453"/>
              <a:gd name="connsiteY917" fmla="*/ 4542506 h 5962351"/>
              <a:gd name="connsiteX918" fmla="*/ 680397 w 14609453"/>
              <a:gd name="connsiteY918" fmla="*/ 4573041 h 5962351"/>
              <a:gd name="connsiteX919" fmla="*/ 651783 w 14609453"/>
              <a:gd name="connsiteY919" fmla="*/ 4523423 h 5962351"/>
              <a:gd name="connsiteX920" fmla="*/ 651783 w 14609453"/>
              <a:gd name="connsiteY920" fmla="*/ 4469987 h 5962351"/>
              <a:gd name="connsiteX921" fmla="*/ 728088 w 14609453"/>
              <a:gd name="connsiteY921" fmla="*/ 4370751 h 5962351"/>
              <a:gd name="connsiteX922" fmla="*/ 753524 w 14609453"/>
              <a:gd name="connsiteY922" fmla="*/ 4393652 h 5962351"/>
              <a:gd name="connsiteX923" fmla="*/ 785318 w 14609453"/>
              <a:gd name="connsiteY923" fmla="*/ 4363117 h 5962351"/>
              <a:gd name="connsiteX924" fmla="*/ 845727 w 14609453"/>
              <a:gd name="connsiteY924" fmla="*/ 4363117 h 5962351"/>
              <a:gd name="connsiteX925" fmla="*/ 864804 w 14609453"/>
              <a:gd name="connsiteY925" fmla="*/ 4420369 h 5962351"/>
              <a:gd name="connsiteX926" fmla="*/ 944289 w 14609453"/>
              <a:gd name="connsiteY926" fmla="*/ 4382201 h 5962351"/>
              <a:gd name="connsiteX927" fmla="*/ 887060 w 14609453"/>
              <a:gd name="connsiteY927" fmla="*/ 4302049 h 5962351"/>
              <a:gd name="connsiteX928" fmla="*/ 966545 w 14609453"/>
              <a:gd name="connsiteY928" fmla="*/ 4302049 h 5962351"/>
              <a:gd name="connsiteX929" fmla="*/ 976084 w 14609453"/>
              <a:gd name="connsiteY929" fmla="*/ 4248614 h 5962351"/>
              <a:gd name="connsiteX930" fmla="*/ 925213 w 14609453"/>
              <a:gd name="connsiteY930" fmla="*/ 4240980 h 5962351"/>
              <a:gd name="connsiteX931" fmla="*/ 922033 w 14609453"/>
              <a:gd name="connsiteY931" fmla="*/ 4221896 h 5962351"/>
              <a:gd name="connsiteX932" fmla="*/ 1007878 w 14609453"/>
              <a:gd name="connsiteY932" fmla="*/ 4122660 h 5962351"/>
              <a:gd name="connsiteX933" fmla="*/ 1052390 w 14609453"/>
              <a:gd name="connsiteY933" fmla="*/ 4153194 h 5962351"/>
              <a:gd name="connsiteX934" fmla="*/ 1150952 w 14609453"/>
              <a:gd name="connsiteY934" fmla="*/ 4008156 h 5962351"/>
              <a:gd name="connsiteX935" fmla="*/ 1150952 w 14609453"/>
              <a:gd name="connsiteY935" fmla="*/ 3958538 h 5962351"/>
              <a:gd name="connsiteX936" fmla="*/ 1252693 w 14609453"/>
              <a:gd name="connsiteY936" fmla="*/ 3851668 h 5962351"/>
              <a:gd name="connsiteX937" fmla="*/ 1281308 w 14609453"/>
              <a:gd name="connsiteY937" fmla="*/ 3878385 h 5962351"/>
              <a:gd name="connsiteX938" fmla="*/ 1414844 w 14609453"/>
              <a:gd name="connsiteY938" fmla="*/ 3809683 h 5962351"/>
              <a:gd name="connsiteX939" fmla="*/ 1414844 w 14609453"/>
              <a:gd name="connsiteY939" fmla="*/ 3744798 h 5962351"/>
              <a:gd name="connsiteX940" fmla="*/ 1468894 w 14609453"/>
              <a:gd name="connsiteY940" fmla="*/ 3725714 h 5962351"/>
              <a:gd name="connsiteX941" fmla="*/ 1478432 w 14609453"/>
              <a:gd name="connsiteY941" fmla="*/ 3683729 h 5962351"/>
              <a:gd name="connsiteX942" fmla="*/ 1516586 w 14609453"/>
              <a:gd name="connsiteY942" fmla="*/ 3641745 h 5962351"/>
              <a:gd name="connsiteX943" fmla="*/ 1586533 w 14609453"/>
              <a:gd name="connsiteY943" fmla="*/ 3637928 h 5962351"/>
              <a:gd name="connsiteX944" fmla="*/ 1596071 w 14609453"/>
              <a:gd name="connsiteY944" fmla="*/ 3561592 h 5962351"/>
              <a:gd name="connsiteX945" fmla="*/ 1770939 w 14609453"/>
              <a:gd name="connsiteY945" fmla="*/ 3477623 h 5962351"/>
              <a:gd name="connsiteX946" fmla="*/ 1742325 w 14609453"/>
              <a:gd name="connsiteY946" fmla="*/ 3447089 h 5962351"/>
              <a:gd name="connsiteX947" fmla="*/ 1872681 w 14609453"/>
              <a:gd name="connsiteY947" fmla="*/ 3340219 h 5962351"/>
              <a:gd name="connsiteX948" fmla="*/ 1936269 w 14609453"/>
              <a:gd name="connsiteY948" fmla="*/ 3340219 h 5962351"/>
              <a:gd name="connsiteX949" fmla="*/ 1955346 w 14609453"/>
              <a:gd name="connsiteY949" fmla="*/ 3286784 h 5962351"/>
              <a:gd name="connsiteX950" fmla="*/ 2006217 w 14609453"/>
              <a:gd name="connsiteY950" fmla="*/ 3237165 h 5962351"/>
              <a:gd name="connsiteX951" fmla="*/ 1971243 w 14609453"/>
              <a:gd name="connsiteY951" fmla="*/ 3198997 h 5962351"/>
              <a:gd name="connsiteX952" fmla="*/ 2057088 w 14609453"/>
              <a:gd name="connsiteY952" fmla="*/ 3183730 h 5962351"/>
              <a:gd name="connsiteX953" fmla="*/ 2066626 w 14609453"/>
              <a:gd name="connsiteY953" fmla="*/ 3141746 h 5962351"/>
              <a:gd name="connsiteX954" fmla="*/ 2155650 w 14609453"/>
              <a:gd name="connsiteY954" fmla="*/ 3053960 h 5962351"/>
              <a:gd name="connsiteX955" fmla="*/ 2117497 w 14609453"/>
              <a:gd name="connsiteY955" fmla="*/ 3042509 h 5962351"/>
              <a:gd name="connsiteX956" fmla="*/ 2034832 w 14609453"/>
              <a:gd name="connsiteY956" fmla="*/ 3088311 h 5962351"/>
              <a:gd name="connsiteX957" fmla="*/ 1850425 w 14609453"/>
              <a:gd name="connsiteY957" fmla="*/ 3252433 h 5962351"/>
              <a:gd name="connsiteX958" fmla="*/ 1815452 w 14609453"/>
              <a:gd name="connsiteY958" fmla="*/ 3221898 h 5962351"/>
              <a:gd name="connsiteX959" fmla="*/ 1796375 w 14609453"/>
              <a:gd name="connsiteY959" fmla="*/ 3237165 h 5962351"/>
              <a:gd name="connsiteX960" fmla="*/ 1710530 w 14609453"/>
              <a:gd name="connsiteY960" fmla="*/ 3279150 h 5962351"/>
              <a:gd name="connsiteX961" fmla="*/ 1694633 w 14609453"/>
              <a:gd name="connsiteY961" fmla="*/ 3282967 h 5962351"/>
              <a:gd name="connsiteX962" fmla="*/ 1580174 w 14609453"/>
              <a:gd name="connsiteY962" fmla="*/ 3397470 h 5962351"/>
              <a:gd name="connsiteX963" fmla="*/ 1519765 w 14609453"/>
              <a:gd name="connsiteY963" fmla="*/ 3431821 h 5962351"/>
              <a:gd name="connsiteX964" fmla="*/ 1449818 w 14609453"/>
              <a:gd name="connsiteY964" fmla="*/ 3473806 h 5962351"/>
              <a:gd name="connsiteX965" fmla="*/ 1389409 w 14609453"/>
              <a:gd name="connsiteY965" fmla="*/ 3504340 h 5962351"/>
              <a:gd name="connsiteX966" fmla="*/ 1386229 w 14609453"/>
              <a:gd name="connsiteY966" fmla="*/ 3534875 h 5962351"/>
              <a:gd name="connsiteX967" fmla="*/ 1061928 w 14609453"/>
              <a:gd name="connsiteY967" fmla="*/ 3702813 h 5962351"/>
              <a:gd name="connsiteX968" fmla="*/ 988801 w 14609453"/>
              <a:gd name="connsiteY968" fmla="*/ 3649378 h 5962351"/>
              <a:gd name="connsiteX969" fmla="*/ 944289 w 14609453"/>
              <a:gd name="connsiteY969" fmla="*/ 3676096 h 5962351"/>
              <a:gd name="connsiteX970" fmla="*/ 899777 w 14609453"/>
              <a:gd name="connsiteY970" fmla="*/ 3645561 h 5962351"/>
              <a:gd name="connsiteX971" fmla="*/ 871163 w 14609453"/>
              <a:gd name="connsiteY971" fmla="*/ 3672279 h 5962351"/>
              <a:gd name="connsiteX972" fmla="*/ 807574 w 14609453"/>
              <a:gd name="connsiteY972" fmla="*/ 3672279 h 5962351"/>
              <a:gd name="connsiteX973" fmla="*/ 791677 w 14609453"/>
              <a:gd name="connsiteY973" fmla="*/ 3725714 h 5962351"/>
              <a:gd name="connsiteX974" fmla="*/ 724909 w 14609453"/>
              <a:gd name="connsiteY974" fmla="*/ 3702813 h 5962351"/>
              <a:gd name="connsiteX975" fmla="*/ 680397 w 14609453"/>
              <a:gd name="connsiteY975" fmla="*/ 3733347 h 5962351"/>
              <a:gd name="connsiteX976" fmla="*/ 578656 w 14609453"/>
              <a:gd name="connsiteY976" fmla="*/ 3733347 h 5962351"/>
              <a:gd name="connsiteX977" fmla="*/ 546861 w 14609453"/>
              <a:gd name="connsiteY977" fmla="*/ 3702813 h 5962351"/>
              <a:gd name="connsiteX978" fmla="*/ 480093 w 14609453"/>
              <a:gd name="connsiteY978" fmla="*/ 3702813 h 5962351"/>
              <a:gd name="connsiteX979" fmla="*/ 435582 w 14609453"/>
              <a:gd name="connsiteY979" fmla="*/ 3641745 h 5962351"/>
              <a:gd name="connsiteX980" fmla="*/ 346558 w 14609453"/>
              <a:gd name="connsiteY980" fmla="*/ 3698996 h 5962351"/>
              <a:gd name="connsiteX981" fmla="*/ 317943 w 14609453"/>
              <a:gd name="connsiteY981" fmla="*/ 3645561 h 5962351"/>
              <a:gd name="connsiteX982" fmla="*/ 247995 w 14609453"/>
              <a:gd name="connsiteY982" fmla="*/ 3634111 h 5962351"/>
              <a:gd name="connsiteX983" fmla="*/ 222560 w 14609453"/>
              <a:gd name="connsiteY983" fmla="*/ 3611211 h 5962351"/>
              <a:gd name="connsiteX984" fmla="*/ 133536 w 14609453"/>
              <a:gd name="connsiteY984" fmla="*/ 3611211 h 5962351"/>
              <a:gd name="connsiteX985" fmla="*/ 92204 w 14609453"/>
              <a:gd name="connsiteY985" fmla="*/ 3561592 h 5962351"/>
              <a:gd name="connsiteX986" fmla="*/ 92204 w 14609453"/>
              <a:gd name="connsiteY986" fmla="*/ 3504340 h 5962351"/>
              <a:gd name="connsiteX987" fmla="*/ 34974 w 14609453"/>
              <a:gd name="connsiteY987" fmla="*/ 3458539 h 5962351"/>
              <a:gd name="connsiteX988" fmla="*/ 31795 w 14609453"/>
              <a:gd name="connsiteY988" fmla="*/ 3416554 h 5962351"/>
              <a:gd name="connsiteX989" fmla="*/ 0 w 14609453"/>
              <a:gd name="connsiteY989" fmla="*/ 3382203 h 5962351"/>
              <a:gd name="connsiteX990" fmla="*/ 38153 w 14609453"/>
              <a:gd name="connsiteY990" fmla="*/ 3370753 h 5962351"/>
              <a:gd name="connsiteX991" fmla="*/ 149433 w 14609453"/>
              <a:gd name="connsiteY991" fmla="*/ 3458539 h 5962351"/>
              <a:gd name="connsiteX992" fmla="*/ 178048 w 14609453"/>
              <a:gd name="connsiteY992" fmla="*/ 3477623 h 5962351"/>
              <a:gd name="connsiteX993" fmla="*/ 149433 w 14609453"/>
              <a:gd name="connsiteY993" fmla="*/ 3458539 h 5962351"/>
              <a:gd name="connsiteX994" fmla="*/ 149433 w 14609453"/>
              <a:gd name="connsiteY994" fmla="*/ 3412738 h 5962351"/>
              <a:gd name="connsiteX995" fmla="*/ 69948 w 14609453"/>
              <a:gd name="connsiteY995" fmla="*/ 3328768 h 5962351"/>
              <a:gd name="connsiteX996" fmla="*/ 6359 w 14609453"/>
              <a:gd name="connsiteY996" fmla="*/ 3237165 h 5962351"/>
              <a:gd name="connsiteX997" fmla="*/ 60409 w 14609453"/>
              <a:gd name="connsiteY997" fmla="*/ 3137929 h 5962351"/>
              <a:gd name="connsiteX998" fmla="*/ 60409 w 14609453"/>
              <a:gd name="connsiteY998" fmla="*/ 3092127 h 5962351"/>
              <a:gd name="connsiteX999" fmla="*/ 92204 w 14609453"/>
              <a:gd name="connsiteY999" fmla="*/ 3038692 h 5962351"/>
              <a:gd name="connsiteX1000" fmla="*/ 120818 w 14609453"/>
              <a:gd name="connsiteY1000" fmla="*/ 3038692 h 5962351"/>
              <a:gd name="connsiteX1001" fmla="*/ 120818 w 14609453"/>
              <a:gd name="connsiteY1001" fmla="*/ 3084494 h 5962351"/>
              <a:gd name="connsiteX1002" fmla="*/ 168510 w 14609453"/>
              <a:gd name="connsiteY1002" fmla="*/ 3092127 h 5962351"/>
              <a:gd name="connsiteX1003" fmla="*/ 219381 w 14609453"/>
              <a:gd name="connsiteY1003" fmla="*/ 3069227 h 5962351"/>
              <a:gd name="connsiteX1004" fmla="*/ 260713 w 14609453"/>
              <a:gd name="connsiteY1004" fmla="*/ 3137929 h 5962351"/>
              <a:gd name="connsiteX1005" fmla="*/ 273431 w 14609453"/>
              <a:gd name="connsiteY1005" fmla="*/ 3210448 h 5962351"/>
              <a:gd name="connsiteX1006" fmla="*/ 340199 w 14609453"/>
              <a:gd name="connsiteY1006" fmla="*/ 3221898 h 5962351"/>
              <a:gd name="connsiteX1007" fmla="*/ 356096 w 14609453"/>
              <a:gd name="connsiteY1007" fmla="*/ 3198997 h 5962351"/>
              <a:gd name="connsiteX1008" fmla="*/ 356096 w 14609453"/>
              <a:gd name="connsiteY1008" fmla="*/ 3053960 h 5962351"/>
              <a:gd name="connsiteX1009" fmla="*/ 435582 w 14609453"/>
              <a:gd name="connsiteY1009" fmla="*/ 3004341 h 5962351"/>
              <a:gd name="connsiteX1010" fmla="*/ 444381 w 14609453"/>
              <a:gd name="connsiteY1010" fmla="*/ 3003941 h 5962351"/>
              <a:gd name="connsiteX1011" fmla="*/ 445915 w 14609453"/>
              <a:gd name="connsiteY1011" fmla="*/ 3007204 h 5962351"/>
              <a:gd name="connsiteX1012" fmla="*/ 441940 w 14609453"/>
              <a:gd name="connsiteY1012" fmla="*/ 3027242 h 5962351"/>
              <a:gd name="connsiteX1013" fmla="*/ 426043 w 14609453"/>
              <a:gd name="connsiteY1013" fmla="*/ 3065410 h 5962351"/>
              <a:gd name="connsiteX1014" fmla="*/ 530964 w 14609453"/>
              <a:gd name="connsiteY1014" fmla="*/ 3065410 h 5962351"/>
              <a:gd name="connsiteX1015" fmla="*/ 485359 w 14609453"/>
              <a:gd name="connsiteY1015" fmla="*/ 3002075 h 5962351"/>
              <a:gd name="connsiteX1016" fmla="*/ 444381 w 14609453"/>
              <a:gd name="connsiteY1016" fmla="*/ 3003941 h 5962351"/>
              <a:gd name="connsiteX1017" fmla="*/ 443729 w 14609453"/>
              <a:gd name="connsiteY1017" fmla="*/ 3002552 h 5962351"/>
              <a:gd name="connsiteX1018" fmla="*/ 435582 w 14609453"/>
              <a:gd name="connsiteY1018" fmla="*/ 3004341 h 5962351"/>
              <a:gd name="connsiteX1019" fmla="*/ 416505 w 14609453"/>
              <a:gd name="connsiteY1019" fmla="*/ 2996708 h 5962351"/>
              <a:gd name="connsiteX1020" fmla="*/ 384711 w 14609453"/>
              <a:gd name="connsiteY1020" fmla="*/ 2962356 h 5962351"/>
              <a:gd name="connsiteX1021" fmla="*/ 410146 w 14609453"/>
              <a:gd name="connsiteY1021" fmla="*/ 2950906 h 5962351"/>
              <a:gd name="connsiteX1022" fmla="*/ 515067 w 14609453"/>
              <a:gd name="connsiteY1022" fmla="*/ 2920372 h 5962351"/>
              <a:gd name="connsiteX1023" fmla="*/ 604091 w 14609453"/>
              <a:gd name="connsiteY1023" fmla="*/ 2889838 h 5962351"/>
              <a:gd name="connsiteX1024" fmla="*/ 654962 w 14609453"/>
              <a:gd name="connsiteY1024" fmla="*/ 2840219 h 5962351"/>
              <a:gd name="connsiteX1025" fmla="*/ 689935 w 14609453"/>
              <a:gd name="connsiteY1025" fmla="*/ 2798235 h 5962351"/>
              <a:gd name="connsiteX1026" fmla="*/ 769421 w 14609453"/>
              <a:gd name="connsiteY1026" fmla="*/ 2798235 h 5962351"/>
              <a:gd name="connsiteX1027" fmla="*/ 782139 w 14609453"/>
              <a:gd name="connsiteY1027" fmla="*/ 2798235 h 5962351"/>
              <a:gd name="connsiteX1028" fmla="*/ 813933 w 14609453"/>
              <a:gd name="connsiteY1028" fmla="*/ 2771517 h 5962351"/>
              <a:gd name="connsiteX1029" fmla="*/ 845727 w 14609453"/>
              <a:gd name="connsiteY1029" fmla="*/ 2798235 h 5962351"/>
              <a:gd name="connsiteX1030" fmla="*/ 880701 w 14609453"/>
              <a:gd name="connsiteY1030" fmla="*/ 2740983 h 5962351"/>
              <a:gd name="connsiteX1031" fmla="*/ 902957 w 14609453"/>
              <a:gd name="connsiteY1031" fmla="*/ 2710449 h 5962351"/>
              <a:gd name="connsiteX1032" fmla="*/ 880701 w 14609453"/>
              <a:gd name="connsiteY1032" fmla="*/ 2740983 h 5962351"/>
              <a:gd name="connsiteX1033" fmla="*/ 833009 w 14609453"/>
              <a:gd name="connsiteY1033" fmla="*/ 2729532 h 5962351"/>
              <a:gd name="connsiteX1034" fmla="*/ 887060 w 14609453"/>
              <a:gd name="connsiteY1034" fmla="*/ 2676098 h 5962351"/>
              <a:gd name="connsiteX1035" fmla="*/ 944289 w 14609453"/>
              <a:gd name="connsiteY1035" fmla="*/ 2645563 h 5962351"/>
              <a:gd name="connsiteX1036" fmla="*/ 972904 w 14609453"/>
              <a:gd name="connsiteY1036" fmla="*/ 2664647 h 5962351"/>
              <a:gd name="connsiteX1037" fmla="*/ 944289 w 14609453"/>
              <a:gd name="connsiteY1037" fmla="*/ 2645563 h 5962351"/>
              <a:gd name="connsiteX1038" fmla="*/ 995160 w 14609453"/>
              <a:gd name="connsiteY1038" fmla="*/ 2622663 h 5962351"/>
              <a:gd name="connsiteX1039" fmla="*/ 1014237 w 14609453"/>
              <a:gd name="connsiteY1039" fmla="*/ 2676098 h 5962351"/>
              <a:gd name="connsiteX1040" fmla="*/ 1109620 w 14609453"/>
              <a:gd name="connsiteY1040" fmla="*/ 2618846 h 5962351"/>
              <a:gd name="connsiteX1041" fmla="*/ 1185925 w 14609453"/>
              <a:gd name="connsiteY1041" fmla="*/ 2538693 h 5962351"/>
              <a:gd name="connsiteX1042" fmla="*/ 1154131 w 14609453"/>
              <a:gd name="connsiteY1042" fmla="*/ 2481442 h 5962351"/>
              <a:gd name="connsiteX1043" fmla="*/ 1220899 w 14609453"/>
              <a:gd name="connsiteY1043" fmla="*/ 2412739 h 5962351"/>
              <a:gd name="connsiteX1044" fmla="*/ 1278129 w 14609453"/>
              <a:gd name="connsiteY1044" fmla="*/ 2386022 h 5962351"/>
              <a:gd name="connsiteX1045" fmla="*/ 1357614 w 14609453"/>
              <a:gd name="connsiteY1045" fmla="*/ 2363121 h 5962351"/>
              <a:gd name="connsiteX1046" fmla="*/ 1414844 w 14609453"/>
              <a:gd name="connsiteY1046" fmla="*/ 2332587 h 5962351"/>
              <a:gd name="connsiteX1047" fmla="*/ 1386229 w 14609453"/>
              <a:gd name="connsiteY1047" fmla="*/ 2302052 h 5962351"/>
              <a:gd name="connsiteX1048" fmla="*/ 1389409 w 14609453"/>
              <a:gd name="connsiteY1048" fmla="*/ 2267701 h 5962351"/>
              <a:gd name="connsiteX1049" fmla="*/ 1437100 w 14609453"/>
              <a:gd name="connsiteY1049" fmla="*/ 2252434 h 5962351"/>
              <a:gd name="connsiteX1050" fmla="*/ 1573815 w 14609453"/>
              <a:gd name="connsiteY1050" fmla="*/ 2111213 h 5962351"/>
              <a:gd name="connsiteX1051" fmla="*/ 1666019 w 14609453"/>
              <a:gd name="connsiteY1051" fmla="*/ 2046328 h 5962351"/>
              <a:gd name="connsiteX1052" fmla="*/ 1742325 w 14609453"/>
              <a:gd name="connsiteY1052" fmla="*/ 2015793 h 5962351"/>
              <a:gd name="connsiteX1053" fmla="*/ 1758222 w 14609453"/>
              <a:gd name="connsiteY1053" fmla="*/ 2015793 h 5962351"/>
              <a:gd name="connsiteX1054" fmla="*/ 1777298 w 14609453"/>
              <a:gd name="connsiteY1054" fmla="*/ 1962358 h 5962351"/>
              <a:gd name="connsiteX1055" fmla="*/ 1815452 w 14609453"/>
              <a:gd name="connsiteY1055" fmla="*/ 1954725 h 5962351"/>
              <a:gd name="connsiteX1056" fmla="*/ 1869502 w 14609453"/>
              <a:gd name="connsiteY1056" fmla="*/ 1897473 h 5962351"/>
              <a:gd name="connsiteX1057" fmla="*/ 1971243 w 14609453"/>
              <a:gd name="connsiteY1057" fmla="*/ 1893656 h 5962351"/>
              <a:gd name="connsiteX1058" fmla="*/ 1980781 w 14609453"/>
              <a:gd name="connsiteY1058" fmla="*/ 1844038 h 5962351"/>
              <a:gd name="connsiteX1059" fmla="*/ 2028473 w 14609453"/>
              <a:gd name="connsiteY1059" fmla="*/ 1828771 h 5962351"/>
              <a:gd name="connsiteX1060" fmla="*/ 2038011 w 14609453"/>
              <a:gd name="connsiteY1060" fmla="*/ 1786786 h 5962351"/>
              <a:gd name="connsiteX1061" fmla="*/ 2149291 w 14609453"/>
              <a:gd name="connsiteY1061" fmla="*/ 1733351 h 5962351"/>
              <a:gd name="connsiteX1062" fmla="*/ 2352774 w 14609453"/>
              <a:gd name="connsiteY1062" fmla="*/ 1584497 h 5962351"/>
              <a:gd name="connsiteX1063" fmla="*/ 2365492 w 14609453"/>
              <a:gd name="connsiteY1063" fmla="*/ 1546329 h 5962351"/>
              <a:gd name="connsiteX1064" fmla="*/ 2591231 w 14609453"/>
              <a:gd name="connsiteY1064" fmla="*/ 1431825 h 5962351"/>
              <a:gd name="connsiteX1065" fmla="*/ 2829688 w 14609453"/>
              <a:gd name="connsiteY1065" fmla="*/ 1279154 h 5962351"/>
              <a:gd name="connsiteX1066" fmla="*/ 2797894 w 14609453"/>
              <a:gd name="connsiteY1066" fmla="*/ 1244802 h 5962351"/>
              <a:gd name="connsiteX1067" fmla="*/ 2861482 w 14609453"/>
              <a:gd name="connsiteY1067" fmla="*/ 1225718 h 5962351"/>
              <a:gd name="connsiteX1068" fmla="*/ 2925070 w 14609453"/>
              <a:gd name="connsiteY1068" fmla="*/ 1141749 h 5962351"/>
              <a:gd name="connsiteX1069" fmla="*/ 3001376 w 14609453"/>
              <a:gd name="connsiteY1069" fmla="*/ 1141749 h 5962351"/>
              <a:gd name="connsiteX1070" fmla="*/ 3087221 w 14609453"/>
              <a:gd name="connsiteY1070" fmla="*/ 1053963 h 5962351"/>
              <a:gd name="connsiteX1071" fmla="*/ 3201680 w 14609453"/>
              <a:gd name="connsiteY1071" fmla="*/ 1053963 h 5962351"/>
              <a:gd name="connsiteX1072" fmla="*/ 3217577 w 14609453"/>
              <a:gd name="connsiteY1072" fmla="*/ 1000528 h 5962351"/>
              <a:gd name="connsiteX1073" fmla="*/ 3262090 w 14609453"/>
              <a:gd name="connsiteY1073" fmla="*/ 989078 h 5962351"/>
              <a:gd name="connsiteX1074" fmla="*/ 3274808 w 14609453"/>
              <a:gd name="connsiteY1074" fmla="*/ 947093 h 5962351"/>
              <a:gd name="connsiteX1075" fmla="*/ 3592749 w 14609453"/>
              <a:gd name="connsiteY1075" fmla="*/ 782971 h 5962351"/>
              <a:gd name="connsiteX1076" fmla="*/ 3640441 w 14609453"/>
              <a:gd name="connsiteY1076" fmla="*/ 782971 h 5962351"/>
              <a:gd name="connsiteX1077" fmla="*/ 3748541 w 14609453"/>
              <a:gd name="connsiteY1077" fmla="*/ 672284 h 5962351"/>
              <a:gd name="connsiteX1078" fmla="*/ 3828027 w 14609453"/>
              <a:gd name="connsiteY1078" fmla="*/ 634116 h 5962351"/>
              <a:gd name="connsiteX1079" fmla="*/ 3872538 w 14609453"/>
              <a:gd name="connsiteY1079" fmla="*/ 634116 h 5962351"/>
              <a:gd name="connsiteX1080" fmla="*/ 3936128 w 14609453"/>
              <a:gd name="connsiteY1080" fmla="*/ 569231 h 5962351"/>
              <a:gd name="connsiteX1081" fmla="*/ 4012434 w 14609453"/>
              <a:gd name="connsiteY1081" fmla="*/ 569231 h 5962351"/>
              <a:gd name="connsiteX1082" fmla="*/ 4095099 w 14609453"/>
              <a:gd name="connsiteY1082" fmla="*/ 527246 h 5962351"/>
              <a:gd name="connsiteX1083" fmla="*/ 4104636 w 14609453"/>
              <a:gd name="connsiteY1083" fmla="*/ 481445 h 5962351"/>
              <a:gd name="connsiteX1084" fmla="*/ 4203199 w 14609453"/>
              <a:gd name="connsiteY1084" fmla="*/ 481445 h 5962351"/>
              <a:gd name="connsiteX1085" fmla="*/ 4276326 w 14609453"/>
              <a:gd name="connsiteY1085" fmla="*/ 393659 h 5962351"/>
              <a:gd name="connsiteX1086" fmla="*/ 4374888 w 14609453"/>
              <a:gd name="connsiteY1086" fmla="*/ 393659 h 5962351"/>
              <a:gd name="connsiteX1087" fmla="*/ 4403503 w 14609453"/>
              <a:gd name="connsiteY1087" fmla="*/ 363125 h 5962351"/>
              <a:gd name="connsiteX1088" fmla="*/ 4495706 w 14609453"/>
              <a:gd name="connsiteY1088" fmla="*/ 328773 h 5962351"/>
              <a:gd name="connsiteX1089" fmla="*/ 4581550 w 14609453"/>
              <a:gd name="connsiteY1089" fmla="*/ 240987 h 5962351"/>
              <a:gd name="connsiteX1090" fmla="*/ 4610165 w 14609453"/>
              <a:gd name="connsiteY1090" fmla="*/ 267705 h 5962351"/>
              <a:gd name="connsiteX1091" fmla="*/ 4641960 w 14609453"/>
              <a:gd name="connsiteY1091" fmla="*/ 240987 h 5962351"/>
              <a:gd name="connsiteX1092" fmla="*/ 4683292 w 14609453"/>
              <a:gd name="connsiteY1092" fmla="*/ 237171 h 5962351"/>
              <a:gd name="connsiteX1093" fmla="*/ 4711907 w 14609453"/>
              <a:gd name="connsiteY1093" fmla="*/ 260071 h 5962351"/>
              <a:gd name="connsiteX1094" fmla="*/ 4683292 w 14609453"/>
              <a:gd name="connsiteY1094" fmla="*/ 237171 h 5962351"/>
              <a:gd name="connsiteX1095" fmla="*/ 4696009 w 14609453"/>
              <a:gd name="connsiteY1095" fmla="*/ 214270 h 5962351"/>
              <a:gd name="connsiteX1096" fmla="*/ 4785034 w 14609453"/>
              <a:gd name="connsiteY1096" fmla="*/ 237171 h 5962351"/>
              <a:gd name="connsiteX1097" fmla="*/ 4800931 w 14609453"/>
              <a:gd name="connsiteY1097" fmla="*/ 221903 h 5962351"/>
              <a:gd name="connsiteX1098" fmla="*/ 4861339 w 14609453"/>
              <a:gd name="connsiteY1098" fmla="*/ 149384 h 5962351"/>
              <a:gd name="connsiteX1099" fmla="*/ 4915390 w 14609453"/>
              <a:gd name="connsiteY1099" fmla="*/ 118850 h 5962351"/>
              <a:gd name="connsiteX1100" fmla="*/ 4994875 w 14609453"/>
              <a:gd name="connsiteY1100" fmla="*/ 118850 h 5962351"/>
              <a:gd name="connsiteX1101" fmla="*/ 5013952 w 14609453"/>
              <a:gd name="connsiteY1101" fmla="*/ 141751 h 5962351"/>
              <a:gd name="connsiteX1102" fmla="*/ 5039387 w 14609453"/>
              <a:gd name="connsiteY1102" fmla="*/ 149384 h 5962351"/>
              <a:gd name="connsiteX1103" fmla="*/ 5246050 w 14609453"/>
              <a:gd name="connsiteY1103" fmla="*/ 149384 h 5962351"/>
              <a:gd name="connsiteX1104" fmla="*/ 5246050 w 14609453"/>
              <a:gd name="connsiteY1104" fmla="*/ 179919 h 5962351"/>
              <a:gd name="connsiteX1105" fmla="*/ 5211076 w 14609453"/>
              <a:gd name="connsiteY1105" fmla="*/ 179919 h 5962351"/>
              <a:gd name="connsiteX1106" fmla="*/ 5153846 w 14609453"/>
              <a:gd name="connsiteY1106" fmla="*/ 221903 h 5962351"/>
              <a:gd name="connsiteX1107" fmla="*/ 5242871 w 14609453"/>
              <a:gd name="connsiteY1107" fmla="*/ 233354 h 5962351"/>
              <a:gd name="connsiteX1108" fmla="*/ 5246050 w 14609453"/>
              <a:gd name="connsiteY1108" fmla="*/ 179919 h 5962351"/>
              <a:gd name="connsiteX1109" fmla="*/ 5354150 w 14609453"/>
              <a:gd name="connsiteY1109" fmla="*/ 176102 h 5962351"/>
              <a:gd name="connsiteX1110" fmla="*/ 5360510 w 14609453"/>
              <a:gd name="connsiteY1110" fmla="*/ 160835 h 5962351"/>
              <a:gd name="connsiteX1111" fmla="*/ 5287382 w 14609453"/>
              <a:gd name="connsiteY1111" fmla="*/ 88316 h 5962351"/>
              <a:gd name="connsiteX1112" fmla="*/ 5268306 w 14609453"/>
              <a:gd name="connsiteY1112" fmla="*/ 141751 h 5962351"/>
              <a:gd name="connsiteX1113" fmla="*/ 5246050 w 14609453"/>
              <a:gd name="connsiteY1113" fmla="*/ 149384 h 5962351"/>
              <a:gd name="connsiteX1114" fmla="*/ 5188820 w 14609453"/>
              <a:gd name="connsiteY1114" fmla="*/ 69232 h 5962351"/>
              <a:gd name="connsiteX1115" fmla="*/ 5338253 w 14609453"/>
              <a:gd name="connsiteY1115" fmla="*/ 57782 h 5962351"/>
              <a:gd name="connsiteX1116" fmla="*/ 5306459 w 14609453"/>
              <a:gd name="connsiteY1116" fmla="*/ 15797 h 5962351"/>
              <a:gd name="connsiteX1117" fmla="*/ 5326728 w 14609453"/>
              <a:gd name="connsiteY1117" fmla="*/ 53 h 5962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</a:cxnLst>
            <a:rect l="l" t="t" r="r" b="b"/>
            <a:pathLst>
              <a:path w="14609453" h="5962351">
                <a:moveTo>
                  <a:pt x="8368244" y="3782966"/>
                </a:moveTo>
                <a:lnTo>
                  <a:pt x="8368244" y="3792108"/>
                </a:lnTo>
                <a:lnTo>
                  <a:pt x="8367300" y="3791852"/>
                </a:lnTo>
                <a:cubicBezTo>
                  <a:pt x="8365860" y="3790361"/>
                  <a:pt x="8365860" y="3787737"/>
                  <a:pt x="8368244" y="3782966"/>
                </a:cubicBezTo>
                <a:close/>
                <a:moveTo>
                  <a:pt x="5326728" y="53"/>
                </a:moveTo>
                <a:cubicBezTo>
                  <a:pt x="5335074" y="-424"/>
                  <a:pt x="5344612" y="2438"/>
                  <a:pt x="5354150" y="4347"/>
                </a:cubicBezTo>
                <a:cubicBezTo>
                  <a:pt x="5360510" y="19614"/>
                  <a:pt x="5366868" y="34881"/>
                  <a:pt x="5373227" y="53965"/>
                </a:cubicBezTo>
                <a:cubicBezTo>
                  <a:pt x="5385944" y="57782"/>
                  <a:pt x="5398663" y="61598"/>
                  <a:pt x="5411380" y="65415"/>
                </a:cubicBezTo>
                <a:cubicBezTo>
                  <a:pt x="5433636" y="84499"/>
                  <a:pt x="5414560" y="111217"/>
                  <a:pt x="5424098" y="134117"/>
                </a:cubicBezTo>
                <a:cubicBezTo>
                  <a:pt x="5411380" y="145568"/>
                  <a:pt x="5401842" y="157018"/>
                  <a:pt x="5389124" y="168468"/>
                </a:cubicBezTo>
                <a:cubicBezTo>
                  <a:pt x="5405021" y="176102"/>
                  <a:pt x="5420918" y="179919"/>
                  <a:pt x="5433636" y="183736"/>
                </a:cubicBezTo>
                <a:cubicBezTo>
                  <a:pt x="5443175" y="172285"/>
                  <a:pt x="5455892" y="160835"/>
                  <a:pt x="5465431" y="149384"/>
                </a:cubicBezTo>
                <a:cubicBezTo>
                  <a:pt x="5474969" y="160835"/>
                  <a:pt x="5487686" y="172285"/>
                  <a:pt x="5497225" y="179919"/>
                </a:cubicBezTo>
                <a:cubicBezTo>
                  <a:pt x="5519480" y="183736"/>
                  <a:pt x="5544916" y="168468"/>
                  <a:pt x="5567172" y="195186"/>
                </a:cubicBezTo>
                <a:cubicBezTo>
                  <a:pt x="5557634" y="202820"/>
                  <a:pt x="5551274" y="214270"/>
                  <a:pt x="5541737" y="225720"/>
                </a:cubicBezTo>
                <a:cubicBezTo>
                  <a:pt x="5541737" y="282972"/>
                  <a:pt x="5541737" y="344041"/>
                  <a:pt x="5541737" y="408926"/>
                </a:cubicBezTo>
                <a:cubicBezTo>
                  <a:pt x="5554454" y="412743"/>
                  <a:pt x="5573531" y="420376"/>
                  <a:pt x="5589428" y="428010"/>
                </a:cubicBezTo>
                <a:cubicBezTo>
                  <a:pt x="5608505" y="458544"/>
                  <a:pt x="5592607" y="492895"/>
                  <a:pt x="5598966" y="527246"/>
                </a:cubicBezTo>
                <a:cubicBezTo>
                  <a:pt x="5605325" y="534880"/>
                  <a:pt x="5611684" y="542514"/>
                  <a:pt x="5624402" y="553964"/>
                </a:cubicBezTo>
                <a:cubicBezTo>
                  <a:pt x="5627581" y="565414"/>
                  <a:pt x="5627581" y="584498"/>
                  <a:pt x="5627581" y="603582"/>
                </a:cubicBezTo>
                <a:cubicBezTo>
                  <a:pt x="5602145" y="653201"/>
                  <a:pt x="5602145" y="653201"/>
                  <a:pt x="5598966" y="699002"/>
                </a:cubicBezTo>
                <a:cubicBezTo>
                  <a:pt x="5595786" y="702819"/>
                  <a:pt x="5595786" y="710452"/>
                  <a:pt x="5592607" y="710452"/>
                </a:cubicBezTo>
                <a:cubicBezTo>
                  <a:pt x="5538557" y="748620"/>
                  <a:pt x="5538557" y="828773"/>
                  <a:pt x="5481328" y="855490"/>
                </a:cubicBezTo>
                <a:cubicBezTo>
                  <a:pt x="5481328" y="878391"/>
                  <a:pt x="5481328" y="897475"/>
                  <a:pt x="5481328" y="916559"/>
                </a:cubicBezTo>
                <a:cubicBezTo>
                  <a:pt x="5462251" y="935643"/>
                  <a:pt x="5446354" y="954727"/>
                  <a:pt x="5424098" y="977627"/>
                </a:cubicBezTo>
                <a:cubicBezTo>
                  <a:pt x="5424098" y="1015795"/>
                  <a:pt x="5424098" y="1057780"/>
                  <a:pt x="5424098" y="1095948"/>
                </a:cubicBezTo>
                <a:cubicBezTo>
                  <a:pt x="5398663" y="1118849"/>
                  <a:pt x="5382765" y="1137932"/>
                  <a:pt x="5363689" y="1157016"/>
                </a:cubicBezTo>
                <a:cubicBezTo>
                  <a:pt x="5363689" y="1195184"/>
                  <a:pt x="5363689" y="1237169"/>
                  <a:pt x="5363689" y="1275337"/>
                </a:cubicBezTo>
                <a:cubicBezTo>
                  <a:pt x="5354150" y="1286787"/>
                  <a:pt x="5344612" y="1298237"/>
                  <a:pt x="5335074" y="1309688"/>
                </a:cubicBezTo>
                <a:cubicBezTo>
                  <a:pt x="5335074" y="1328772"/>
                  <a:pt x="5335074" y="1347856"/>
                  <a:pt x="5335074" y="1378390"/>
                </a:cubicBezTo>
                <a:cubicBezTo>
                  <a:pt x="5315998" y="1393657"/>
                  <a:pt x="5296921" y="1412741"/>
                  <a:pt x="5274665" y="1435642"/>
                </a:cubicBezTo>
                <a:cubicBezTo>
                  <a:pt x="5271485" y="1458542"/>
                  <a:pt x="5284203" y="1485260"/>
                  <a:pt x="5261947" y="1504344"/>
                </a:cubicBezTo>
                <a:cubicBezTo>
                  <a:pt x="5242871" y="1492894"/>
                  <a:pt x="5230153" y="1462359"/>
                  <a:pt x="5198359" y="1473810"/>
                </a:cubicBezTo>
                <a:cubicBezTo>
                  <a:pt x="5188820" y="1496710"/>
                  <a:pt x="5179282" y="1515794"/>
                  <a:pt x="5169744" y="1538695"/>
                </a:cubicBezTo>
                <a:cubicBezTo>
                  <a:pt x="5160206" y="1553962"/>
                  <a:pt x="5157026" y="1573046"/>
                  <a:pt x="5147488" y="1588313"/>
                </a:cubicBezTo>
                <a:cubicBezTo>
                  <a:pt x="5134770" y="1607397"/>
                  <a:pt x="5106155" y="1622664"/>
                  <a:pt x="5099797" y="1641748"/>
                </a:cubicBezTo>
                <a:cubicBezTo>
                  <a:pt x="5093438" y="1660832"/>
                  <a:pt x="5090258" y="1679916"/>
                  <a:pt x="5074361" y="1691367"/>
                </a:cubicBezTo>
                <a:cubicBezTo>
                  <a:pt x="5058464" y="1710451"/>
                  <a:pt x="5039387" y="1725718"/>
                  <a:pt x="5023491" y="1744802"/>
                </a:cubicBezTo>
                <a:cubicBezTo>
                  <a:pt x="5001235" y="1779153"/>
                  <a:pt x="4959902" y="1790603"/>
                  <a:pt x="4950364" y="1836404"/>
                </a:cubicBezTo>
                <a:cubicBezTo>
                  <a:pt x="4921749" y="1840221"/>
                  <a:pt x="4909031" y="1863122"/>
                  <a:pt x="4896313" y="1886023"/>
                </a:cubicBezTo>
                <a:cubicBezTo>
                  <a:pt x="4915390" y="1901290"/>
                  <a:pt x="4934467" y="1905107"/>
                  <a:pt x="4950364" y="1878389"/>
                </a:cubicBezTo>
                <a:cubicBezTo>
                  <a:pt x="4950364" y="1863122"/>
                  <a:pt x="4950364" y="1847855"/>
                  <a:pt x="4950364" y="1836404"/>
                </a:cubicBezTo>
                <a:cubicBezTo>
                  <a:pt x="4975799" y="1828771"/>
                  <a:pt x="4978978" y="1863122"/>
                  <a:pt x="5017132" y="1863122"/>
                </a:cubicBezTo>
                <a:cubicBezTo>
                  <a:pt x="5017132" y="1863122"/>
                  <a:pt x="5036208" y="1863122"/>
                  <a:pt x="5055284" y="1863122"/>
                </a:cubicBezTo>
                <a:cubicBezTo>
                  <a:pt x="5080720" y="1844038"/>
                  <a:pt x="5061643" y="1817321"/>
                  <a:pt x="5074361" y="1786786"/>
                </a:cubicBezTo>
                <a:cubicBezTo>
                  <a:pt x="5096617" y="1779153"/>
                  <a:pt x="5131591" y="1779153"/>
                  <a:pt x="5153846" y="1760069"/>
                </a:cubicBezTo>
                <a:cubicBezTo>
                  <a:pt x="5182462" y="1737168"/>
                  <a:pt x="5211076" y="1756252"/>
                  <a:pt x="5233333" y="1740985"/>
                </a:cubicBezTo>
                <a:cubicBezTo>
                  <a:pt x="5255588" y="1718084"/>
                  <a:pt x="5239691" y="1691367"/>
                  <a:pt x="5246050" y="1664649"/>
                </a:cubicBezTo>
                <a:cubicBezTo>
                  <a:pt x="5258768" y="1660832"/>
                  <a:pt x="5277844" y="1649382"/>
                  <a:pt x="5284203" y="1657015"/>
                </a:cubicBezTo>
                <a:cubicBezTo>
                  <a:pt x="5306459" y="1676099"/>
                  <a:pt x="5331895" y="1683733"/>
                  <a:pt x="5357330" y="1695183"/>
                </a:cubicBezTo>
                <a:cubicBezTo>
                  <a:pt x="5360510" y="1699000"/>
                  <a:pt x="5360510" y="1714267"/>
                  <a:pt x="5360510" y="1714267"/>
                </a:cubicBezTo>
                <a:cubicBezTo>
                  <a:pt x="5325536" y="1752435"/>
                  <a:pt x="5290562" y="1786786"/>
                  <a:pt x="5242871" y="1836404"/>
                </a:cubicBezTo>
                <a:cubicBezTo>
                  <a:pt x="5252409" y="1832588"/>
                  <a:pt x="5239691" y="1836404"/>
                  <a:pt x="5223794" y="1840221"/>
                </a:cubicBezTo>
                <a:cubicBezTo>
                  <a:pt x="5217435" y="1859305"/>
                  <a:pt x="5211076" y="1874572"/>
                  <a:pt x="5204717" y="1901290"/>
                </a:cubicBezTo>
                <a:cubicBezTo>
                  <a:pt x="5192000" y="1874572"/>
                  <a:pt x="5182462" y="1855488"/>
                  <a:pt x="5172923" y="1836404"/>
                </a:cubicBezTo>
                <a:cubicBezTo>
                  <a:pt x="5141129" y="1855488"/>
                  <a:pt x="5166565" y="1893656"/>
                  <a:pt x="5150668" y="1916557"/>
                </a:cubicBezTo>
                <a:cubicBezTo>
                  <a:pt x="5131591" y="1935641"/>
                  <a:pt x="5106155" y="1920374"/>
                  <a:pt x="5083900" y="1928007"/>
                </a:cubicBezTo>
                <a:cubicBezTo>
                  <a:pt x="5074361" y="1931824"/>
                  <a:pt x="5068003" y="1939458"/>
                  <a:pt x="5055284" y="1954725"/>
                </a:cubicBezTo>
                <a:cubicBezTo>
                  <a:pt x="5039387" y="1954725"/>
                  <a:pt x="5017132" y="1954725"/>
                  <a:pt x="4985337" y="1958542"/>
                </a:cubicBezTo>
                <a:cubicBezTo>
                  <a:pt x="4982158" y="1985259"/>
                  <a:pt x="4978978" y="2011977"/>
                  <a:pt x="4975799" y="2038694"/>
                </a:cubicBezTo>
                <a:cubicBezTo>
                  <a:pt x="4944004" y="2057778"/>
                  <a:pt x="4928107" y="2038694"/>
                  <a:pt x="4909031" y="2019610"/>
                </a:cubicBezTo>
                <a:cubicBezTo>
                  <a:pt x="4899493" y="2027244"/>
                  <a:pt x="4889955" y="2034877"/>
                  <a:pt x="4877237" y="2046328"/>
                </a:cubicBezTo>
                <a:cubicBezTo>
                  <a:pt x="4851802" y="2046328"/>
                  <a:pt x="4823187" y="2046328"/>
                  <a:pt x="4791393" y="2046328"/>
                </a:cubicBezTo>
                <a:cubicBezTo>
                  <a:pt x="4759598" y="2080679"/>
                  <a:pt x="4724625" y="2118847"/>
                  <a:pt x="4686472" y="2164648"/>
                </a:cubicBezTo>
                <a:cubicBezTo>
                  <a:pt x="4686472" y="2160831"/>
                  <a:pt x="4686472" y="2168465"/>
                  <a:pt x="4686472" y="2179915"/>
                </a:cubicBezTo>
                <a:cubicBezTo>
                  <a:pt x="4651498" y="2206633"/>
                  <a:pt x="4603807" y="2206633"/>
                  <a:pt x="4587909" y="2260068"/>
                </a:cubicBezTo>
                <a:cubicBezTo>
                  <a:pt x="4575192" y="2244801"/>
                  <a:pt x="4562474" y="2237167"/>
                  <a:pt x="4552936" y="2229533"/>
                </a:cubicBezTo>
                <a:cubicBezTo>
                  <a:pt x="4537039" y="2279152"/>
                  <a:pt x="4502065" y="2313503"/>
                  <a:pt x="4463911" y="2344037"/>
                </a:cubicBezTo>
                <a:cubicBezTo>
                  <a:pt x="4454373" y="2336403"/>
                  <a:pt x="4444835" y="2328770"/>
                  <a:pt x="4432117" y="2313503"/>
                </a:cubicBezTo>
                <a:cubicBezTo>
                  <a:pt x="4416220" y="2336403"/>
                  <a:pt x="4400323" y="2363121"/>
                  <a:pt x="4390785" y="2378388"/>
                </a:cubicBezTo>
                <a:cubicBezTo>
                  <a:pt x="4368529" y="2378388"/>
                  <a:pt x="4355811" y="2378388"/>
                  <a:pt x="4346273" y="2378388"/>
                </a:cubicBezTo>
                <a:cubicBezTo>
                  <a:pt x="4311300" y="2447090"/>
                  <a:pt x="4311300" y="2447090"/>
                  <a:pt x="4244532" y="2481442"/>
                </a:cubicBezTo>
                <a:cubicBezTo>
                  <a:pt x="4244532" y="2492892"/>
                  <a:pt x="4244532" y="2500525"/>
                  <a:pt x="4244532" y="2515793"/>
                </a:cubicBezTo>
                <a:cubicBezTo>
                  <a:pt x="4228635" y="2519609"/>
                  <a:pt x="4212737" y="2527243"/>
                  <a:pt x="4219096" y="2523426"/>
                </a:cubicBezTo>
                <a:cubicBezTo>
                  <a:pt x="4168226" y="2576861"/>
                  <a:pt x="4133252" y="2611212"/>
                  <a:pt x="4095099" y="2649380"/>
                </a:cubicBezTo>
                <a:cubicBezTo>
                  <a:pt x="4095099" y="2664647"/>
                  <a:pt x="4101458" y="2679914"/>
                  <a:pt x="4139610" y="2676098"/>
                </a:cubicBezTo>
                <a:cubicBezTo>
                  <a:pt x="4168226" y="2657014"/>
                  <a:pt x="4193661" y="2618846"/>
                  <a:pt x="4228635" y="2588312"/>
                </a:cubicBezTo>
                <a:cubicBezTo>
                  <a:pt x="4244532" y="2588312"/>
                  <a:pt x="4263608" y="2588312"/>
                  <a:pt x="4289043" y="2588312"/>
                </a:cubicBezTo>
                <a:cubicBezTo>
                  <a:pt x="4304940" y="2569228"/>
                  <a:pt x="4320838" y="2542510"/>
                  <a:pt x="4330376" y="2527243"/>
                </a:cubicBezTo>
                <a:cubicBezTo>
                  <a:pt x="4362170" y="2527243"/>
                  <a:pt x="4374888" y="2527243"/>
                  <a:pt x="4390785" y="2523426"/>
                </a:cubicBezTo>
                <a:cubicBezTo>
                  <a:pt x="4393965" y="2542510"/>
                  <a:pt x="4390785" y="2565411"/>
                  <a:pt x="4416220" y="2546327"/>
                </a:cubicBezTo>
                <a:cubicBezTo>
                  <a:pt x="4409862" y="2538693"/>
                  <a:pt x="4400323" y="2531060"/>
                  <a:pt x="4390785" y="2523426"/>
                </a:cubicBezTo>
                <a:cubicBezTo>
                  <a:pt x="4390785" y="2496708"/>
                  <a:pt x="4419400" y="2489075"/>
                  <a:pt x="4432117" y="2469991"/>
                </a:cubicBezTo>
                <a:cubicBezTo>
                  <a:pt x="4470271" y="2481442"/>
                  <a:pt x="4482988" y="2439457"/>
                  <a:pt x="4521141" y="2435640"/>
                </a:cubicBezTo>
                <a:cubicBezTo>
                  <a:pt x="4549756" y="2431823"/>
                  <a:pt x="4559295" y="2382205"/>
                  <a:pt x="4594268" y="2374571"/>
                </a:cubicBezTo>
                <a:cubicBezTo>
                  <a:pt x="4600627" y="2393655"/>
                  <a:pt x="4597447" y="2416556"/>
                  <a:pt x="4622883" y="2393655"/>
                </a:cubicBezTo>
                <a:cubicBezTo>
                  <a:pt x="4616524" y="2389839"/>
                  <a:pt x="4606986" y="2382205"/>
                  <a:pt x="4594268" y="2374571"/>
                </a:cubicBezTo>
                <a:cubicBezTo>
                  <a:pt x="4597447" y="2370755"/>
                  <a:pt x="4597447" y="2363121"/>
                  <a:pt x="4597447" y="2363121"/>
                </a:cubicBezTo>
                <a:cubicBezTo>
                  <a:pt x="4632421" y="2355488"/>
                  <a:pt x="4664215" y="2332587"/>
                  <a:pt x="4696009" y="2313503"/>
                </a:cubicBezTo>
                <a:cubicBezTo>
                  <a:pt x="4721445" y="2298236"/>
                  <a:pt x="4727804" y="2248618"/>
                  <a:pt x="4759598" y="2225717"/>
                </a:cubicBezTo>
                <a:cubicBezTo>
                  <a:pt x="4772316" y="2218083"/>
                  <a:pt x="4781854" y="2206633"/>
                  <a:pt x="4791393" y="2195183"/>
                </a:cubicBezTo>
                <a:cubicBezTo>
                  <a:pt x="4839083" y="2218083"/>
                  <a:pt x="4867699" y="2164648"/>
                  <a:pt x="4909031" y="2160831"/>
                </a:cubicBezTo>
                <a:cubicBezTo>
                  <a:pt x="4937646" y="2134114"/>
                  <a:pt x="4966261" y="2107396"/>
                  <a:pt x="4994875" y="2076862"/>
                </a:cubicBezTo>
                <a:cubicBezTo>
                  <a:pt x="5013952" y="2076862"/>
                  <a:pt x="5033029" y="2076862"/>
                  <a:pt x="5052105" y="2076862"/>
                </a:cubicBezTo>
                <a:cubicBezTo>
                  <a:pt x="5064823" y="2038694"/>
                  <a:pt x="5083900" y="2008160"/>
                  <a:pt x="5118873" y="1985259"/>
                </a:cubicBezTo>
                <a:cubicBezTo>
                  <a:pt x="5134770" y="1985259"/>
                  <a:pt x="5153846" y="1985259"/>
                  <a:pt x="5172923" y="1985259"/>
                </a:cubicBezTo>
                <a:cubicBezTo>
                  <a:pt x="5201538" y="1954725"/>
                  <a:pt x="5230153" y="1928007"/>
                  <a:pt x="5258768" y="1897473"/>
                </a:cubicBezTo>
                <a:cubicBezTo>
                  <a:pt x="5287382" y="1897473"/>
                  <a:pt x="5315998" y="1897473"/>
                  <a:pt x="5350971" y="1897473"/>
                </a:cubicBezTo>
                <a:cubicBezTo>
                  <a:pt x="5366868" y="1878389"/>
                  <a:pt x="5385944" y="1855488"/>
                  <a:pt x="5398663" y="1836404"/>
                </a:cubicBezTo>
                <a:cubicBezTo>
                  <a:pt x="5427277" y="1836404"/>
                  <a:pt x="5446354" y="1836404"/>
                  <a:pt x="5465431" y="1836404"/>
                </a:cubicBezTo>
                <a:cubicBezTo>
                  <a:pt x="5474969" y="1824954"/>
                  <a:pt x="5487686" y="1817321"/>
                  <a:pt x="5500404" y="1805870"/>
                </a:cubicBezTo>
                <a:cubicBezTo>
                  <a:pt x="5506763" y="1824954"/>
                  <a:pt x="5513122" y="1840221"/>
                  <a:pt x="5519480" y="1859305"/>
                </a:cubicBezTo>
                <a:cubicBezTo>
                  <a:pt x="5525840" y="1855488"/>
                  <a:pt x="5538557" y="1851672"/>
                  <a:pt x="5538557" y="1851672"/>
                </a:cubicBezTo>
                <a:cubicBezTo>
                  <a:pt x="5525840" y="1809687"/>
                  <a:pt x="5557634" y="1779153"/>
                  <a:pt x="5567172" y="1740985"/>
                </a:cubicBezTo>
                <a:cubicBezTo>
                  <a:pt x="5573531" y="1714267"/>
                  <a:pt x="5589428" y="1718084"/>
                  <a:pt x="5608505" y="1714267"/>
                </a:cubicBezTo>
                <a:cubicBezTo>
                  <a:pt x="5621222" y="1710451"/>
                  <a:pt x="5630761" y="1695183"/>
                  <a:pt x="5643478" y="1687550"/>
                </a:cubicBezTo>
                <a:cubicBezTo>
                  <a:pt x="5662554" y="1687550"/>
                  <a:pt x="5681631" y="1687550"/>
                  <a:pt x="5700707" y="1687550"/>
                </a:cubicBezTo>
                <a:cubicBezTo>
                  <a:pt x="5716605" y="1657015"/>
                  <a:pt x="5732502" y="1630298"/>
                  <a:pt x="5745219" y="1607397"/>
                </a:cubicBezTo>
                <a:cubicBezTo>
                  <a:pt x="5783373" y="1584497"/>
                  <a:pt x="5818346" y="1603580"/>
                  <a:pt x="5846961" y="1592130"/>
                </a:cubicBezTo>
                <a:cubicBezTo>
                  <a:pt x="5869217" y="1626481"/>
                  <a:pt x="5872397" y="1660832"/>
                  <a:pt x="5907370" y="1683733"/>
                </a:cubicBezTo>
                <a:cubicBezTo>
                  <a:pt x="5913729" y="1672283"/>
                  <a:pt x="5920088" y="1664649"/>
                  <a:pt x="5926446" y="1653199"/>
                </a:cubicBezTo>
                <a:cubicBezTo>
                  <a:pt x="5916909" y="1637931"/>
                  <a:pt x="5910549" y="1626481"/>
                  <a:pt x="5897832" y="1611214"/>
                </a:cubicBezTo>
                <a:cubicBezTo>
                  <a:pt x="5904191" y="1599764"/>
                  <a:pt x="5913729" y="1588313"/>
                  <a:pt x="5926446" y="1565412"/>
                </a:cubicBezTo>
                <a:cubicBezTo>
                  <a:pt x="5920088" y="1553962"/>
                  <a:pt x="5910549" y="1538695"/>
                  <a:pt x="5897832" y="1519611"/>
                </a:cubicBezTo>
                <a:cubicBezTo>
                  <a:pt x="5910549" y="1481443"/>
                  <a:pt x="5945523" y="1515794"/>
                  <a:pt x="5974138" y="1500527"/>
                </a:cubicBezTo>
                <a:cubicBezTo>
                  <a:pt x="6009111" y="1435642"/>
                  <a:pt x="6088598" y="1431825"/>
                  <a:pt x="6145827" y="1386023"/>
                </a:cubicBezTo>
                <a:cubicBezTo>
                  <a:pt x="6174442" y="1378390"/>
                  <a:pt x="6209415" y="1393657"/>
                  <a:pt x="6241209" y="1374573"/>
                </a:cubicBezTo>
                <a:cubicBezTo>
                  <a:pt x="6234851" y="1359306"/>
                  <a:pt x="6228492" y="1347856"/>
                  <a:pt x="6218954" y="1328772"/>
                </a:cubicBezTo>
                <a:cubicBezTo>
                  <a:pt x="6257107" y="1324955"/>
                  <a:pt x="6288900" y="1324955"/>
                  <a:pt x="6311156" y="1321138"/>
                </a:cubicBezTo>
                <a:cubicBezTo>
                  <a:pt x="6346130" y="1305871"/>
                  <a:pt x="6368386" y="1290604"/>
                  <a:pt x="6393822" y="1279154"/>
                </a:cubicBezTo>
                <a:cubicBezTo>
                  <a:pt x="6393822" y="1271520"/>
                  <a:pt x="6393822" y="1260069"/>
                  <a:pt x="6393822" y="1248619"/>
                </a:cubicBezTo>
                <a:cubicBezTo>
                  <a:pt x="6419257" y="1237169"/>
                  <a:pt x="6441513" y="1225718"/>
                  <a:pt x="6476486" y="1206635"/>
                </a:cubicBezTo>
                <a:cubicBezTo>
                  <a:pt x="6495563" y="1202818"/>
                  <a:pt x="6530537" y="1202818"/>
                  <a:pt x="6565510" y="1199001"/>
                </a:cubicBezTo>
                <a:cubicBezTo>
                  <a:pt x="6568690" y="1183734"/>
                  <a:pt x="6571870" y="1168467"/>
                  <a:pt x="6571870" y="1157016"/>
                </a:cubicBezTo>
                <a:cubicBezTo>
                  <a:pt x="6597304" y="1141749"/>
                  <a:pt x="6622740" y="1130299"/>
                  <a:pt x="6654534" y="1115032"/>
                </a:cubicBezTo>
                <a:cubicBezTo>
                  <a:pt x="6667252" y="1115032"/>
                  <a:pt x="6692688" y="1115032"/>
                  <a:pt x="6714944" y="1107398"/>
                </a:cubicBezTo>
                <a:cubicBezTo>
                  <a:pt x="6721302" y="1126482"/>
                  <a:pt x="6718123" y="1153199"/>
                  <a:pt x="6743558" y="1130299"/>
                </a:cubicBezTo>
                <a:cubicBezTo>
                  <a:pt x="6737200" y="1122665"/>
                  <a:pt x="6727661" y="1118849"/>
                  <a:pt x="6714944" y="1107398"/>
                </a:cubicBezTo>
                <a:cubicBezTo>
                  <a:pt x="6714944" y="1073047"/>
                  <a:pt x="6749917" y="1092131"/>
                  <a:pt x="6772173" y="1073047"/>
                </a:cubicBezTo>
                <a:cubicBezTo>
                  <a:pt x="6772173" y="1065413"/>
                  <a:pt x="6775352" y="1050146"/>
                  <a:pt x="6778532" y="1031062"/>
                </a:cubicBezTo>
                <a:cubicBezTo>
                  <a:pt x="6794429" y="1027245"/>
                  <a:pt x="6810326" y="1023429"/>
                  <a:pt x="6832582" y="1015795"/>
                </a:cubicBezTo>
                <a:cubicBezTo>
                  <a:pt x="6826223" y="1000528"/>
                  <a:pt x="6816685" y="989078"/>
                  <a:pt x="6810326" y="973811"/>
                </a:cubicBezTo>
                <a:cubicBezTo>
                  <a:pt x="6829402" y="950910"/>
                  <a:pt x="6854838" y="969994"/>
                  <a:pt x="6877094" y="962360"/>
                </a:cubicBezTo>
                <a:cubicBezTo>
                  <a:pt x="6889812" y="954727"/>
                  <a:pt x="6899350" y="943276"/>
                  <a:pt x="6908888" y="931826"/>
                </a:cubicBezTo>
                <a:cubicBezTo>
                  <a:pt x="6927965" y="950910"/>
                  <a:pt x="6943862" y="969994"/>
                  <a:pt x="6962938" y="985261"/>
                </a:cubicBezTo>
                <a:cubicBezTo>
                  <a:pt x="6985194" y="977627"/>
                  <a:pt x="7007450" y="969994"/>
                  <a:pt x="7032886" y="958543"/>
                </a:cubicBezTo>
                <a:cubicBezTo>
                  <a:pt x="7039244" y="981444"/>
                  <a:pt x="7042424" y="992894"/>
                  <a:pt x="7042424" y="1008162"/>
                </a:cubicBezTo>
                <a:cubicBezTo>
                  <a:pt x="7007450" y="1023429"/>
                  <a:pt x="6972476" y="1034879"/>
                  <a:pt x="6950220" y="1076864"/>
                </a:cubicBezTo>
                <a:cubicBezTo>
                  <a:pt x="6956580" y="1088314"/>
                  <a:pt x="6959759" y="1099764"/>
                  <a:pt x="6962938" y="1115032"/>
                </a:cubicBezTo>
                <a:cubicBezTo>
                  <a:pt x="6988374" y="1092131"/>
                  <a:pt x="7007450" y="1073047"/>
                  <a:pt x="7029706" y="1053963"/>
                </a:cubicBezTo>
                <a:cubicBezTo>
                  <a:pt x="7067860" y="1053963"/>
                  <a:pt x="7106012" y="1053963"/>
                  <a:pt x="7144166" y="1053963"/>
                </a:cubicBezTo>
                <a:cubicBezTo>
                  <a:pt x="7163242" y="1034879"/>
                  <a:pt x="7179140" y="1015795"/>
                  <a:pt x="7198216" y="1000528"/>
                </a:cubicBezTo>
                <a:cubicBezTo>
                  <a:pt x="7249086" y="996711"/>
                  <a:pt x="7293598" y="973811"/>
                  <a:pt x="7334931" y="947093"/>
                </a:cubicBezTo>
                <a:cubicBezTo>
                  <a:pt x="7338110" y="947093"/>
                  <a:pt x="7334931" y="939459"/>
                  <a:pt x="7334931" y="931826"/>
                </a:cubicBezTo>
                <a:cubicBezTo>
                  <a:pt x="7369904" y="931826"/>
                  <a:pt x="7404878" y="931826"/>
                  <a:pt x="7439852" y="931826"/>
                </a:cubicBezTo>
                <a:cubicBezTo>
                  <a:pt x="7452570" y="916559"/>
                  <a:pt x="7474826" y="905108"/>
                  <a:pt x="7478005" y="874574"/>
                </a:cubicBezTo>
                <a:cubicBezTo>
                  <a:pt x="7443032" y="874574"/>
                  <a:pt x="7411237" y="874574"/>
                  <a:pt x="7376264" y="874574"/>
                </a:cubicBezTo>
                <a:cubicBezTo>
                  <a:pt x="7366726" y="897475"/>
                  <a:pt x="7334931" y="901291"/>
                  <a:pt x="7334931" y="931826"/>
                </a:cubicBezTo>
                <a:cubicBezTo>
                  <a:pt x="7303137" y="931826"/>
                  <a:pt x="7268163" y="931826"/>
                  <a:pt x="7233190" y="931826"/>
                </a:cubicBezTo>
                <a:cubicBezTo>
                  <a:pt x="7223651" y="943276"/>
                  <a:pt x="7214113" y="950910"/>
                  <a:pt x="7204574" y="962360"/>
                </a:cubicBezTo>
                <a:cubicBezTo>
                  <a:pt x="7195036" y="954727"/>
                  <a:pt x="7182318" y="943276"/>
                  <a:pt x="7175960" y="935643"/>
                </a:cubicBezTo>
                <a:cubicBezTo>
                  <a:pt x="7144166" y="954727"/>
                  <a:pt x="7112372" y="973811"/>
                  <a:pt x="7080577" y="989078"/>
                </a:cubicBezTo>
                <a:cubicBezTo>
                  <a:pt x="7061500" y="969994"/>
                  <a:pt x="7077398" y="943276"/>
                  <a:pt x="7071039" y="920375"/>
                </a:cubicBezTo>
                <a:cubicBezTo>
                  <a:pt x="7090116" y="886025"/>
                  <a:pt x="7125089" y="912742"/>
                  <a:pt x="7150524" y="897475"/>
                </a:cubicBezTo>
                <a:cubicBezTo>
                  <a:pt x="7156884" y="882208"/>
                  <a:pt x="7163242" y="866940"/>
                  <a:pt x="7169601" y="844040"/>
                </a:cubicBezTo>
                <a:cubicBezTo>
                  <a:pt x="7179140" y="851673"/>
                  <a:pt x="7188678" y="859307"/>
                  <a:pt x="7204574" y="870757"/>
                </a:cubicBezTo>
                <a:cubicBezTo>
                  <a:pt x="7230010" y="870757"/>
                  <a:pt x="7264984" y="870757"/>
                  <a:pt x="7296778" y="870757"/>
                </a:cubicBezTo>
                <a:cubicBezTo>
                  <a:pt x="7299958" y="859307"/>
                  <a:pt x="7303137" y="851673"/>
                  <a:pt x="7306316" y="844040"/>
                </a:cubicBezTo>
                <a:cubicBezTo>
                  <a:pt x="7322214" y="832589"/>
                  <a:pt x="7338110" y="824956"/>
                  <a:pt x="7354008" y="813506"/>
                </a:cubicBezTo>
                <a:cubicBezTo>
                  <a:pt x="7360366" y="821139"/>
                  <a:pt x="7366726" y="828773"/>
                  <a:pt x="7373084" y="836406"/>
                </a:cubicBezTo>
                <a:cubicBezTo>
                  <a:pt x="7382622" y="836406"/>
                  <a:pt x="7388981" y="840223"/>
                  <a:pt x="7398520" y="840223"/>
                </a:cubicBezTo>
                <a:cubicBezTo>
                  <a:pt x="7471646" y="844040"/>
                  <a:pt x="7544773" y="844040"/>
                  <a:pt x="7614720" y="844040"/>
                </a:cubicBezTo>
                <a:cubicBezTo>
                  <a:pt x="7627438" y="832589"/>
                  <a:pt x="7636976" y="821139"/>
                  <a:pt x="7652874" y="805872"/>
                </a:cubicBezTo>
                <a:cubicBezTo>
                  <a:pt x="7665591" y="813506"/>
                  <a:pt x="7681488" y="824956"/>
                  <a:pt x="7716462" y="840223"/>
                </a:cubicBezTo>
                <a:cubicBezTo>
                  <a:pt x="7757794" y="840223"/>
                  <a:pt x="7821383" y="840223"/>
                  <a:pt x="7881792" y="840223"/>
                </a:cubicBezTo>
                <a:cubicBezTo>
                  <a:pt x="7904048" y="893658"/>
                  <a:pt x="7967636" y="851673"/>
                  <a:pt x="7993072" y="897475"/>
                </a:cubicBezTo>
                <a:cubicBezTo>
                  <a:pt x="8034404" y="897475"/>
                  <a:pt x="8075737" y="901291"/>
                  <a:pt x="8120248" y="905108"/>
                </a:cubicBezTo>
                <a:cubicBezTo>
                  <a:pt x="8126608" y="912742"/>
                  <a:pt x="8132966" y="920375"/>
                  <a:pt x="8142504" y="928009"/>
                </a:cubicBezTo>
                <a:cubicBezTo>
                  <a:pt x="8167940" y="928009"/>
                  <a:pt x="8196555" y="928009"/>
                  <a:pt x="8221990" y="928009"/>
                </a:cubicBezTo>
                <a:cubicBezTo>
                  <a:pt x="8247426" y="958543"/>
                  <a:pt x="8298296" y="947093"/>
                  <a:pt x="8307835" y="992894"/>
                </a:cubicBezTo>
                <a:cubicBezTo>
                  <a:pt x="8282400" y="992894"/>
                  <a:pt x="8260144" y="992894"/>
                  <a:pt x="8234708" y="992894"/>
                </a:cubicBezTo>
                <a:cubicBezTo>
                  <a:pt x="8225170" y="981444"/>
                  <a:pt x="8215632" y="973811"/>
                  <a:pt x="8202914" y="962360"/>
                </a:cubicBezTo>
                <a:cubicBezTo>
                  <a:pt x="8171120" y="966177"/>
                  <a:pt x="8139326" y="954727"/>
                  <a:pt x="8104352" y="973811"/>
                </a:cubicBezTo>
                <a:cubicBezTo>
                  <a:pt x="8104352" y="996711"/>
                  <a:pt x="8104352" y="1019612"/>
                  <a:pt x="8104352" y="1042513"/>
                </a:cubicBezTo>
                <a:cubicBezTo>
                  <a:pt x="8132966" y="1069230"/>
                  <a:pt x="8161582" y="1099764"/>
                  <a:pt x="8187016" y="1126482"/>
                </a:cubicBezTo>
                <a:cubicBezTo>
                  <a:pt x="8190196" y="1130299"/>
                  <a:pt x="8190196" y="1134116"/>
                  <a:pt x="8190196" y="1130299"/>
                </a:cubicBezTo>
                <a:cubicBezTo>
                  <a:pt x="8190196" y="1157016"/>
                  <a:pt x="8190196" y="1176100"/>
                  <a:pt x="8193376" y="1199001"/>
                </a:cubicBezTo>
                <a:cubicBezTo>
                  <a:pt x="8209272" y="1199001"/>
                  <a:pt x="8221990" y="1202818"/>
                  <a:pt x="8237888" y="1202818"/>
                </a:cubicBezTo>
                <a:cubicBezTo>
                  <a:pt x="8244246" y="1183734"/>
                  <a:pt x="8250605" y="1168467"/>
                  <a:pt x="8256964" y="1149383"/>
                </a:cubicBezTo>
                <a:cubicBezTo>
                  <a:pt x="8272861" y="1145566"/>
                  <a:pt x="8291938" y="1137932"/>
                  <a:pt x="8298296" y="1134116"/>
                </a:cubicBezTo>
                <a:cubicBezTo>
                  <a:pt x="8317373" y="1099764"/>
                  <a:pt x="8330090" y="1069230"/>
                  <a:pt x="8342808" y="1038696"/>
                </a:cubicBezTo>
                <a:cubicBezTo>
                  <a:pt x="8330090" y="1027245"/>
                  <a:pt x="8317373" y="1015795"/>
                  <a:pt x="8307835" y="1008162"/>
                </a:cubicBezTo>
                <a:cubicBezTo>
                  <a:pt x="8304656" y="1004345"/>
                  <a:pt x="8307835" y="996711"/>
                  <a:pt x="8307835" y="992894"/>
                </a:cubicBezTo>
                <a:cubicBezTo>
                  <a:pt x="8333270" y="992894"/>
                  <a:pt x="8355526" y="992894"/>
                  <a:pt x="8384141" y="992894"/>
                </a:cubicBezTo>
                <a:cubicBezTo>
                  <a:pt x="8390500" y="1004345"/>
                  <a:pt x="8393679" y="1019612"/>
                  <a:pt x="8396859" y="1031062"/>
                </a:cubicBezTo>
                <a:cubicBezTo>
                  <a:pt x="8396859" y="1050146"/>
                  <a:pt x="8393679" y="1069230"/>
                  <a:pt x="8412756" y="1084497"/>
                </a:cubicBezTo>
                <a:cubicBezTo>
                  <a:pt x="8422294" y="1095948"/>
                  <a:pt x="8422294" y="1111215"/>
                  <a:pt x="8428653" y="1122665"/>
                </a:cubicBezTo>
                <a:cubicBezTo>
                  <a:pt x="8415935" y="1137932"/>
                  <a:pt x="8406397" y="1145566"/>
                  <a:pt x="8396859" y="1157016"/>
                </a:cubicBezTo>
                <a:cubicBezTo>
                  <a:pt x="8431832" y="1195184"/>
                  <a:pt x="8435012" y="1256253"/>
                  <a:pt x="8485882" y="1271520"/>
                </a:cubicBezTo>
                <a:cubicBezTo>
                  <a:pt x="8485882" y="1290604"/>
                  <a:pt x="8485882" y="1294421"/>
                  <a:pt x="8485882" y="1298237"/>
                </a:cubicBezTo>
                <a:cubicBezTo>
                  <a:pt x="8466806" y="1332588"/>
                  <a:pt x="8450909" y="1366940"/>
                  <a:pt x="8431832" y="1401291"/>
                </a:cubicBezTo>
                <a:cubicBezTo>
                  <a:pt x="8447729" y="1416558"/>
                  <a:pt x="8454088" y="1443275"/>
                  <a:pt x="8466806" y="1469993"/>
                </a:cubicBezTo>
                <a:cubicBezTo>
                  <a:pt x="8489062" y="1473810"/>
                  <a:pt x="8511318" y="1477626"/>
                  <a:pt x="8533574" y="1477626"/>
                </a:cubicBezTo>
                <a:cubicBezTo>
                  <a:pt x="8555830" y="1511978"/>
                  <a:pt x="8533574" y="1546329"/>
                  <a:pt x="8549471" y="1584497"/>
                </a:cubicBezTo>
                <a:cubicBezTo>
                  <a:pt x="8546292" y="1584497"/>
                  <a:pt x="8549471" y="1592130"/>
                  <a:pt x="8555830" y="1592130"/>
                </a:cubicBezTo>
                <a:cubicBezTo>
                  <a:pt x="8578086" y="1595947"/>
                  <a:pt x="8600342" y="1595947"/>
                  <a:pt x="8622598" y="1599764"/>
                </a:cubicBezTo>
                <a:cubicBezTo>
                  <a:pt x="8625777" y="1611214"/>
                  <a:pt x="8628957" y="1618848"/>
                  <a:pt x="8632136" y="1630298"/>
                </a:cubicBezTo>
                <a:cubicBezTo>
                  <a:pt x="8613059" y="1683733"/>
                  <a:pt x="8536753" y="1699000"/>
                  <a:pt x="8539933" y="1771519"/>
                </a:cubicBezTo>
                <a:cubicBezTo>
                  <a:pt x="8501780" y="1775336"/>
                  <a:pt x="8469985" y="1775336"/>
                  <a:pt x="8438191" y="1779153"/>
                </a:cubicBezTo>
                <a:cubicBezTo>
                  <a:pt x="8412756" y="1809687"/>
                  <a:pt x="8431832" y="1847855"/>
                  <a:pt x="8425473" y="1886023"/>
                </a:cubicBezTo>
                <a:cubicBezTo>
                  <a:pt x="8400038" y="1908923"/>
                  <a:pt x="8368244" y="1935641"/>
                  <a:pt x="8345988" y="1966175"/>
                </a:cubicBezTo>
                <a:cubicBezTo>
                  <a:pt x="8330090" y="1985259"/>
                  <a:pt x="8323732" y="2011977"/>
                  <a:pt x="8314194" y="2038694"/>
                </a:cubicBezTo>
                <a:cubicBezTo>
                  <a:pt x="8320552" y="2046328"/>
                  <a:pt x="8326912" y="2050145"/>
                  <a:pt x="8339629" y="2061595"/>
                </a:cubicBezTo>
                <a:cubicBezTo>
                  <a:pt x="8304656" y="2076862"/>
                  <a:pt x="8272861" y="2092129"/>
                  <a:pt x="8241067" y="2107396"/>
                </a:cubicBezTo>
                <a:cubicBezTo>
                  <a:pt x="8212452" y="2122664"/>
                  <a:pt x="8183837" y="2141747"/>
                  <a:pt x="8187016" y="2187549"/>
                </a:cubicBezTo>
                <a:cubicBezTo>
                  <a:pt x="8174299" y="2191365"/>
                  <a:pt x="8161582" y="2195183"/>
                  <a:pt x="8148864" y="2198999"/>
                </a:cubicBezTo>
                <a:cubicBezTo>
                  <a:pt x="8129787" y="2244801"/>
                  <a:pt x="8094814" y="2286785"/>
                  <a:pt x="8053481" y="2317320"/>
                </a:cubicBezTo>
                <a:cubicBezTo>
                  <a:pt x="8031225" y="2321136"/>
                  <a:pt x="8002610" y="2305869"/>
                  <a:pt x="7983534" y="2332587"/>
                </a:cubicBezTo>
                <a:cubicBezTo>
                  <a:pt x="7993072" y="2340220"/>
                  <a:pt x="8002610" y="2351671"/>
                  <a:pt x="8012148" y="2363121"/>
                </a:cubicBezTo>
                <a:cubicBezTo>
                  <a:pt x="7989892" y="2382205"/>
                  <a:pt x="7977174" y="2412739"/>
                  <a:pt x="7939022" y="2408923"/>
                </a:cubicBezTo>
                <a:cubicBezTo>
                  <a:pt x="7894510" y="2458541"/>
                  <a:pt x="7846818" y="2508159"/>
                  <a:pt x="7802306" y="2553961"/>
                </a:cubicBezTo>
                <a:cubicBezTo>
                  <a:pt x="7786409" y="2553961"/>
                  <a:pt x="7776871" y="2557777"/>
                  <a:pt x="7767332" y="2557777"/>
                </a:cubicBezTo>
                <a:cubicBezTo>
                  <a:pt x="7764154" y="2557777"/>
                  <a:pt x="7760974" y="2561594"/>
                  <a:pt x="7754615" y="2565411"/>
                </a:cubicBezTo>
                <a:cubicBezTo>
                  <a:pt x="7751436" y="2584495"/>
                  <a:pt x="7745076" y="2599762"/>
                  <a:pt x="7738718" y="2615029"/>
                </a:cubicBezTo>
                <a:cubicBezTo>
                  <a:pt x="7726000" y="2618846"/>
                  <a:pt x="7716462" y="2618846"/>
                  <a:pt x="7710103" y="2618846"/>
                </a:cubicBezTo>
                <a:cubicBezTo>
                  <a:pt x="7589285" y="2740983"/>
                  <a:pt x="7471646" y="2859303"/>
                  <a:pt x="7357187" y="2977624"/>
                </a:cubicBezTo>
                <a:cubicBezTo>
                  <a:pt x="7341290" y="2977624"/>
                  <a:pt x="7331752" y="2977624"/>
                  <a:pt x="7322214" y="2981441"/>
                </a:cubicBezTo>
                <a:cubicBezTo>
                  <a:pt x="7312675" y="3000524"/>
                  <a:pt x="7303137" y="3019609"/>
                  <a:pt x="7293598" y="3038692"/>
                </a:cubicBezTo>
                <a:cubicBezTo>
                  <a:pt x="7280881" y="3038692"/>
                  <a:pt x="7271342" y="3038692"/>
                  <a:pt x="7261804" y="3038692"/>
                </a:cubicBezTo>
                <a:cubicBezTo>
                  <a:pt x="7214113" y="3088311"/>
                  <a:pt x="7166422" y="3137929"/>
                  <a:pt x="7115551" y="3187547"/>
                </a:cubicBezTo>
                <a:cubicBezTo>
                  <a:pt x="7064680" y="3237165"/>
                  <a:pt x="7016988" y="3290600"/>
                  <a:pt x="6953400" y="3328768"/>
                </a:cubicBezTo>
                <a:cubicBezTo>
                  <a:pt x="6896170" y="3366936"/>
                  <a:pt x="6854838" y="3424188"/>
                  <a:pt x="6803967" y="3477623"/>
                </a:cubicBezTo>
                <a:cubicBezTo>
                  <a:pt x="6816685" y="3485257"/>
                  <a:pt x="6829402" y="3489073"/>
                  <a:pt x="6845300" y="3496707"/>
                </a:cubicBezTo>
                <a:cubicBezTo>
                  <a:pt x="6873914" y="3454722"/>
                  <a:pt x="6921606" y="3439455"/>
                  <a:pt x="6956580" y="3408921"/>
                </a:cubicBezTo>
                <a:cubicBezTo>
                  <a:pt x="6994732" y="3374570"/>
                  <a:pt x="7036065" y="3359303"/>
                  <a:pt x="7077398" y="3340219"/>
                </a:cubicBezTo>
                <a:cubicBezTo>
                  <a:pt x="7112372" y="3328768"/>
                  <a:pt x="7121910" y="3275333"/>
                  <a:pt x="7169601" y="3279150"/>
                </a:cubicBezTo>
                <a:cubicBezTo>
                  <a:pt x="7233190" y="3214265"/>
                  <a:pt x="7319034" y="3187547"/>
                  <a:pt x="7395340" y="3145563"/>
                </a:cubicBezTo>
                <a:cubicBezTo>
                  <a:pt x="7465288" y="3107395"/>
                  <a:pt x="7538414" y="3076860"/>
                  <a:pt x="7576567" y="3019609"/>
                </a:cubicBezTo>
                <a:cubicBezTo>
                  <a:pt x="7640156" y="2989074"/>
                  <a:pt x="7691026" y="2969990"/>
                  <a:pt x="7738718" y="2943273"/>
                </a:cubicBezTo>
                <a:cubicBezTo>
                  <a:pt x="7760974" y="2931822"/>
                  <a:pt x="7773692" y="2908922"/>
                  <a:pt x="7792768" y="2889838"/>
                </a:cubicBezTo>
                <a:cubicBezTo>
                  <a:pt x="7811844" y="2889838"/>
                  <a:pt x="7830921" y="2889838"/>
                  <a:pt x="7853177" y="2889838"/>
                </a:cubicBezTo>
                <a:cubicBezTo>
                  <a:pt x="7897689" y="2809685"/>
                  <a:pt x="7986713" y="2790601"/>
                  <a:pt x="8056660" y="2740983"/>
                </a:cubicBezTo>
                <a:cubicBezTo>
                  <a:pt x="8069378" y="2733349"/>
                  <a:pt x="8094814" y="2737166"/>
                  <a:pt x="8126608" y="2737166"/>
                </a:cubicBezTo>
                <a:cubicBezTo>
                  <a:pt x="8132966" y="2729532"/>
                  <a:pt x="8152043" y="2714266"/>
                  <a:pt x="8155222" y="2698998"/>
                </a:cubicBezTo>
                <a:cubicBezTo>
                  <a:pt x="8155222" y="2637930"/>
                  <a:pt x="8212452" y="2649380"/>
                  <a:pt x="8241067" y="2618846"/>
                </a:cubicBezTo>
                <a:cubicBezTo>
                  <a:pt x="8253784" y="2607395"/>
                  <a:pt x="8285579" y="2626479"/>
                  <a:pt x="8307835" y="2607395"/>
                </a:cubicBezTo>
                <a:cubicBezTo>
                  <a:pt x="8323732" y="2592128"/>
                  <a:pt x="8345988" y="2584495"/>
                  <a:pt x="8368244" y="2573044"/>
                </a:cubicBezTo>
                <a:cubicBezTo>
                  <a:pt x="8368244" y="2561594"/>
                  <a:pt x="8368244" y="2553961"/>
                  <a:pt x="8368244" y="2542510"/>
                </a:cubicBezTo>
                <a:cubicBezTo>
                  <a:pt x="8415935" y="2508159"/>
                  <a:pt x="8476344" y="2496708"/>
                  <a:pt x="8520856" y="2450907"/>
                </a:cubicBezTo>
                <a:cubicBezTo>
                  <a:pt x="8552650" y="2420373"/>
                  <a:pt x="8600342" y="2405106"/>
                  <a:pt x="8641674" y="2386022"/>
                </a:cubicBezTo>
                <a:cubicBezTo>
                  <a:pt x="8679827" y="2370755"/>
                  <a:pt x="8705263" y="2347854"/>
                  <a:pt x="8733878" y="2317320"/>
                </a:cubicBezTo>
                <a:cubicBezTo>
                  <a:pt x="8778389" y="2336403"/>
                  <a:pt x="8810184" y="2286785"/>
                  <a:pt x="8857875" y="2282969"/>
                </a:cubicBezTo>
                <a:cubicBezTo>
                  <a:pt x="8880131" y="2260068"/>
                  <a:pt x="8905566" y="2229533"/>
                  <a:pt x="8934181" y="2202816"/>
                </a:cubicBezTo>
                <a:cubicBezTo>
                  <a:pt x="8985052" y="2206633"/>
                  <a:pt x="9026385" y="2179915"/>
                  <a:pt x="9064538" y="2157015"/>
                </a:cubicBezTo>
                <a:cubicBezTo>
                  <a:pt x="9105870" y="2137931"/>
                  <a:pt x="9153562" y="2122664"/>
                  <a:pt x="9175817" y="2076862"/>
                </a:cubicBezTo>
                <a:cubicBezTo>
                  <a:pt x="9191715" y="2076862"/>
                  <a:pt x="9207612" y="2076862"/>
                  <a:pt x="9223509" y="2076862"/>
                </a:cubicBezTo>
                <a:cubicBezTo>
                  <a:pt x="9252124" y="2061595"/>
                  <a:pt x="9277559" y="2046328"/>
                  <a:pt x="9306174" y="2034877"/>
                </a:cubicBezTo>
                <a:cubicBezTo>
                  <a:pt x="9341148" y="2015793"/>
                  <a:pt x="9372942" y="1996709"/>
                  <a:pt x="9401557" y="1969992"/>
                </a:cubicBezTo>
                <a:cubicBezTo>
                  <a:pt x="9423813" y="1950908"/>
                  <a:pt x="9458786" y="1928007"/>
                  <a:pt x="9484222" y="1928007"/>
                </a:cubicBezTo>
                <a:cubicBezTo>
                  <a:pt x="9522375" y="1931824"/>
                  <a:pt x="9544631" y="1905107"/>
                  <a:pt x="9576425" y="1893656"/>
                </a:cubicBezTo>
                <a:cubicBezTo>
                  <a:pt x="9605040" y="1886023"/>
                  <a:pt x="9630475" y="1863122"/>
                  <a:pt x="9662269" y="1851672"/>
                </a:cubicBezTo>
                <a:cubicBezTo>
                  <a:pt x="9694064" y="1840221"/>
                  <a:pt x="9725858" y="1817321"/>
                  <a:pt x="9757652" y="1802053"/>
                </a:cubicBezTo>
                <a:cubicBezTo>
                  <a:pt x="9789446" y="1790603"/>
                  <a:pt x="9814882" y="1767702"/>
                  <a:pt x="9853035" y="1775336"/>
                </a:cubicBezTo>
                <a:cubicBezTo>
                  <a:pt x="9884829" y="1718084"/>
                  <a:pt x="9961135" y="1718084"/>
                  <a:pt x="9989750" y="1664649"/>
                </a:cubicBezTo>
                <a:cubicBezTo>
                  <a:pt x="10018365" y="1641748"/>
                  <a:pt x="10050159" y="1668466"/>
                  <a:pt x="10075594" y="1641748"/>
                </a:cubicBezTo>
                <a:cubicBezTo>
                  <a:pt x="10110568" y="1603580"/>
                  <a:pt x="10170977" y="1607397"/>
                  <a:pt x="10205951" y="1565412"/>
                </a:cubicBezTo>
                <a:cubicBezTo>
                  <a:pt x="10260001" y="1584497"/>
                  <a:pt x="10291795" y="1534878"/>
                  <a:pt x="10342666" y="1531062"/>
                </a:cubicBezTo>
                <a:cubicBezTo>
                  <a:pt x="10387178" y="1527245"/>
                  <a:pt x="10434869" y="1492894"/>
                  <a:pt x="10476202" y="1466176"/>
                </a:cubicBezTo>
                <a:cubicBezTo>
                  <a:pt x="10514355" y="1443275"/>
                  <a:pt x="10549329" y="1408924"/>
                  <a:pt x="10609738" y="1386023"/>
                </a:cubicBezTo>
                <a:cubicBezTo>
                  <a:pt x="10619276" y="1386023"/>
                  <a:pt x="10647891" y="1386023"/>
                  <a:pt x="10676506" y="1386023"/>
                </a:cubicBezTo>
                <a:cubicBezTo>
                  <a:pt x="10689223" y="1374573"/>
                  <a:pt x="10698762" y="1363123"/>
                  <a:pt x="10708300" y="1355489"/>
                </a:cubicBezTo>
                <a:cubicBezTo>
                  <a:pt x="10721018" y="1366940"/>
                  <a:pt x="10730556" y="1374573"/>
                  <a:pt x="10740094" y="1386023"/>
                </a:cubicBezTo>
                <a:cubicBezTo>
                  <a:pt x="10749632" y="1382207"/>
                  <a:pt x="10759171" y="1382207"/>
                  <a:pt x="10771888" y="1382207"/>
                </a:cubicBezTo>
                <a:cubicBezTo>
                  <a:pt x="10778247" y="1363123"/>
                  <a:pt x="10784606" y="1347856"/>
                  <a:pt x="10790965" y="1324955"/>
                </a:cubicBezTo>
                <a:cubicBezTo>
                  <a:pt x="10803683" y="1332588"/>
                  <a:pt x="10813221" y="1340222"/>
                  <a:pt x="10825939" y="1351672"/>
                </a:cubicBezTo>
                <a:cubicBezTo>
                  <a:pt x="10832297" y="1344039"/>
                  <a:pt x="10845015" y="1336405"/>
                  <a:pt x="10854553" y="1324955"/>
                </a:cubicBezTo>
                <a:cubicBezTo>
                  <a:pt x="10892706" y="1324955"/>
                  <a:pt x="10930860" y="1324955"/>
                  <a:pt x="10969013" y="1324955"/>
                </a:cubicBezTo>
                <a:cubicBezTo>
                  <a:pt x="10981730" y="1313505"/>
                  <a:pt x="10991269" y="1305871"/>
                  <a:pt x="11003986" y="1294421"/>
                </a:cubicBezTo>
                <a:cubicBezTo>
                  <a:pt x="11023063" y="1294421"/>
                  <a:pt x="11042139" y="1294421"/>
                  <a:pt x="11061216" y="1294421"/>
                </a:cubicBezTo>
                <a:cubicBezTo>
                  <a:pt x="11070754" y="1282970"/>
                  <a:pt x="11080292" y="1275337"/>
                  <a:pt x="11093010" y="1263886"/>
                </a:cubicBezTo>
                <a:cubicBezTo>
                  <a:pt x="11102548" y="1275337"/>
                  <a:pt x="11112087" y="1282970"/>
                  <a:pt x="11121625" y="1294421"/>
                </a:cubicBezTo>
                <a:cubicBezTo>
                  <a:pt x="11143881" y="1294421"/>
                  <a:pt x="11162957" y="1294421"/>
                  <a:pt x="11178855" y="1294421"/>
                </a:cubicBezTo>
                <a:cubicBezTo>
                  <a:pt x="11191572" y="1282970"/>
                  <a:pt x="11201111" y="1275337"/>
                  <a:pt x="11213828" y="1263886"/>
                </a:cubicBezTo>
                <a:cubicBezTo>
                  <a:pt x="11232905" y="1305871"/>
                  <a:pt x="11217008" y="1344039"/>
                  <a:pt x="11223367" y="1386023"/>
                </a:cubicBezTo>
                <a:cubicBezTo>
                  <a:pt x="11194752" y="1401291"/>
                  <a:pt x="11194752" y="1401291"/>
                  <a:pt x="11207469" y="1443275"/>
                </a:cubicBezTo>
                <a:cubicBezTo>
                  <a:pt x="11239264" y="1431825"/>
                  <a:pt x="11217008" y="1405107"/>
                  <a:pt x="11223367" y="1386023"/>
                </a:cubicBezTo>
                <a:cubicBezTo>
                  <a:pt x="11264699" y="1382207"/>
                  <a:pt x="11245622" y="1420375"/>
                  <a:pt x="11261520" y="1439459"/>
                </a:cubicBezTo>
                <a:cubicBezTo>
                  <a:pt x="11280596" y="1454726"/>
                  <a:pt x="11306032" y="1435642"/>
                  <a:pt x="11325108" y="1447092"/>
                </a:cubicBezTo>
                <a:cubicBezTo>
                  <a:pt x="11337826" y="1435642"/>
                  <a:pt x="11347364" y="1424191"/>
                  <a:pt x="11356902" y="1416558"/>
                </a:cubicBezTo>
                <a:cubicBezTo>
                  <a:pt x="11369620" y="1443275"/>
                  <a:pt x="11382338" y="1466176"/>
                  <a:pt x="11401414" y="1500527"/>
                </a:cubicBezTo>
                <a:cubicBezTo>
                  <a:pt x="11401414" y="1508161"/>
                  <a:pt x="11401414" y="1527245"/>
                  <a:pt x="11401414" y="1550145"/>
                </a:cubicBezTo>
                <a:cubicBezTo>
                  <a:pt x="11414132" y="1561596"/>
                  <a:pt x="11426850" y="1576863"/>
                  <a:pt x="11442747" y="1588313"/>
                </a:cubicBezTo>
                <a:cubicBezTo>
                  <a:pt x="11461823" y="1561596"/>
                  <a:pt x="11480900" y="1531062"/>
                  <a:pt x="11499976" y="1500527"/>
                </a:cubicBezTo>
                <a:cubicBezTo>
                  <a:pt x="11519053" y="1519611"/>
                  <a:pt x="11519053" y="1519611"/>
                  <a:pt x="11512694" y="1615031"/>
                </a:cubicBezTo>
                <a:cubicBezTo>
                  <a:pt x="11506335" y="1622664"/>
                  <a:pt x="11496797" y="1634115"/>
                  <a:pt x="11487259" y="1649382"/>
                </a:cubicBezTo>
                <a:cubicBezTo>
                  <a:pt x="11509515" y="1653199"/>
                  <a:pt x="11522232" y="1657015"/>
                  <a:pt x="11534950" y="1657015"/>
                </a:cubicBezTo>
                <a:cubicBezTo>
                  <a:pt x="11557206" y="1676099"/>
                  <a:pt x="11544488" y="1702817"/>
                  <a:pt x="11547668" y="1729534"/>
                </a:cubicBezTo>
                <a:cubicBezTo>
                  <a:pt x="11557206" y="1737168"/>
                  <a:pt x="11566744" y="1748618"/>
                  <a:pt x="11576283" y="1760069"/>
                </a:cubicBezTo>
                <a:cubicBezTo>
                  <a:pt x="11576283" y="1790603"/>
                  <a:pt x="11576283" y="1817321"/>
                  <a:pt x="11576283" y="1851672"/>
                </a:cubicBezTo>
                <a:cubicBezTo>
                  <a:pt x="11557206" y="1859305"/>
                  <a:pt x="11538129" y="1870755"/>
                  <a:pt x="11519053" y="1878389"/>
                </a:cubicBezTo>
                <a:cubicBezTo>
                  <a:pt x="11528591" y="1889839"/>
                  <a:pt x="11538129" y="1901290"/>
                  <a:pt x="11547668" y="1912740"/>
                </a:cubicBezTo>
                <a:cubicBezTo>
                  <a:pt x="11487259" y="1973809"/>
                  <a:pt x="11430029" y="2031060"/>
                  <a:pt x="11369620" y="2092129"/>
                </a:cubicBezTo>
                <a:cubicBezTo>
                  <a:pt x="11369620" y="2111213"/>
                  <a:pt x="11369620" y="2130297"/>
                  <a:pt x="11369620" y="2153198"/>
                </a:cubicBezTo>
                <a:cubicBezTo>
                  <a:pt x="11334646" y="2191365"/>
                  <a:pt x="11296493" y="2229533"/>
                  <a:pt x="11255161" y="2271518"/>
                </a:cubicBezTo>
                <a:cubicBezTo>
                  <a:pt x="11255161" y="2286785"/>
                  <a:pt x="11255161" y="2305869"/>
                  <a:pt x="11255161" y="2328770"/>
                </a:cubicBezTo>
                <a:cubicBezTo>
                  <a:pt x="11232905" y="2340220"/>
                  <a:pt x="11207469" y="2351671"/>
                  <a:pt x="11188393" y="2370755"/>
                </a:cubicBezTo>
                <a:cubicBezTo>
                  <a:pt x="11169316" y="2389839"/>
                  <a:pt x="11137522" y="2401289"/>
                  <a:pt x="11140701" y="2435640"/>
                </a:cubicBezTo>
                <a:cubicBezTo>
                  <a:pt x="11121625" y="2439457"/>
                  <a:pt x="11099369" y="2439457"/>
                  <a:pt x="11118446" y="2466174"/>
                </a:cubicBezTo>
                <a:cubicBezTo>
                  <a:pt x="11124804" y="2458541"/>
                  <a:pt x="11131163" y="2447090"/>
                  <a:pt x="11140701" y="2435640"/>
                </a:cubicBezTo>
                <a:cubicBezTo>
                  <a:pt x="11143881" y="2439457"/>
                  <a:pt x="11156599" y="2443274"/>
                  <a:pt x="11159778" y="2447090"/>
                </a:cubicBezTo>
                <a:cubicBezTo>
                  <a:pt x="11162957" y="2466174"/>
                  <a:pt x="11162957" y="2485258"/>
                  <a:pt x="11166137" y="2500525"/>
                </a:cubicBezTo>
                <a:cubicBezTo>
                  <a:pt x="11089831" y="2576861"/>
                  <a:pt x="11016704" y="2653197"/>
                  <a:pt x="10934039" y="2737166"/>
                </a:cubicBezTo>
                <a:cubicBezTo>
                  <a:pt x="10911783" y="2740983"/>
                  <a:pt x="10879989" y="2756250"/>
                  <a:pt x="10870450" y="2802052"/>
                </a:cubicBezTo>
                <a:cubicBezTo>
                  <a:pt x="10860912" y="2844036"/>
                  <a:pt x="10822759" y="2855487"/>
                  <a:pt x="10787785" y="2866937"/>
                </a:cubicBezTo>
                <a:cubicBezTo>
                  <a:pt x="10784606" y="2882204"/>
                  <a:pt x="10781427" y="2893655"/>
                  <a:pt x="10775068" y="2912738"/>
                </a:cubicBezTo>
                <a:cubicBezTo>
                  <a:pt x="10765529" y="2916555"/>
                  <a:pt x="10749632" y="2920372"/>
                  <a:pt x="10736915" y="2920372"/>
                </a:cubicBezTo>
                <a:cubicBezTo>
                  <a:pt x="10714659" y="2966173"/>
                  <a:pt x="10679685" y="3027242"/>
                  <a:pt x="10654250" y="3031059"/>
                </a:cubicBezTo>
                <a:cubicBezTo>
                  <a:pt x="10593841" y="3046326"/>
                  <a:pt x="10571585" y="3099761"/>
                  <a:pt x="10527073" y="3130295"/>
                </a:cubicBezTo>
                <a:cubicBezTo>
                  <a:pt x="10520714" y="3130295"/>
                  <a:pt x="10511176" y="3130295"/>
                  <a:pt x="10501637" y="3130295"/>
                </a:cubicBezTo>
                <a:cubicBezTo>
                  <a:pt x="10476202" y="3160829"/>
                  <a:pt x="10479381" y="3214265"/>
                  <a:pt x="10422152" y="3221898"/>
                </a:cubicBezTo>
                <a:cubicBezTo>
                  <a:pt x="10377640" y="3225715"/>
                  <a:pt x="10377640" y="3275333"/>
                  <a:pt x="10358563" y="3305868"/>
                </a:cubicBezTo>
                <a:cubicBezTo>
                  <a:pt x="10349025" y="3309684"/>
                  <a:pt x="10339487" y="3309684"/>
                  <a:pt x="10329948" y="3309684"/>
                </a:cubicBezTo>
                <a:cubicBezTo>
                  <a:pt x="10272719" y="3351669"/>
                  <a:pt x="10237745" y="3424188"/>
                  <a:pt x="10164618" y="3447089"/>
                </a:cubicBezTo>
                <a:cubicBezTo>
                  <a:pt x="10164618" y="3454722"/>
                  <a:pt x="10164618" y="3466172"/>
                  <a:pt x="10164618" y="3477623"/>
                </a:cubicBezTo>
                <a:cubicBezTo>
                  <a:pt x="10136004" y="3504340"/>
                  <a:pt x="10107389" y="3531058"/>
                  <a:pt x="10081953" y="3561592"/>
                </a:cubicBezTo>
                <a:cubicBezTo>
                  <a:pt x="10078774" y="3561592"/>
                  <a:pt x="10078774" y="3569226"/>
                  <a:pt x="10078774" y="3573043"/>
                </a:cubicBezTo>
                <a:cubicBezTo>
                  <a:pt x="10116927" y="3607394"/>
                  <a:pt x="10129645" y="3557776"/>
                  <a:pt x="10151901" y="3550142"/>
                </a:cubicBezTo>
                <a:cubicBezTo>
                  <a:pt x="10174157" y="3546325"/>
                  <a:pt x="10202771" y="3561592"/>
                  <a:pt x="10221848" y="3538692"/>
                </a:cubicBezTo>
                <a:cubicBezTo>
                  <a:pt x="10237745" y="3515791"/>
                  <a:pt x="10272719" y="3523424"/>
                  <a:pt x="10291795" y="3496707"/>
                </a:cubicBezTo>
                <a:cubicBezTo>
                  <a:pt x="10304513" y="3481440"/>
                  <a:pt x="10333128" y="3477623"/>
                  <a:pt x="10371281" y="3462356"/>
                </a:cubicBezTo>
                <a:cubicBezTo>
                  <a:pt x="10380819" y="3462356"/>
                  <a:pt x="10409434" y="3462356"/>
                  <a:pt x="10428511" y="3462356"/>
                </a:cubicBezTo>
                <a:cubicBezTo>
                  <a:pt x="10476202" y="3439455"/>
                  <a:pt x="10511176" y="3405104"/>
                  <a:pt x="10549329" y="3405104"/>
                </a:cubicBezTo>
                <a:cubicBezTo>
                  <a:pt x="10590661" y="3401287"/>
                  <a:pt x="10612917" y="3366936"/>
                  <a:pt x="10651070" y="3366936"/>
                </a:cubicBezTo>
                <a:cubicBezTo>
                  <a:pt x="10673326" y="3317318"/>
                  <a:pt x="10740094" y="3363119"/>
                  <a:pt x="10765529" y="3313501"/>
                </a:cubicBezTo>
                <a:cubicBezTo>
                  <a:pt x="10775068" y="3321134"/>
                  <a:pt x="10784606" y="3328768"/>
                  <a:pt x="10797324" y="3340219"/>
                </a:cubicBezTo>
                <a:cubicBezTo>
                  <a:pt x="10816400" y="3321134"/>
                  <a:pt x="10835477" y="3298234"/>
                  <a:pt x="10857733" y="3279150"/>
                </a:cubicBezTo>
                <a:cubicBezTo>
                  <a:pt x="10873630" y="3279150"/>
                  <a:pt x="10886348" y="3279150"/>
                  <a:pt x="10905424" y="3279150"/>
                </a:cubicBezTo>
                <a:cubicBezTo>
                  <a:pt x="10937218" y="3260066"/>
                  <a:pt x="10975371" y="3240982"/>
                  <a:pt x="11010345" y="3221898"/>
                </a:cubicBezTo>
                <a:cubicBezTo>
                  <a:pt x="11035780" y="3221898"/>
                  <a:pt x="11058036" y="3221898"/>
                  <a:pt x="11083472" y="3221898"/>
                </a:cubicBezTo>
                <a:cubicBezTo>
                  <a:pt x="11112087" y="3202814"/>
                  <a:pt x="11143881" y="3191364"/>
                  <a:pt x="11166137" y="3172280"/>
                </a:cubicBezTo>
                <a:cubicBezTo>
                  <a:pt x="11191572" y="3149379"/>
                  <a:pt x="11226546" y="3176097"/>
                  <a:pt x="11245622" y="3149379"/>
                </a:cubicBezTo>
                <a:cubicBezTo>
                  <a:pt x="11267878" y="3122662"/>
                  <a:pt x="11312390" y="3134112"/>
                  <a:pt x="11328287" y="3099761"/>
                </a:cubicBezTo>
                <a:cubicBezTo>
                  <a:pt x="11366441" y="3099761"/>
                  <a:pt x="11407773" y="3099761"/>
                  <a:pt x="11442747" y="3099761"/>
                </a:cubicBezTo>
                <a:cubicBezTo>
                  <a:pt x="11455464" y="3088311"/>
                  <a:pt x="11468182" y="3069227"/>
                  <a:pt x="11477720" y="3073043"/>
                </a:cubicBezTo>
                <a:cubicBezTo>
                  <a:pt x="11528591" y="3076860"/>
                  <a:pt x="11563565" y="3038692"/>
                  <a:pt x="11608077" y="3023425"/>
                </a:cubicBezTo>
                <a:cubicBezTo>
                  <a:pt x="11614436" y="3019609"/>
                  <a:pt x="11627153" y="3008158"/>
                  <a:pt x="11630333" y="3011975"/>
                </a:cubicBezTo>
                <a:cubicBezTo>
                  <a:pt x="11674845" y="3031059"/>
                  <a:pt x="11697101" y="2973807"/>
                  <a:pt x="11735254" y="2977624"/>
                </a:cubicBezTo>
                <a:cubicBezTo>
                  <a:pt x="11744792" y="2981441"/>
                  <a:pt x="11754330" y="2977624"/>
                  <a:pt x="11767048" y="2977624"/>
                </a:cubicBezTo>
                <a:cubicBezTo>
                  <a:pt x="11776586" y="2969990"/>
                  <a:pt x="11786125" y="2958540"/>
                  <a:pt x="11798842" y="2950906"/>
                </a:cubicBezTo>
                <a:cubicBezTo>
                  <a:pt x="11827457" y="2950906"/>
                  <a:pt x="11856072" y="2950906"/>
                  <a:pt x="11884687" y="2950906"/>
                </a:cubicBezTo>
                <a:cubicBezTo>
                  <a:pt x="11897404" y="2939456"/>
                  <a:pt x="11906943" y="2928005"/>
                  <a:pt x="11916481" y="2916555"/>
                </a:cubicBezTo>
                <a:cubicBezTo>
                  <a:pt x="11938737" y="2916555"/>
                  <a:pt x="11957813" y="2916555"/>
                  <a:pt x="11976890" y="2916555"/>
                </a:cubicBezTo>
                <a:cubicBezTo>
                  <a:pt x="11980069" y="2912738"/>
                  <a:pt x="11983249" y="2908922"/>
                  <a:pt x="11986428" y="2905105"/>
                </a:cubicBezTo>
                <a:cubicBezTo>
                  <a:pt x="11989608" y="2905105"/>
                  <a:pt x="11992787" y="2897471"/>
                  <a:pt x="11995967" y="2897471"/>
                </a:cubicBezTo>
                <a:cubicBezTo>
                  <a:pt x="12030940" y="2886021"/>
                  <a:pt x="12072273" y="2893655"/>
                  <a:pt x="12100888" y="2859303"/>
                </a:cubicBezTo>
                <a:cubicBezTo>
                  <a:pt x="12132682" y="2859303"/>
                  <a:pt x="12167655" y="2859303"/>
                  <a:pt x="12199450" y="2859303"/>
                </a:cubicBezTo>
                <a:cubicBezTo>
                  <a:pt x="12253500" y="2828769"/>
                  <a:pt x="12307550" y="2802052"/>
                  <a:pt x="12361600" y="2771517"/>
                </a:cubicBezTo>
                <a:cubicBezTo>
                  <a:pt x="12367959" y="2786785"/>
                  <a:pt x="12377497" y="2809685"/>
                  <a:pt x="12390215" y="2836403"/>
                </a:cubicBezTo>
                <a:cubicBezTo>
                  <a:pt x="12396574" y="2813502"/>
                  <a:pt x="12399753" y="2802052"/>
                  <a:pt x="12406112" y="2782968"/>
                </a:cubicBezTo>
                <a:cubicBezTo>
                  <a:pt x="12485598" y="2740983"/>
                  <a:pt x="12568263" y="2695181"/>
                  <a:pt x="12663646" y="2649380"/>
                </a:cubicBezTo>
                <a:cubicBezTo>
                  <a:pt x="12701799" y="2649380"/>
                  <a:pt x="12749490" y="2649380"/>
                  <a:pt x="12803540" y="2649380"/>
                </a:cubicBezTo>
                <a:cubicBezTo>
                  <a:pt x="12822617" y="2603579"/>
                  <a:pt x="12876667" y="2592128"/>
                  <a:pt x="12921179" y="2561594"/>
                </a:cubicBezTo>
                <a:cubicBezTo>
                  <a:pt x="12940255" y="2561594"/>
                  <a:pt x="12968870" y="2561594"/>
                  <a:pt x="12997485" y="2561594"/>
                </a:cubicBezTo>
                <a:cubicBezTo>
                  <a:pt x="13010203" y="2550144"/>
                  <a:pt x="13022920" y="2542510"/>
                  <a:pt x="13035638" y="2531060"/>
                </a:cubicBezTo>
                <a:cubicBezTo>
                  <a:pt x="13061074" y="2531060"/>
                  <a:pt x="13089688" y="2531060"/>
                  <a:pt x="13121483" y="2531060"/>
                </a:cubicBezTo>
                <a:cubicBezTo>
                  <a:pt x="13131021" y="2534876"/>
                  <a:pt x="13140559" y="2546327"/>
                  <a:pt x="13150097" y="2553961"/>
                </a:cubicBezTo>
                <a:cubicBezTo>
                  <a:pt x="13169174" y="2542510"/>
                  <a:pt x="13188250" y="2531060"/>
                  <a:pt x="13220045" y="2515793"/>
                </a:cubicBezTo>
                <a:cubicBezTo>
                  <a:pt x="13220045" y="2511976"/>
                  <a:pt x="13226404" y="2492892"/>
                  <a:pt x="13235942" y="2469991"/>
                </a:cubicBezTo>
                <a:cubicBezTo>
                  <a:pt x="13255018" y="2469991"/>
                  <a:pt x="13277274" y="2466174"/>
                  <a:pt x="13302710" y="2466174"/>
                </a:cubicBezTo>
                <a:cubicBezTo>
                  <a:pt x="13321786" y="2428007"/>
                  <a:pt x="13359939" y="2443274"/>
                  <a:pt x="13391734" y="2435640"/>
                </a:cubicBezTo>
                <a:cubicBezTo>
                  <a:pt x="13398092" y="2428007"/>
                  <a:pt x="13404451" y="2420373"/>
                  <a:pt x="13413990" y="2412739"/>
                </a:cubicBezTo>
                <a:cubicBezTo>
                  <a:pt x="13426707" y="2420373"/>
                  <a:pt x="13442604" y="2428007"/>
                  <a:pt x="13458502" y="2439457"/>
                </a:cubicBezTo>
                <a:cubicBezTo>
                  <a:pt x="13499834" y="2416556"/>
                  <a:pt x="13537987" y="2397472"/>
                  <a:pt x="13579320" y="2378388"/>
                </a:cubicBezTo>
                <a:cubicBezTo>
                  <a:pt x="13592037" y="2374571"/>
                  <a:pt x="13611114" y="2378388"/>
                  <a:pt x="13639729" y="2378388"/>
                </a:cubicBezTo>
                <a:cubicBezTo>
                  <a:pt x="13661985" y="2355488"/>
                  <a:pt x="13693779" y="2321136"/>
                  <a:pt x="13728753" y="2286785"/>
                </a:cubicBezTo>
                <a:cubicBezTo>
                  <a:pt x="13766906" y="2279152"/>
                  <a:pt x="13747829" y="2328770"/>
                  <a:pt x="13766906" y="2344037"/>
                </a:cubicBezTo>
                <a:cubicBezTo>
                  <a:pt x="13798700" y="2324953"/>
                  <a:pt x="13827315" y="2298236"/>
                  <a:pt x="13820956" y="2256251"/>
                </a:cubicBezTo>
                <a:cubicBezTo>
                  <a:pt x="13859109" y="2256251"/>
                  <a:pt x="13890903" y="2256251"/>
                  <a:pt x="13919518" y="2256251"/>
                </a:cubicBezTo>
                <a:cubicBezTo>
                  <a:pt x="13929056" y="2267701"/>
                  <a:pt x="13938595" y="2279152"/>
                  <a:pt x="13954492" y="2290602"/>
                </a:cubicBezTo>
                <a:cubicBezTo>
                  <a:pt x="13964030" y="2286785"/>
                  <a:pt x="13989465" y="2279152"/>
                  <a:pt x="13989465" y="2275335"/>
                </a:cubicBezTo>
                <a:cubicBezTo>
                  <a:pt x="13989465" y="2233350"/>
                  <a:pt x="14014901" y="2214266"/>
                  <a:pt x="14043516" y="2195183"/>
                </a:cubicBezTo>
                <a:cubicBezTo>
                  <a:pt x="14091207" y="2187549"/>
                  <a:pt x="14072130" y="2240984"/>
                  <a:pt x="14091207" y="2252434"/>
                </a:cubicBezTo>
                <a:cubicBezTo>
                  <a:pt x="14110283" y="2225717"/>
                  <a:pt x="14132539" y="2195183"/>
                  <a:pt x="14151616" y="2164648"/>
                </a:cubicBezTo>
                <a:cubicBezTo>
                  <a:pt x="14167513" y="2168465"/>
                  <a:pt x="14183410" y="2172282"/>
                  <a:pt x="14196128" y="2176099"/>
                </a:cubicBezTo>
                <a:cubicBezTo>
                  <a:pt x="14183410" y="2198999"/>
                  <a:pt x="14173872" y="2218083"/>
                  <a:pt x="14164334" y="2233350"/>
                </a:cubicBezTo>
                <a:cubicBezTo>
                  <a:pt x="14189769" y="2271518"/>
                  <a:pt x="14218384" y="2252434"/>
                  <a:pt x="14250178" y="2252434"/>
                </a:cubicBezTo>
                <a:cubicBezTo>
                  <a:pt x="14253358" y="2240984"/>
                  <a:pt x="14256537" y="2225717"/>
                  <a:pt x="14259716" y="2210450"/>
                </a:cubicBezTo>
                <a:cubicBezTo>
                  <a:pt x="14272434" y="2198999"/>
                  <a:pt x="14285152" y="2183732"/>
                  <a:pt x="14301049" y="2168465"/>
                </a:cubicBezTo>
                <a:cubicBezTo>
                  <a:pt x="14326484" y="2168465"/>
                  <a:pt x="14358279" y="2168465"/>
                  <a:pt x="14386893" y="2168465"/>
                </a:cubicBezTo>
                <a:cubicBezTo>
                  <a:pt x="14396432" y="2157015"/>
                  <a:pt x="14409149" y="2149381"/>
                  <a:pt x="14418688" y="2137931"/>
                </a:cubicBezTo>
                <a:cubicBezTo>
                  <a:pt x="14437764" y="2137931"/>
                  <a:pt x="14456841" y="2137931"/>
                  <a:pt x="14479097" y="2137931"/>
                </a:cubicBezTo>
                <a:cubicBezTo>
                  <a:pt x="14504532" y="2153198"/>
                  <a:pt x="14488635" y="2179915"/>
                  <a:pt x="14494994" y="2214266"/>
                </a:cubicBezTo>
                <a:cubicBezTo>
                  <a:pt x="14472738" y="2225717"/>
                  <a:pt x="14447302" y="2240984"/>
                  <a:pt x="14428226" y="2252434"/>
                </a:cubicBezTo>
                <a:cubicBezTo>
                  <a:pt x="14453661" y="2309686"/>
                  <a:pt x="14501353" y="2267701"/>
                  <a:pt x="14520429" y="2302052"/>
                </a:cubicBezTo>
                <a:cubicBezTo>
                  <a:pt x="14510891" y="2313503"/>
                  <a:pt x="14501353" y="2324953"/>
                  <a:pt x="14491814" y="2332587"/>
                </a:cubicBezTo>
                <a:cubicBezTo>
                  <a:pt x="14491814" y="2344037"/>
                  <a:pt x="14494994" y="2355488"/>
                  <a:pt x="14494994" y="2366938"/>
                </a:cubicBezTo>
                <a:cubicBezTo>
                  <a:pt x="14507711" y="2370755"/>
                  <a:pt x="14520429" y="2374571"/>
                  <a:pt x="14539506" y="2382205"/>
                </a:cubicBezTo>
                <a:cubicBezTo>
                  <a:pt x="14549044" y="2420373"/>
                  <a:pt x="14574479" y="2450907"/>
                  <a:pt x="14606274" y="2477625"/>
                </a:cubicBezTo>
                <a:cubicBezTo>
                  <a:pt x="14584018" y="2538693"/>
                  <a:pt x="14504532" y="2527243"/>
                  <a:pt x="14485455" y="2584495"/>
                </a:cubicBezTo>
                <a:cubicBezTo>
                  <a:pt x="14456841" y="2595945"/>
                  <a:pt x="14425046" y="2576861"/>
                  <a:pt x="14405970" y="2603579"/>
                </a:cubicBezTo>
                <a:cubicBezTo>
                  <a:pt x="14412329" y="2611212"/>
                  <a:pt x="14415508" y="2618846"/>
                  <a:pt x="14418688" y="2618846"/>
                </a:cubicBezTo>
                <a:cubicBezTo>
                  <a:pt x="14466379" y="2618846"/>
                  <a:pt x="14517250" y="2618846"/>
                  <a:pt x="14568120" y="2618846"/>
                </a:cubicBezTo>
                <a:cubicBezTo>
                  <a:pt x="14580838" y="2630296"/>
                  <a:pt x="14593556" y="2645563"/>
                  <a:pt x="14609453" y="2664647"/>
                </a:cubicBezTo>
                <a:cubicBezTo>
                  <a:pt x="14609453" y="2679914"/>
                  <a:pt x="14609453" y="2698998"/>
                  <a:pt x="14609453" y="2721899"/>
                </a:cubicBezTo>
                <a:cubicBezTo>
                  <a:pt x="14599915" y="2733349"/>
                  <a:pt x="14584018" y="2748617"/>
                  <a:pt x="14571300" y="2763884"/>
                </a:cubicBezTo>
                <a:cubicBezTo>
                  <a:pt x="14549044" y="2763884"/>
                  <a:pt x="14526788" y="2763884"/>
                  <a:pt x="14504532" y="2763884"/>
                </a:cubicBezTo>
                <a:cubicBezTo>
                  <a:pt x="14494994" y="2756250"/>
                  <a:pt x="14488635" y="2748617"/>
                  <a:pt x="14482276" y="2740983"/>
                </a:cubicBezTo>
                <a:cubicBezTo>
                  <a:pt x="14475917" y="2748617"/>
                  <a:pt x="14463199" y="2752433"/>
                  <a:pt x="14463199" y="2756250"/>
                </a:cubicBezTo>
                <a:cubicBezTo>
                  <a:pt x="14469558" y="2794418"/>
                  <a:pt x="14434585" y="2805868"/>
                  <a:pt x="14418688" y="2828769"/>
                </a:cubicBezTo>
                <a:cubicBezTo>
                  <a:pt x="14370996" y="2821136"/>
                  <a:pt x="14361458" y="2874571"/>
                  <a:pt x="14320125" y="2893655"/>
                </a:cubicBezTo>
                <a:cubicBezTo>
                  <a:pt x="14304228" y="2886021"/>
                  <a:pt x="14285152" y="2874571"/>
                  <a:pt x="14266075" y="2863120"/>
                </a:cubicBezTo>
                <a:cubicBezTo>
                  <a:pt x="14246999" y="2886021"/>
                  <a:pt x="14262896" y="2912738"/>
                  <a:pt x="14256537" y="2935639"/>
                </a:cubicBezTo>
                <a:cubicBezTo>
                  <a:pt x="14212025" y="2958540"/>
                  <a:pt x="14167513" y="2981441"/>
                  <a:pt x="14113463" y="3011975"/>
                </a:cubicBezTo>
                <a:cubicBezTo>
                  <a:pt x="14097566" y="2996708"/>
                  <a:pt x="14078489" y="2973807"/>
                  <a:pt x="14059413" y="2954723"/>
                </a:cubicBezTo>
                <a:cubicBezTo>
                  <a:pt x="14059413" y="2954723"/>
                  <a:pt x="14053054" y="2958540"/>
                  <a:pt x="14053054" y="2962356"/>
                </a:cubicBezTo>
                <a:cubicBezTo>
                  <a:pt x="14053054" y="3011975"/>
                  <a:pt x="14053054" y="3061593"/>
                  <a:pt x="14053054" y="3111211"/>
                </a:cubicBezTo>
                <a:cubicBezTo>
                  <a:pt x="14008542" y="3130295"/>
                  <a:pt x="13973568" y="3168463"/>
                  <a:pt x="13916339" y="3157013"/>
                </a:cubicBezTo>
                <a:cubicBezTo>
                  <a:pt x="13900441" y="3179914"/>
                  <a:pt x="13881365" y="3202814"/>
                  <a:pt x="13868647" y="3221898"/>
                </a:cubicBezTo>
                <a:cubicBezTo>
                  <a:pt x="13840032" y="3221898"/>
                  <a:pt x="13820956" y="3221898"/>
                  <a:pt x="13801879" y="3221898"/>
                </a:cubicBezTo>
                <a:cubicBezTo>
                  <a:pt x="13789162" y="3210448"/>
                  <a:pt x="13779623" y="3198997"/>
                  <a:pt x="13766906" y="3187547"/>
                </a:cubicBezTo>
                <a:cubicBezTo>
                  <a:pt x="13754188" y="3191364"/>
                  <a:pt x="13741470" y="3195180"/>
                  <a:pt x="13725573" y="3198997"/>
                </a:cubicBezTo>
                <a:cubicBezTo>
                  <a:pt x="13738291" y="3214265"/>
                  <a:pt x="13744650" y="3225715"/>
                  <a:pt x="13757367" y="3237165"/>
                </a:cubicBezTo>
                <a:cubicBezTo>
                  <a:pt x="13744650" y="3252433"/>
                  <a:pt x="13731932" y="3271516"/>
                  <a:pt x="13716035" y="3275333"/>
                </a:cubicBezTo>
                <a:cubicBezTo>
                  <a:pt x="13661985" y="3290600"/>
                  <a:pt x="13620652" y="3332585"/>
                  <a:pt x="13563423" y="3344035"/>
                </a:cubicBezTo>
                <a:cubicBezTo>
                  <a:pt x="13547525" y="3359303"/>
                  <a:pt x="13531628" y="3374570"/>
                  <a:pt x="13512552" y="3393653"/>
                </a:cubicBezTo>
                <a:cubicBezTo>
                  <a:pt x="13503013" y="3397470"/>
                  <a:pt x="13496655" y="3397470"/>
                  <a:pt x="13487116" y="3401287"/>
                </a:cubicBezTo>
                <a:cubicBezTo>
                  <a:pt x="13455322" y="3405104"/>
                  <a:pt x="13417169" y="3386020"/>
                  <a:pt x="13391734" y="3424188"/>
                </a:cubicBezTo>
                <a:cubicBezTo>
                  <a:pt x="13331325" y="3420371"/>
                  <a:pt x="13283633" y="3485257"/>
                  <a:pt x="13220045" y="3458539"/>
                </a:cubicBezTo>
                <a:cubicBezTo>
                  <a:pt x="13178712" y="3496707"/>
                  <a:pt x="13118303" y="3500524"/>
                  <a:pt x="13099227" y="3546325"/>
                </a:cubicBezTo>
                <a:cubicBezTo>
                  <a:pt x="13061074" y="3561592"/>
                  <a:pt x="13051535" y="3527241"/>
                  <a:pt x="13035638" y="3523424"/>
                </a:cubicBezTo>
                <a:cubicBezTo>
                  <a:pt x="13010203" y="3523424"/>
                  <a:pt x="12991126" y="3523424"/>
                  <a:pt x="12975229" y="3523424"/>
                </a:cubicBezTo>
                <a:cubicBezTo>
                  <a:pt x="12956153" y="3542508"/>
                  <a:pt x="12937076" y="3561592"/>
                  <a:pt x="12917999" y="3580676"/>
                </a:cubicBezTo>
                <a:cubicBezTo>
                  <a:pt x="12892564" y="3580676"/>
                  <a:pt x="12860770" y="3580676"/>
                  <a:pt x="12832155" y="3580676"/>
                </a:cubicBezTo>
                <a:cubicBezTo>
                  <a:pt x="12822617" y="3588310"/>
                  <a:pt x="12809899" y="3599760"/>
                  <a:pt x="12800361" y="3611211"/>
                </a:cubicBezTo>
                <a:cubicBezTo>
                  <a:pt x="12768567" y="3592127"/>
                  <a:pt x="12755849" y="3553958"/>
                  <a:pt x="12733593" y="3511974"/>
                </a:cubicBezTo>
                <a:cubicBezTo>
                  <a:pt x="12727234" y="3550142"/>
                  <a:pt x="12724055" y="3576859"/>
                  <a:pt x="12720875" y="3603577"/>
                </a:cubicBezTo>
                <a:cubicBezTo>
                  <a:pt x="12689081" y="3611211"/>
                  <a:pt x="12660466" y="3622661"/>
                  <a:pt x="12631851" y="3588310"/>
                </a:cubicBezTo>
                <a:cubicBezTo>
                  <a:pt x="12654107" y="3573043"/>
                  <a:pt x="12676363" y="3557776"/>
                  <a:pt x="12698619" y="3538692"/>
                </a:cubicBezTo>
                <a:cubicBezTo>
                  <a:pt x="12673184" y="3508157"/>
                  <a:pt x="12647748" y="3531058"/>
                  <a:pt x="12625492" y="3519608"/>
                </a:cubicBezTo>
                <a:cubicBezTo>
                  <a:pt x="12612775" y="3531058"/>
                  <a:pt x="12603236" y="3542508"/>
                  <a:pt x="12590519" y="3550142"/>
                </a:cubicBezTo>
                <a:cubicBezTo>
                  <a:pt x="12571442" y="3550142"/>
                  <a:pt x="12552366" y="3550142"/>
                  <a:pt x="12533289" y="3550142"/>
                </a:cubicBezTo>
                <a:cubicBezTo>
                  <a:pt x="12511033" y="3576859"/>
                  <a:pt x="12514213" y="3626477"/>
                  <a:pt x="12469701" y="3637928"/>
                </a:cubicBezTo>
                <a:cubicBezTo>
                  <a:pt x="12463342" y="3630294"/>
                  <a:pt x="12456983" y="3622661"/>
                  <a:pt x="12447445" y="3611211"/>
                </a:cubicBezTo>
                <a:cubicBezTo>
                  <a:pt x="12431548" y="3611211"/>
                  <a:pt x="12402933" y="3603577"/>
                  <a:pt x="12396574" y="3611211"/>
                </a:cubicBezTo>
                <a:cubicBezTo>
                  <a:pt x="12367959" y="3649378"/>
                  <a:pt x="12323447" y="3634111"/>
                  <a:pt x="12285294" y="3653195"/>
                </a:cubicBezTo>
                <a:cubicBezTo>
                  <a:pt x="12291653" y="3660829"/>
                  <a:pt x="12301191" y="3672279"/>
                  <a:pt x="12310729" y="3687546"/>
                </a:cubicBezTo>
                <a:cubicBezTo>
                  <a:pt x="12310729" y="3698996"/>
                  <a:pt x="12313909" y="3718080"/>
                  <a:pt x="12313909" y="3752431"/>
                </a:cubicBezTo>
                <a:cubicBezTo>
                  <a:pt x="12304371" y="3760065"/>
                  <a:pt x="12285294" y="3775332"/>
                  <a:pt x="12263038" y="3794416"/>
                </a:cubicBezTo>
                <a:cubicBezTo>
                  <a:pt x="12259859" y="3775332"/>
                  <a:pt x="12256679" y="3763882"/>
                  <a:pt x="12253500" y="3752431"/>
                </a:cubicBezTo>
                <a:cubicBezTo>
                  <a:pt x="12263038" y="3737164"/>
                  <a:pt x="12272576" y="3725714"/>
                  <a:pt x="12282115" y="3718080"/>
                </a:cubicBezTo>
                <a:cubicBezTo>
                  <a:pt x="12259859" y="3702813"/>
                  <a:pt x="12234423" y="3691363"/>
                  <a:pt x="12208988" y="3676096"/>
                </a:cubicBezTo>
                <a:cubicBezTo>
                  <a:pt x="12186732" y="3706630"/>
                  <a:pt x="12126323" y="3695180"/>
                  <a:pt x="12113605" y="3748615"/>
                </a:cubicBezTo>
                <a:cubicBezTo>
                  <a:pt x="12126323" y="3756248"/>
                  <a:pt x="12145399" y="3763882"/>
                  <a:pt x="12164476" y="3775332"/>
                </a:cubicBezTo>
                <a:cubicBezTo>
                  <a:pt x="12164476" y="3786782"/>
                  <a:pt x="12164476" y="3794416"/>
                  <a:pt x="12167655" y="3805866"/>
                </a:cubicBezTo>
                <a:cubicBezTo>
                  <a:pt x="12148579" y="3840218"/>
                  <a:pt x="12110426" y="3809683"/>
                  <a:pt x="12081811" y="3828767"/>
                </a:cubicBezTo>
                <a:cubicBezTo>
                  <a:pt x="12081811" y="3840218"/>
                  <a:pt x="12078632" y="3851668"/>
                  <a:pt x="12075452" y="3866935"/>
                </a:cubicBezTo>
                <a:cubicBezTo>
                  <a:pt x="12034120" y="3886019"/>
                  <a:pt x="11999146" y="3920370"/>
                  <a:pt x="11948275" y="3912736"/>
                </a:cubicBezTo>
                <a:cubicBezTo>
                  <a:pt x="11938737" y="3901286"/>
                  <a:pt x="11926019" y="3893653"/>
                  <a:pt x="11919660" y="3886019"/>
                </a:cubicBezTo>
                <a:cubicBezTo>
                  <a:pt x="11868790" y="3912736"/>
                  <a:pt x="11821098" y="3939454"/>
                  <a:pt x="11757510" y="3969988"/>
                </a:cubicBezTo>
                <a:cubicBezTo>
                  <a:pt x="11722536" y="3969988"/>
                  <a:pt x="11668486" y="3969988"/>
                  <a:pt x="11614436" y="3969988"/>
                </a:cubicBezTo>
                <a:cubicBezTo>
                  <a:pt x="11611256" y="3989072"/>
                  <a:pt x="11608077" y="4004339"/>
                  <a:pt x="11604897" y="4019606"/>
                </a:cubicBezTo>
                <a:cubicBezTo>
                  <a:pt x="11592180" y="4031057"/>
                  <a:pt x="11579462" y="4046324"/>
                  <a:pt x="11563565" y="4061591"/>
                </a:cubicBezTo>
                <a:cubicBezTo>
                  <a:pt x="11541309" y="4053958"/>
                  <a:pt x="11550847" y="4027240"/>
                  <a:pt x="11541309" y="4008156"/>
                </a:cubicBezTo>
                <a:cubicBezTo>
                  <a:pt x="11531771" y="4008156"/>
                  <a:pt x="11519053" y="4004339"/>
                  <a:pt x="11499976" y="4000523"/>
                </a:cubicBezTo>
                <a:cubicBezTo>
                  <a:pt x="11493618" y="4019606"/>
                  <a:pt x="11490438" y="4034874"/>
                  <a:pt x="11484079" y="4053958"/>
                </a:cubicBezTo>
                <a:cubicBezTo>
                  <a:pt x="11480900" y="4057774"/>
                  <a:pt x="11474541" y="4061591"/>
                  <a:pt x="11471362" y="4061591"/>
                </a:cubicBezTo>
                <a:cubicBezTo>
                  <a:pt x="11414132" y="4061591"/>
                  <a:pt x="11353723" y="4061591"/>
                  <a:pt x="11296493" y="4061591"/>
                </a:cubicBezTo>
                <a:cubicBezTo>
                  <a:pt x="11280596" y="4084492"/>
                  <a:pt x="11258340" y="4088309"/>
                  <a:pt x="11236084" y="4099759"/>
                </a:cubicBezTo>
                <a:cubicBezTo>
                  <a:pt x="11213828" y="4107393"/>
                  <a:pt x="11201111" y="4130293"/>
                  <a:pt x="11182034" y="4149377"/>
                </a:cubicBezTo>
                <a:cubicBezTo>
                  <a:pt x="11153419" y="4149377"/>
                  <a:pt x="11124804" y="4149377"/>
                  <a:pt x="11089831" y="4149377"/>
                </a:cubicBezTo>
                <a:cubicBezTo>
                  <a:pt x="11073934" y="4172278"/>
                  <a:pt x="11054857" y="4195179"/>
                  <a:pt x="11042139" y="4214263"/>
                </a:cubicBezTo>
                <a:cubicBezTo>
                  <a:pt x="11013525" y="4214263"/>
                  <a:pt x="10994448" y="4214263"/>
                  <a:pt x="10975371" y="4214263"/>
                </a:cubicBezTo>
                <a:cubicBezTo>
                  <a:pt x="10962654" y="4221896"/>
                  <a:pt x="10953115" y="4233347"/>
                  <a:pt x="10940398" y="4244797"/>
                </a:cubicBezTo>
                <a:cubicBezTo>
                  <a:pt x="10921321" y="4244797"/>
                  <a:pt x="10902245" y="4244797"/>
                  <a:pt x="10886348" y="4244797"/>
                </a:cubicBezTo>
                <a:cubicBezTo>
                  <a:pt x="10873630" y="4256247"/>
                  <a:pt x="10864092" y="4263881"/>
                  <a:pt x="10851374" y="4275331"/>
                </a:cubicBezTo>
                <a:cubicBezTo>
                  <a:pt x="10825939" y="4275331"/>
                  <a:pt x="10800503" y="4275331"/>
                  <a:pt x="10771888" y="4275331"/>
                </a:cubicBezTo>
                <a:cubicBezTo>
                  <a:pt x="10765529" y="4279148"/>
                  <a:pt x="10752812" y="4286782"/>
                  <a:pt x="10736915" y="4302049"/>
                </a:cubicBezTo>
                <a:cubicBezTo>
                  <a:pt x="10714659" y="4302049"/>
                  <a:pt x="10686044" y="4302049"/>
                  <a:pt x="10651070" y="4302049"/>
                </a:cubicBezTo>
                <a:cubicBezTo>
                  <a:pt x="10616097" y="4344034"/>
                  <a:pt x="10577943" y="4389835"/>
                  <a:pt x="10546149" y="4424186"/>
                </a:cubicBezTo>
                <a:cubicBezTo>
                  <a:pt x="10501637" y="4424186"/>
                  <a:pt x="10469843" y="4424186"/>
                  <a:pt x="10441228" y="4424186"/>
                </a:cubicBezTo>
                <a:cubicBezTo>
                  <a:pt x="10425331" y="4443270"/>
                  <a:pt x="10406255" y="4462354"/>
                  <a:pt x="10387178" y="4481438"/>
                </a:cubicBezTo>
                <a:cubicBezTo>
                  <a:pt x="10377640" y="4473804"/>
                  <a:pt x="10368101" y="4466171"/>
                  <a:pt x="10355384" y="4458537"/>
                </a:cubicBezTo>
                <a:cubicBezTo>
                  <a:pt x="10345845" y="4466171"/>
                  <a:pt x="10336307" y="4473804"/>
                  <a:pt x="10326769" y="4481438"/>
                </a:cubicBezTo>
                <a:cubicBezTo>
                  <a:pt x="10317231" y="4473804"/>
                  <a:pt x="10304513" y="4462354"/>
                  <a:pt x="10294975" y="4454720"/>
                </a:cubicBezTo>
                <a:cubicBezTo>
                  <a:pt x="10282257" y="4454720"/>
                  <a:pt x="10266360" y="4454720"/>
                  <a:pt x="10250463" y="4454720"/>
                </a:cubicBezTo>
                <a:cubicBezTo>
                  <a:pt x="10247283" y="4435636"/>
                  <a:pt x="10266360" y="4408919"/>
                  <a:pt x="10234566" y="4397469"/>
                </a:cubicBezTo>
                <a:cubicBezTo>
                  <a:pt x="10221848" y="4435636"/>
                  <a:pt x="10221848" y="4435636"/>
                  <a:pt x="10250463" y="4454720"/>
                </a:cubicBezTo>
                <a:cubicBezTo>
                  <a:pt x="10228207" y="4504339"/>
                  <a:pt x="10186874" y="4531056"/>
                  <a:pt x="10139183" y="4557774"/>
                </a:cubicBezTo>
                <a:cubicBezTo>
                  <a:pt x="10110568" y="4573041"/>
                  <a:pt x="10085133" y="4569224"/>
                  <a:pt x="10059697" y="4576858"/>
                </a:cubicBezTo>
                <a:cubicBezTo>
                  <a:pt x="10040621" y="4592125"/>
                  <a:pt x="10024724" y="4611209"/>
                  <a:pt x="10002468" y="4634109"/>
                </a:cubicBezTo>
                <a:cubicBezTo>
                  <a:pt x="9973853" y="4634109"/>
                  <a:pt x="9942059" y="4634109"/>
                  <a:pt x="9903906" y="4634109"/>
                </a:cubicBezTo>
                <a:cubicBezTo>
                  <a:pt x="9900726" y="4653193"/>
                  <a:pt x="9897547" y="4664644"/>
                  <a:pt x="9894367" y="4683728"/>
                </a:cubicBezTo>
                <a:cubicBezTo>
                  <a:pt x="9884829" y="4695178"/>
                  <a:pt x="9872111" y="4706628"/>
                  <a:pt x="9856214" y="4721895"/>
                </a:cubicBezTo>
                <a:cubicBezTo>
                  <a:pt x="9837138" y="4721895"/>
                  <a:pt x="9818061" y="4721895"/>
                  <a:pt x="9798985" y="4721895"/>
                </a:cubicBezTo>
                <a:cubicBezTo>
                  <a:pt x="9786267" y="4733346"/>
                  <a:pt x="9776729" y="4744796"/>
                  <a:pt x="9764011" y="4756247"/>
                </a:cubicBezTo>
                <a:cubicBezTo>
                  <a:pt x="9738576" y="4756247"/>
                  <a:pt x="9706781" y="4756247"/>
                  <a:pt x="9678166" y="4756247"/>
                </a:cubicBezTo>
                <a:cubicBezTo>
                  <a:pt x="9668628" y="4763880"/>
                  <a:pt x="9655911" y="4775330"/>
                  <a:pt x="9646372" y="4786781"/>
                </a:cubicBezTo>
                <a:cubicBezTo>
                  <a:pt x="9633655" y="4786781"/>
                  <a:pt x="9617757" y="4786781"/>
                  <a:pt x="9601860" y="4786781"/>
                </a:cubicBezTo>
                <a:cubicBezTo>
                  <a:pt x="9468324" y="4855483"/>
                  <a:pt x="9334789" y="4924185"/>
                  <a:pt x="9194894" y="4996704"/>
                </a:cubicBezTo>
                <a:cubicBezTo>
                  <a:pt x="9178997" y="4996704"/>
                  <a:pt x="9153562" y="4996704"/>
                  <a:pt x="9131306" y="4996704"/>
                </a:cubicBezTo>
                <a:cubicBezTo>
                  <a:pt x="9109050" y="5004338"/>
                  <a:pt x="9089973" y="5019605"/>
                  <a:pt x="9067717" y="5023422"/>
                </a:cubicBezTo>
                <a:cubicBezTo>
                  <a:pt x="9045461" y="5031055"/>
                  <a:pt x="9035923" y="5061589"/>
                  <a:pt x="9007308" y="5057773"/>
                </a:cubicBezTo>
                <a:cubicBezTo>
                  <a:pt x="8978693" y="5050139"/>
                  <a:pt x="8959617" y="5061589"/>
                  <a:pt x="8943720" y="5084490"/>
                </a:cubicBezTo>
                <a:cubicBezTo>
                  <a:pt x="8905566" y="5084490"/>
                  <a:pt x="8867413" y="5084490"/>
                  <a:pt x="8826081" y="5084490"/>
                </a:cubicBezTo>
                <a:cubicBezTo>
                  <a:pt x="8816543" y="5095941"/>
                  <a:pt x="8803825" y="5103574"/>
                  <a:pt x="8794287" y="5115025"/>
                </a:cubicBezTo>
                <a:cubicBezTo>
                  <a:pt x="8756134" y="5115025"/>
                  <a:pt x="8717980" y="5115025"/>
                  <a:pt x="8670289" y="5115025"/>
                </a:cubicBezTo>
                <a:cubicBezTo>
                  <a:pt x="8654392" y="5092124"/>
                  <a:pt x="8638495" y="5065406"/>
                  <a:pt x="8613059" y="5027238"/>
                </a:cubicBezTo>
                <a:cubicBezTo>
                  <a:pt x="8568548" y="5004338"/>
                  <a:pt x="8530394" y="5057773"/>
                  <a:pt x="8485882" y="5069223"/>
                </a:cubicBezTo>
                <a:cubicBezTo>
                  <a:pt x="8485882" y="5080673"/>
                  <a:pt x="8485882" y="5092124"/>
                  <a:pt x="8485882" y="5103574"/>
                </a:cubicBezTo>
                <a:cubicBezTo>
                  <a:pt x="8431832" y="5130292"/>
                  <a:pt x="8380962" y="5157009"/>
                  <a:pt x="8323732" y="5183727"/>
                </a:cubicBezTo>
                <a:cubicBezTo>
                  <a:pt x="8314194" y="5160826"/>
                  <a:pt x="8307835" y="5141742"/>
                  <a:pt x="8301476" y="5126475"/>
                </a:cubicBezTo>
                <a:cubicBezTo>
                  <a:pt x="8282400" y="5107391"/>
                  <a:pt x="8256964" y="5122658"/>
                  <a:pt x="8228349" y="5115025"/>
                </a:cubicBezTo>
                <a:cubicBezTo>
                  <a:pt x="8225170" y="5099757"/>
                  <a:pt x="8218811" y="5080673"/>
                  <a:pt x="8212452" y="5061589"/>
                </a:cubicBezTo>
                <a:cubicBezTo>
                  <a:pt x="8180658" y="5065406"/>
                  <a:pt x="8171120" y="5095941"/>
                  <a:pt x="8148864" y="5111208"/>
                </a:cubicBezTo>
                <a:cubicBezTo>
                  <a:pt x="8091634" y="5118841"/>
                  <a:pt x="8091634" y="5118841"/>
                  <a:pt x="8047122" y="5145559"/>
                </a:cubicBezTo>
                <a:cubicBezTo>
                  <a:pt x="8040763" y="5145559"/>
                  <a:pt x="8034404" y="5149376"/>
                  <a:pt x="8031225" y="5145559"/>
                </a:cubicBezTo>
                <a:cubicBezTo>
                  <a:pt x="7999430" y="5095941"/>
                  <a:pt x="7932662" y="5088307"/>
                  <a:pt x="7897689" y="5042506"/>
                </a:cubicBezTo>
                <a:cubicBezTo>
                  <a:pt x="7907228" y="5031055"/>
                  <a:pt x="7916766" y="5019605"/>
                  <a:pt x="7929484" y="5004338"/>
                </a:cubicBezTo>
                <a:cubicBezTo>
                  <a:pt x="7910407" y="4966170"/>
                  <a:pt x="7891330" y="4928002"/>
                  <a:pt x="7872254" y="4886017"/>
                </a:cubicBezTo>
                <a:cubicBezTo>
                  <a:pt x="7875433" y="4878384"/>
                  <a:pt x="7884972" y="4870750"/>
                  <a:pt x="7894510" y="4863117"/>
                </a:cubicBezTo>
                <a:cubicBezTo>
                  <a:pt x="7894510" y="4802048"/>
                  <a:pt x="7894510" y="4737163"/>
                  <a:pt x="7894510" y="4672277"/>
                </a:cubicBezTo>
                <a:cubicBezTo>
                  <a:pt x="7849998" y="4653193"/>
                  <a:pt x="7805486" y="4676094"/>
                  <a:pt x="7741898" y="4653193"/>
                </a:cubicBezTo>
                <a:cubicBezTo>
                  <a:pt x="7738718" y="4649376"/>
                  <a:pt x="7722820" y="4622659"/>
                  <a:pt x="7710103" y="4599758"/>
                </a:cubicBezTo>
                <a:cubicBezTo>
                  <a:pt x="7681488" y="4622659"/>
                  <a:pt x="7694206" y="4645560"/>
                  <a:pt x="7691026" y="4664644"/>
                </a:cubicBezTo>
                <a:cubicBezTo>
                  <a:pt x="7681488" y="4660827"/>
                  <a:pt x="7671950" y="4657010"/>
                  <a:pt x="7662412" y="4653193"/>
                </a:cubicBezTo>
                <a:cubicBezTo>
                  <a:pt x="7662412" y="4599758"/>
                  <a:pt x="7662412" y="4546323"/>
                  <a:pt x="7662412" y="4496705"/>
                </a:cubicBezTo>
                <a:cubicBezTo>
                  <a:pt x="7668770" y="4489071"/>
                  <a:pt x="7671950" y="4485255"/>
                  <a:pt x="7675130" y="4485255"/>
                </a:cubicBezTo>
                <a:cubicBezTo>
                  <a:pt x="7716462" y="4485255"/>
                  <a:pt x="7754615" y="4485255"/>
                  <a:pt x="7792768" y="4485255"/>
                </a:cubicBezTo>
                <a:cubicBezTo>
                  <a:pt x="7799127" y="4492888"/>
                  <a:pt x="7808665" y="4500522"/>
                  <a:pt x="7815024" y="4508155"/>
                </a:cubicBezTo>
                <a:cubicBezTo>
                  <a:pt x="7856356" y="4492888"/>
                  <a:pt x="7907228" y="4481438"/>
                  <a:pt x="7923124" y="4435636"/>
                </a:cubicBezTo>
                <a:cubicBezTo>
                  <a:pt x="7932662" y="4397469"/>
                  <a:pt x="7977174" y="4363117"/>
                  <a:pt x="7948560" y="4313499"/>
                </a:cubicBezTo>
                <a:cubicBezTo>
                  <a:pt x="7945380" y="4309682"/>
                  <a:pt x="7939022" y="4302049"/>
                  <a:pt x="7929484" y="4294415"/>
                </a:cubicBezTo>
                <a:cubicBezTo>
                  <a:pt x="7942201" y="4267698"/>
                  <a:pt x="7954918" y="4240980"/>
                  <a:pt x="7967636" y="4214263"/>
                </a:cubicBezTo>
                <a:cubicBezTo>
                  <a:pt x="7999430" y="4206629"/>
                  <a:pt x="8012148" y="4229530"/>
                  <a:pt x="8028046" y="4240980"/>
                </a:cubicBezTo>
                <a:cubicBezTo>
                  <a:pt x="8050302" y="4240980"/>
                  <a:pt x="8069378" y="4240980"/>
                  <a:pt x="8094814" y="4240980"/>
                </a:cubicBezTo>
                <a:cubicBezTo>
                  <a:pt x="8097993" y="4229530"/>
                  <a:pt x="8104352" y="4214263"/>
                  <a:pt x="8101172" y="4198996"/>
                </a:cubicBezTo>
                <a:cubicBezTo>
                  <a:pt x="8097993" y="4183728"/>
                  <a:pt x="8069378" y="4179912"/>
                  <a:pt x="8072558" y="4153194"/>
                </a:cubicBezTo>
                <a:cubicBezTo>
                  <a:pt x="8088454" y="4153194"/>
                  <a:pt x="8101172" y="4153194"/>
                  <a:pt x="8117070" y="4153194"/>
                </a:cubicBezTo>
                <a:cubicBezTo>
                  <a:pt x="8152043" y="4130293"/>
                  <a:pt x="8155222" y="4088309"/>
                  <a:pt x="8180658" y="4061591"/>
                </a:cubicBezTo>
                <a:cubicBezTo>
                  <a:pt x="8206093" y="4034874"/>
                  <a:pt x="8215632" y="4004339"/>
                  <a:pt x="8231528" y="3977622"/>
                </a:cubicBezTo>
                <a:cubicBezTo>
                  <a:pt x="8247426" y="3943271"/>
                  <a:pt x="8256964" y="3905103"/>
                  <a:pt x="8291938" y="3882202"/>
                </a:cubicBezTo>
                <a:cubicBezTo>
                  <a:pt x="8307835" y="3882202"/>
                  <a:pt x="8323732" y="3882202"/>
                  <a:pt x="8336450" y="3878385"/>
                </a:cubicBezTo>
                <a:cubicBezTo>
                  <a:pt x="8339629" y="3897469"/>
                  <a:pt x="8339629" y="3920370"/>
                  <a:pt x="8365064" y="3901286"/>
                </a:cubicBezTo>
                <a:cubicBezTo>
                  <a:pt x="8355526" y="3893653"/>
                  <a:pt x="8349168" y="3886019"/>
                  <a:pt x="8336450" y="3878385"/>
                </a:cubicBezTo>
                <a:cubicBezTo>
                  <a:pt x="8345988" y="3866935"/>
                  <a:pt x="8355526" y="3851668"/>
                  <a:pt x="8368244" y="3828767"/>
                </a:cubicBezTo>
                <a:cubicBezTo>
                  <a:pt x="8368244" y="3824951"/>
                  <a:pt x="8368244" y="3819225"/>
                  <a:pt x="8368244" y="3811592"/>
                </a:cubicBezTo>
                <a:lnTo>
                  <a:pt x="8368244" y="3792108"/>
                </a:lnTo>
                <a:lnTo>
                  <a:pt x="8375000" y="3793939"/>
                </a:lnTo>
                <a:cubicBezTo>
                  <a:pt x="8381756" y="3794416"/>
                  <a:pt x="8390499" y="3794416"/>
                  <a:pt x="8393679" y="3802050"/>
                </a:cubicBezTo>
                <a:cubicBezTo>
                  <a:pt x="8396859" y="3821134"/>
                  <a:pt x="8403217" y="3836401"/>
                  <a:pt x="8409576" y="3851668"/>
                </a:cubicBezTo>
                <a:cubicBezTo>
                  <a:pt x="8422294" y="3851668"/>
                  <a:pt x="8431832" y="3851668"/>
                  <a:pt x="8444550" y="3851668"/>
                </a:cubicBezTo>
                <a:cubicBezTo>
                  <a:pt x="8450909" y="3836401"/>
                  <a:pt x="8454088" y="3813500"/>
                  <a:pt x="8463627" y="3802050"/>
                </a:cubicBezTo>
                <a:cubicBezTo>
                  <a:pt x="8473165" y="3786782"/>
                  <a:pt x="8489062" y="3771515"/>
                  <a:pt x="8482703" y="3748615"/>
                </a:cubicBezTo>
                <a:cubicBezTo>
                  <a:pt x="8479524" y="3744798"/>
                  <a:pt x="8473165" y="3737164"/>
                  <a:pt x="8460447" y="3729531"/>
                </a:cubicBezTo>
                <a:cubicBezTo>
                  <a:pt x="8431832" y="3744798"/>
                  <a:pt x="8400038" y="3760065"/>
                  <a:pt x="8368244" y="3782966"/>
                </a:cubicBezTo>
                <a:cubicBezTo>
                  <a:pt x="8342808" y="3790599"/>
                  <a:pt x="8317373" y="3790599"/>
                  <a:pt x="8288758" y="3790599"/>
                </a:cubicBezTo>
                <a:cubicBezTo>
                  <a:pt x="8285579" y="3809683"/>
                  <a:pt x="8279220" y="3824950"/>
                  <a:pt x="8269682" y="3847851"/>
                </a:cubicBezTo>
                <a:cubicBezTo>
                  <a:pt x="8241067" y="3847851"/>
                  <a:pt x="8206093" y="3847851"/>
                  <a:pt x="8180658" y="3847851"/>
                </a:cubicBezTo>
                <a:cubicBezTo>
                  <a:pt x="8145684" y="3878385"/>
                  <a:pt x="8120248" y="3905103"/>
                  <a:pt x="8082096" y="3920370"/>
                </a:cubicBezTo>
                <a:cubicBezTo>
                  <a:pt x="8050302" y="3935637"/>
                  <a:pt x="8028046" y="3973805"/>
                  <a:pt x="7999430" y="4004339"/>
                </a:cubicBezTo>
                <a:cubicBezTo>
                  <a:pt x="7980354" y="4004339"/>
                  <a:pt x="7958098" y="4004339"/>
                  <a:pt x="7939022" y="4004339"/>
                </a:cubicBezTo>
                <a:cubicBezTo>
                  <a:pt x="7904048" y="4057774"/>
                  <a:pt x="7834100" y="4065408"/>
                  <a:pt x="7795948" y="4118843"/>
                </a:cubicBezTo>
                <a:cubicBezTo>
                  <a:pt x="7764154" y="4126477"/>
                  <a:pt x="7726000" y="4115026"/>
                  <a:pt x="7706924" y="4153194"/>
                </a:cubicBezTo>
                <a:cubicBezTo>
                  <a:pt x="7684668" y="4153194"/>
                  <a:pt x="7665591" y="4153194"/>
                  <a:pt x="7646514" y="4153194"/>
                </a:cubicBezTo>
                <a:cubicBezTo>
                  <a:pt x="7614720" y="4210446"/>
                  <a:pt x="7535234" y="4210446"/>
                  <a:pt x="7506620" y="4271515"/>
                </a:cubicBezTo>
                <a:cubicBezTo>
                  <a:pt x="7474826" y="4271515"/>
                  <a:pt x="7446211" y="4271515"/>
                  <a:pt x="7408058" y="4271515"/>
                </a:cubicBezTo>
                <a:cubicBezTo>
                  <a:pt x="7395340" y="4294415"/>
                  <a:pt x="7379443" y="4317316"/>
                  <a:pt x="7376264" y="4324950"/>
                </a:cubicBezTo>
                <a:cubicBezTo>
                  <a:pt x="7338110" y="4332583"/>
                  <a:pt x="7325393" y="4336400"/>
                  <a:pt x="7309496" y="4340217"/>
                </a:cubicBezTo>
                <a:cubicBezTo>
                  <a:pt x="7309496" y="4366934"/>
                  <a:pt x="7306316" y="4389835"/>
                  <a:pt x="7303137" y="4412736"/>
                </a:cubicBezTo>
                <a:cubicBezTo>
                  <a:pt x="7277702" y="4424186"/>
                  <a:pt x="7242728" y="4428003"/>
                  <a:pt x="7230010" y="4458537"/>
                </a:cubicBezTo>
                <a:cubicBezTo>
                  <a:pt x="7217292" y="4489071"/>
                  <a:pt x="7175960" y="4473804"/>
                  <a:pt x="7160062" y="4500522"/>
                </a:cubicBezTo>
                <a:cubicBezTo>
                  <a:pt x="7160062" y="4508155"/>
                  <a:pt x="7160062" y="4519606"/>
                  <a:pt x="7160062" y="4531056"/>
                </a:cubicBezTo>
                <a:cubicBezTo>
                  <a:pt x="7134628" y="4542506"/>
                  <a:pt x="7112372" y="4553957"/>
                  <a:pt x="7083756" y="4569224"/>
                </a:cubicBezTo>
                <a:cubicBezTo>
                  <a:pt x="7048783" y="4557774"/>
                  <a:pt x="7048783" y="4511972"/>
                  <a:pt x="7020168" y="4477621"/>
                </a:cubicBezTo>
                <a:cubicBezTo>
                  <a:pt x="7016988" y="4511972"/>
                  <a:pt x="7010630" y="4538690"/>
                  <a:pt x="7007450" y="4569224"/>
                </a:cubicBezTo>
                <a:cubicBezTo>
                  <a:pt x="6991553" y="4573041"/>
                  <a:pt x="6978836" y="4573041"/>
                  <a:pt x="6966118" y="4576858"/>
                </a:cubicBezTo>
                <a:cubicBezTo>
                  <a:pt x="6937503" y="4603575"/>
                  <a:pt x="6908888" y="4634109"/>
                  <a:pt x="6883453" y="4660827"/>
                </a:cubicBezTo>
                <a:cubicBezTo>
                  <a:pt x="6851658" y="4676094"/>
                  <a:pt x="6838941" y="4653193"/>
                  <a:pt x="6823044" y="4634109"/>
                </a:cubicBezTo>
                <a:cubicBezTo>
                  <a:pt x="6775352" y="4657010"/>
                  <a:pt x="6778532" y="4721895"/>
                  <a:pt x="6737200" y="4748613"/>
                </a:cubicBezTo>
                <a:cubicBezTo>
                  <a:pt x="6708584" y="4740979"/>
                  <a:pt x="6695867" y="4714262"/>
                  <a:pt x="6676790" y="4698995"/>
                </a:cubicBezTo>
                <a:cubicBezTo>
                  <a:pt x="6638637" y="4714262"/>
                  <a:pt x="6670432" y="4752430"/>
                  <a:pt x="6654534" y="4775330"/>
                </a:cubicBezTo>
                <a:cubicBezTo>
                  <a:pt x="6635458" y="4794414"/>
                  <a:pt x="6610022" y="4779147"/>
                  <a:pt x="6584587" y="4786781"/>
                </a:cubicBezTo>
                <a:cubicBezTo>
                  <a:pt x="6546434" y="4824949"/>
                  <a:pt x="6508281" y="4863117"/>
                  <a:pt x="6473307" y="4901284"/>
                </a:cubicBezTo>
                <a:cubicBezTo>
                  <a:pt x="6457410" y="4905101"/>
                  <a:pt x="6444692" y="4908918"/>
                  <a:pt x="6431974" y="4912735"/>
                </a:cubicBezTo>
                <a:cubicBezTo>
                  <a:pt x="6412898" y="4924185"/>
                  <a:pt x="6435154" y="4966170"/>
                  <a:pt x="6397001" y="4966170"/>
                </a:cubicBezTo>
                <a:cubicBezTo>
                  <a:pt x="6390642" y="4966170"/>
                  <a:pt x="6384284" y="4962353"/>
                  <a:pt x="6381104" y="4966170"/>
                </a:cubicBezTo>
                <a:cubicBezTo>
                  <a:pt x="6349310" y="5015788"/>
                  <a:pt x="6282542" y="5023422"/>
                  <a:pt x="6247569" y="5069223"/>
                </a:cubicBezTo>
                <a:cubicBezTo>
                  <a:pt x="6247569" y="5080673"/>
                  <a:pt x="6247569" y="5088307"/>
                  <a:pt x="6247569" y="5099757"/>
                </a:cubicBezTo>
                <a:cubicBezTo>
                  <a:pt x="6193518" y="5126475"/>
                  <a:pt x="6142647" y="5153192"/>
                  <a:pt x="6059982" y="5198994"/>
                </a:cubicBezTo>
                <a:cubicBezTo>
                  <a:pt x="6056803" y="5202811"/>
                  <a:pt x="6028188" y="5229528"/>
                  <a:pt x="6002753" y="5260062"/>
                </a:cubicBezTo>
                <a:cubicBezTo>
                  <a:pt x="5980497" y="5294414"/>
                  <a:pt x="5932806" y="5290597"/>
                  <a:pt x="5910549" y="5324948"/>
                </a:cubicBezTo>
                <a:cubicBezTo>
                  <a:pt x="5888294" y="5359299"/>
                  <a:pt x="5843781" y="5351665"/>
                  <a:pt x="5818346" y="5386016"/>
                </a:cubicBezTo>
                <a:cubicBezTo>
                  <a:pt x="5799270" y="5412734"/>
                  <a:pt x="5780193" y="5439451"/>
                  <a:pt x="5742040" y="5450902"/>
                </a:cubicBezTo>
                <a:cubicBezTo>
                  <a:pt x="5707067" y="5458535"/>
                  <a:pt x="5668913" y="5469986"/>
                  <a:pt x="5646658" y="5504337"/>
                </a:cubicBezTo>
                <a:cubicBezTo>
                  <a:pt x="5624402" y="5538688"/>
                  <a:pt x="5573531" y="5531054"/>
                  <a:pt x="5554454" y="5565405"/>
                </a:cubicBezTo>
                <a:cubicBezTo>
                  <a:pt x="5544916" y="5557772"/>
                  <a:pt x="5532198" y="5546321"/>
                  <a:pt x="5519480" y="5534871"/>
                </a:cubicBezTo>
                <a:cubicBezTo>
                  <a:pt x="5481328" y="5542505"/>
                  <a:pt x="5449533" y="5580673"/>
                  <a:pt x="5405021" y="5569222"/>
                </a:cubicBezTo>
                <a:cubicBezTo>
                  <a:pt x="5398663" y="5580673"/>
                  <a:pt x="5395483" y="5588306"/>
                  <a:pt x="5392304" y="5595940"/>
                </a:cubicBezTo>
                <a:cubicBezTo>
                  <a:pt x="5392304" y="5603573"/>
                  <a:pt x="5392304" y="5607390"/>
                  <a:pt x="5392304" y="5611207"/>
                </a:cubicBezTo>
                <a:cubicBezTo>
                  <a:pt x="5350971" y="5630291"/>
                  <a:pt x="5315998" y="5664642"/>
                  <a:pt x="5252409" y="5657008"/>
                </a:cubicBezTo>
                <a:cubicBezTo>
                  <a:pt x="5230153" y="5683726"/>
                  <a:pt x="5201538" y="5721894"/>
                  <a:pt x="5176103" y="5756245"/>
                </a:cubicBezTo>
                <a:cubicBezTo>
                  <a:pt x="5172923" y="5752428"/>
                  <a:pt x="5166565" y="5744794"/>
                  <a:pt x="5163385" y="5740978"/>
                </a:cubicBezTo>
                <a:cubicBezTo>
                  <a:pt x="5144308" y="5752428"/>
                  <a:pt x="5128411" y="5771512"/>
                  <a:pt x="5106155" y="5779145"/>
                </a:cubicBezTo>
                <a:cubicBezTo>
                  <a:pt x="5083900" y="5786779"/>
                  <a:pt x="5058464" y="5767695"/>
                  <a:pt x="5039387" y="5794413"/>
                </a:cubicBezTo>
                <a:cubicBezTo>
                  <a:pt x="5039387" y="5802046"/>
                  <a:pt x="5039387" y="5813497"/>
                  <a:pt x="5039387" y="5824947"/>
                </a:cubicBezTo>
                <a:cubicBezTo>
                  <a:pt x="5013952" y="5836397"/>
                  <a:pt x="4991696" y="5847848"/>
                  <a:pt x="4963081" y="5863115"/>
                </a:cubicBezTo>
                <a:cubicBezTo>
                  <a:pt x="4947184" y="5859298"/>
                  <a:pt x="4937646" y="5824947"/>
                  <a:pt x="4905851" y="5840214"/>
                </a:cubicBezTo>
                <a:cubicBezTo>
                  <a:pt x="4896313" y="5817313"/>
                  <a:pt x="4886775" y="5798229"/>
                  <a:pt x="4877237" y="5779145"/>
                </a:cubicBezTo>
                <a:cubicBezTo>
                  <a:pt x="4864519" y="5779145"/>
                  <a:pt x="4854981" y="5779145"/>
                  <a:pt x="4845442" y="5779145"/>
                </a:cubicBezTo>
                <a:cubicBezTo>
                  <a:pt x="4816828" y="5809680"/>
                  <a:pt x="4839083" y="5844031"/>
                  <a:pt x="4832725" y="5878382"/>
                </a:cubicBezTo>
                <a:cubicBezTo>
                  <a:pt x="4842263" y="5889832"/>
                  <a:pt x="4851802" y="5901283"/>
                  <a:pt x="4864519" y="5916550"/>
                </a:cubicBezTo>
                <a:cubicBezTo>
                  <a:pt x="4826366" y="5935634"/>
                  <a:pt x="4791393" y="5928000"/>
                  <a:pt x="4756419" y="5924183"/>
                </a:cubicBezTo>
                <a:cubicBezTo>
                  <a:pt x="4750060" y="5916550"/>
                  <a:pt x="4746880" y="5908916"/>
                  <a:pt x="4743701" y="5897466"/>
                </a:cubicBezTo>
                <a:cubicBezTo>
                  <a:pt x="4759598" y="5897466"/>
                  <a:pt x="4772316" y="5897466"/>
                  <a:pt x="4788213" y="5897466"/>
                </a:cubicBezTo>
                <a:cubicBezTo>
                  <a:pt x="4791393" y="5897466"/>
                  <a:pt x="4797751" y="5889832"/>
                  <a:pt x="4797751" y="5889832"/>
                </a:cubicBezTo>
                <a:cubicBezTo>
                  <a:pt x="4794572" y="5882199"/>
                  <a:pt x="4791393" y="5870748"/>
                  <a:pt x="4788213" y="5870748"/>
                </a:cubicBezTo>
                <a:cubicBezTo>
                  <a:pt x="4772316" y="5866932"/>
                  <a:pt x="4759598" y="5866932"/>
                  <a:pt x="4743701" y="5866932"/>
                </a:cubicBezTo>
                <a:cubicBezTo>
                  <a:pt x="4740522" y="5859298"/>
                  <a:pt x="4740522" y="5844031"/>
                  <a:pt x="4734163" y="5844031"/>
                </a:cubicBezTo>
                <a:cubicBezTo>
                  <a:pt x="4718266" y="5840214"/>
                  <a:pt x="4715086" y="5855481"/>
                  <a:pt x="4715086" y="5866932"/>
                </a:cubicBezTo>
                <a:cubicBezTo>
                  <a:pt x="4696009" y="5870748"/>
                  <a:pt x="4673754" y="5859298"/>
                  <a:pt x="4661036" y="5878382"/>
                </a:cubicBezTo>
                <a:cubicBezTo>
                  <a:pt x="4648318" y="5905099"/>
                  <a:pt x="4613344" y="5889832"/>
                  <a:pt x="4600627" y="5908916"/>
                </a:cubicBezTo>
                <a:cubicBezTo>
                  <a:pt x="4581550" y="5935634"/>
                  <a:pt x="4556115" y="5924183"/>
                  <a:pt x="4533859" y="5928000"/>
                </a:cubicBezTo>
                <a:cubicBezTo>
                  <a:pt x="4517962" y="5931817"/>
                  <a:pt x="4505244" y="5947084"/>
                  <a:pt x="4489347" y="5954718"/>
                </a:cubicBezTo>
                <a:cubicBezTo>
                  <a:pt x="4482988" y="5947084"/>
                  <a:pt x="4476630" y="5939451"/>
                  <a:pt x="4470271" y="5931817"/>
                </a:cubicBezTo>
                <a:cubicBezTo>
                  <a:pt x="4451194" y="5943267"/>
                  <a:pt x="4432117" y="5954718"/>
                  <a:pt x="4413041" y="5962351"/>
                </a:cubicBezTo>
                <a:cubicBezTo>
                  <a:pt x="4397144" y="5950901"/>
                  <a:pt x="4387606" y="5939451"/>
                  <a:pt x="4374888" y="5928000"/>
                </a:cubicBezTo>
                <a:cubicBezTo>
                  <a:pt x="4358991" y="5928000"/>
                  <a:pt x="4339914" y="5928000"/>
                  <a:pt x="4317658" y="5928000"/>
                </a:cubicBezTo>
                <a:cubicBezTo>
                  <a:pt x="4308120" y="5939451"/>
                  <a:pt x="4298581" y="5947084"/>
                  <a:pt x="4282684" y="5962351"/>
                </a:cubicBezTo>
                <a:cubicBezTo>
                  <a:pt x="4260429" y="5950901"/>
                  <a:pt x="4238172" y="5939451"/>
                  <a:pt x="4209558" y="5928000"/>
                </a:cubicBezTo>
                <a:cubicBezTo>
                  <a:pt x="4200020" y="5931817"/>
                  <a:pt x="4187302" y="5943267"/>
                  <a:pt x="4171404" y="5954718"/>
                </a:cubicBezTo>
                <a:cubicBezTo>
                  <a:pt x="4174584" y="5954718"/>
                  <a:pt x="4168226" y="5954718"/>
                  <a:pt x="4168226" y="5954718"/>
                </a:cubicBezTo>
                <a:cubicBezTo>
                  <a:pt x="4145970" y="5916550"/>
                  <a:pt x="4098278" y="5943267"/>
                  <a:pt x="4079202" y="5924183"/>
                </a:cubicBezTo>
                <a:cubicBezTo>
                  <a:pt x="4050587" y="5889832"/>
                  <a:pt x="4018793" y="5905099"/>
                  <a:pt x="3993357" y="5897466"/>
                </a:cubicBezTo>
                <a:cubicBezTo>
                  <a:pt x="3945666" y="5851664"/>
                  <a:pt x="4018793" y="5836397"/>
                  <a:pt x="4009254" y="5805863"/>
                </a:cubicBezTo>
                <a:cubicBezTo>
                  <a:pt x="4006074" y="5775329"/>
                  <a:pt x="3974280" y="5767695"/>
                  <a:pt x="3967922" y="5748611"/>
                </a:cubicBezTo>
                <a:cubicBezTo>
                  <a:pt x="3945666" y="5748611"/>
                  <a:pt x="3926589" y="5748611"/>
                  <a:pt x="3904333" y="5748611"/>
                </a:cubicBezTo>
                <a:cubicBezTo>
                  <a:pt x="3878898" y="5725710"/>
                  <a:pt x="3863001" y="5698993"/>
                  <a:pt x="3853463" y="5664642"/>
                </a:cubicBezTo>
                <a:cubicBezTo>
                  <a:pt x="3843924" y="5637924"/>
                  <a:pt x="3805771" y="5634108"/>
                  <a:pt x="3802592" y="5595940"/>
                </a:cubicBezTo>
                <a:cubicBezTo>
                  <a:pt x="3834386" y="5599756"/>
                  <a:pt x="3834386" y="5565405"/>
                  <a:pt x="3863001" y="5557772"/>
                </a:cubicBezTo>
                <a:cubicBezTo>
                  <a:pt x="3847104" y="5538688"/>
                  <a:pt x="3834386" y="5527238"/>
                  <a:pt x="3818489" y="5508154"/>
                </a:cubicBezTo>
                <a:cubicBezTo>
                  <a:pt x="3802592" y="5508154"/>
                  <a:pt x="3786695" y="5508154"/>
                  <a:pt x="3751721" y="5504337"/>
                </a:cubicBezTo>
                <a:cubicBezTo>
                  <a:pt x="3745362" y="5496703"/>
                  <a:pt x="3732644" y="5477619"/>
                  <a:pt x="3716747" y="5458535"/>
                </a:cubicBezTo>
                <a:cubicBezTo>
                  <a:pt x="3732644" y="5435635"/>
                  <a:pt x="3761259" y="5450902"/>
                  <a:pt x="3789873" y="5447085"/>
                </a:cubicBezTo>
                <a:cubicBezTo>
                  <a:pt x="3802592" y="5431818"/>
                  <a:pt x="3818489" y="5416551"/>
                  <a:pt x="3834386" y="5393650"/>
                </a:cubicBezTo>
                <a:cubicBezTo>
                  <a:pt x="3824847" y="5374566"/>
                  <a:pt x="3815309" y="5355482"/>
                  <a:pt x="3805771" y="5336398"/>
                </a:cubicBezTo>
                <a:cubicBezTo>
                  <a:pt x="3843924" y="5302047"/>
                  <a:pt x="3856641" y="5347849"/>
                  <a:pt x="3875718" y="5355482"/>
                </a:cubicBezTo>
                <a:cubicBezTo>
                  <a:pt x="3897975" y="5355482"/>
                  <a:pt x="3917051" y="5355482"/>
                  <a:pt x="3936128" y="5355482"/>
                </a:cubicBezTo>
                <a:cubicBezTo>
                  <a:pt x="3952025" y="5340215"/>
                  <a:pt x="3964743" y="5324948"/>
                  <a:pt x="3980640" y="5309681"/>
                </a:cubicBezTo>
                <a:cubicBezTo>
                  <a:pt x="3958383" y="5302047"/>
                  <a:pt x="3939306" y="5290597"/>
                  <a:pt x="3920231" y="5282963"/>
                </a:cubicBezTo>
                <a:cubicBezTo>
                  <a:pt x="3926589" y="5275330"/>
                  <a:pt x="3932948" y="5267696"/>
                  <a:pt x="3945666" y="5252429"/>
                </a:cubicBezTo>
                <a:cubicBezTo>
                  <a:pt x="3948845" y="5237162"/>
                  <a:pt x="3948845" y="5214261"/>
                  <a:pt x="3952025" y="5187543"/>
                </a:cubicBezTo>
                <a:cubicBezTo>
                  <a:pt x="3964743" y="5176093"/>
                  <a:pt x="3977460" y="5160826"/>
                  <a:pt x="3993357" y="5145559"/>
                </a:cubicBezTo>
                <a:cubicBezTo>
                  <a:pt x="4012434" y="5145559"/>
                  <a:pt x="4031510" y="5145559"/>
                  <a:pt x="4050587" y="5145559"/>
                </a:cubicBezTo>
                <a:cubicBezTo>
                  <a:pt x="4072842" y="5103574"/>
                  <a:pt x="4072842" y="5103574"/>
                  <a:pt x="4037869" y="5084490"/>
                </a:cubicBezTo>
                <a:cubicBezTo>
                  <a:pt x="4041048" y="5076857"/>
                  <a:pt x="4044228" y="5061589"/>
                  <a:pt x="4047408" y="5061589"/>
                </a:cubicBezTo>
                <a:cubicBezTo>
                  <a:pt x="4069664" y="5057773"/>
                  <a:pt x="4095099" y="5053956"/>
                  <a:pt x="4120534" y="5050139"/>
                </a:cubicBezTo>
                <a:cubicBezTo>
                  <a:pt x="4123713" y="5038689"/>
                  <a:pt x="4123713" y="5023422"/>
                  <a:pt x="4126893" y="5004338"/>
                </a:cubicBezTo>
                <a:cubicBezTo>
                  <a:pt x="4098278" y="5000521"/>
                  <a:pt x="4072842" y="4992887"/>
                  <a:pt x="4044228" y="4989071"/>
                </a:cubicBezTo>
                <a:cubicBezTo>
                  <a:pt x="4047408" y="4981437"/>
                  <a:pt x="4047408" y="4969987"/>
                  <a:pt x="4050587" y="4969987"/>
                </a:cubicBezTo>
                <a:cubicBezTo>
                  <a:pt x="4079202" y="4969987"/>
                  <a:pt x="4095099" y="4954719"/>
                  <a:pt x="4110996" y="4935636"/>
                </a:cubicBezTo>
                <a:cubicBezTo>
                  <a:pt x="4130073" y="4908918"/>
                  <a:pt x="4155507" y="4901284"/>
                  <a:pt x="4190481" y="4901284"/>
                </a:cubicBezTo>
                <a:cubicBezTo>
                  <a:pt x="4174584" y="4882201"/>
                  <a:pt x="4165045" y="4870750"/>
                  <a:pt x="4155507" y="4859300"/>
                </a:cubicBezTo>
                <a:cubicBezTo>
                  <a:pt x="4171404" y="4851666"/>
                  <a:pt x="4187302" y="4847849"/>
                  <a:pt x="4206378" y="4840216"/>
                </a:cubicBezTo>
                <a:cubicBezTo>
                  <a:pt x="4225455" y="4802048"/>
                  <a:pt x="4209558" y="4763880"/>
                  <a:pt x="4215916" y="4725712"/>
                </a:cubicBezTo>
                <a:cubicBezTo>
                  <a:pt x="4228635" y="4725712"/>
                  <a:pt x="4244532" y="4725712"/>
                  <a:pt x="4260429" y="4725712"/>
                </a:cubicBezTo>
                <a:cubicBezTo>
                  <a:pt x="4273146" y="4710445"/>
                  <a:pt x="4285864" y="4698995"/>
                  <a:pt x="4301761" y="4679911"/>
                </a:cubicBezTo>
                <a:cubicBezTo>
                  <a:pt x="4289043" y="4668460"/>
                  <a:pt x="4279505" y="4653193"/>
                  <a:pt x="4263608" y="4637926"/>
                </a:cubicBezTo>
                <a:cubicBezTo>
                  <a:pt x="4241352" y="4637926"/>
                  <a:pt x="4219096" y="4637926"/>
                  <a:pt x="4196840" y="4637926"/>
                </a:cubicBezTo>
                <a:cubicBezTo>
                  <a:pt x="4184123" y="4649376"/>
                  <a:pt x="4171404" y="4664644"/>
                  <a:pt x="4155507" y="4679911"/>
                </a:cubicBezTo>
                <a:cubicBezTo>
                  <a:pt x="4155507" y="4698995"/>
                  <a:pt x="4155507" y="4718079"/>
                  <a:pt x="4155507" y="4740979"/>
                </a:cubicBezTo>
                <a:cubicBezTo>
                  <a:pt x="4142790" y="4752430"/>
                  <a:pt x="4126893" y="4763880"/>
                  <a:pt x="4110996" y="4779147"/>
                </a:cubicBezTo>
                <a:cubicBezTo>
                  <a:pt x="4063305" y="4779147"/>
                  <a:pt x="4021971" y="4809682"/>
                  <a:pt x="3977460" y="4832582"/>
                </a:cubicBezTo>
                <a:cubicBezTo>
                  <a:pt x="3977460" y="4844033"/>
                  <a:pt x="3977460" y="4859300"/>
                  <a:pt x="3977460" y="4874567"/>
                </a:cubicBezTo>
                <a:cubicBezTo>
                  <a:pt x="3971101" y="4878384"/>
                  <a:pt x="3955204" y="4882201"/>
                  <a:pt x="3955204" y="4886017"/>
                </a:cubicBezTo>
                <a:cubicBezTo>
                  <a:pt x="3952025" y="4905101"/>
                  <a:pt x="3964743" y="4905101"/>
                  <a:pt x="3977460" y="4905101"/>
                </a:cubicBezTo>
                <a:cubicBezTo>
                  <a:pt x="3986998" y="4920368"/>
                  <a:pt x="3996537" y="4935636"/>
                  <a:pt x="4006074" y="4950903"/>
                </a:cubicBezTo>
                <a:cubicBezTo>
                  <a:pt x="3983819" y="4977620"/>
                  <a:pt x="3958383" y="5000521"/>
                  <a:pt x="3936128" y="5027238"/>
                </a:cubicBezTo>
                <a:cubicBezTo>
                  <a:pt x="3901154" y="5031055"/>
                  <a:pt x="3866180" y="5015788"/>
                  <a:pt x="3834386" y="5034872"/>
                </a:cubicBezTo>
                <a:cubicBezTo>
                  <a:pt x="3840744" y="5061589"/>
                  <a:pt x="3891615" y="5080673"/>
                  <a:pt x="3843924" y="5115025"/>
                </a:cubicBezTo>
                <a:cubicBezTo>
                  <a:pt x="3837566" y="5107391"/>
                  <a:pt x="3828027" y="5099757"/>
                  <a:pt x="3821668" y="5092124"/>
                </a:cubicBezTo>
                <a:cubicBezTo>
                  <a:pt x="3793053" y="5099757"/>
                  <a:pt x="3780336" y="5126475"/>
                  <a:pt x="3758079" y="5145559"/>
                </a:cubicBezTo>
                <a:cubicBezTo>
                  <a:pt x="3739003" y="5130292"/>
                  <a:pt x="3723106" y="5115025"/>
                  <a:pt x="3707208" y="5103574"/>
                </a:cubicBezTo>
                <a:cubicBezTo>
                  <a:pt x="3716747" y="5080673"/>
                  <a:pt x="3719927" y="5069223"/>
                  <a:pt x="3726285" y="5053956"/>
                </a:cubicBezTo>
                <a:cubicBezTo>
                  <a:pt x="3739003" y="5065406"/>
                  <a:pt x="3748541" y="5076857"/>
                  <a:pt x="3758079" y="5084490"/>
                </a:cubicBezTo>
                <a:cubicBezTo>
                  <a:pt x="3773976" y="5069223"/>
                  <a:pt x="3786695" y="5053956"/>
                  <a:pt x="3802592" y="5042506"/>
                </a:cubicBezTo>
                <a:cubicBezTo>
                  <a:pt x="3802592" y="5031055"/>
                  <a:pt x="3802592" y="5023422"/>
                  <a:pt x="3802592" y="4996704"/>
                </a:cubicBezTo>
                <a:cubicBezTo>
                  <a:pt x="3824847" y="4973803"/>
                  <a:pt x="3856641" y="4947086"/>
                  <a:pt x="3888436" y="4916552"/>
                </a:cubicBezTo>
                <a:cubicBezTo>
                  <a:pt x="3878898" y="4908918"/>
                  <a:pt x="3872538" y="4901284"/>
                  <a:pt x="3869360" y="4901284"/>
                </a:cubicBezTo>
                <a:cubicBezTo>
                  <a:pt x="3904333" y="4866933"/>
                  <a:pt x="3936128" y="4832582"/>
                  <a:pt x="3983819" y="4786781"/>
                </a:cubicBezTo>
                <a:cubicBezTo>
                  <a:pt x="3999715" y="4782964"/>
                  <a:pt x="4028331" y="4767697"/>
                  <a:pt x="4037869" y="4721895"/>
                </a:cubicBezTo>
                <a:cubicBezTo>
                  <a:pt x="4044228" y="4691361"/>
                  <a:pt x="4066484" y="4668460"/>
                  <a:pt x="4095099" y="4664644"/>
                </a:cubicBezTo>
                <a:cubicBezTo>
                  <a:pt x="4101458" y="4683728"/>
                  <a:pt x="4082380" y="4710445"/>
                  <a:pt x="4114175" y="4721895"/>
                </a:cubicBezTo>
                <a:cubicBezTo>
                  <a:pt x="4126893" y="4683728"/>
                  <a:pt x="4126893" y="4683728"/>
                  <a:pt x="4095099" y="4664644"/>
                </a:cubicBezTo>
                <a:cubicBezTo>
                  <a:pt x="4095099" y="4649376"/>
                  <a:pt x="4091919" y="4634109"/>
                  <a:pt x="4098278" y="4622659"/>
                </a:cubicBezTo>
                <a:cubicBezTo>
                  <a:pt x="4117355" y="4584491"/>
                  <a:pt x="4142790" y="4546323"/>
                  <a:pt x="4165045" y="4515789"/>
                </a:cubicBezTo>
                <a:cubicBezTo>
                  <a:pt x="4187302" y="4515789"/>
                  <a:pt x="4200020" y="4515789"/>
                  <a:pt x="4212737" y="4515789"/>
                </a:cubicBezTo>
                <a:cubicBezTo>
                  <a:pt x="4219096" y="4542506"/>
                  <a:pt x="4238172" y="4557774"/>
                  <a:pt x="4263608" y="4569224"/>
                </a:cubicBezTo>
                <a:cubicBezTo>
                  <a:pt x="4279505" y="4550140"/>
                  <a:pt x="4279505" y="4531056"/>
                  <a:pt x="4254070" y="4515789"/>
                </a:cubicBezTo>
                <a:cubicBezTo>
                  <a:pt x="4241352" y="4515789"/>
                  <a:pt x="4228635" y="4515789"/>
                  <a:pt x="4215916" y="4515789"/>
                </a:cubicBezTo>
                <a:cubicBezTo>
                  <a:pt x="4215916" y="4500522"/>
                  <a:pt x="4215916" y="4485255"/>
                  <a:pt x="4215916" y="4462354"/>
                </a:cubicBezTo>
                <a:cubicBezTo>
                  <a:pt x="4241352" y="4458537"/>
                  <a:pt x="4266788" y="4454720"/>
                  <a:pt x="4298581" y="4447087"/>
                </a:cubicBezTo>
                <a:cubicBezTo>
                  <a:pt x="4298581" y="4435636"/>
                  <a:pt x="4301761" y="4420369"/>
                  <a:pt x="4304940" y="4405102"/>
                </a:cubicBezTo>
                <a:cubicBezTo>
                  <a:pt x="4320838" y="4397469"/>
                  <a:pt x="4339914" y="4397469"/>
                  <a:pt x="4352632" y="4386018"/>
                </a:cubicBezTo>
                <a:cubicBezTo>
                  <a:pt x="4368529" y="4370751"/>
                  <a:pt x="4381246" y="4359301"/>
                  <a:pt x="4406682" y="4363117"/>
                </a:cubicBezTo>
                <a:cubicBezTo>
                  <a:pt x="4432117" y="4386018"/>
                  <a:pt x="4419400" y="4416552"/>
                  <a:pt x="4416220" y="4443270"/>
                </a:cubicBezTo>
                <a:cubicBezTo>
                  <a:pt x="4406682" y="4450904"/>
                  <a:pt x="4400323" y="4458537"/>
                  <a:pt x="4393965" y="4466171"/>
                </a:cubicBezTo>
                <a:cubicBezTo>
                  <a:pt x="4393965" y="4500522"/>
                  <a:pt x="4393965" y="4534873"/>
                  <a:pt x="4393965" y="4569224"/>
                </a:cubicBezTo>
                <a:cubicBezTo>
                  <a:pt x="4406682" y="4565407"/>
                  <a:pt x="4413041" y="4565407"/>
                  <a:pt x="4419400" y="4561590"/>
                </a:cubicBezTo>
                <a:cubicBezTo>
                  <a:pt x="4438476" y="4542506"/>
                  <a:pt x="4460733" y="4519606"/>
                  <a:pt x="4479809" y="4500522"/>
                </a:cubicBezTo>
                <a:cubicBezTo>
                  <a:pt x="4467091" y="4485255"/>
                  <a:pt x="4457553" y="4473804"/>
                  <a:pt x="4451194" y="4466171"/>
                </a:cubicBezTo>
                <a:cubicBezTo>
                  <a:pt x="4451194" y="4454720"/>
                  <a:pt x="4451194" y="4443270"/>
                  <a:pt x="4454373" y="4435636"/>
                </a:cubicBezTo>
                <a:cubicBezTo>
                  <a:pt x="4486168" y="4408919"/>
                  <a:pt x="4530679" y="4439453"/>
                  <a:pt x="4565653" y="4412736"/>
                </a:cubicBezTo>
                <a:cubicBezTo>
                  <a:pt x="4559295" y="4401285"/>
                  <a:pt x="4549756" y="4389835"/>
                  <a:pt x="4540218" y="4382201"/>
                </a:cubicBezTo>
                <a:cubicBezTo>
                  <a:pt x="4552936" y="4340217"/>
                  <a:pt x="4600627" y="4344034"/>
                  <a:pt x="4626063" y="4317316"/>
                </a:cubicBezTo>
                <a:cubicBezTo>
                  <a:pt x="4626063" y="4309682"/>
                  <a:pt x="4626063" y="4298232"/>
                  <a:pt x="4626063" y="4286782"/>
                </a:cubicBezTo>
                <a:cubicBezTo>
                  <a:pt x="4613344" y="4275331"/>
                  <a:pt x="4597447" y="4260064"/>
                  <a:pt x="4584730" y="4244797"/>
                </a:cubicBezTo>
                <a:cubicBezTo>
                  <a:pt x="4572012" y="4252431"/>
                  <a:pt x="4562474" y="4263881"/>
                  <a:pt x="4552936" y="4271515"/>
                </a:cubicBezTo>
                <a:cubicBezTo>
                  <a:pt x="4543398" y="4263881"/>
                  <a:pt x="4533859" y="4252431"/>
                  <a:pt x="4521141" y="4244797"/>
                </a:cubicBezTo>
                <a:cubicBezTo>
                  <a:pt x="4498885" y="4263881"/>
                  <a:pt x="4514782" y="4290599"/>
                  <a:pt x="4508424" y="4317316"/>
                </a:cubicBezTo>
                <a:cubicBezTo>
                  <a:pt x="4495706" y="4328766"/>
                  <a:pt x="4482988" y="4344034"/>
                  <a:pt x="4470271" y="4359301"/>
                </a:cubicBezTo>
                <a:cubicBezTo>
                  <a:pt x="4441656" y="4344034"/>
                  <a:pt x="4416220" y="4332583"/>
                  <a:pt x="4390785" y="4317316"/>
                </a:cubicBezTo>
                <a:cubicBezTo>
                  <a:pt x="4403503" y="4279148"/>
                  <a:pt x="4400323" y="4275331"/>
                  <a:pt x="4435297" y="4244797"/>
                </a:cubicBezTo>
                <a:cubicBezTo>
                  <a:pt x="4444835" y="4252431"/>
                  <a:pt x="4454373" y="4263881"/>
                  <a:pt x="4467091" y="4271515"/>
                </a:cubicBezTo>
                <a:cubicBezTo>
                  <a:pt x="4489347" y="4252431"/>
                  <a:pt x="4473450" y="4225713"/>
                  <a:pt x="4486168" y="4195179"/>
                </a:cubicBezTo>
                <a:cubicBezTo>
                  <a:pt x="4498885" y="4179912"/>
                  <a:pt x="4517962" y="4157011"/>
                  <a:pt x="4540218" y="4137927"/>
                </a:cubicBezTo>
                <a:cubicBezTo>
                  <a:pt x="4540218" y="4126477"/>
                  <a:pt x="4540218" y="4115026"/>
                  <a:pt x="4540218" y="4107393"/>
                </a:cubicBezTo>
                <a:cubicBezTo>
                  <a:pt x="4559295" y="4095942"/>
                  <a:pt x="4584730" y="4088309"/>
                  <a:pt x="4597447" y="4073042"/>
                </a:cubicBezTo>
                <a:cubicBezTo>
                  <a:pt x="4622883" y="4050141"/>
                  <a:pt x="4661036" y="4080675"/>
                  <a:pt x="4680112" y="4053958"/>
                </a:cubicBezTo>
                <a:cubicBezTo>
                  <a:pt x="4696009" y="4027240"/>
                  <a:pt x="4724625" y="4038690"/>
                  <a:pt x="4740522" y="4023423"/>
                </a:cubicBezTo>
                <a:cubicBezTo>
                  <a:pt x="4743701" y="4008156"/>
                  <a:pt x="4746880" y="3992889"/>
                  <a:pt x="4750060" y="3981439"/>
                </a:cubicBezTo>
                <a:cubicBezTo>
                  <a:pt x="4769137" y="3973805"/>
                  <a:pt x="4785034" y="3969988"/>
                  <a:pt x="4800931" y="3962355"/>
                </a:cubicBezTo>
                <a:cubicBezTo>
                  <a:pt x="4788213" y="3939454"/>
                  <a:pt x="4778674" y="3920370"/>
                  <a:pt x="4762777" y="3893653"/>
                </a:cubicBezTo>
                <a:cubicBezTo>
                  <a:pt x="4800931" y="3886019"/>
                  <a:pt x="4826366" y="3882202"/>
                  <a:pt x="4858161" y="3874569"/>
                </a:cubicBezTo>
                <a:cubicBezTo>
                  <a:pt x="4858161" y="3863118"/>
                  <a:pt x="4861339" y="3851668"/>
                  <a:pt x="4864519" y="3832584"/>
                </a:cubicBezTo>
                <a:cubicBezTo>
                  <a:pt x="4883596" y="3809683"/>
                  <a:pt x="4909031" y="3824950"/>
                  <a:pt x="4940826" y="3821134"/>
                </a:cubicBezTo>
                <a:cubicBezTo>
                  <a:pt x="4956723" y="3798233"/>
                  <a:pt x="4978978" y="3771515"/>
                  <a:pt x="5007593" y="3737164"/>
                </a:cubicBezTo>
                <a:cubicBezTo>
                  <a:pt x="5007593" y="3729531"/>
                  <a:pt x="5007593" y="3710447"/>
                  <a:pt x="5007593" y="3691363"/>
                </a:cubicBezTo>
                <a:cubicBezTo>
                  <a:pt x="5042567" y="3657012"/>
                  <a:pt x="5061643" y="3607394"/>
                  <a:pt x="5122052" y="3607394"/>
                </a:cubicBezTo>
                <a:cubicBezTo>
                  <a:pt x="5125232" y="3592127"/>
                  <a:pt x="5128411" y="3576859"/>
                  <a:pt x="5131591" y="3561592"/>
                </a:cubicBezTo>
                <a:cubicBezTo>
                  <a:pt x="5147488" y="3538692"/>
                  <a:pt x="5172923" y="3553958"/>
                  <a:pt x="5198359" y="3550142"/>
                </a:cubicBezTo>
                <a:cubicBezTo>
                  <a:pt x="5211076" y="3561592"/>
                  <a:pt x="5226974" y="3576859"/>
                  <a:pt x="5239691" y="3592127"/>
                </a:cubicBezTo>
                <a:cubicBezTo>
                  <a:pt x="5226974" y="3630294"/>
                  <a:pt x="5198359" y="3649378"/>
                  <a:pt x="5144308" y="3641745"/>
                </a:cubicBezTo>
                <a:cubicBezTo>
                  <a:pt x="5163385" y="3683729"/>
                  <a:pt x="5176103" y="3706630"/>
                  <a:pt x="5188820" y="3729531"/>
                </a:cubicBezTo>
                <a:cubicBezTo>
                  <a:pt x="5172923" y="3733347"/>
                  <a:pt x="5147488" y="3733347"/>
                  <a:pt x="5169744" y="3760065"/>
                </a:cubicBezTo>
                <a:cubicBezTo>
                  <a:pt x="5176103" y="3752431"/>
                  <a:pt x="5182462" y="3740981"/>
                  <a:pt x="5188820" y="3729531"/>
                </a:cubicBezTo>
                <a:cubicBezTo>
                  <a:pt x="5211076" y="3718080"/>
                  <a:pt x="5233333" y="3706630"/>
                  <a:pt x="5268306" y="3691363"/>
                </a:cubicBezTo>
                <a:cubicBezTo>
                  <a:pt x="5271485" y="3676096"/>
                  <a:pt x="5274665" y="3649378"/>
                  <a:pt x="5281024" y="3622661"/>
                </a:cubicBezTo>
                <a:cubicBezTo>
                  <a:pt x="5281024" y="3615027"/>
                  <a:pt x="5296921" y="3615027"/>
                  <a:pt x="5303279" y="3607394"/>
                </a:cubicBezTo>
                <a:cubicBezTo>
                  <a:pt x="5306459" y="3626477"/>
                  <a:pt x="5306459" y="3649378"/>
                  <a:pt x="5331895" y="3630294"/>
                </a:cubicBezTo>
                <a:cubicBezTo>
                  <a:pt x="5322356" y="3622661"/>
                  <a:pt x="5315998" y="3615027"/>
                  <a:pt x="5303279" y="3607394"/>
                </a:cubicBezTo>
                <a:cubicBezTo>
                  <a:pt x="5290562" y="3565409"/>
                  <a:pt x="5246050" y="3546325"/>
                  <a:pt x="5214256" y="3500524"/>
                </a:cubicBezTo>
                <a:cubicBezTo>
                  <a:pt x="5230153" y="3496707"/>
                  <a:pt x="5246050" y="3489073"/>
                  <a:pt x="5274665" y="3473806"/>
                </a:cubicBezTo>
                <a:cubicBezTo>
                  <a:pt x="5281024" y="3477623"/>
                  <a:pt x="5306459" y="3492890"/>
                  <a:pt x="5331895" y="3504340"/>
                </a:cubicBezTo>
                <a:cubicBezTo>
                  <a:pt x="5338253" y="3531058"/>
                  <a:pt x="5322356" y="3557776"/>
                  <a:pt x="5347792" y="3580676"/>
                </a:cubicBezTo>
                <a:cubicBezTo>
                  <a:pt x="5363689" y="3550142"/>
                  <a:pt x="5379586" y="3515791"/>
                  <a:pt x="5392304" y="3485257"/>
                </a:cubicBezTo>
                <a:cubicBezTo>
                  <a:pt x="5392304" y="3481440"/>
                  <a:pt x="5389124" y="3477623"/>
                  <a:pt x="5389124" y="3469989"/>
                </a:cubicBezTo>
                <a:cubicBezTo>
                  <a:pt x="5366868" y="3450905"/>
                  <a:pt x="5341433" y="3466172"/>
                  <a:pt x="5319177" y="3462356"/>
                </a:cubicBezTo>
                <a:cubicBezTo>
                  <a:pt x="5315998" y="3454722"/>
                  <a:pt x="5309639" y="3443272"/>
                  <a:pt x="5309639" y="3439455"/>
                </a:cubicBezTo>
                <a:cubicBezTo>
                  <a:pt x="5331895" y="3424188"/>
                  <a:pt x="5335074" y="3401287"/>
                  <a:pt x="5335074" y="3374570"/>
                </a:cubicBezTo>
                <a:cubicBezTo>
                  <a:pt x="5335074" y="3363119"/>
                  <a:pt x="5341433" y="3351669"/>
                  <a:pt x="5350971" y="3332585"/>
                </a:cubicBezTo>
                <a:cubicBezTo>
                  <a:pt x="5360510" y="3359303"/>
                  <a:pt x="5366868" y="3378387"/>
                  <a:pt x="5373227" y="3393653"/>
                </a:cubicBezTo>
                <a:cubicBezTo>
                  <a:pt x="5398663" y="3408921"/>
                  <a:pt x="5414560" y="3397470"/>
                  <a:pt x="5430457" y="3374570"/>
                </a:cubicBezTo>
                <a:cubicBezTo>
                  <a:pt x="5414560" y="3351669"/>
                  <a:pt x="5405021" y="3336402"/>
                  <a:pt x="5389124" y="3321134"/>
                </a:cubicBezTo>
                <a:cubicBezTo>
                  <a:pt x="5395483" y="3271516"/>
                  <a:pt x="5439995" y="3252433"/>
                  <a:pt x="5465431" y="3221898"/>
                </a:cubicBezTo>
                <a:cubicBezTo>
                  <a:pt x="5474969" y="3229532"/>
                  <a:pt x="5481328" y="3237165"/>
                  <a:pt x="5490866" y="3244799"/>
                </a:cubicBezTo>
                <a:cubicBezTo>
                  <a:pt x="5509942" y="3244799"/>
                  <a:pt x="5535377" y="3244799"/>
                  <a:pt x="5554454" y="3244799"/>
                </a:cubicBezTo>
                <a:cubicBezTo>
                  <a:pt x="5570351" y="3233348"/>
                  <a:pt x="5586248" y="3218081"/>
                  <a:pt x="5598966" y="3206631"/>
                </a:cubicBezTo>
                <a:cubicBezTo>
                  <a:pt x="5586248" y="3195180"/>
                  <a:pt x="5576710" y="3183730"/>
                  <a:pt x="5570351" y="3172280"/>
                </a:cubicBezTo>
                <a:cubicBezTo>
                  <a:pt x="5563993" y="3149379"/>
                  <a:pt x="5579890" y="3137929"/>
                  <a:pt x="5592607" y="3118845"/>
                </a:cubicBezTo>
                <a:cubicBezTo>
                  <a:pt x="5602145" y="3107395"/>
                  <a:pt x="5605325" y="3084494"/>
                  <a:pt x="5608505" y="3069227"/>
                </a:cubicBezTo>
                <a:cubicBezTo>
                  <a:pt x="5624402" y="3069227"/>
                  <a:pt x="5633939" y="3069227"/>
                  <a:pt x="5646658" y="3069227"/>
                </a:cubicBezTo>
                <a:cubicBezTo>
                  <a:pt x="5659375" y="3050143"/>
                  <a:pt x="5675272" y="3034876"/>
                  <a:pt x="5684810" y="3011975"/>
                </a:cubicBezTo>
                <a:cubicBezTo>
                  <a:pt x="5710246" y="2969990"/>
                  <a:pt x="5710246" y="2973807"/>
                  <a:pt x="5751578" y="2947090"/>
                </a:cubicBezTo>
                <a:cubicBezTo>
                  <a:pt x="5796091" y="2920372"/>
                  <a:pt x="5850141" y="2908922"/>
                  <a:pt x="5875576" y="2859303"/>
                </a:cubicBezTo>
                <a:cubicBezTo>
                  <a:pt x="5894652" y="2859303"/>
                  <a:pt x="5907370" y="2859303"/>
                  <a:pt x="5920088" y="2855487"/>
                </a:cubicBezTo>
                <a:cubicBezTo>
                  <a:pt x="5926446" y="2874571"/>
                  <a:pt x="5923268" y="2897471"/>
                  <a:pt x="5948703" y="2878387"/>
                </a:cubicBezTo>
                <a:cubicBezTo>
                  <a:pt x="5942344" y="2870754"/>
                  <a:pt x="5932806" y="2863120"/>
                  <a:pt x="5920088" y="2855487"/>
                </a:cubicBezTo>
                <a:cubicBezTo>
                  <a:pt x="5923268" y="2836403"/>
                  <a:pt x="5923268" y="2809685"/>
                  <a:pt x="5923268" y="2786785"/>
                </a:cubicBezTo>
                <a:cubicBezTo>
                  <a:pt x="5948703" y="2771517"/>
                  <a:pt x="5974138" y="2756250"/>
                  <a:pt x="6002753" y="2737166"/>
                </a:cubicBezTo>
                <a:cubicBezTo>
                  <a:pt x="6034547" y="2737166"/>
                  <a:pt x="6066342" y="2737166"/>
                  <a:pt x="6098136" y="2737166"/>
                </a:cubicBezTo>
                <a:cubicBezTo>
                  <a:pt x="6098136" y="2752433"/>
                  <a:pt x="6098136" y="2767700"/>
                  <a:pt x="6098136" y="2786785"/>
                </a:cubicBezTo>
                <a:cubicBezTo>
                  <a:pt x="6079059" y="2794418"/>
                  <a:pt x="6059982" y="2805868"/>
                  <a:pt x="6037727" y="2813502"/>
                </a:cubicBezTo>
                <a:cubicBezTo>
                  <a:pt x="6040906" y="2828769"/>
                  <a:pt x="6044085" y="2844036"/>
                  <a:pt x="6050445" y="2863120"/>
                </a:cubicBezTo>
                <a:cubicBezTo>
                  <a:pt x="6088598" y="2847853"/>
                  <a:pt x="6120392" y="2832586"/>
                  <a:pt x="6152186" y="2821136"/>
                </a:cubicBezTo>
                <a:cubicBezTo>
                  <a:pt x="6158544" y="2802052"/>
                  <a:pt x="6164904" y="2786785"/>
                  <a:pt x="6168083" y="2767700"/>
                </a:cubicBezTo>
                <a:cubicBezTo>
                  <a:pt x="6193518" y="2767700"/>
                  <a:pt x="6212595" y="2767700"/>
                  <a:pt x="6231672" y="2767700"/>
                </a:cubicBezTo>
                <a:cubicBezTo>
                  <a:pt x="6260286" y="2710449"/>
                  <a:pt x="6298439" y="2660831"/>
                  <a:pt x="6327054" y="2649380"/>
                </a:cubicBezTo>
                <a:cubicBezTo>
                  <a:pt x="6349310" y="2645563"/>
                  <a:pt x="6374745" y="2657014"/>
                  <a:pt x="6393822" y="2634113"/>
                </a:cubicBezTo>
                <a:cubicBezTo>
                  <a:pt x="6393822" y="2622663"/>
                  <a:pt x="6393822" y="2615029"/>
                  <a:pt x="6393822" y="2599762"/>
                </a:cubicBezTo>
                <a:cubicBezTo>
                  <a:pt x="6492384" y="2576861"/>
                  <a:pt x="6514640" y="2485258"/>
                  <a:pt x="6555972" y="2408923"/>
                </a:cubicBezTo>
                <a:cubicBezTo>
                  <a:pt x="6568690" y="2408923"/>
                  <a:pt x="6578228" y="2405106"/>
                  <a:pt x="6590946" y="2405106"/>
                </a:cubicBezTo>
                <a:cubicBezTo>
                  <a:pt x="6616381" y="2355488"/>
                  <a:pt x="6686328" y="2340220"/>
                  <a:pt x="6689508" y="2271518"/>
                </a:cubicBezTo>
                <a:cubicBezTo>
                  <a:pt x="6727661" y="2229533"/>
                  <a:pt x="6775352" y="2195183"/>
                  <a:pt x="6791250" y="2134114"/>
                </a:cubicBezTo>
                <a:cubicBezTo>
                  <a:pt x="6813506" y="2134114"/>
                  <a:pt x="6832582" y="2134114"/>
                  <a:pt x="6858018" y="2134114"/>
                </a:cubicBezTo>
                <a:cubicBezTo>
                  <a:pt x="6861197" y="2107396"/>
                  <a:pt x="6870735" y="2080679"/>
                  <a:pt x="6892991" y="2061595"/>
                </a:cubicBezTo>
                <a:cubicBezTo>
                  <a:pt x="6899350" y="2053961"/>
                  <a:pt x="6889812" y="2034877"/>
                  <a:pt x="6889812" y="2015793"/>
                </a:cubicBezTo>
                <a:cubicBezTo>
                  <a:pt x="6858018" y="2038694"/>
                  <a:pt x="6835762" y="2061595"/>
                  <a:pt x="6807146" y="2076862"/>
                </a:cubicBezTo>
                <a:cubicBezTo>
                  <a:pt x="6775352" y="2092129"/>
                  <a:pt x="6746738" y="2122664"/>
                  <a:pt x="6702226" y="2107396"/>
                </a:cubicBezTo>
                <a:cubicBezTo>
                  <a:pt x="6689508" y="2134114"/>
                  <a:pt x="6641816" y="2126480"/>
                  <a:pt x="6635458" y="2149381"/>
                </a:cubicBezTo>
                <a:cubicBezTo>
                  <a:pt x="6625920" y="2187549"/>
                  <a:pt x="6600484" y="2202816"/>
                  <a:pt x="6581408" y="2233350"/>
                </a:cubicBezTo>
                <a:cubicBezTo>
                  <a:pt x="6565510" y="2260068"/>
                  <a:pt x="6555972" y="2290602"/>
                  <a:pt x="6540075" y="2317320"/>
                </a:cubicBezTo>
                <a:cubicBezTo>
                  <a:pt x="6527358" y="2347854"/>
                  <a:pt x="6511460" y="2378388"/>
                  <a:pt x="6498742" y="2405106"/>
                </a:cubicBezTo>
                <a:cubicBezTo>
                  <a:pt x="6486025" y="2397472"/>
                  <a:pt x="6476486" y="2386022"/>
                  <a:pt x="6466948" y="2378388"/>
                </a:cubicBezTo>
                <a:cubicBezTo>
                  <a:pt x="6454230" y="2389839"/>
                  <a:pt x="6438334" y="2405106"/>
                  <a:pt x="6425616" y="2420373"/>
                </a:cubicBezTo>
                <a:cubicBezTo>
                  <a:pt x="6422436" y="2454724"/>
                  <a:pt x="6422436" y="2485258"/>
                  <a:pt x="6419257" y="2523426"/>
                </a:cubicBezTo>
                <a:cubicBezTo>
                  <a:pt x="6393822" y="2527243"/>
                  <a:pt x="6368386" y="2527243"/>
                  <a:pt x="6346130" y="2531060"/>
                </a:cubicBezTo>
                <a:cubicBezTo>
                  <a:pt x="6333412" y="2546327"/>
                  <a:pt x="6320695" y="2557777"/>
                  <a:pt x="6304798" y="2573044"/>
                </a:cubicBezTo>
                <a:cubicBezTo>
                  <a:pt x="6304798" y="2584495"/>
                  <a:pt x="6304798" y="2592128"/>
                  <a:pt x="6304798" y="2603579"/>
                </a:cubicBezTo>
                <a:cubicBezTo>
                  <a:pt x="6238031" y="2626479"/>
                  <a:pt x="6196698" y="2672281"/>
                  <a:pt x="6171263" y="2737166"/>
                </a:cubicBezTo>
                <a:cubicBezTo>
                  <a:pt x="6149007" y="2737166"/>
                  <a:pt x="6123571" y="2737166"/>
                  <a:pt x="6098136" y="2737166"/>
                </a:cubicBezTo>
                <a:cubicBezTo>
                  <a:pt x="6088598" y="2714266"/>
                  <a:pt x="6075879" y="2687548"/>
                  <a:pt x="6066342" y="2668464"/>
                </a:cubicBezTo>
                <a:cubicBezTo>
                  <a:pt x="6091777" y="2637930"/>
                  <a:pt x="6117212" y="2653197"/>
                  <a:pt x="6142647" y="2649380"/>
                </a:cubicBezTo>
                <a:cubicBezTo>
                  <a:pt x="6155365" y="2634113"/>
                  <a:pt x="6168083" y="2622663"/>
                  <a:pt x="6183980" y="2607395"/>
                </a:cubicBezTo>
                <a:cubicBezTo>
                  <a:pt x="6187160" y="2584495"/>
                  <a:pt x="6180801" y="2550144"/>
                  <a:pt x="6193518" y="2538693"/>
                </a:cubicBezTo>
                <a:cubicBezTo>
                  <a:pt x="6234851" y="2508159"/>
                  <a:pt x="6196698" y="2447090"/>
                  <a:pt x="6244389" y="2424189"/>
                </a:cubicBezTo>
                <a:cubicBezTo>
                  <a:pt x="6225312" y="2389839"/>
                  <a:pt x="6193518" y="2412739"/>
                  <a:pt x="6164904" y="2412739"/>
                </a:cubicBezTo>
                <a:cubicBezTo>
                  <a:pt x="6161724" y="2424189"/>
                  <a:pt x="6158544" y="2439457"/>
                  <a:pt x="6155365" y="2454724"/>
                </a:cubicBezTo>
                <a:cubicBezTo>
                  <a:pt x="6139468" y="2462357"/>
                  <a:pt x="6117212" y="2473808"/>
                  <a:pt x="6098136" y="2485258"/>
                </a:cubicBezTo>
                <a:cubicBezTo>
                  <a:pt x="6075879" y="2500525"/>
                  <a:pt x="6063162" y="2531060"/>
                  <a:pt x="6028188" y="2531060"/>
                </a:cubicBezTo>
                <a:cubicBezTo>
                  <a:pt x="6009111" y="2531060"/>
                  <a:pt x="5990035" y="2561594"/>
                  <a:pt x="5974138" y="2580678"/>
                </a:cubicBezTo>
                <a:cubicBezTo>
                  <a:pt x="5951882" y="2615029"/>
                  <a:pt x="5910549" y="2615029"/>
                  <a:pt x="5881935" y="2641747"/>
                </a:cubicBezTo>
                <a:cubicBezTo>
                  <a:pt x="5869217" y="2653197"/>
                  <a:pt x="5843781" y="2649380"/>
                  <a:pt x="5818346" y="2649380"/>
                </a:cubicBezTo>
                <a:cubicBezTo>
                  <a:pt x="5796091" y="2687548"/>
                  <a:pt x="5754758" y="2710449"/>
                  <a:pt x="5710246" y="2725716"/>
                </a:cubicBezTo>
                <a:cubicBezTo>
                  <a:pt x="5678451" y="2740983"/>
                  <a:pt x="5646658" y="2760067"/>
                  <a:pt x="5611684" y="2775334"/>
                </a:cubicBezTo>
                <a:cubicBezTo>
                  <a:pt x="5579890" y="2786785"/>
                  <a:pt x="5557634" y="2821136"/>
                  <a:pt x="5519480" y="2836403"/>
                </a:cubicBezTo>
                <a:cubicBezTo>
                  <a:pt x="5478148" y="2859303"/>
                  <a:pt x="5449533" y="2905105"/>
                  <a:pt x="5414560" y="2939456"/>
                </a:cubicBezTo>
                <a:cubicBezTo>
                  <a:pt x="5360510" y="2966173"/>
                  <a:pt x="5306459" y="2985257"/>
                  <a:pt x="5255588" y="3015792"/>
                </a:cubicBezTo>
                <a:cubicBezTo>
                  <a:pt x="5226974" y="3031059"/>
                  <a:pt x="5195179" y="3057776"/>
                  <a:pt x="5214256" y="3099761"/>
                </a:cubicBezTo>
                <a:cubicBezTo>
                  <a:pt x="5192000" y="3099761"/>
                  <a:pt x="5182462" y="3099761"/>
                  <a:pt x="5166565" y="3099761"/>
                </a:cubicBezTo>
                <a:cubicBezTo>
                  <a:pt x="5147488" y="3122662"/>
                  <a:pt x="5125232" y="3149379"/>
                  <a:pt x="5099797" y="3172280"/>
                </a:cubicBezTo>
                <a:cubicBezTo>
                  <a:pt x="5080720" y="3191364"/>
                  <a:pt x="5064823" y="3218081"/>
                  <a:pt x="5029849" y="3221898"/>
                </a:cubicBezTo>
                <a:cubicBezTo>
                  <a:pt x="4998055" y="3225715"/>
                  <a:pt x="4991696" y="3275333"/>
                  <a:pt x="4953543" y="3279150"/>
                </a:cubicBezTo>
                <a:cubicBezTo>
                  <a:pt x="4918570" y="3282967"/>
                  <a:pt x="4909031" y="3317318"/>
                  <a:pt x="4883596" y="3332585"/>
                </a:cubicBezTo>
                <a:cubicBezTo>
                  <a:pt x="4858161" y="3347852"/>
                  <a:pt x="4826366" y="3355486"/>
                  <a:pt x="4797751" y="3370753"/>
                </a:cubicBezTo>
                <a:cubicBezTo>
                  <a:pt x="4772316" y="3382203"/>
                  <a:pt x="4750060" y="3397470"/>
                  <a:pt x="4718266" y="3412738"/>
                </a:cubicBezTo>
                <a:cubicBezTo>
                  <a:pt x="4699189" y="3431821"/>
                  <a:pt x="4670575" y="3454722"/>
                  <a:pt x="4651498" y="3481440"/>
                </a:cubicBezTo>
                <a:cubicBezTo>
                  <a:pt x="4616524" y="3531058"/>
                  <a:pt x="4552936" y="3542508"/>
                  <a:pt x="4517962" y="3588310"/>
                </a:cubicBezTo>
                <a:cubicBezTo>
                  <a:pt x="4482988" y="3637928"/>
                  <a:pt x="4419400" y="3641745"/>
                  <a:pt x="4384426" y="3691363"/>
                </a:cubicBezTo>
                <a:cubicBezTo>
                  <a:pt x="4371708" y="3710447"/>
                  <a:pt x="4343094" y="3706630"/>
                  <a:pt x="4320838" y="3721897"/>
                </a:cubicBezTo>
                <a:cubicBezTo>
                  <a:pt x="4301761" y="3737164"/>
                  <a:pt x="4273146" y="3744798"/>
                  <a:pt x="4250891" y="3767699"/>
                </a:cubicBezTo>
                <a:cubicBezTo>
                  <a:pt x="4228635" y="3790599"/>
                  <a:pt x="4212737" y="3821134"/>
                  <a:pt x="4171404" y="3824950"/>
                </a:cubicBezTo>
                <a:cubicBezTo>
                  <a:pt x="4142790" y="3828767"/>
                  <a:pt x="4133252" y="3874569"/>
                  <a:pt x="4095099" y="3882202"/>
                </a:cubicBezTo>
                <a:cubicBezTo>
                  <a:pt x="4063305" y="3889836"/>
                  <a:pt x="4037869" y="3912736"/>
                  <a:pt x="4009254" y="3928004"/>
                </a:cubicBezTo>
                <a:cubicBezTo>
                  <a:pt x="4009254" y="3935637"/>
                  <a:pt x="4009254" y="3947088"/>
                  <a:pt x="4009254" y="3962355"/>
                </a:cubicBezTo>
                <a:cubicBezTo>
                  <a:pt x="3983819" y="3966171"/>
                  <a:pt x="3948845" y="3966171"/>
                  <a:pt x="3929769" y="3981439"/>
                </a:cubicBezTo>
                <a:cubicBezTo>
                  <a:pt x="3910692" y="3996706"/>
                  <a:pt x="3882077" y="3992889"/>
                  <a:pt x="3869360" y="4011973"/>
                </a:cubicBezTo>
                <a:cubicBezTo>
                  <a:pt x="3850283" y="4038690"/>
                  <a:pt x="3815309" y="4023423"/>
                  <a:pt x="3796233" y="4050141"/>
                </a:cubicBezTo>
                <a:cubicBezTo>
                  <a:pt x="3783515" y="4073042"/>
                  <a:pt x="3761259" y="4088309"/>
                  <a:pt x="3745362" y="4107393"/>
                </a:cubicBezTo>
                <a:cubicBezTo>
                  <a:pt x="3745362" y="4115026"/>
                  <a:pt x="3745362" y="4126477"/>
                  <a:pt x="3742182" y="4134110"/>
                </a:cubicBezTo>
                <a:cubicBezTo>
                  <a:pt x="3716747" y="4153194"/>
                  <a:pt x="3688133" y="4168461"/>
                  <a:pt x="3662697" y="4183728"/>
                </a:cubicBezTo>
                <a:cubicBezTo>
                  <a:pt x="3656338" y="4183728"/>
                  <a:pt x="3653159" y="4183728"/>
                  <a:pt x="3646800" y="4183728"/>
                </a:cubicBezTo>
                <a:cubicBezTo>
                  <a:pt x="3637262" y="4183728"/>
                  <a:pt x="3627724" y="4183728"/>
                  <a:pt x="3615005" y="4183728"/>
                </a:cubicBezTo>
                <a:cubicBezTo>
                  <a:pt x="3586391" y="4214263"/>
                  <a:pt x="3557776" y="4248614"/>
                  <a:pt x="3535520" y="4275331"/>
                </a:cubicBezTo>
                <a:cubicBezTo>
                  <a:pt x="3503726" y="4275331"/>
                  <a:pt x="3481469" y="4275331"/>
                  <a:pt x="3462394" y="4275331"/>
                </a:cubicBezTo>
                <a:cubicBezTo>
                  <a:pt x="3440138" y="4298232"/>
                  <a:pt x="3414701" y="4324950"/>
                  <a:pt x="3389267" y="4347850"/>
                </a:cubicBezTo>
                <a:cubicBezTo>
                  <a:pt x="3389267" y="4359301"/>
                  <a:pt x="3389267" y="4366934"/>
                  <a:pt x="3389267" y="4382201"/>
                </a:cubicBezTo>
                <a:cubicBezTo>
                  <a:pt x="3354293" y="4397469"/>
                  <a:pt x="3312961" y="4408919"/>
                  <a:pt x="3281166" y="4431820"/>
                </a:cubicBezTo>
                <a:cubicBezTo>
                  <a:pt x="3249371" y="4454720"/>
                  <a:pt x="3227116" y="4489071"/>
                  <a:pt x="3204860" y="4515789"/>
                </a:cubicBezTo>
                <a:cubicBezTo>
                  <a:pt x="3176245" y="4515789"/>
                  <a:pt x="3157169" y="4515789"/>
                  <a:pt x="3138092" y="4515789"/>
                </a:cubicBezTo>
                <a:cubicBezTo>
                  <a:pt x="3119015" y="4542506"/>
                  <a:pt x="3115836" y="4580674"/>
                  <a:pt x="3080863" y="4603575"/>
                </a:cubicBezTo>
                <a:cubicBezTo>
                  <a:pt x="3068144" y="4603575"/>
                  <a:pt x="3049068" y="4603575"/>
                  <a:pt x="3026812" y="4603575"/>
                </a:cubicBezTo>
                <a:cubicBezTo>
                  <a:pt x="3023633" y="4607392"/>
                  <a:pt x="3017273" y="4607392"/>
                  <a:pt x="3017273" y="4611209"/>
                </a:cubicBezTo>
                <a:cubicBezTo>
                  <a:pt x="2982301" y="4664644"/>
                  <a:pt x="2905994" y="4664644"/>
                  <a:pt x="2877379" y="4721895"/>
                </a:cubicBezTo>
                <a:cubicBezTo>
                  <a:pt x="2858302" y="4710445"/>
                  <a:pt x="2842405" y="4698995"/>
                  <a:pt x="2816970" y="4679911"/>
                </a:cubicBezTo>
                <a:cubicBezTo>
                  <a:pt x="2801073" y="4710445"/>
                  <a:pt x="2785175" y="4737163"/>
                  <a:pt x="2775637" y="4752430"/>
                </a:cubicBezTo>
                <a:cubicBezTo>
                  <a:pt x="2740664" y="4752430"/>
                  <a:pt x="2721588" y="4752430"/>
                  <a:pt x="2696152" y="4752430"/>
                </a:cubicBezTo>
                <a:cubicBezTo>
                  <a:pt x="2683435" y="4805865"/>
                  <a:pt x="2645281" y="4840216"/>
                  <a:pt x="2603949" y="4870750"/>
                </a:cubicBezTo>
                <a:cubicBezTo>
                  <a:pt x="2584873" y="4878384"/>
                  <a:pt x="2565796" y="4889834"/>
                  <a:pt x="2546719" y="4901284"/>
                </a:cubicBezTo>
                <a:cubicBezTo>
                  <a:pt x="2540361" y="4893651"/>
                  <a:pt x="2534002" y="4886017"/>
                  <a:pt x="2524463" y="4878384"/>
                </a:cubicBezTo>
                <a:cubicBezTo>
                  <a:pt x="2499028" y="4912735"/>
                  <a:pt x="2473593" y="4947086"/>
                  <a:pt x="2457696" y="4966170"/>
                </a:cubicBezTo>
                <a:cubicBezTo>
                  <a:pt x="2413183" y="4966170"/>
                  <a:pt x="2394106" y="4966170"/>
                  <a:pt x="2375031" y="4966170"/>
                </a:cubicBezTo>
                <a:cubicBezTo>
                  <a:pt x="2346415" y="4992887"/>
                  <a:pt x="2317801" y="5023422"/>
                  <a:pt x="2289186" y="5050139"/>
                </a:cubicBezTo>
                <a:cubicBezTo>
                  <a:pt x="2228776" y="5065406"/>
                  <a:pt x="2181085" y="5122658"/>
                  <a:pt x="2107959" y="5115025"/>
                </a:cubicBezTo>
                <a:cubicBezTo>
                  <a:pt x="2088882" y="5137925"/>
                  <a:pt x="2069805" y="5157009"/>
                  <a:pt x="2047549" y="5176093"/>
                </a:cubicBezTo>
                <a:cubicBezTo>
                  <a:pt x="2028473" y="5176093"/>
                  <a:pt x="2009396" y="5176093"/>
                  <a:pt x="1990320" y="5176093"/>
                </a:cubicBezTo>
                <a:cubicBezTo>
                  <a:pt x="1961705" y="5206627"/>
                  <a:pt x="1933090" y="5233345"/>
                  <a:pt x="1904475" y="5263879"/>
                </a:cubicBezTo>
                <a:cubicBezTo>
                  <a:pt x="1875860" y="5275330"/>
                  <a:pt x="1831349" y="5244795"/>
                  <a:pt x="1821810" y="5294414"/>
                </a:cubicBezTo>
                <a:cubicBezTo>
                  <a:pt x="1697813" y="5294414"/>
                  <a:pt x="1580174" y="5294414"/>
                  <a:pt x="1462535" y="5294414"/>
                </a:cubicBezTo>
                <a:cubicBezTo>
                  <a:pt x="1452997" y="5305864"/>
                  <a:pt x="1440279" y="5317314"/>
                  <a:pt x="1430741" y="5324948"/>
                </a:cubicBezTo>
                <a:cubicBezTo>
                  <a:pt x="1402126" y="5324948"/>
                  <a:pt x="1373511" y="5324948"/>
                  <a:pt x="1344897" y="5324948"/>
                </a:cubicBezTo>
                <a:cubicBezTo>
                  <a:pt x="1332179" y="5336398"/>
                  <a:pt x="1322641" y="5347849"/>
                  <a:pt x="1309923" y="5359299"/>
                </a:cubicBezTo>
                <a:cubicBezTo>
                  <a:pt x="1303564" y="5340215"/>
                  <a:pt x="1297205" y="5321131"/>
                  <a:pt x="1290846" y="5302047"/>
                </a:cubicBezTo>
                <a:cubicBezTo>
                  <a:pt x="1278129" y="5298230"/>
                  <a:pt x="1265411" y="5298230"/>
                  <a:pt x="1252693" y="5298230"/>
                </a:cubicBezTo>
                <a:cubicBezTo>
                  <a:pt x="1230437" y="5321131"/>
                  <a:pt x="1246334" y="5347849"/>
                  <a:pt x="1239976" y="5370749"/>
                </a:cubicBezTo>
                <a:cubicBezTo>
                  <a:pt x="1233617" y="5374566"/>
                  <a:pt x="1224079" y="5386016"/>
                  <a:pt x="1217720" y="5386016"/>
                </a:cubicBezTo>
                <a:cubicBezTo>
                  <a:pt x="1179567" y="5386016"/>
                  <a:pt x="1141414" y="5386016"/>
                  <a:pt x="1106440" y="5386016"/>
                </a:cubicBezTo>
                <a:cubicBezTo>
                  <a:pt x="1084184" y="5363116"/>
                  <a:pt x="1068287" y="5347849"/>
                  <a:pt x="1049210" y="5328765"/>
                </a:cubicBezTo>
                <a:cubicBezTo>
                  <a:pt x="1017416" y="5359299"/>
                  <a:pt x="1042852" y="5401284"/>
                  <a:pt x="1033313" y="5428001"/>
                </a:cubicBezTo>
                <a:cubicBezTo>
                  <a:pt x="1014237" y="5450902"/>
                  <a:pt x="1001519" y="5462352"/>
                  <a:pt x="988801" y="5481436"/>
                </a:cubicBezTo>
                <a:cubicBezTo>
                  <a:pt x="972904" y="5477619"/>
                  <a:pt x="960186" y="5473803"/>
                  <a:pt x="944289" y="5469986"/>
                </a:cubicBezTo>
                <a:cubicBezTo>
                  <a:pt x="957007" y="5454719"/>
                  <a:pt x="963366" y="5443268"/>
                  <a:pt x="972904" y="5431818"/>
                </a:cubicBezTo>
                <a:cubicBezTo>
                  <a:pt x="944289" y="5397467"/>
                  <a:pt x="899777" y="5431818"/>
                  <a:pt x="861624" y="5408917"/>
                </a:cubicBezTo>
                <a:cubicBezTo>
                  <a:pt x="861624" y="5401284"/>
                  <a:pt x="858445" y="5386016"/>
                  <a:pt x="855265" y="5374566"/>
                </a:cubicBezTo>
                <a:cubicBezTo>
                  <a:pt x="867983" y="5363116"/>
                  <a:pt x="877521" y="5351665"/>
                  <a:pt x="887060" y="5336398"/>
                </a:cubicBezTo>
                <a:cubicBezTo>
                  <a:pt x="871163" y="5332581"/>
                  <a:pt x="858445" y="5328765"/>
                  <a:pt x="842548" y="5324948"/>
                </a:cubicBezTo>
                <a:cubicBezTo>
                  <a:pt x="833009" y="5344032"/>
                  <a:pt x="823471" y="5366932"/>
                  <a:pt x="813933" y="5386016"/>
                </a:cubicBezTo>
                <a:cubicBezTo>
                  <a:pt x="807574" y="5378383"/>
                  <a:pt x="798036" y="5374566"/>
                  <a:pt x="785318" y="5359299"/>
                </a:cubicBezTo>
                <a:cubicBezTo>
                  <a:pt x="750344" y="5347849"/>
                  <a:pt x="705832" y="5363116"/>
                  <a:pt x="661321" y="5355482"/>
                </a:cubicBezTo>
                <a:cubicBezTo>
                  <a:pt x="651783" y="5340215"/>
                  <a:pt x="635885" y="5328765"/>
                  <a:pt x="623167" y="5313497"/>
                </a:cubicBezTo>
                <a:cubicBezTo>
                  <a:pt x="629526" y="5294414"/>
                  <a:pt x="654962" y="5290597"/>
                  <a:pt x="651783" y="5267696"/>
                </a:cubicBezTo>
                <a:cubicBezTo>
                  <a:pt x="680397" y="5248612"/>
                  <a:pt x="680397" y="5248612"/>
                  <a:pt x="667679" y="5210444"/>
                </a:cubicBezTo>
                <a:cubicBezTo>
                  <a:pt x="635885" y="5221895"/>
                  <a:pt x="654962" y="5248612"/>
                  <a:pt x="651783" y="5267696"/>
                </a:cubicBezTo>
                <a:cubicBezTo>
                  <a:pt x="635885" y="5267696"/>
                  <a:pt x="619988" y="5267696"/>
                  <a:pt x="607270" y="5267696"/>
                </a:cubicBezTo>
                <a:cubicBezTo>
                  <a:pt x="572297" y="5198994"/>
                  <a:pt x="540502" y="5134108"/>
                  <a:pt x="505529" y="5069223"/>
                </a:cubicBezTo>
                <a:cubicBezTo>
                  <a:pt x="534144" y="5034872"/>
                  <a:pt x="578656" y="5069223"/>
                  <a:pt x="613629" y="5050139"/>
                </a:cubicBezTo>
                <a:cubicBezTo>
                  <a:pt x="632706" y="5023422"/>
                  <a:pt x="616809" y="5008154"/>
                  <a:pt x="600911" y="4989071"/>
                </a:cubicBezTo>
                <a:cubicBezTo>
                  <a:pt x="581835" y="4966170"/>
                  <a:pt x="588194" y="4958536"/>
                  <a:pt x="616809" y="4935636"/>
                </a:cubicBezTo>
                <a:cubicBezTo>
                  <a:pt x="651783" y="4924185"/>
                  <a:pt x="664500" y="5000521"/>
                  <a:pt x="705832" y="4950903"/>
                </a:cubicBezTo>
                <a:cubicBezTo>
                  <a:pt x="699474" y="4943269"/>
                  <a:pt x="693115" y="4935636"/>
                  <a:pt x="683576" y="4924185"/>
                </a:cubicBezTo>
                <a:cubicBezTo>
                  <a:pt x="696294" y="4886017"/>
                  <a:pt x="759883" y="4874567"/>
                  <a:pt x="737627" y="4821132"/>
                </a:cubicBezTo>
                <a:cubicBezTo>
                  <a:pt x="772600" y="4817315"/>
                  <a:pt x="794856" y="4813498"/>
                  <a:pt x="820292" y="4809682"/>
                </a:cubicBezTo>
                <a:cubicBezTo>
                  <a:pt x="823471" y="4798231"/>
                  <a:pt x="826651" y="4782964"/>
                  <a:pt x="829830" y="4771514"/>
                </a:cubicBezTo>
                <a:cubicBezTo>
                  <a:pt x="813933" y="4756247"/>
                  <a:pt x="801215" y="4740979"/>
                  <a:pt x="785318" y="4725712"/>
                </a:cubicBezTo>
                <a:cubicBezTo>
                  <a:pt x="766242" y="4733346"/>
                  <a:pt x="756703" y="4771514"/>
                  <a:pt x="724909" y="4752430"/>
                </a:cubicBezTo>
                <a:cubicBezTo>
                  <a:pt x="696294" y="4733346"/>
                  <a:pt x="712191" y="4702812"/>
                  <a:pt x="715371" y="4676094"/>
                </a:cubicBezTo>
                <a:cubicBezTo>
                  <a:pt x="715371" y="4672277"/>
                  <a:pt x="731268" y="4668460"/>
                  <a:pt x="737627" y="4660827"/>
                </a:cubicBezTo>
                <a:cubicBezTo>
                  <a:pt x="740806" y="4679911"/>
                  <a:pt x="740806" y="4702812"/>
                  <a:pt x="766242" y="4683728"/>
                </a:cubicBezTo>
                <a:cubicBezTo>
                  <a:pt x="756703" y="4676094"/>
                  <a:pt x="750344" y="4668460"/>
                  <a:pt x="737627" y="4660827"/>
                </a:cubicBezTo>
                <a:cubicBezTo>
                  <a:pt x="737627" y="4641743"/>
                  <a:pt x="737627" y="4615025"/>
                  <a:pt x="737627" y="4588308"/>
                </a:cubicBezTo>
                <a:cubicBezTo>
                  <a:pt x="753524" y="4580674"/>
                  <a:pt x="772600" y="4576858"/>
                  <a:pt x="788497" y="4569224"/>
                </a:cubicBezTo>
                <a:cubicBezTo>
                  <a:pt x="807574" y="4550140"/>
                  <a:pt x="791677" y="4523423"/>
                  <a:pt x="798036" y="4500522"/>
                </a:cubicBezTo>
                <a:cubicBezTo>
                  <a:pt x="807574" y="4489071"/>
                  <a:pt x="817112" y="4477621"/>
                  <a:pt x="826651" y="4469987"/>
                </a:cubicBezTo>
                <a:cubicBezTo>
                  <a:pt x="826651" y="4458537"/>
                  <a:pt x="826651" y="4447087"/>
                  <a:pt x="826651" y="4439453"/>
                </a:cubicBezTo>
                <a:cubicBezTo>
                  <a:pt x="823471" y="4435636"/>
                  <a:pt x="817112" y="4428003"/>
                  <a:pt x="817112" y="4428003"/>
                </a:cubicBezTo>
                <a:cubicBezTo>
                  <a:pt x="788497" y="4450904"/>
                  <a:pt x="753524" y="4458537"/>
                  <a:pt x="715371" y="4450904"/>
                </a:cubicBezTo>
                <a:cubicBezTo>
                  <a:pt x="712191" y="4473804"/>
                  <a:pt x="712191" y="4489071"/>
                  <a:pt x="709012" y="4504339"/>
                </a:cubicBezTo>
                <a:cubicBezTo>
                  <a:pt x="728088" y="4511972"/>
                  <a:pt x="743986" y="4515789"/>
                  <a:pt x="763062" y="4523423"/>
                </a:cubicBezTo>
                <a:cubicBezTo>
                  <a:pt x="759883" y="4531056"/>
                  <a:pt x="756703" y="4542506"/>
                  <a:pt x="753524" y="4542506"/>
                </a:cubicBezTo>
                <a:cubicBezTo>
                  <a:pt x="721730" y="4531056"/>
                  <a:pt x="709012" y="4576858"/>
                  <a:pt x="680397" y="4573041"/>
                </a:cubicBezTo>
                <a:cubicBezTo>
                  <a:pt x="670859" y="4557774"/>
                  <a:pt x="661321" y="4542506"/>
                  <a:pt x="651783" y="4523423"/>
                </a:cubicBezTo>
                <a:cubicBezTo>
                  <a:pt x="651783" y="4508155"/>
                  <a:pt x="651783" y="4489071"/>
                  <a:pt x="651783" y="4469987"/>
                </a:cubicBezTo>
                <a:cubicBezTo>
                  <a:pt x="693115" y="4447087"/>
                  <a:pt x="670859" y="4378385"/>
                  <a:pt x="728088" y="4370751"/>
                </a:cubicBezTo>
                <a:cubicBezTo>
                  <a:pt x="734447" y="4374568"/>
                  <a:pt x="743986" y="4382201"/>
                  <a:pt x="753524" y="4393652"/>
                </a:cubicBezTo>
                <a:cubicBezTo>
                  <a:pt x="763062" y="4382201"/>
                  <a:pt x="772600" y="4374568"/>
                  <a:pt x="785318" y="4363117"/>
                </a:cubicBezTo>
                <a:cubicBezTo>
                  <a:pt x="804395" y="4363117"/>
                  <a:pt x="823471" y="4363117"/>
                  <a:pt x="845727" y="4363117"/>
                </a:cubicBezTo>
                <a:cubicBezTo>
                  <a:pt x="852086" y="4378385"/>
                  <a:pt x="858445" y="4397469"/>
                  <a:pt x="864804" y="4420369"/>
                </a:cubicBezTo>
                <a:cubicBezTo>
                  <a:pt x="890239" y="4408919"/>
                  <a:pt x="915674" y="4393652"/>
                  <a:pt x="944289" y="4382201"/>
                </a:cubicBezTo>
                <a:cubicBezTo>
                  <a:pt x="931572" y="4351667"/>
                  <a:pt x="890239" y="4340217"/>
                  <a:pt x="887060" y="4302049"/>
                </a:cubicBezTo>
                <a:cubicBezTo>
                  <a:pt x="909316" y="4302049"/>
                  <a:pt x="934751" y="4302049"/>
                  <a:pt x="966545" y="4302049"/>
                </a:cubicBezTo>
                <a:cubicBezTo>
                  <a:pt x="969725" y="4286782"/>
                  <a:pt x="972904" y="4271515"/>
                  <a:pt x="976084" y="4248614"/>
                </a:cubicBezTo>
                <a:cubicBezTo>
                  <a:pt x="957007" y="4244797"/>
                  <a:pt x="941110" y="4244797"/>
                  <a:pt x="925213" y="4240980"/>
                </a:cubicBezTo>
                <a:cubicBezTo>
                  <a:pt x="915674" y="4233347"/>
                  <a:pt x="915674" y="4229530"/>
                  <a:pt x="922033" y="4221896"/>
                </a:cubicBezTo>
                <a:cubicBezTo>
                  <a:pt x="953828" y="4191362"/>
                  <a:pt x="944289" y="4130293"/>
                  <a:pt x="1007878" y="4122660"/>
                </a:cubicBezTo>
                <a:cubicBezTo>
                  <a:pt x="1017416" y="4126477"/>
                  <a:pt x="1033313" y="4137927"/>
                  <a:pt x="1052390" y="4153194"/>
                </a:cubicBezTo>
                <a:cubicBezTo>
                  <a:pt x="1081004" y="4107393"/>
                  <a:pt x="1112799" y="4061591"/>
                  <a:pt x="1150952" y="4008156"/>
                </a:cubicBezTo>
                <a:cubicBezTo>
                  <a:pt x="1150952" y="4000523"/>
                  <a:pt x="1150952" y="3977622"/>
                  <a:pt x="1150952" y="3958538"/>
                </a:cubicBezTo>
                <a:cubicBezTo>
                  <a:pt x="1220899" y="3920370"/>
                  <a:pt x="1220899" y="3920370"/>
                  <a:pt x="1252693" y="3851668"/>
                </a:cubicBezTo>
                <a:cubicBezTo>
                  <a:pt x="1262232" y="3863118"/>
                  <a:pt x="1274950" y="3870752"/>
                  <a:pt x="1281308" y="3878385"/>
                </a:cubicBezTo>
                <a:cubicBezTo>
                  <a:pt x="1325820" y="3855485"/>
                  <a:pt x="1370332" y="3832584"/>
                  <a:pt x="1414844" y="3809683"/>
                </a:cubicBezTo>
                <a:cubicBezTo>
                  <a:pt x="1414844" y="3786782"/>
                  <a:pt x="1414844" y="3767699"/>
                  <a:pt x="1414844" y="3744798"/>
                </a:cubicBezTo>
                <a:cubicBezTo>
                  <a:pt x="1430741" y="3737164"/>
                  <a:pt x="1449818" y="3733347"/>
                  <a:pt x="1468894" y="3725714"/>
                </a:cubicBezTo>
                <a:cubicBezTo>
                  <a:pt x="1472074" y="3714264"/>
                  <a:pt x="1475253" y="3698996"/>
                  <a:pt x="1478432" y="3683729"/>
                </a:cubicBezTo>
                <a:cubicBezTo>
                  <a:pt x="1491150" y="3672279"/>
                  <a:pt x="1503868" y="3657012"/>
                  <a:pt x="1516586" y="3641745"/>
                </a:cubicBezTo>
                <a:cubicBezTo>
                  <a:pt x="1542021" y="3641745"/>
                  <a:pt x="1564277" y="3641745"/>
                  <a:pt x="1586533" y="3637928"/>
                </a:cubicBezTo>
                <a:cubicBezTo>
                  <a:pt x="1589712" y="3611211"/>
                  <a:pt x="1592892" y="3584493"/>
                  <a:pt x="1596071" y="3561592"/>
                </a:cubicBezTo>
                <a:cubicBezTo>
                  <a:pt x="1653301" y="3534875"/>
                  <a:pt x="1710530" y="3508157"/>
                  <a:pt x="1770939" y="3477623"/>
                </a:cubicBezTo>
                <a:cubicBezTo>
                  <a:pt x="1758222" y="3466172"/>
                  <a:pt x="1748684" y="3454722"/>
                  <a:pt x="1742325" y="3447089"/>
                </a:cubicBezTo>
                <a:cubicBezTo>
                  <a:pt x="1777298" y="3397470"/>
                  <a:pt x="1844066" y="3393653"/>
                  <a:pt x="1872681" y="3340219"/>
                </a:cubicBezTo>
                <a:cubicBezTo>
                  <a:pt x="1894937" y="3340219"/>
                  <a:pt x="1914014" y="3340219"/>
                  <a:pt x="1936269" y="3340219"/>
                </a:cubicBezTo>
                <a:cubicBezTo>
                  <a:pt x="1942628" y="3321134"/>
                  <a:pt x="1945808" y="3302051"/>
                  <a:pt x="1955346" y="3286784"/>
                </a:cubicBezTo>
                <a:cubicBezTo>
                  <a:pt x="1968064" y="3267700"/>
                  <a:pt x="1990320" y="3252433"/>
                  <a:pt x="2006217" y="3237165"/>
                </a:cubicBezTo>
                <a:cubicBezTo>
                  <a:pt x="1996679" y="3225715"/>
                  <a:pt x="1987140" y="3214265"/>
                  <a:pt x="1971243" y="3198997"/>
                </a:cubicBezTo>
                <a:cubicBezTo>
                  <a:pt x="2003037" y="3191364"/>
                  <a:pt x="2031653" y="3187547"/>
                  <a:pt x="2057088" y="3183730"/>
                </a:cubicBezTo>
                <a:cubicBezTo>
                  <a:pt x="2060267" y="3168463"/>
                  <a:pt x="2063446" y="3153196"/>
                  <a:pt x="2066626" y="3141746"/>
                </a:cubicBezTo>
                <a:cubicBezTo>
                  <a:pt x="2095241" y="3111211"/>
                  <a:pt x="2123856" y="3084494"/>
                  <a:pt x="2155650" y="3053960"/>
                </a:cubicBezTo>
                <a:cubicBezTo>
                  <a:pt x="2139753" y="3046326"/>
                  <a:pt x="2127035" y="3038692"/>
                  <a:pt x="2117497" y="3042509"/>
                </a:cubicBezTo>
                <a:cubicBezTo>
                  <a:pt x="2088882" y="3053960"/>
                  <a:pt x="2053908" y="3065410"/>
                  <a:pt x="2034832" y="3088311"/>
                </a:cubicBezTo>
                <a:cubicBezTo>
                  <a:pt x="1980781" y="3153196"/>
                  <a:pt x="1891758" y="3168463"/>
                  <a:pt x="1850425" y="3252433"/>
                </a:cubicBezTo>
                <a:cubicBezTo>
                  <a:pt x="1834528" y="3240982"/>
                  <a:pt x="1824990" y="3233348"/>
                  <a:pt x="1815452" y="3221898"/>
                </a:cubicBezTo>
                <a:cubicBezTo>
                  <a:pt x="1809093" y="3229532"/>
                  <a:pt x="1802734" y="3233348"/>
                  <a:pt x="1796375" y="3237165"/>
                </a:cubicBezTo>
                <a:cubicBezTo>
                  <a:pt x="1767760" y="3252433"/>
                  <a:pt x="1739145" y="3267700"/>
                  <a:pt x="1710530" y="3279150"/>
                </a:cubicBezTo>
                <a:cubicBezTo>
                  <a:pt x="1704172" y="3282967"/>
                  <a:pt x="1700992" y="3282967"/>
                  <a:pt x="1694633" y="3282967"/>
                </a:cubicBezTo>
                <a:cubicBezTo>
                  <a:pt x="1656480" y="3321134"/>
                  <a:pt x="1618327" y="3359303"/>
                  <a:pt x="1580174" y="3397470"/>
                </a:cubicBezTo>
                <a:cubicBezTo>
                  <a:pt x="1554739" y="3393653"/>
                  <a:pt x="1535662" y="3408921"/>
                  <a:pt x="1519765" y="3431821"/>
                </a:cubicBezTo>
                <a:cubicBezTo>
                  <a:pt x="1484791" y="3420371"/>
                  <a:pt x="1472074" y="3454722"/>
                  <a:pt x="1449818" y="3473806"/>
                </a:cubicBezTo>
                <a:cubicBezTo>
                  <a:pt x="1430741" y="3485257"/>
                  <a:pt x="1408485" y="3492890"/>
                  <a:pt x="1389409" y="3504340"/>
                </a:cubicBezTo>
                <a:cubicBezTo>
                  <a:pt x="1389409" y="3515791"/>
                  <a:pt x="1386229" y="3523424"/>
                  <a:pt x="1386229" y="3534875"/>
                </a:cubicBezTo>
                <a:cubicBezTo>
                  <a:pt x="1278129" y="3592127"/>
                  <a:pt x="1170028" y="3649378"/>
                  <a:pt x="1061928" y="3702813"/>
                </a:cubicBezTo>
                <a:cubicBezTo>
                  <a:pt x="1026954" y="3695180"/>
                  <a:pt x="1020595" y="3660829"/>
                  <a:pt x="988801" y="3649378"/>
                </a:cubicBezTo>
                <a:cubicBezTo>
                  <a:pt x="979263" y="3653195"/>
                  <a:pt x="963366" y="3664645"/>
                  <a:pt x="944289" y="3676096"/>
                </a:cubicBezTo>
                <a:cubicBezTo>
                  <a:pt x="931572" y="3664645"/>
                  <a:pt x="915674" y="3653195"/>
                  <a:pt x="899777" y="3645561"/>
                </a:cubicBezTo>
                <a:cubicBezTo>
                  <a:pt x="890239" y="3653195"/>
                  <a:pt x="880701" y="3660829"/>
                  <a:pt x="871163" y="3672279"/>
                </a:cubicBezTo>
                <a:cubicBezTo>
                  <a:pt x="852086" y="3672279"/>
                  <a:pt x="829830" y="3672279"/>
                  <a:pt x="807574" y="3672279"/>
                </a:cubicBezTo>
                <a:cubicBezTo>
                  <a:pt x="804395" y="3687546"/>
                  <a:pt x="798036" y="3706630"/>
                  <a:pt x="791677" y="3725714"/>
                </a:cubicBezTo>
                <a:cubicBezTo>
                  <a:pt x="756703" y="3752431"/>
                  <a:pt x="740806" y="3714264"/>
                  <a:pt x="724909" y="3702813"/>
                </a:cubicBezTo>
                <a:cubicBezTo>
                  <a:pt x="699474" y="3702813"/>
                  <a:pt x="677218" y="3702813"/>
                  <a:pt x="680397" y="3733347"/>
                </a:cubicBezTo>
                <a:cubicBezTo>
                  <a:pt x="645423" y="3733347"/>
                  <a:pt x="610450" y="3733347"/>
                  <a:pt x="578656" y="3733347"/>
                </a:cubicBezTo>
                <a:cubicBezTo>
                  <a:pt x="565938" y="3721897"/>
                  <a:pt x="556400" y="3710447"/>
                  <a:pt x="546861" y="3702813"/>
                </a:cubicBezTo>
                <a:cubicBezTo>
                  <a:pt x="527785" y="3702813"/>
                  <a:pt x="508708" y="3702813"/>
                  <a:pt x="480093" y="3702813"/>
                </a:cubicBezTo>
                <a:cubicBezTo>
                  <a:pt x="464196" y="3683729"/>
                  <a:pt x="448299" y="3660829"/>
                  <a:pt x="435582" y="3641745"/>
                </a:cubicBezTo>
                <a:cubicBezTo>
                  <a:pt x="381531" y="3634111"/>
                  <a:pt x="371993" y="3679912"/>
                  <a:pt x="346558" y="3698996"/>
                </a:cubicBezTo>
                <a:cubicBezTo>
                  <a:pt x="317943" y="3695180"/>
                  <a:pt x="330660" y="3668462"/>
                  <a:pt x="317943" y="3645561"/>
                </a:cubicBezTo>
                <a:cubicBezTo>
                  <a:pt x="305225" y="3630294"/>
                  <a:pt x="279790" y="3649378"/>
                  <a:pt x="247995" y="3634111"/>
                </a:cubicBezTo>
                <a:cubicBezTo>
                  <a:pt x="244816" y="3634111"/>
                  <a:pt x="235278" y="3622661"/>
                  <a:pt x="222560" y="3611211"/>
                </a:cubicBezTo>
                <a:cubicBezTo>
                  <a:pt x="197125" y="3611211"/>
                  <a:pt x="165330" y="3611211"/>
                  <a:pt x="133536" y="3611211"/>
                </a:cubicBezTo>
                <a:cubicBezTo>
                  <a:pt x="123998" y="3599760"/>
                  <a:pt x="111280" y="3584493"/>
                  <a:pt x="92204" y="3561592"/>
                </a:cubicBezTo>
                <a:cubicBezTo>
                  <a:pt x="92204" y="3550142"/>
                  <a:pt x="92204" y="3531058"/>
                  <a:pt x="92204" y="3504340"/>
                </a:cubicBezTo>
                <a:cubicBezTo>
                  <a:pt x="73127" y="3489073"/>
                  <a:pt x="50871" y="3469989"/>
                  <a:pt x="34974" y="3458539"/>
                </a:cubicBezTo>
                <a:cubicBezTo>
                  <a:pt x="31795" y="3435638"/>
                  <a:pt x="31795" y="3428005"/>
                  <a:pt x="31795" y="3416554"/>
                </a:cubicBezTo>
                <a:cubicBezTo>
                  <a:pt x="22256" y="3405104"/>
                  <a:pt x="12718" y="3397470"/>
                  <a:pt x="0" y="3382203"/>
                </a:cubicBezTo>
                <a:cubicBezTo>
                  <a:pt x="15897" y="3378387"/>
                  <a:pt x="25436" y="3374570"/>
                  <a:pt x="38153" y="3370753"/>
                </a:cubicBezTo>
                <a:cubicBezTo>
                  <a:pt x="82665" y="3393653"/>
                  <a:pt x="101742" y="3447089"/>
                  <a:pt x="149433" y="3458539"/>
                </a:cubicBezTo>
                <a:cubicBezTo>
                  <a:pt x="152613" y="3477623"/>
                  <a:pt x="152613" y="3500524"/>
                  <a:pt x="178048" y="3477623"/>
                </a:cubicBezTo>
                <a:cubicBezTo>
                  <a:pt x="168510" y="3469989"/>
                  <a:pt x="162151" y="3466172"/>
                  <a:pt x="149433" y="3458539"/>
                </a:cubicBezTo>
                <a:cubicBezTo>
                  <a:pt x="149433" y="3447089"/>
                  <a:pt x="149433" y="3431821"/>
                  <a:pt x="149433" y="3412738"/>
                </a:cubicBezTo>
                <a:cubicBezTo>
                  <a:pt x="123998" y="3386020"/>
                  <a:pt x="85845" y="3363119"/>
                  <a:pt x="69948" y="3328768"/>
                </a:cubicBezTo>
                <a:cubicBezTo>
                  <a:pt x="57230" y="3290600"/>
                  <a:pt x="31795" y="3267700"/>
                  <a:pt x="6359" y="3237165"/>
                </a:cubicBezTo>
                <a:cubicBezTo>
                  <a:pt x="22256" y="3206631"/>
                  <a:pt x="41333" y="3176097"/>
                  <a:pt x="60409" y="3137929"/>
                </a:cubicBezTo>
                <a:cubicBezTo>
                  <a:pt x="60409" y="3126479"/>
                  <a:pt x="60409" y="3107395"/>
                  <a:pt x="60409" y="3092127"/>
                </a:cubicBezTo>
                <a:cubicBezTo>
                  <a:pt x="73127" y="3073043"/>
                  <a:pt x="82665" y="3053960"/>
                  <a:pt x="92204" y="3038692"/>
                </a:cubicBezTo>
                <a:cubicBezTo>
                  <a:pt x="101742" y="3038692"/>
                  <a:pt x="111280" y="3038692"/>
                  <a:pt x="120818" y="3038692"/>
                </a:cubicBezTo>
                <a:cubicBezTo>
                  <a:pt x="120818" y="3053960"/>
                  <a:pt x="120818" y="3069227"/>
                  <a:pt x="120818" y="3084494"/>
                </a:cubicBezTo>
                <a:cubicBezTo>
                  <a:pt x="133536" y="3103578"/>
                  <a:pt x="152613" y="3107395"/>
                  <a:pt x="168510" y="3092127"/>
                </a:cubicBezTo>
                <a:cubicBezTo>
                  <a:pt x="184407" y="3080677"/>
                  <a:pt x="197125" y="3065410"/>
                  <a:pt x="219381" y="3069227"/>
                </a:cubicBezTo>
                <a:cubicBezTo>
                  <a:pt x="235278" y="3092127"/>
                  <a:pt x="251175" y="3115028"/>
                  <a:pt x="260713" y="3137929"/>
                </a:cubicBezTo>
                <a:cubicBezTo>
                  <a:pt x="270251" y="3160829"/>
                  <a:pt x="267072" y="3183730"/>
                  <a:pt x="273431" y="3210448"/>
                </a:cubicBezTo>
                <a:cubicBezTo>
                  <a:pt x="292507" y="3233348"/>
                  <a:pt x="317943" y="3210448"/>
                  <a:pt x="340199" y="3221898"/>
                </a:cubicBezTo>
                <a:cubicBezTo>
                  <a:pt x="346558" y="3214265"/>
                  <a:pt x="356096" y="3206631"/>
                  <a:pt x="356096" y="3198997"/>
                </a:cubicBezTo>
                <a:cubicBezTo>
                  <a:pt x="356096" y="3149379"/>
                  <a:pt x="356096" y="3099761"/>
                  <a:pt x="356096" y="3053960"/>
                </a:cubicBezTo>
                <a:cubicBezTo>
                  <a:pt x="375172" y="3031059"/>
                  <a:pt x="397428" y="3042509"/>
                  <a:pt x="435582" y="3004341"/>
                </a:cubicBezTo>
                <a:lnTo>
                  <a:pt x="444381" y="3003941"/>
                </a:lnTo>
                <a:lnTo>
                  <a:pt x="445915" y="3007204"/>
                </a:lnTo>
                <a:cubicBezTo>
                  <a:pt x="445915" y="3011975"/>
                  <a:pt x="443530" y="3019608"/>
                  <a:pt x="441940" y="3027242"/>
                </a:cubicBezTo>
                <a:cubicBezTo>
                  <a:pt x="435582" y="3042509"/>
                  <a:pt x="391070" y="3034876"/>
                  <a:pt x="426043" y="3065410"/>
                </a:cubicBezTo>
                <a:cubicBezTo>
                  <a:pt x="457837" y="3065410"/>
                  <a:pt x="489632" y="3065410"/>
                  <a:pt x="530964" y="3065410"/>
                </a:cubicBezTo>
                <a:cubicBezTo>
                  <a:pt x="538118" y="3028196"/>
                  <a:pt x="525599" y="3006011"/>
                  <a:pt x="485359" y="3002075"/>
                </a:cubicBezTo>
                <a:lnTo>
                  <a:pt x="444381" y="3003941"/>
                </a:lnTo>
                <a:lnTo>
                  <a:pt x="443729" y="3002552"/>
                </a:lnTo>
                <a:cubicBezTo>
                  <a:pt x="442139" y="3001956"/>
                  <a:pt x="439556" y="3002433"/>
                  <a:pt x="435582" y="3004341"/>
                </a:cubicBezTo>
                <a:cubicBezTo>
                  <a:pt x="416505" y="3023425"/>
                  <a:pt x="416505" y="3008158"/>
                  <a:pt x="416505" y="2996708"/>
                </a:cubicBezTo>
                <a:cubicBezTo>
                  <a:pt x="406967" y="2985257"/>
                  <a:pt x="397428" y="2973807"/>
                  <a:pt x="384711" y="2962356"/>
                </a:cubicBezTo>
                <a:cubicBezTo>
                  <a:pt x="394249" y="2958540"/>
                  <a:pt x="400608" y="2950906"/>
                  <a:pt x="410146" y="2950906"/>
                </a:cubicBezTo>
                <a:cubicBezTo>
                  <a:pt x="445120" y="2943273"/>
                  <a:pt x="489632" y="2966173"/>
                  <a:pt x="515067" y="2920372"/>
                </a:cubicBezTo>
                <a:cubicBezTo>
                  <a:pt x="546861" y="2916555"/>
                  <a:pt x="585014" y="2928005"/>
                  <a:pt x="604091" y="2889838"/>
                </a:cubicBezTo>
                <a:cubicBezTo>
                  <a:pt x="645423" y="2897471"/>
                  <a:pt x="648603" y="2870754"/>
                  <a:pt x="654962" y="2840219"/>
                </a:cubicBezTo>
                <a:cubicBezTo>
                  <a:pt x="661321" y="2824952"/>
                  <a:pt x="680397" y="2809685"/>
                  <a:pt x="689935" y="2798235"/>
                </a:cubicBezTo>
                <a:cubicBezTo>
                  <a:pt x="721730" y="2798235"/>
                  <a:pt x="743986" y="2798235"/>
                  <a:pt x="769421" y="2798235"/>
                </a:cubicBezTo>
                <a:cubicBezTo>
                  <a:pt x="772600" y="2798235"/>
                  <a:pt x="778959" y="2798235"/>
                  <a:pt x="782139" y="2798235"/>
                </a:cubicBezTo>
                <a:cubicBezTo>
                  <a:pt x="794856" y="2790601"/>
                  <a:pt x="804395" y="2779151"/>
                  <a:pt x="813933" y="2771517"/>
                </a:cubicBezTo>
                <a:cubicBezTo>
                  <a:pt x="823471" y="2779151"/>
                  <a:pt x="833009" y="2786785"/>
                  <a:pt x="845727" y="2798235"/>
                </a:cubicBezTo>
                <a:cubicBezTo>
                  <a:pt x="858445" y="2775334"/>
                  <a:pt x="887060" y="2767700"/>
                  <a:pt x="880701" y="2740983"/>
                </a:cubicBezTo>
                <a:cubicBezTo>
                  <a:pt x="899777" y="2737166"/>
                  <a:pt x="925213" y="2737166"/>
                  <a:pt x="902957" y="2710449"/>
                </a:cubicBezTo>
                <a:cubicBezTo>
                  <a:pt x="896598" y="2718082"/>
                  <a:pt x="890239" y="2729532"/>
                  <a:pt x="880701" y="2740983"/>
                </a:cubicBezTo>
                <a:cubicBezTo>
                  <a:pt x="867983" y="2733349"/>
                  <a:pt x="848907" y="2748617"/>
                  <a:pt x="833009" y="2729532"/>
                </a:cubicBezTo>
                <a:cubicBezTo>
                  <a:pt x="842548" y="2702815"/>
                  <a:pt x="858445" y="2687548"/>
                  <a:pt x="887060" y="2676098"/>
                </a:cubicBezTo>
                <a:cubicBezTo>
                  <a:pt x="906136" y="2672281"/>
                  <a:pt x="925213" y="2657014"/>
                  <a:pt x="944289" y="2645563"/>
                </a:cubicBezTo>
                <a:cubicBezTo>
                  <a:pt x="947469" y="2664647"/>
                  <a:pt x="947469" y="2687548"/>
                  <a:pt x="972904" y="2664647"/>
                </a:cubicBezTo>
                <a:cubicBezTo>
                  <a:pt x="963366" y="2660831"/>
                  <a:pt x="957007" y="2653197"/>
                  <a:pt x="944289" y="2645563"/>
                </a:cubicBezTo>
                <a:cubicBezTo>
                  <a:pt x="947469" y="2607395"/>
                  <a:pt x="972904" y="2615029"/>
                  <a:pt x="995160" y="2622663"/>
                </a:cubicBezTo>
                <a:cubicBezTo>
                  <a:pt x="1001519" y="2641747"/>
                  <a:pt x="1007878" y="2660831"/>
                  <a:pt x="1014237" y="2676098"/>
                </a:cubicBezTo>
                <a:cubicBezTo>
                  <a:pt x="1049210" y="2660831"/>
                  <a:pt x="1061928" y="2611212"/>
                  <a:pt x="1109620" y="2618846"/>
                </a:cubicBezTo>
                <a:cubicBezTo>
                  <a:pt x="1131875" y="2592128"/>
                  <a:pt x="1157311" y="2569228"/>
                  <a:pt x="1185925" y="2538693"/>
                </a:cubicBezTo>
                <a:cubicBezTo>
                  <a:pt x="1176388" y="2519609"/>
                  <a:pt x="1166849" y="2500525"/>
                  <a:pt x="1154131" y="2481442"/>
                </a:cubicBezTo>
                <a:cubicBezTo>
                  <a:pt x="1173208" y="2458541"/>
                  <a:pt x="1195464" y="2439457"/>
                  <a:pt x="1220899" y="2412739"/>
                </a:cubicBezTo>
                <a:cubicBezTo>
                  <a:pt x="1233617" y="2401289"/>
                  <a:pt x="1259053" y="2408923"/>
                  <a:pt x="1278129" y="2386022"/>
                </a:cubicBezTo>
                <a:cubicBezTo>
                  <a:pt x="1294026" y="2359304"/>
                  <a:pt x="1332179" y="2389839"/>
                  <a:pt x="1357614" y="2363121"/>
                </a:cubicBezTo>
                <a:cubicBezTo>
                  <a:pt x="1370332" y="2347854"/>
                  <a:pt x="1395767" y="2344037"/>
                  <a:pt x="1414844" y="2332587"/>
                </a:cubicBezTo>
                <a:cubicBezTo>
                  <a:pt x="1405306" y="2321136"/>
                  <a:pt x="1395767" y="2309686"/>
                  <a:pt x="1386229" y="2302052"/>
                </a:cubicBezTo>
                <a:cubicBezTo>
                  <a:pt x="1386229" y="2290602"/>
                  <a:pt x="1389409" y="2279152"/>
                  <a:pt x="1389409" y="2267701"/>
                </a:cubicBezTo>
                <a:cubicBezTo>
                  <a:pt x="1402126" y="2263884"/>
                  <a:pt x="1414844" y="2260068"/>
                  <a:pt x="1437100" y="2252434"/>
                </a:cubicBezTo>
                <a:cubicBezTo>
                  <a:pt x="1478432" y="2210450"/>
                  <a:pt x="1526124" y="2160831"/>
                  <a:pt x="1573815" y="2111213"/>
                </a:cubicBezTo>
                <a:cubicBezTo>
                  <a:pt x="1618327" y="2111213"/>
                  <a:pt x="1637404" y="2073045"/>
                  <a:pt x="1666019" y="2046328"/>
                </a:cubicBezTo>
                <a:cubicBezTo>
                  <a:pt x="1700992" y="2057778"/>
                  <a:pt x="1710530" y="2011977"/>
                  <a:pt x="1742325" y="2015793"/>
                </a:cubicBezTo>
                <a:cubicBezTo>
                  <a:pt x="1745504" y="2015793"/>
                  <a:pt x="1751863" y="2015793"/>
                  <a:pt x="1758222" y="2015793"/>
                </a:cubicBezTo>
                <a:cubicBezTo>
                  <a:pt x="1764581" y="1996709"/>
                  <a:pt x="1770939" y="1981442"/>
                  <a:pt x="1777298" y="1962358"/>
                </a:cubicBezTo>
                <a:cubicBezTo>
                  <a:pt x="1790016" y="1958542"/>
                  <a:pt x="1802734" y="1954725"/>
                  <a:pt x="1815452" y="1954725"/>
                </a:cubicBezTo>
                <a:cubicBezTo>
                  <a:pt x="1834528" y="1935641"/>
                  <a:pt x="1850425" y="1916557"/>
                  <a:pt x="1869502" y="1897473"/>
                </a:cubicBezTo>
                <a:cubicBezTo>
                  <a:pt x="1901296" y="1897473"/>
                  <a:pt x="1936269" y="1893656"/>
                  <a:pt x="1971243" y="1893656"/>
                </a:cubicBezTo>
                <a:cubicBezTo>
                  <a:pt x="1974423" y="1874572"/>
                  <a:pt x="1977602" y="1863122"/>
                  <a:pt x="1980781" y="1844038"/>
                </a:cubicBezTo>
                <a:cubicBezTo>
                  <a:pt x="1993499" y="1840221"/>
                  <a:pt x="2012576" y="1832588"/>
                  <a:pt x="2028473" y="1828771"/>
                </a:cubicBezTo>
                <a:cubicBezTo>
                  <a:pt x="2031653" y="1813504"/>
                  <a:pt x="2034832" y="1802053"/>
                  <a:pt x="2038011" y="1786786"/>
                </a:cubicBezTo>
                <a:cubicBezTo>
                  <a:pt x="2072985" y="1771519"/>
                  <a:pt x="2104779" y="1756252"/>
                  <a:pt x="2149291" y="1733351"/>
                </a:cubicBezTo>
                <a:cubicBezTo>
                  <a:pt x="2251033" y="1630298"/>
                  <a:pt x="2251033" y="1630298"/>
                  <a:pt x="2352774" y="1584497"/>
                </a:cubicBezTo>
                <a:cubicBezTo>
                  <a:pt x="2359133" y="1569229"/>
                  <a:pt x="2362312" y="1557779"/>
                  <a:pt x="2365492" y="1546329"/>
                </a:cubicBezTo>
                <a:cubicBezTo>
                  <a:pt x="2438619" y="1508161"/>
                  <a:pt x="2511745" y="1473810"/>
                  <a:pt x="2591231" y="1431825"/>
                </a:cubicBezTo>
                <a:cubicBezTo>
                  <a:pt x="2699332" y="1321138"/>
                  <a:pt x="2699332" y="1321138"/>
                  <a:pt x="2829688" y="1279154"/>
                </a:cubicBezTo>
                <a:cubicBezTo>
                  <a:pt x="2820149" y="1267703"/>
                  <a:pt x="2810611" y="1256253"/>
                  <a:pt x="2797894" y="1244802"/>
                </a:cubicBezTo>
                <a:cubicBezTo>
                  <a:pt x="2813791" y="1237169"/>
                  <a:pt x="2829688" y="1233352"/>
                  <a:pt x="2861482" y="1225718"/>
                </a:cubicBezTo>
                <a:cubicBezTo>
                  <a:pt x="2877379" y="1206635"/>
                  <a:pt x="2902814" y="1172283"/>
                  <a:pt x="2925070" y="1141749"/>
                </a:cubicBezTo>
                <a:cubicBezTo>
                  <a:pt x="2963224" y="1141749"/>
                  <a:pt x="2985479" y="1141749"/>
                  <a:pt x="3001376" y="1141749"/>
                </a:cubicBezTo>
                <a:cubicBezTo>
                  <a:pt x="3036350" y="1107398"/>
                  <a:pt x="3068144" y="1076864"/>
                  <a:pt x="3087221" y="1053963"/>
                </a:cubicBezTo>
                <a:cubicBezTo>
                  <a:pt x="3138092" y="1053963"/>
                  <a:pt x="3166706" y="1053963"/>
                  <a:pt x="3201680" y="1053963"/>
                </a:cubicBezTo>
                <a:cubicBezTo>
                  <a:pt x="3208040" y="1038696"/>
                  <a:pt x="3211219" y="1019612"/>
                  <a:pt x="3217577" y="1000528"/>
                </a:cubicBezTo>
                <a:cubicBezTo>
                  <a:pt x="3230296" y="996711"/>
                  <a:pt x="3243013" y="992894"/>
                  <a:pt x="3262090" y="989078"/>
                </a:cubicBezTo>
                <a:cubicBezTo>
                  <a:pt x="3265269" y="977627"/>
                  <a:pt x="3271628" y="958543"/>
                  <a:pt x="3274808" y="947093"/>
                </a:cubicBezTo>
                <a:cubicBezTo>
                  <a:pt x="3379729" y="893658"/>
                  <a:pt x="3481469" y="840223"/>
                  <a:pt x="3592749" y="782971"/>
                </a:cubicBezTo>
                <a:cubicBezTo>
                  <a:pt x="3599108" y="782971"/>
                  <a:pt x="3621365" y="782971"/>
                  <a:pt x="3640441" y="782971"/>
                </a:cubicBezTo>
                <a:cubicBezTo>
                  <a:pt x="3678594" y="744803"/>
                  <a:pt x="3716747" y="702819"/>
                  <a:pt x="3748541" y="672284"/>
                </a:cubicBezTo>
                <a:cubicBezTo>
                  <a:pt x="3777156" y="657017"/>
                  <a:pt x="3796233" y="649384"/>
                  <a:pt x="3828027" y="634116"/>
                </a:cubicBezTo>
                <a:cubicBezTo>
                  <a:pt x="3834386" y="634116"/>
                  <a:pt x="3853463" y="634116"/>
                  <a:pt x="3872538" y="634116"/>
                </a:cubicBezTo>
                <a:cubicBezTo>
                  <a:pt x="3894795" y="611216"/>
                  <a:pt x="3917051" y="592132"/>
                  <a:pt x="3936128" y="569231"/>
                </a:cubicBezTo>
                <a:cubicBezTo>
                  <a:pt x="3964743" y="569231"/>
                  <a:pt x="3996537" y="569231"/>
                  <a:pt x="4012434" y="569231"/>
                </a:cubicBezTo>
                <a:cubicBezTo>
                  <a:pt x="4047408" y="553964"/>
                  <a:pt x="4069664" y="538697"/>
                  <a:pt x="4095099" y="527246"/>
                </a:cubicBezTo>
                <a:cubicBezTo>
                  <a:pt x="4098278" y="511979"/>
                  <a:pt x="4098278" y="500529"/>
                  <a:pt x="4104636" y="481445"/>
                </a:cubicBezTo>
                <a:cubicBezTo>
                  <a:pt x="4139610" y="481445"/>
                  <a:pt x="4171404" y="481445"/>
                  <a:pt x="4203199" y="481445"/>
                </a:cubicBezTo>
                <a:cubicBezTo>
                  <a:pt x="4215916" y="447094"/>
                  <a:pt x="4222275" y="408926"/>
                  <a:pt x="4276326" y="393659"/>
                </a:cubicBezTo>
                <a:cubicBezTo>
                  <a:pt x="4295402" y="393659"/>
                  <a:pt x="4333556" y="393659"/>
                  <a:pt x="4374888" y="393659"/>
                </a:cubicBezTo>
                <a:cubicBezTo>
                  <a:pt x="4384426" y="382208"/>
                  <a:pt x="4400323" y="359308"/>
                  <a:pt x="4403503" y="363125"/>
                </a:cubicBezTo>
                <a:cubicBezTo>
                  <a:pt x="4444835" y="378392"/>
                  <a:pt x="4454373" y="309689"/>
                  <a:pt x="4495706" y="328773"/>
                </a:cubicBezTo>
                <a:cubicBezTo>
                  <a:pt x="4524321" y="302056"/>
                  <a:pt x="4549756" y="271522"/>
                  <a:pt x="4581550" y="240987"/>
                </a:cubicBezTo>
                <a:cubicBezTo>
                  <a:pt x="4591089" y="252438"/>
                  <a:pt x="4600627" y="260071"/>
                  <a:pt x="4610165" y="267705"/>
                </a:cubicBezTo>
                <a:cubicBezTo>
                  <a:pt x="4619704" y="260071"/>
                  <a:pt x="4632421" y="248621"/>
                  <a:pt x="4641960" y="240987"/>
                </a:cubicBezTo>
                <a:cubicBezTo>
                  <a:pt x="4654677" y="240987"/>
                  <a:pt x="4670575" y="240987"/>
                  <a:pt x="4683292" y="237171"/>
                </a:cubicBezTo>
                <a:cubicBezTo>
                  <a:pt x="4689651" y="256254"/>
                  <a:pt x="4686472" y="279155"/>
                  <a:pt x="4711907" y="260071"/>
                </a:cubicBezTo>
                <a:cubicBezTo>
                  <a:pt x="4705548" y="252438"/>
                  <a:pt x="4696009" y="244804"/>
                  <a:pt x="4683292" y="237171"/>
                </a:cubicBezTo>
                <a:cubicBezTo>
                  <a:pt x="4689651" y="233354"/>
                  <a:pt x="4692830" y="221903"/>
                  <a:pt x="4696009" y="214270"/>
                </a:cubicBezTo>
                <a:cubicBezTo>
                  <a:pt x="4727804" y="210453"/>
                  <a:pt x="4762777" y="199003"/>
                  <a:pt x="4785034" y="237171"/>
                </a:cubicBezTo>
                <a:cubicBezTo>
                  <a:pt x="4791393" y="233354"/>
                  <a:pt x="4800931" y="225720"/>
                  <a:pt x="4800931" y="221903"/>
                </a:cubicBezTo>
                <a:cubicBezTo>
                  <a:pt x="4804110" y="179919"/>
                  <a:pt x="4829545" y="164652"/>
                  <a:pt x="4861339" y="149384"/>
                </a:cubicBezTo>
                <a:cubicBezTo>
                  <a:pt x="4877237" y="141751"/>
                  <a:pt x="4893134" y="130301"/>
                  <a:pt x="4915390" y="118850"/>
                </a:cubicBezTo>
                <a:cubicBezTo>
                  <a:pt x="4937646" y="118850"/>
                  <a:pt x="4966261" y="118850"/>
                  <a:pt x="4994875" y="118850"/>
                </a:cubicBezTo>
                <a:cubicBezTo>
                  <a:pt x="5001235" y="126484"/>
                  <a:pt x="5007593" y="134117"/>
                  <a:pt x="5013952" y="141751"/>
                </a:cubicBezTo>
                <a:cubicBezTo>
                  <a:pt x="5023491" y="145568"/>
                  <a:pt x="5033029" y="149384"/>
                  <a:pt x="5039387" y="149384"/>
                </a:cubicBezTo>
                <a:cubicBezTo>
                  <a:pt x="5109335" y="149384"/>
                  <a:pt x="5176103" y="149384"/>
                  <a:pt x="5246050" y="149384"/>
                </a:cubicBezTo>
                <a:cubicBezTo>
                  <a:pt x="5246050" y="160835"/>
                  <a:pt x="5246050" y="168468"/>
                  <a:pt x="5246050" y="179919"/>
                </a:cubicBezTo>
                <a:cubicBezTo>
                  <a:pt x="5230153" y="179919"/>
                  <a:pt x="5217435" y="179919"/>
                  <a:pt x="5211076" y="179919"/>
                </a:cubicBezTo>
                <a:cubicBezTo>
                  <a:pt x="5188820" y="195186"/>
                  <a:pt x="5169744" y="210453"/>
                  <a:pt x="5153846" y="221903"/>
                </a:cubicBezTo>
                <a:cubicBezTo>
                  <a:pt x="5185641" y="248621"/>
                  <a:pt x="5211076" y="240987"/>
                  <a:pt x="5242871" y="233354"/>
                </a:cubicBezTo>
                <a:cubicBezTo>
                  <a:pt x="5242871" y="218087"/>
                  <a:pt x="5246050" y="199003"/>
                  <a:pt x="5246050" y="179919"/>
                </a:cubicBezTo>
                <a:cubicBezTo>
                  <a:pt x="5281024" y="176102"/>
                  <a:pt x="5319177" y="187552"/>
                  <a:pt x="5354150" y="176102"/>
                </a:cubicBezTo>
                <a:cubicBezTo>
                  <a:pt x="5357330" y="168468"/>
                  <a:pt x="5360510" y="164652"/>
                  <a:pt x="5360510" y="160835"/>
                </a:cubicBezTo>
                <a:cubicBezTo>
                  <a:pt x="5335074" y="137934"/>
                  <a:pt x="5312818" y="115033"/>
                  <a:pt x="5287382" y="88316"/>
                </a:cubicBezTo>
                <a:cubicBezTo>
                  <a:pt x="5281024" y="107400"/>
                  <a:pt x="5277844" y="122667"/>
                  <a:pt x="5268306" y="141751"/>
                </a:cubicBezTo>
                <a:cubicBezTo>
                  <a:pt x="5265127" y="145568"/>
                  <a:pt x="5252409" y="145568"/>
                  <a:pt x="5246050" y="149384"/>
                </a:cubicBezTo>
                <a:cubicBezTo>
                  <a:pt x="5242871" y="111217"/>
                  <a:pt x="5201538" y="103583"/>
                  <a:pt x="5188820" y="69232"/>
                </a:cubicBezTo>
                <a:cubicBezTo>
                  <a:pt x="5233333" y="50148"/>
                  <a:pt x="5284203" y="65415"/>
                  <a:pt x="5338253" y="57782"/>
                </a:cubicBezTo>
                <a:cubicBezTo>
                  <a:pt x="5322356" y="38698"/>
                  <a:pt x="5315998" y="27247"/>
                  <a:pt x="5306459" y="15797"/>
                </a:cubicBezTo>
                <a:cubicBezTo>
                  <a:pt x="5311228" y="4347"/>
                  <a:pt x="5318382" y="530"/>
                  <a:pt x="5326728" y="53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86365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554504" y="744636"/>
            <a:ext cx="8946048" cy="8680596"/>
          </a:xfrm>
          <a:custGeom>
            <a:avLst/>
            <a:gdLst>
              <a:gd name="connsiteX0" fmla="*/ 5248051 w 8946048"/>
              <a:gd name="connsiteY0" fmla="*/ 0 h 8680596"/>
              <a:gd name="connsiteX1" fmla="*/ 5285821 w 8946048"/>
              <a:gd name="connsiteY1" fmla="*/ 24692 h 8680596"/>
              <a:gd name="connsiteX2" fmla="*/ 5261301 w 8946048"/>
              <a:gd name="connsiteY2" fmla="*/ 74936 h 8680596"/>
              <a:gd name="connsiteX3" fmla="*/ 5359657 w 8946048"/>
              <a:gd name="connsiteY3" fmla="*/ 60018 h 8680596"/>
              <a:gd name="connsiteX4" fmla="*/ 5380460 w 8946048"/>
              <a:gd name="connsiteY4" fmla="*/ 108309 h 8680596"/>
              <a:gd name="connsiteX5" fmla="*/ 5399654 w 8946048"/>
              <a:gd name="connsiteY5" fmla="*/ 151923 h 8680596"/>
              <a:gd name="connsiteX6" fmla="*/ 5381110 w 8946048"/>
              <a:gd name="connsiteY6" fmla="*/ 173972 h 8680596"/>
              <a:gd name="connsiteX7" fmla="*/ 5380334 w 8946048"/>
              <a:gd name="connsiteY7" fmla="*/ 253719 h 8680596"/>
              <a:gd name="connsiteX8" fmla="*/ 5338910 w 8946048"/>
              <a:gd name="connsiteY8" fmla="*/ 333815 h 8680596"/>
              <a:gd name="connsiteX9" fmla="*/ 5289746 w 8946048"/>
              <a:gd name="connsiteY9" fmla="*/ 421796 h 8680596"/>
              <a:gd name="connsiteX10" fmla="*/ 5229375 w 8946048"/>
              <a:gd name="connsiteY10" fmla="*/ 483293 h 8680596"/>
              <a:gd name="connsiteX11" fmla="*/ 5229746 w 8946048"/>
              <a:gd name="connsiteY11" fmla="*/ 520814 h 8680596"/>
              <a:gd name="connsiteX12" fmla="*/ 5098169 w 8946048"/>
              <a:gd name="connsiteY12" fmla="*/ 654846 h 8680596"/>
              <a:gd name="connsiteX13" fmla="*/ 5097023 w 8946048"/>
              <a:gd name="connsiteY13" fmla="*/ 697071 h 8680596"/>
              <a:gd name="connsiteX14" fmla="*/ 4984021 w 8946048"/>
              <a:gd name="connsiteY14" fmla="*/ 812181 h 8680596"/>
              <a:gd name="connsiteX15" fmla="*/ 4982597 w 8946048"/>
              <a:gd name="connsiteY15" fmla="*/ 826265 h 8680596"/>
              <a:gd name="connsiteX16" fmla="*/ 4999841 w 8946048"/>
              <a:gd name="connsiteY16" fmla="*/ 830807 h 8680596"/>
              <a:gd name="connsiteX17" fmla="*/ 5071480 w 8946048"/>
              <a:gd name="connsiteY17" fmla="*/ 802048 h 8680596"/>
              <a:gd name="connsiteX18" fmla="*/ 5135503 w 8946048"/>
              <a:gd name="connsiteY18" fmla="*/ 793680 h 8680596"/>
              <a:gd name="connsiteX19" fmla="*/ 5249432 w 8946048"/>
              <a:gd name="connsiteY19" fmla="*/ 772374 h 8680596"/>
              <a:gd name="connsiteX20" fmla="*/ 5289679 w 8946048"/>
              <a:gd name="connsiteY20" fmla="*/ 731376 h 8680596"/>
              <a:gd name="connsiteX21" fmla="*/ 5342866 w 8946048"/>
              <a:gd name="connsiteY21" fmla="*/ 734046 h 8680596"/>
              <a:gd name="connsiteX22" fmla="*/ 5307541 w 8946048"/>
              <a:gd name="connsiteY22" fmla="*/ 798455 h 8680596"/>
              <a:gd name="connsiteX23" fmla="*/ 5326611 w 8946048"/>
              <a:gd name="connsiteY23" fmla="*/ 829561 h 8680596"/>
              <a:gd name="connsiteX24" fmla="*/ 5406083 w 8946048"/>
              <a:gd name="connsiteY24" fmla="*/ 802298 h 8680596"/>
              <a:gd name="connsiteX25" fmla="*/ 5404195 w 8946048"/>
              <a:gd name="connsiteY25" fmla="*/ 769480 h 8680596"/>
              <a:gd name="connsiteX26" fmla="*/ 5498652 w 8946048"/>
              <a:gd name="connsiteY26" fmla="*/ 676419 h 8680596"/>
              <a:gd name="connsiteX27" fmla="*/ 5514255 w 8946048"/>
              <a:gd name="connsiteY27" fmla="*/ 673158 h 8680596"/>
              <a:gd name="connsiteX28" fmla="*/ 5539486 w 8946048"/>
              <a:gd name="connsiteY28" fmla="*/ 694831 h 8680596"/>
              <a:gd name="connsiteX29" fmla="*/ 5480818 w 8946048"/>
              <a:gd name="connsiteY29" fmla="*/ 770385 h 8680596"/>
              <a:gd name="connsiteX30" fmla="*/ 5484532 w 8946048"/>
              <a:gd name="connsiteY30" fmla="*/ 829767 h 8680596"/>
              <a:gd name="connsiteX31" fmla="*/ 5584189 w 8946048"/>
              <a:gd name="connsiteY31" fmla="*/ 788258 h 8680596"/>
              <a:gd name="connsiteX32" fmla="*/ 5609266 w 8946048"/>
              <a:gd name="connsiteY32" fmla="*/ 794297 h 8680596"/>
              <a:gd name="connsiteX33" fmla="*/ 5612702 w 8946048"/>
              <a:gd name="connsiteY33" fmla="*/ 825538 h 8680596"/>
              <a:gd name="connsiteX34" fmla="*/ 5609266 w 8946048"/>
              <a:gd name="connsiteY34" fmla="*/ 794297 h 8680596"/>
              <a:gd name="connsiteX35" fmla="*/ 5697685 w 8946048"/>
              <a:gd name="connsiteY35" fmla="*/ 723177 h 8680596"/>
              <a:gd name="connsiteX36" fmla="*/ 5684341 w 8946048"/>
              <a:gd name="connsiteY36" fmla="*/ 796778 h 8680596"/>
              <a:gd name="connsiteX37" fmla="*/ 5734865 w 8946048"/>
              <a:gd name="connsiteY37" fmla="*/ 846377 h 8680596"/>
              <a:gd name="connsiteX38" fmla="*/ 5710314 w 8946048"/>
              <a:gd name="connsiteY38" fmla="*/ 893494 h 8680596"/>
              <a:gd name="connsiteX39" fmla="*/ 5732511 w 8946048"/>
              <a:gd name="connsiteY39" fmla="*/ 924574 h 8680596"/>
              <a:gd name="connsiteX40" fmla="*/ 5706720 w 8946048"/>
              <a:gd name="connsiteY40" fmla="*/ 1004536 h 8680596"/>
              <a:gd name="connsiteX41" fmla="*/ 5677309 w 8946048"/>
              <a:gd name="connsiteY41" fmla="*/ 1034496 h 8680596"/>
              <a:gd name="connsiteX42" fmla="*/ 5676163 w 8946048"/>
              <a:gd name="connsiteY42" fmla="*/ 1076721 h 8680596"/>
              <a:gd name="connsiteX43" fmla="*/ 5639012 w 8946048"/>
              <a:gd name="connsiteY43" fmla="*/ 1114566 h 8680596"/>
              <a:gd name="connsiteX44" fmla="*/ 5636287 w 8946048"/>
              <a:gd name="connsiteY44" fmla="*/ 1155241 h 8680596"/>
              <a:gd name="connsiteX45" fmla="*/ 5600684 w 8946048"/>
              <a:gd name="connsiteY45" fmla="*/ 1191508 h 8680596"/>
              <a:gd name="connsiteX46" fmla="*/ 5599506 w 8946048"/>
              <a:gd name="connsiteY46" fmla="*/ 1230607 h 8680596"/>
              <a:gd name="connsiteX47" fmla="*/ 5545668 w 8946048"/>
              <a:gd name="connsiteY47" fmla="*/ 1320191 h 8680596"/>
              <a:gd name="connsiteX48" fmla="*/ 5490034 w 8946048"/>
              <a:gd name="connsiteY48" fmla="*/ 1386338 h 8680596"/>
              <a:gd name="connsiteX49" fmla="*/ 5485699 w 8946048"/>
              <a:gd name="connsiteY49" fmla="*/ 1422337 h 8680596"/>
              <a:gd name="connsiteX50" fmla="*/ 5431520 w 8946048"/>
              <a:gd name="connsiteY50" fmla="*/ 1477526 h 8680596"/>
              <a:gd name="connsiteX51" fmla="*/ 5430374 w 8946048"/>
              <a:gd name="connsiteY51" fmla="*/ 1519751 h 8680596"/>
              <a:gd name="connsiteX52" fmla="*/ 5373223 w 8946048"/>
              <a:gd name="connsiteY52" fmla="*/ 1590602 h 8680596"/>
              <a:gd name="connsiteX53" fmla="*/ 5418701 w 8946048"/>
              <a:gd name="connsiteY53" fmla="*/ 1604282 h 8680596"/>
              <a:gd name="connsiteX54" fmla="*/ 5390900 w 8946048"/>
              <a:gd name="connsiteY54" fmla="*/ 1638919 h 8680596"/>
              <a:gd name="connsiteX55" fmla="*/ 5343780 w 8946048"/>
              <a:gd name="connsiteY55" fmla="*/ 1617435 h 8680596"/>
              <a:gd name="connsiteX56" fmla="*/ 5353687 w 8946048"/>
              <a:gd name="connsiteY56" fmla="*/ 1670509 h 8680596"/>
              <a:gd name="connsiteX57" fmla="*/ 5319322 w 8946048"/>
              <a:gd name="connsiteY57" fmla="*/ 1673933 h 8680596"/>
              <a:gd name="connsiteX58" fmla="*/ 5318145 w 8946048"/>
              <a:gd name="connsiteY58" fmla="*/ 1713031 h 8680596"/>
              <a:gd name="connsiteX59" fmla="*/ 5262418 w 8946048"/>
              <a:gd name="connsiteY59" fmla="*/ 1769797 h 8680596"/>
              <a:gd name="connsiteX60" fmla="*/ 5261241 w 8946048"/>
              <a:gd name="connsiteY60" fmla="*/ 1808896 h 8680596"/>
              <a:gd name="connsiteX61" fmla="*/ 5223750 w 8946048"/>
              <a:gd name="connsiteY61" fmla="*/ 1812345 h 8680596"/>
              <a:gd name="connsiteX62" fmla="*/ 5219415 w 8946048"/>
              <a:gd name="connsiteY62" fmla="*/ 1848343 h 8680596"/>
              <a:gd name="connsiteX63" fmla="*/ 5188147 w 8946048"/>
              <a:gd name="connsiteY63" fmla="*/ 1848612 h 8680596"/>
              <a:gd name="connsiteX64" fmla="*/ 5185391 w 8946048"/>
              <a:gd name="connsiteY64" fmla="*/ 1886161 h 8680596"/>
              <a:gd name="connsiteX65" fmla="*/ 5073938 w 8946048"/>
              <a:gd name="connsiteY65" fmla="*/ 1999694 h 8680596"/>
              <a:gd name="connsiteX66" fmla="*/ 5071212 w 8946048"/>
              <a:gd name="connsiteY66" fmla="*/ 2040369 h 8680596"/>
              <a:gd name="connsiteX67" fmla="*/ 5029016 w 8946048"/>
              <a:gd name="connsiteY67" fmla="*/ 2042295 h 8680596"/>
              <a:gd name="connsiteX68" fmla="*/ 5009047 w 8946048"/>
              <a:gd name="connsiteY68" fmla="*/ 2078428 h 8680596"/>
              <a:gd name="connsiteX69" fmla="*/ 5066909 w 8946048"/>
              <a:gd name="connsiteY69" fmla="*/ 2079494 h 8680596"/>
              <a:gd name="connsiteX70" fmla="*/ 5240281 w 8946048"/>
              <a:gd name="connsiteY70" fmla="*/ 1902888 h 8680596"/>
              <a:gd name="connsiteX71" fmla="*/ 5243099 w 8946048"/>
              <a:gd name="connsiteY71" fmla="*/ 1871593 h 8680596"/>
              <a:gd name="connsiteX72" fmla="*/ 5294583 w 8946048"/>
              <a:gd name="connsiteY72" fmla="*/ 1860205 h 8680596"/>
              <a:gd name="connsiteX73" fmla="*/ 5301859 w 8946048"/>
              <a:gd name="connsiteY73" fmla="*/ 1805420 h 8680596"/>
              <a:gd name="connsiteX74" fmla="*/ 5546438 w 8946048"/>
              <a:gd name="connsiteY74" fmla="*/ 1556278 h 8680596"/>
              <a:gd name="connsiteX75" fmla="*/ 5546252 w 8946048"/>
              <a:gd name="connsiteY75" fmla="*/ 1537517 h 8680596"/>
              <a:gd name="connsiteX76" fmla="*/ 5547615 w 8946048"/>
              <a:gd name="connsiteY76" fmla="*/ 1517180 h 8680596"/>
              <a:gd name="connsiteX77" fmla="*/ 5793741 w 8946048"/>
              <a:gd name="connsiteY77" fmla="*/ 1266462 h 8680596"/>
              <a:gd name="connsiteX78" fmla="*/ 5793370 w 8946048"/>
              <a:gd name="connsiteY78" fmla="*/ 1228940 h 8680596"/>
              <a:gd name="connsiteX79" fmla="*/ 5946619 w 8946048"/>
              <a:gd name="connsiteY79" fmla="*/ 1072832 h 8680596"/>
              <a:gd name="connsiteX80" fmla="*/ 5946248 w 8946048"/>
              <a:gd name="connsiteY80" fmla="*/ 1035311 h 8680596"/>
              <a:gd name="connsiteX81" fmla="*/ 6001975 w 8946048"/>
              <a:gd name="connsiteY81" fmla="*/ 978544 h 8680596"/>
              <a:gd name="connsiteX82" fmla="*/ 6001604 w 8946048"/>
              <a:gd name="connsiteY82" fmla="*/ 941023 h 8680596"/>
              <a:gd name="connsiteX83" fmla="*/ 6039095 w 8946048"/>
              <a:gd name="connsiteY83" fmla="*/ 937573 h 8680596"/>
              <a:gd name="connsiteX84" fmla="*/ 6077794 w 8946048"/>
              <a:gd name="connsiteY84" fmla="*/ 898152 h 8680596"/>
              <a:gd name="connsiteX85" fmla="*/ 6077423 w 8946048"/>
              <a:gd name="connsiteY85" fmla="*/ 860631 h 8680596"/>
              <a:gd name="connsiteX86" fmla="*/ 6142871 w 8946048"/>
              <a:gd name="connsiteY86" fmla="*/ 838178 h 8680596"/>
              <a:gd name="connsiteX87" fmla="*/ 6161137 w 8946048"/>
              <a:gd name="connsiteY87" fmla="*/ 787988 h 8680596"/>
              <a:gd name="connsiteX88" fmla="*/ 6172035 w 8946048"/>
              <a:gd name="connsiteY88" fmla="*/ 783204 h 8680596"/>
              <a:gd name="connsiteX89" fmla="*/ 6245315 w 8946048"/>
              <a:gd name="connsiteY89" fmla="*/ 762248 h 8680596"/>
              <a:gd name="connsiteX90" fmla="*/ 6365714 w 8946048"/>
              <a:gd name="connsiteY90" fmla="*/ 762776 h 8680596"/>
              <a:gd name="connsiteX91" fmla="*/ 6393577 w 8946048"/>
              <a:gd name="connsiteY91" fmla="*/ 734393 h 8680596"/>
              <a:gd name="connsiteX92" fmla="*/ 6420418 w 8946048"/>
              <a:gd name="connsiteY92" fmla="*/ 760742 h 8680596"/>
              <a:gd name="connsiteX93" fmla="*/ 6470509 w 8946048"/>
              <a:gd name="connsiteY93" fmla="*/ 766566 h 8680596"/>
              <a:gd name="connsiteX94" fmla="*/ 6465152 w 8946048"/>
              <a:gd name="connsiteY94" fmla="*/ 857297 h 8680596"/>
              <a:gd name="connsiteX95" fmla="*/ 6462797 w 8946048"/>
              <a:gd name="connsiteY95" fmla="*/ 935494 h 8680596"/>
              <a:gd name="connsiteX96" fmla="*/ 6421373 w 8946048"/>
              <a:gd name="connsiteY96" fmla="*/ 1015590 h 8680596"/>
              <a:gd name="connsiteX97" fmla="*/ 6372209 w 8946048"/>
              <a:gd name="connsiteY97" fmla="*/ 1103571 h 8680596"/>
              <a:gd name="connsiteX98" fmla="*/ 6311839 w 8946048"/>
              <a:gd name="connsiteY98" fmla="*/ 1165068 h 8680596"/>
              <a:gd name="connsiteX99" fmla="*/ 6312241 w 8946048"/>
              <a:gd name="connsiteY99" fmla="*/ 1205716 h 8680596"/>
              <a:gd name="connsiteX100" fmla="*/ 6234842 w 8946048"/>
              <a:gd name="connsiteY100" fmla="*/ 1284558 h 8680596"/>
              <a:gd name="connsiteX101" fmla="*/ 6235182 w 8946048"/>
              <a:gd name="connsiteY101" fmla="*/ 1318953 h 8680596"/>
              <a:gd name="connsiteX102" fmla="*/ 6179455 w 8946048"/>
              <a:gd name="connsiteY102" fmla="*/ 1375719 h 8680596"/>
              <a:gd name="connsiteX103" fmla="*/ 6178309 w 8946048"/>
              <a:gd name="connsiteY103" fmla="*/ 1417945 h 8680596"/>
              <a:gd name="connsiteX104" fmla="*/ 6110199 w 8946048"/>
              <a:gd name="connsiteY104" fmla="*/ 1487326 h 8680596"/>
              <a:gd name="connsiteX105" fmla="*/ 6082923 w 8946048"/>
              <a:gd name="connsiteY105" fmla="*/ 1575118 h 8680596"/>
              <a:gd name="connsiteX106" fmla="*/ 6190690 w 8946048"/>
              <a:gd name="connsiteY106" fmla="*/ 1563247 h 8680596"/>
              <a:gd name="connsiteX107" fmla="*/ 6238057 w 8946048"/>
              <a:gd name="connsiteY107" fmla="*/ 1609746 h 8680596"/>
              <a:gd name="connsiteX108" fmla="*/ 6241555 w 8946048"/>
              <a:gd name="connsiteY108" fmla="*/ 1647240 h 8680596"/>
              <a:gd name="connsiteX109" fmla="*/ 6297467 w 8946048"/>
              <a:gd name="connsiteY109" fmla="*/ 1609235 h 8680596"/>
              <a:gd name="connsiteX110" fmla="*/ 6340034 w 8946048"/>
              <a:gd name="connsiteY110" fmla="*/ 1644830 h 8680596"/>
              <a:gd name="connsiteX111" fmla="*/ 6296289 w 8946048"/>
              <a:gd name="connsiteY111" fmla="*/ 1648334 h 8680596"/>
              <a:gd name="connsiteX112" fmla="*/ 6329508 w 8946048"/>
              <a:gd name="connsiteY112" fmla="*/ 1687136 h 8680596"/>
              <a:gd name="connsiteX113" fmla="*/ 6399228 w 8946048"/>
              <a:gd name="connsiteY113" fmla="*/ 1622432 h 8680596"/>
              <a:gd name="connsiteX114" fmla="*/ 6432261 w 8946048"/>
              <a:gd name="connsiteY114" fmla="*/ 1642474 h 8680596"/>
              <a:gd name="connsiteX115" fmla="*/ 6432443 w 8946048"/>
              <a:gd name="connsiteY115" fmla="*/ 1819152 h 8680596"/>
              <a:gd name="connsiteX116" fmla="*/ 6395292 w 8946048"/>
              <a:gd name="connsiteY116" fmla="*/ 1856996 h 8680596"/>
              <a:gd name="connsiteX117" fmla="*/ 6375818 w 8946048"/>
              <a:gd name="connsiteY117" fmla="*/ 1943157 h 8680596"/>
              <a:gd name="connsiteX118" fmla="*/ 6338945 w 8946048"/>
              <a:gd name="connsiteY118" fmla="*/ 2009143 h 8680596"/>
              <a:gd name="connsiteX119" fmla="*/ 6302195 w 8946048"/>
              <a:gd name="connsiteY119" fmla="*/ 2087636 h 8680596"/>
              <a:gd name="connsiteX120" fmla="*/ 6324300 w 8946048"/>
              <a:gd name="connsiteY120" fmla="*/ 2109335 h 8680596"/>
              <a:gd name="connsiteX121" fmla="*/ 6370986 w 8946048"/>
              <a:gd name="connsiteY121" fmla="*/ 2087044 h 8680596"/>
              <a:gd name="connsiteX122" fmla="*/ 6400892 w 8946048"/>
              <a:gd name="connsiteY122" fmla="*/ 2107113 h 8680596"/>
              <a:gd name="connsiteX123" fmla="*/ 6480364 w 8946048"/>
              <a:gd name="connsiteY123" fmla="*/ 2079850 h 8680596"/>
              <a:gd name="connsiteX124" fmla="*/ 6512871 w 8946048"/>
              <a:gd name="connsiteY124" fmla="*/ 2046736 h 8680596"/>
              <a:gd name="connsiteX125" fmla="*/ 6566058 w 8946048"/>
              <a:gd name="connsiteY125" fmla="*/ 2049406 h 8680596"/>
              <a:gd name="connsiteX126" fmla="*/ 6583858 w 8946048"/>
              <a:gd name="connsiteY126" fmla="*/ 2110230 h 8680596"/>
              <a:gd name="connsiteX127" fmla="*/ 6635219 w 8946048"/>
              <a:gd name="connsiteY127" fmla="*/ 2086336 h 8680596"/>
              <a:gd name="connsiteX128" fmla="*/ 6657200 w 8946048"/>
              <a:gd name="connsiteY128" fmla="*/ 2095528 h 8680596"/>
              <a:gd name="connsiteX129" fmla="*/ 6628005 w 8946048"/>
              <a:gd name="connsiteY129" fmla="*/ 2147376 h 8680596"/>
              <a:gd name="connsiteX130" fmla="*/ 6676239 w 8946048"/>
              <a:gd name="connsiteY130" fmla="*/ 2123508 h 8680596"/>
              <a:gd name="connsiteX131" fmla="*/ 6678003 w 8946048"/>
              <a:gd name="connsiteY131" fmla="*/ 2143819 h 8680596"/>
              <a:gd name="connsiteX132" fmla="*/ 6747878 w 8946048"/>
              <a:gd name="connsiteY132" fmla="*/ 2094748 h 8680596"/>
              <a:gd name="connsiteX133" fmla="*/ 6723513 w 8946048"/>
              <a:gd name="connsiteY133" fmla="*/ 2160626 h 8680596"/>
              <a:gd name="connsiteX134" fmla="*/ 6745617 w 8946048"/>
              <a:gd name="connsiteY134" fmla="*/ 2182326 h 8680596"/>
              <a:gd name="connsiteX135" fmla="*/ 6706019 w 8946048"/>
              <a:gd name="connsiteY135" fmla="*/ 2288986 h 8680596"/>
              <a:gd name="connsiteX136" fmla="*/ 6712334 w 8946048"/>
              <a:gd name="connsiteY136" fmla="*/ 2295187 h 8680596"/>
              <a:gd name="connsiteX137" fmla="*/ 6742055 w 8946048"/>
              <a:gd name="connsiteY137" fmla="*/ 2296495 h 8680596"/>
              <a:gd name="connsiteX138" fmla="*/ 6688309 w 8946048"/>
              <a:gd name="connsiteY138" fmla="*/ 2395459 h 8680596"/>
              <a:gd name="connsiteX139" fmla="*/ 6778616 w 8946048"/>
              <a:gd name="connsiteY139" fmla="*/ 2357158 h 8680596"/>
              <a:gd name="connsiteX140" fmla="*/ 6806510 w 8946048"/>
              <a:gd name="connsiteY140" fmla="*/ 2331902 h 8680596"/>
              <a:gd name="connsiteX141" fmla="*/ 6858273 w 8946048"/>
              <a:gd name="connsiteY141" fmla="*/ 2348655 h 8680596"/>
              <a:gd name="connsiteX142" fmla="*/ 6845982 w 8946048"/>
              <a:gd name="connsiteY142" fmla="*/ 2370650 h 8680596"/>
              <a:gd name="connsiteX143" fmla="*/ 6800658 w 8946048"/>
              <a:gd name="connsiteY143" fmla="*/ 2372604 h 8680596"/>
              <a:gd name="connsiteX144" fmla="*/ 6819821 w 8946048"/>
              <a:gd name="connsiteY144" fmla="*/ 2413091 h 8680596"/>
              <a:gd name="connsiteX145" fmla="*/ 6899386 w 8946048"/>
              <a:gd name="connsiteY145" fmla="*/ 2395208 h 8680596"/>
              <a:gd name="connsiteX146" fmla="*/ 6839262 w 8946048"/>
              <a:gd name="connsiteY146" fmla="*/ 2481719 h 8680596"/>
              <a:gd name="connsiteX147" fmla="*/ 6852573 w 8946048"/>
              <a:gd name="connsiteY147" fmla="*/ 2562909 h 8680596"/>
              <a:gd name="connsiteX148" fmla="*/ 6804123 w 8946048"/>
              <a:gd name="connsiteY148" fmla="*/ 2564888 h 8680596"/>
              <a:gd name="connsiteX149" fmla="*/ 6748550 w 8946048"/>
              <a:gd name="connsiteY149" fmla="*/ 2637289 h 8680596"/>
              <a:gd name="connsiteX150" fmla="*/ 6831273 w 8946048"/>
              <a:gd name="connsiteY150" fmla="*/ 2622506 h 8680596"/>
              <a:gd name="connsiteX151" fmla="*/ 6909073 w 8946048"/>
              <a:gd name="connsiteY151" fmla="*/ 2584312 h 8680596"/>
              <a:gd name="connsiteX152" fmla="*/ 6989969 w 8946048"/>
              <a:gd name="connsiteY152" fmla="*/ 2542965 h 8680596"/>
              <a:gd name="connsiteX153" fmla="*/ 6996810 w 8946048"/>
              <a:gd name="connsiteY153" fmla="*/ 2602320 h 8680596"/>
              <a:gd name="connsiteX154" fmla="*/ 6940712 w 8946048"/>
              <a:gd name="connsiteY154" fmla="*/ 2621565 h 8680596"/>
              <a:gd name="connsiteX155" fmla="*/ 6898917 w 8946048"/>
              <a:gd name="connsiteY155" fmla="*/ 2664140 h 8680596"/>
              <a:gd name="connsiteX156" fmla="*/ 6919597 w 8946048"/>
              <a:gd name="connsiteY156" fmla="*/ 2699923 h 8680596"/>
              <a:gd name="connsiteX157" fmla="*/ 6999069 w 8946048"/>
              <a:gd name="connsiteY157" fmla="*/ 2672660 h 8680596"/>
              <a:gd name="connsiteX158" fmla="*/ 6998759 w 8946048"/>
              <a:gd name="connsiteY158" fmla="*/ 2641392 h 8680596"/>
              <a:gd name="connsiteX159" fmla="*/ 7037830 w 8946048"/>
              <a:gd name="connsiteY159" fmla="*/ 2639492 h 8680596"/>
              <a:gd name="connsiteX160" fmla="*/ 7074981 w 8946048"/>
              <a:gd name="connsiteY160" fmla="*/ 2601648 h 8680596"/>
              <a:gd name="connsiteX161" fmla="*/ 7074579 w 8946048"/>
              <a:gd name="connsiteY161" fmla="*/ 2561000 h 8680596"/>
              <a:gd name="connsiteX162" fmla="*/ 7136899 w 8946048"/>
              <a:gd name="connsiteY162" fmla="*/ 2538574 h 8680596"/>
              <a:gd name="connsiteX163" fmla="*/ 7194174 w 8946048"/>
              <a:gd name="connsiteY163" fmla="*/ 2480231 h 8680596"/>
              <a:gd name="connsiteX164" fmla="*/ 7227207 w 8946048"/>
              <a:gd name="connsiteY164" fmla="*/ 2500273 h 8680596"/>
              <a:gd name="connsiteX165" fmla="*/ 7222779 w 8946048"/>
              <a:gd name="connsiteY165" fmla="*/ 2526891 h 8680596"/>
              <a:gd name="connsiteX166" fmla="*/ 7097394 w 8946048"/>
              <a:gd name="connsiteY166" fmla="*/ 2654616 h 8680596"/>
              <a:gd name="connsiteX167" fmla="*/ 7093090 w 8946048"/>
              <a:gd name="connsiteY167" fmla="*/ 2693741 h 8680596"/>
              <a:gd name="connsiteX168" fmla="*/ 7056032 w 8946048"/>
              <a:gd name="connsiteY168" fmla="*/ 2740965 h 8680596"/>
              <a:gd name="connsiteX169" fmla="*/ 7060861 w 8946048"/>
              <a:gd name="connsiteY169" fmla="*/ 2754995 h 8680596"/>
              <a:gd name="connsiteX170" fmla="*/ 7140333 w 8946048"/>
              <a:gd name="connsiteY170" fmla="*/ 2727733 h 8680596"/>
              <a:gd name="connsiteX171" fmla="*/ 7285842 w 8946048"/>
              <a:gd name="connsiteY171" fmla="*/ 2579509 h 8680596"/>
              <a:gd name="connsiteX172" fmla="*/ 7326490 w 8946048"/>
              <a:gd name="connsiteY172" fmla="*/ 2579160 h 8680596"/>
              <a:gd name="connsiteX173" fmla="*/ 7363641 w 8946048"/>
              <a:gd name="connsiteY173" fmla="*/ 2541315 h 8680596"/>
              <a:gd name="connsiteX174" fmla="*/ 7418346 w 8946048"/>
              <a:gd name="connsiteY174" fmla="*/ 2539281 h 8680596"/>
              <a:gd name="connsiteX175" fmla="*/ 7396891 w 8946048"/>
              <a:gd name="connsiteY175" fmla="*/ 2583245 h 8680596"/>
              <a:gd name="connsiteX176" fmla="*/ 7355096 w 8946048"/>
              <a:gd name="connsiteY176" fmla="*/ 2625820 h 8680596"/>
              <a:gd name="connsiteX177" fmla="*/ 7444349 w 8946048"/>
              <a:gd name="connsiteY177" fmla="*/ 2639124 h 8680596"/>
              <a:gd name="connsiteX178" fmla="*/ 7451036 w 8946048"/>
              <a:gd name="connsiteY178" fmla="*/ 2682846 h 8680596"/>
              <a:gd name="connsiteX179" fmla="*/ 7439054 w 8946048"/>
              <a:gd name="connsiteY179" fmla="*/ 2736109 h 8680596"/>
              <a:gd name="connsiteX180" fmla="*/ 7384875 w 8946048"/>
              <a:gd name="connsiteY180" fmla="*/ 2791298 h 8680596"/>
              <a:gd name="connsiteX181" fmla="*/ 7385153 w 8946048"/>
              <a:gd name="connsiteY181" fmla="*/ 2819439 h 8680596"/>
              <a:gd name="connsiteX182" fmla="*/ 7346856 w 8946048"/>
              <a:gd name="connsiteY182" fmla="*/ 2899509 h 8680596"/>
              <a:gd name="connsiteX183" fmla="*/ 7190604 w 8946048"/>
              <a:gd name="connsiteY183" fmla="*/ 3068150 h 8680596"/>
              <a:gd name="connsiteX184" fmla="*/ 7197414 w 8946048"/>
              <a:gd name="connsiteY184" fmla="*/ 3124379 h 8680596"/>
              <a:gd name="connsiteX185" fmla="*/ 7233543 w 8946048"/>
              <a:gd name="connsiteY185" fmla="*/ 3141268 h 8680596"/>
              <a:gd name="connsiteX186" fmla="*/ 7234689 w 8946048"/>
              <a:gd name="connsiteY186" fmla="*/ 3099042 h 8680596"/>
              <a:gd name="connsiteX187" fmla="*/ 7271840 w 8946048"/>
              <a:gd name="connsiteY187" fmla="*/ 3061197 h 8680596"/>
              <a:gd name="connsiteX188" fmla="*/ 7309331 w 8946048"/>
              <a:gd name="connsiteY188" fmla="*/ 3057748 h 8680596"/>
              <a:gd name="connsiteX189" fmla="*/ 7311995 w 8946048"/>
              <a:gd name="connsiteY189" fmla="*/ 3010819 h 8680596"/>
              <a:gd name="connsiteX190" fmla="*/ 7365027 w 8946048"/>
              <a:gd name="connsiteY190" fmla="*/ 2997855 h 8680596"/>
              <a:gd name="connsiteX191" fmla="*/ 7367845 w 8946048"/>
              <a:gd name="connsiteY191" fmla="*/ 2966560 h 8680596"/>
              <a:gd name="connsiteX192" fmla="*/ 7405336 w 8946048"/>
              <a:gd name="connsiteY192" fmla="*/ 2963111 h 8680596"/>
              <a:gd name="connsiteX193" fmla="*/ 7464159 w 8946048"/>
              <a:gd name="connsiteY193" fmla="*/ 2903191 h 8680596"/>
              <a:gd name="connsiteX194" fmla="*/ 7506572 w 8946048"/>
              <a:gd name="connsiteY194" fmla="*/ 2923152 h 8680596"/>
              <a:gd name="connsiteX195" fmla="*/ 7520504 w 8946048"/>
              <a:gd name="connsiteY195" fmla="*/ 2908960 h 8680596"/>
              <a:gd name="connsiteX196" fmla="*/ 7601990 w 8946048"/>
              <a:gd name="connsiteY196" fmla="*/ 2769105 h 8680596"/>
              <a:gd name="connsiteX197" fmla="*/ 7602948 w 8946048"/>
              <a:gd name="connsiteY197" fmla="*/ 2866037 h 8680596"/>
              <a:gd name="connsiteX198" fmla="*/ 7613876 w 8946048"/>
              <a:gd name="connsiteY198" fmla="*/ 2864379 h 8680596"/>
              <a:gd name="connsiteX199" fmla="*/ 7651028 w 8946048"/>
              <a:gd name="connsiteY199" fmla="*/ 2826534 h 8680596"/>
              <a:gd name="connsiteX200" fmla="*/ 7693224 w 8946048"/>
              <a:gd name="connsiteY200" fmla="*/ 2824608 h 8680596"/>
              <a:gd name="connsiteX201" fmla="*/ 7730376 w 8946048"/>
              <a:gd name="connsiteY201" fmla="*/ 2786764 h 8680596"/>
              <a:gd name="connsiteX202" fmla="*/ 7730035 w 8946048"/>
              <a:gd name="connsiteY202" fmla="*/ 2752369 h 8680596"/>
              <a:gd name="connsiteX203" fmla="*/ 7770622 w 8946048"/>
              <a:gd name="connsiteY203" fmla="*/ 2745766 h 8680596"/>
              <a:gd name="connsiteX204" fmla="*/ 7800034 w 8946048"/>
              <a:gd name="connsiteY204" fmla="*/ 2715806 h 8680596"/>
              <a:gd name="connsiteX205" fmla="*/ 7834460 w 8946048"/>
              <a:gd name="connsiteY205" fmla="*/ 2718637 h 8680596"/>
              <a:gd name="connsiteX206" fmla="*/ 7794491 w 8946048"/>
              <a:gd name="connsiteY206" fmla="*/ 2787776 h 8680596"/>
              <a:gd name="connsiteX207" fmla="*/ 7854986 w 8946048"/>
              <a:gd name="connsiteY207" fmla="*/ 2738786 h 8680596"/>
              <a:gd name="connsiteX208" fmla="*/ 7900247 w 8946048"/>
              <a:gd name="connsiteY208" fmla="*/ 2730580 h 8680596"/>
              <a:gd name="connsiteX209" fmla="*/ 7902972 w 8946048"/>
              <a:gd name="connsiteY209" fmla="*/ 2689905 h 8680596"/>
              <a:gd name="connsiteX210" fmla="*/ 7940494 w 8946048"/>
              <a:gd name="connsiteY210" fmla="*/ 2689582 h 8680596"/>
              <a:gd name="connsiteX211" fmla="*/ 7996221 w 8946048"/>
              <a:gd name="connsiteY211" fmla="*/ 2632815 h 8680596"/>
              <a:gd name="connsiteX212" fmla="*/ 8168414 w 8946048"/>
              <a:gd name="connsiteY212" fmla="*/ 2653224 h 8680596"/>
              <a:gd name="connsiteX213" fmla="*/ 8253552 w 8946048"/>
              <a:gd name="connsiteY213" fmla="*/ 2566498 h 8680596"/>
              <a:gd name="connsiteX214" fmla="*/ 8286616 w 8946048"/>
              <a:gd name="connsiteY214" fmla="*/ 2589667 h 8680596"/>
              <a:gd name="connsiteX215" fmla="*/ 8231074 w 8946048"/>
              <a:gd name="connsiteY215" fmla="*/ 2665194 h 8680596"/>
              <a:gd name="connsiteX216" fmla="*/ 8190456 w 8946048"/>
              <a:gd name="connsiteY216" fmla="*/ 2668670 h 8680596"/>
              <a:gd name="connsiteX217" fmla="*/ 8134729 w 8946048"/>
              <a:gd name="connsiteY217" fmla="*/ 2725437 h 8680596"/>
              <a:gd name="connsiteX218" fmla="*/ 8133552 w 8946048"/>
              <a:gd name="connsiteY218" fmla="*/ 2764535 h 8680596"/>
              <a:gd name="connsiteX219" fmla="*/ 8074915 w 8946048"/>
              <a:gd name="connsiteY219" fmla="*/ 2843216 h 8680596"/>
              <a:gd name="connsiteX220" fmla="*/ 8154077 w 8946048"/>
              <a:gd name="connsiteY220" fmla="*/ 2784684 h 8680596"/>
              <a:gd name="connsiteX221" fmla="*/ 8193117 w 8946048"/>
              <a:gd name="connsiteY221" fmla="*/ 2779658 h 8680596"/>
              <a:gd name="connsiteX222" fmla="*/ 8279802 w 8946048"/>
              <a:gd name="connsiteY222" fmla="*/ 2691355 h 8680596"/>
              <a:gd name="connsiteX223" fmla="*/ 8351442 w 8946048"/>
              <a:gd name="connsiteY223" fmla="*/ 2662595 h 8680596"/>
              <a:gd name="connsiteX224" fmla="*/ 8405930 w 8946048"/>
              <a:gd name="connsiteY224" fmla="*/ 2638674 h 8680596"/>
              <a:gd name="connsiteX225" fmla="*/ 8477786 w 8946048"/>
              <a:gd name="connsiteY225" fmla="*/ 2631802 h 8680596"/>
              <a:gd name="connsiteX226" fmla="*/ 8442336 w 8946048"/>
              <a:gd name="connsiteY226" fmla="*/ 2683703 h 8680596"/>
              <a:gd name="connsiteX227" fmla="*/ 8412648 w 8946048"/>
              <a:gd name="connsiteY227" fmla="*/ 2685522 h 8680596"/>
              <a:gd name="connsiteX228" fmla="*/ 8364722 w 8946048"/>
              <a:gd name="connsiteY228" fmla="*/ 2740658 h 8680596"/>
              <a:gd name="connsiteX229" fmla="*/ 8447414 w 8946048"/>
              <a:gd name="connsiteY229" fmla="*/ 2722748 h 8680596"/>
              <a:gd name="connsiteX230" fmla="*/ 8520724 w 8946048"/>
              <a:gd name="connsiteY230" fmla="*/ 2704918 h 8680596"/>
              <a:gd name="connsiteX231" fmla="*/ 8418774 w 8946048"/>
              <a:gd name="connsiteY231" fmla="*/ 2830878 h 8680596"/>
              <a:gd name="connsiteX232" fmla="*/ 8461126 w 8946048"/>
              <a:gd name="connsiteY232" fmla="*/ 2844586 h 8680596"/>
              <a:gd name="connsiteX233" fmla="*/ 8402582 w 8946048"/>
              <a:gd name="connsiteY233" fmla="*/ 2932647 h 8680596"/>
              <a:gd name="connsiteX234" fmla="*/ 8497410 w 8946048"/>
              <a:gd name="connsiteY234" fmla="*/ 2877108 h 8680596"/>
              <a:gd name="connsiteX235" fmla="*/ 8593754 w 8946048"/>
              <a:gd name="connsiteY235" fmla="*/ 2816865 h 8680596"/>
              <a:gd name="connsiteX236" fmla="*/ 8595890 w 8946048"/>
              <a:gd name="connsiteY236" fmla="*/ 2874698 h 8680596"/>
              <a:gd name="connsiteX237" fmla="*/ 8558738 w 8946048"/>
              <a:gd name="connsiteY237" fmla="*/ 2912542 h 8680596"/>
              <a:gd name="connsiteX238" fmla="*/ 8556012 w 8946048"/>
              <a:gd name="connsiteY238" fmla="*/ 2953217 h 8680596"/>
              <a:gd name="connsiteX239" fmla="*/ 8514280 w 8946048"/>
              <a:gd name="connsiteY239" fmla="*/ 3002045 h 8680596"/>
              <a:gd name="connsiteX240" fmla="*/ 8481494 w 8946048"/>
              <a:gd name="connsiteY240" fmla="*/ 3007018 h 8680596"/>
              <a:gd name="connsiteX241" fmla="*/ 8514280 w 8946048"/>
              <a:gd name="connsiteY241" fmla="*/ 3002045 h 8680596"/>
              <a:gd name="connsiteX242" fmla="*/ 8536260 w 8946048"/>
              <a:gd name="connsiteY242" fmla="*/ 3011237 h 8680596"/>
              <a:gd name="connsiteX243" fmla="*/ 8629138 w 8946048"/>
              <a:gd name="connsiteY243" fmla="*/ 2916627 h 8680596"/>
              <a:gd name="connsiteX244" fmla="*/ 8669756 w 8946048"/>
              <a:gd name="connsiteY244" fmla="*/ 2913151 h 8680596"/>
              <a:gd name="connsiteX245" fmla="*/ 8789568 w 8946048"/>
              <a:gd name="connsiteY245" fmla="*/ 2854270 h 8680596"/>
              <a:gd name="connsiteX246" fmla="*/ 8730962 w 8946048"/>
              <a:gd name="connsiteY246" fmla="*/ 2936077 h 8680596"/>
              <a:gd name="connsiteX247" fmla="*/ 8737432 w 8946048"/>
              <a:gd name="connsiteY247" fmla="*/ 2957912 h 8680596"/>
              <a:gd name="connsiteX248" fmla="*/ 8762600 w 8946048"/>
              <a:gd name="connsiteY248" fmla="*/ 2973331 h 8680596"/>
              <a:gd name="connsiteX249" fmla="*/ 8810650 w 8946048"/>
              <a:gd name="connsiteY249" fmla="*/ 2930702 h 8680596"/>
              <a:gd name="connsiteX250" fmla="*/ 8846932 w 8946048"/>
              <a:gd name="connsiteY250" fmla="*/ 2963224 h 8680596"/>
              <a:gd name="connsiteX251" fmla="*/ 8754054 w 8946048"/>
              <a:gd name="connsiteY251" fmla="*/ 3057835 h 8680596"/>
              <a:gd name="connsiteX252" fmla="*/ 8749812 w 8946048"/>
              <a:gd name="connsiteY252" fmla="*/ 3103213 h 8680596"/>
              <a:gd name="connsiteX253" fmla="*/ 8714302 w 8946048"/>
              <a:gd name="connsiteY253" fmla="*/ 3148861 h 8680596"/>
              <a:gd name="connsiteX254" fmla="*/ 8713032 w 8946048"/>
              <a:gd name="connsiteY254" fmla="*/ 3178579 h 8680596"/>
              <a:gd name="connsiteX255" fmla="*/ 8656966 w 8946048"/>
              <a:gd name="connsiteY255" fmla="*/ 3200951 h 8680596"/>
              <a:gd name="connsiteX256" fmla="*/ 8655788 w 8946048"/>
              <a:gd name="connsiteY256" fmla="*/ 3240049 h 8680596"/>
              <a:gd name="connsiteX257" fmla="*/ 8621394 w 8946048"/>
              <a:gd name="connsiteY257" fmla="*/ 3240345 h 8680596"/>
              <a:gd name="connsiteX258" fmla="*/ 8617058 w 8946048"/>
              <a:gd name="connsiteY258" fmla="*/ 3276344 h 8680596"/>
              <a:gd name="connsiteX259" fmla="*/ 8541208 w 8946048"/>
              <a:gd name="connsiteY259" fmla="*/ 3353609 h 8680596"/>
              <a:gd name="connsiteX260" fmla="*/ 8505296 w 8946048"/>
              <a:gd name="connsiteY260" fmla="*/ 3358609 h 8680596"/>
              <a:gd name="connsiteX261" fmla="*/ 8347404 w 8946048"/>
              <a:gd name="connsiteY261" fmla="*/ 3519446 h 8680596"/>
              <a:gd name="connsiteX262" fmla="*/ 8388022 w 8946048"/>
              <a:gd name="connsiteY262" fmla="*/ 3515970 h 8680596"/>
              <a:gd name="connsiteX263" fmla="*/ 8428608 w 8946048"/>
              <a:gd name="connsiteY263" fmla="*/ 3509367 h 8680596"/>
              <a:gd name="connsiteX264" fmla="*/ 8482788 w 8946048"/>
              <a:gd name="connsiteY264" fmla="*/ 3454178 h 8680596"/>
              <a:gd name="connsiteX265" fmla="*/ 8583000 w 8946048"/>
              <a:gd name="connsiteY265" fmla="*/ 3468952 h 8680596"/>
              <a:gd name="connsiteX266" fmla="*/ 8582722 w 8946048"/>
              <a:gd name="connsiteY266" fmla="*/ 3440810 h 8680596"/>
              <a:gd name="connsiteX267" fmla="*/ 8656126 w 8946048"/>
              <a:gd name="connsiteY267" fmla="*/ 3432361 h 8680596"/>
              <a:gd name="connsiteX268" fmla="*/ 8707302 w 8946048"/>
              <a:gd name="connsiteY268" fmla="*/ 3389706 h 8680596"/>
              <a:gd name="connsiteX269" fmla="*/ 8735690 w 8946048"/>
              <a:gd name="connsiteY269" fmla="*/ 3414478 h 8680596"/>
              <a:gd name="connsiteX270" fmla="*/ 8684792 w 8946048"/>
              <a:gd name="connsiteY270" fmla="*/ 3485275 h 8680596"/>
              <a:gd name="connsiteX271" fmla="*/ 8631760 w 8946048"/>
              <a:gd name="connsiteY271" fmla="*/ 3498239 h 8680596"/>
              <a:gd name="connsiteX272" fmla="*/ 8616806 w 8946048"/>
              <a:gd name="connsiteY272" fmla="*/ 3567163 h 8680596"/>
              <a:gd name="connsiteX273" fmla="*/ 8702532 w 8946048"/>
              <a:gd name="connsiteY273" fmla="*/ 3539846 h 8680596"/>
              <a:gd name="connsiteX274" fmla="*/ 8769094 w 8946048"/>
              <a:gd name="connsiteY274" fmla="*/ 3472042 h 8680596"/>
              <a:gd name="connsiteX275" fmla="*/ 8809712 w 8946048"/>
              <a:gd name="connsiteY275" fmla="*/ 3468565 h 8680596"/>
              <a:gd name="connsiteX276" fmla="*/ 8860888 w 8946048"/>
              <a:gd name="connsiteY276" fmla="*/ 3425910 h 8680596"/>
              <a:gd name="connsiteX277" fmla="*/ 8892434 w 8946048"/>
              <a:gd name="connsiteY277" fmla="*/ 3453782 h 8680596"/>
              <a:gd name="connsiteX278" fmla="*/ 8869400 w 8946048"/>
              <a:gd name="connsiteY278" fmla="*/ 3496196 h 8680596"/>
              <a:gd name="connsiteX279" fmla="*/ 8890050 w 8946048"/>
              <a:gd name="connsiteY279" fmla="*/ 3528853 h 8680596"/>
              <a:gd name="connsiteX280" fmla="*/ 8942990 w 8946048"/>
              <a:gd name="connsiteY280" fmla="*/ 3506508 h 8680596"/>
              <a:gd name="connsiteX281" fmla="*/ 8944754 w 8946048"/>
              <a:gd name="connsiteY281" fmla="*/ 3526819 h 8680596"/>
              <a:gd name="connsiteX282" fmla="*/ 8918468 w 8946048"/>
              <a:gd name="connsiteY282" fmla="*/ 3556752 h 8680596"/>
              <a:gd name="connsiteX283" fmla="*/ 8872462 w 8946048"/>
              <a:gd name="connsiteY283" fmla="*/ 3647832 h 8680596"/>
              <a:gd name="connsiteX284" fmla="*/ 8849922 w 8946048"/>
              <a:gd name="connsiteY284" fmla="*/ 3740275 h 8680596"/>
              <a:gd name="connsiteX285" fmla="*/ 8780264 w 8946048"/>
              <a:gd name="connsiteY285" fmla="*/ 3811233 h 8680596"/>
              <a:gd name="connsiteX286" fmla="*/ 8775992 w 8946048"/>
              <a:gd name="connsiteY286" fmla="*/ 3853485 h 8680596"/>
              <a:gd name="connsiteX287" fmla="*/ 8681566 w 8946048"/>
              <a:gd name="connsiteY287" fmla="*/ 3949672 h 8680596"/>
              <a:gd name="connsiteX288" fmla="*/ 8644044 w 8946048"/>
              <a:gd name="connsiteY288" fmla="*/ 3949995 h 8680596"/>
              <a:gd name="connsiteX289" fmla="*/ 8366958 w 8946048"/>
              <a:gd name="connsiteY289" fmla="*/ 4232250 h 8680596"/>
              <a:gd name="connsiteX290" fmla="*/ 8343398 w 8946048"/>
              <a:gd name="connsiteY290" fmla="*/ 4221508 h 8680596"/>
              <a:gd name="connsiteX291" fmla="*/ 8149903 w 8946048"/>
              <a:gd name="connsiteY291" fmla="*/ 4418613 h 8680596"/>
              <a:gd name="connsiteX292" fmla="*/ 8161047 w 8946048"/>
              <a:gd name="connsiteY292" fmla="*/ 4438843 h 8680596"/>
              <a:gd name="connsiteX293" fmla="*/ 8366958 w 8946048"/>
              <a:gd name="connsiteY293" fmla="*/ 4232250 h 8680596"/>
              <a:gd name="connsiteX294" fmla="*/ 8380084 w 8946048"/>
              <a:gd name="connsiteY294" fmla="*/ 4294679 h 8680596"/>
              <a:gd name="connsiteX295" fmla="*/ 8326182 w 8946048"/>
              <a:gd name="connsiteY295" fmla="*/ 4378009 h 8680596"/>
              <a:gd name="connsiteX296" fmla="*/ 8397512 w 8946048"/>
              <a:gd name="connsiteY296" fmla="*/ 4317982 h 8680596"/>
              <a:gd name="connsiteX297" fmla="*/ 8454788 w 8946048"/>
              <a:gd name="connsiteY297" fmla="*/ 4259638 h 8680596"/>
              <a:gd name="connsiteX298" fmla="*/ 8535282 w 8946048"/>
              <a:gd name="connsiteY298" fmla="*/ 4177643 h 8680596"/>
              <a:gd name="connsiteX299" fmla="*/ 8509708 w 8946048"/>
              <a:gd name="connsiteY299" fmla="*/ 4279492 h 8680596"/>
              <a:gd name="connsiteX300" fmla="*/ 8478440 w 8946048"/>
              <a:gd name="connsiteY300" fmla="*/ 4279761 h 8680596"/>
              <a:gd name="connsiteX301" fmla="*/ 8472588 w 8946048"/>
              <a:gd name="connsiteY301" fmla="*/ 4320463 h 8680596"/>
              <a:gd name="connsiteX302" fmla="*/ 8440296 w 8946048"/>
              <a:gd name="connsiteY302" fmla="*/ 4375464 h 8680596"/>
              <a:gd name="connsiteX303" fmla="*/ 8493452 w 8946048"/>
              <a:gd name="connsiteY303" fmla="*/ 4375007 h 8680596"/>
              <a:gd name="connsiteX304" fmla="*/ 8496210 w 8946048"/>
              <a:gd name="connsiteY304" fmla="*/ 4337459 h 8680596"/>
              <a:gd name="connsiteX305" fmla="*/ 8529026 w 8946048"/>
              <a:gd name="connsiteY305" fmla="*/ 4335613 h 8680596"/>
              <a:gd name="connsiteX306" fmla="*/ 8594132 w 8946048"/>
              <a:gd name="connsiteY306" fmla="*/ 4278766 h 8680596"/>
              <a:gd name="connsiteX307" fmla="*/ 8653914 w 8946048"/>
              <a:gd name="connsiteY307" fmla="*/ 4315777 h 8680596"/>
              <a:gd name="connsiteX308" fmla="*/ 8705306 w 8946048"/>
              <a:gd name="connsiteY308" fmla="*/ 4295009 h 8680596"/>
              <a:gd name="connsiteX309" fmla="*/ 8666854 w 8946048"/>
              <a:gd name="connsiteY309" fmla="*/ 4359444 h 8680596"/>
              <a:gd name="connsiteX310" fmla="*/ 8675304 w 8946048"/>
              <a:gd name="connsiteY310" fmla="*/ 4423477 h 8680596"/>
              <a:gd name="connsiteX311" fmla="*/ 8477164 w 8946048"/>
              <a:gd name="connsiteY311" fmla="*/ 4625313 h 8680596"/>
              <a:gd name="connsiteX312" fmla="*/ 8478930 w 8946048"/>
              <a:gd name="connsiteY312" fmla="*/ 4645623 h 8680596"/>
              <a:gd name="connsiteX313" fmla="*/ 8475988 w 8946048"/>
              <a:gd name="connsiteY313" fmla="*/ 4664411 h 8680596"/>
              <a:gd name="connsiteX314" fmla="*/ 8096736 w 8946048"/>
              <a:gd name="connsiteY314" fmla="*/ 5050738 h 8680596"/>
              <a:gd name="connsiteX315" fmla="*/ 8098655 w 8946048"/>
              <a:gd name="connsiteY315" fmla="*/ 5086683 h 8680596"/>
              <a:gd name="connsiteX316" fmla="*/ 7623430 w 8946048"/>
              <a:gd name="connsiteY316" fmla="*/ 5570774 h 8680596"/>
              <a:gd name="connsiteX317" fmla="*/ 7623800 w 8946048"/>
              <a:gd name="connsiteY317" fmla="*/ 5608295 h 8680596"/>
              <a:gd name="connsiteX318" fmla="*/ 6631555 w 8946048"/>
              <a:gd name="connsiteY318" fmla="*/ 6619052 h 8680596"/>
              <a:gd name="connsiteX319" fmla="*/ 6594032 w 8946048"/>
              <a:gd name="connsiteY319" fmla="*/ 6619375 h 8680596"/>
              <a:gd name="connsiteX320" fmla="*/ 6289083 w 8946048"/>
              <a:gd name="connsiteY320" fmla="*/ 6930013 h 8680596"/>
              <a:gd name="connsiteX321" fmla="*/ 6254688 w 8946048"/>
              <a:gd name="connsiteY321" fmla="*/ 6930308 h 8680596"/>
              <a:gd name="connsiteX322" fmla="*/ 6065836 w 8946048"/>
              <a:gd name="connsiteY322" fmla="*/ 7122683 h 8680596"/>
              <a:gd name="connsiteX323" fmla="*/ 6023639 w 8946048"/>
              <a:gd name="connsiteY323" fmla="*/ 7124610 h 8680596"/>
              <a:gd name="connsiteX324" fmla="*/ 5853363 w 8946048"/>
              <a:gd name="connsiteY324" fmla="*/ 7298062 h 8680596"/>
              <a:gd name="connsiteX325" fmla="*/ 5826800 w 8946048"/>
              <a:gd name="connsiteY325" fmla="*/ 7299854 h 8680596"/>
              <a:gd name="connsiteX326" fmla="*/ 5814293 w 8946048"/>
              <a:gd name="connsiteY326" fmla="*/ 7299962 h 8680596"/>
              <a:gd name="connsiteX327" fmla="*/ 5529467 w 8946048"/>
              <a:gd name="connsiteY327" fmla="*/ 7590101 h 8680596"/>
              <a:gd name="connsiteX328" fmla="*/ 5501326 w 8946048"/>
              <a:gd name="connsiteY328" fmla="*/ 7590343 h 8680596"/>
              <a:gd name="connsiteX329" fmla="*/ 5488849 w 8946048"/>
              <a:gd name="connsiteY329" fmla="*/ 7593577 h 8680596"/>
              <a:gd name="connsiteX330" fmla="*/ 5225695 w 8946048"/>
              <a:gd name="connsiteY330" fmla="*/ 7861640 h 8680596"/>
              <a:gd name="connsiteX331" fmla="*/ 5191300 w 8946048"/>
              <a:gd name="connsiteY331" fmla="*/ 7861936 h 8680596"/>
              <a:gd name="connsiteX332" fmla="*/ 4912666 w 8946048"/>
              <a:gd name="connsiteY332" fmla="*/ 8145768 h 8680596"/>
              <a:gd name="connsiteX333" fmla="*/ 4850253 w 8946048"/>
              <a:gd name="connsiteY333" fmla="*/ 8158813 h 8680596"/>
              <a:gd name="connsiteX334" fmla="*/ 4841367 w 8946048"/>
              <a:gd name="connsiteY334" fmla="*/ 8208922 h 8680596"/>
              <a:gd name="connsiteX335" fmla="*/ 4805424 w 8946048"/>
              <a:gd name="connsiteY335" fmla="*/ 8210795 h 8680596"/>
              <a:gd name="connsiteX336" fmla="*/ 4653723 w 8946048"/>
              <a:gd name="connsiteY336" fmla="*/ 8365326 h 8680596"/>
              <a:gd name="connsiteX337" fmla="*/ 4619328 w 8946048"/>
              <a:gd name="connsiteY337" fmla="*/ 8365622 h 8680596"/>
              <a:gd name="connsiteX338" fmla="*/ 4518648 w 8946048"/>
              <a:gd name="connsiteY338" fmla="*/ 8461862 h 8680596"/>
              <a:gd name="connsiteX339" fmla="*/ 4485832 w 8946048"/>
              <a:gd name="connsiteY339" fmla="*/ 8463708 h 8680596"/>
              <a:gd name="connsiteX340" fmla="*/ 4439300 w 8946048"/>
              <a:gd name="connsiteY340" fmla="*/ 8501633 h 8680596"/>
              <a:gd name="connsiteX341" fmla="*/ 4412738 w 8946048"/>
              <a:gd name="connsiteY341" fmla="*/ 8503425 h 8680596"/>
              <a:gd name="connsiteX342" fmla="*/ 4400261 w 8946048"/>
              <a:gd name="connsiteY342" fmla="*/ 8506659 h 8680596"/>
              <a:gd name="connsiteX343" fmla="*/ 4283762 w 8946048"/>
              <a:gd name="connsiteY343" fmla="*/ 8584274 h 8680596"/>
              <a:gd name="connsiteX344" fmla="*/ 4141692 w 8946048"/>
              <a:gd name="connsiteY344" fmla="*/ 8605822 h 8680596"/>
              <a:gd name="connsiteX345" fmla="*/ 4043336 w 8946048"/>
              <a:gd name="connsiteY345" fmla="*/ 8620739 h 8680596"/>
              <a:gd name="connsiteX346" fmla="*/ 4003864 w 8946048"/>
              <a:gd name="connsiteY346" fmla="*/ 8581990 h 8680596"/>
              <a:gd name="connsiteX347" fmla="*/ 4001914 w 8946048"/>
              <a:gd name="connsiteY347" fmla="*/ 8542919 h 8680596"/>
              <a:gd name="connsiteX348" fmla="*/ 3987859 w 8946048"/>
              <a:gd name="connsiteY348" fmla="*/ 8544603 h 8680596"/>
              <a:gd name="connsiteX349" fmla="*/ 3894981 w 8946048"/>
              <a:gd name="connsiteY349" fmla="*/ 8639214 h 8680596"/>
              <a:gd name="connsiteX350" fmla="*/ 3849657 w 8946048"/>
              <a:gd name="connsiteY350" fmla="*/ 8641167 h 8680596"/>
              <a:gd name="connsiteX351" fmla="*/ 3810958 w 8946048"/>
              <a:gd name="connsiteY351" fmla="*/ 8680588 h 8680596"/>
              <a:gd name="connsiteX352" fmla="*/ 3751486 w 8946048"/>
              <a:gd name="connsiteY352" fmla="*/ 8674845 h 8680596"/>
              <a:gd name="connsiteX353" fmla="*/ 3716751 w 8946048"/>
              <a:gd name="connsiteY353" fmla="*/ 8640746 h 8680596"/>
              <a:gd name="connsiteX354" fmla="*/ 3582513 w 8946048"/>
              <a:gd name="connsiteY354" fmla="*/ 8663790 h 8680596"/>
              <a:gd name="connsiteX355" fmla="*/ 3541462 w 8946048"/>
              <a:gd name="connsiteY355" fmla="*/ 8623491 h 8680596"/>
              <a:gd name="connsiteX356" fmla="*/ 3539979 w 8946048"/>
              <a:gd name="connsiteY356" fmla="*/ 8473404 h 8680596"/>
              <a:gd name="connsiteX357" fmla="*/ 3464904 w 8946048"/>
              <a:gd name="connsiteY357" fmla="*/ 8470923 h 8680596"/>
              <a:gd name="connsiteX358" fmla="*/ 3470076 w 8946048"/>
              <a:gd name="connsiteY358" fmla="*/ 8361431 h 8680596"/>
              <a:gd name="connsiteX359" fmla="*/ 3521591 w 8946048"/>
              <a:gd name="connsiteY359" fmla="*/ 8353170 h 8680596"/>
              <a:gd name="connsiteX360" fmla="*/ 3690319 w 8946048"/>
              <a:gd name="connsiteY360" fmla="*/ 8181294 h 8680596"/>
              <a:gd name="connsiteX361" fmla="*/ 3691558 w 8946048"/>
              <a:gd name="connsiteY361" fmla="*/ 8148450 h 8680596"/>
              <a:gd name="connsiteX362" fmla="*/ 3748833 w 8946048"/>
              <a:gd name="connsiteY362" fmla="*/ 8090106 h 8680596"/>
              <a:gd name="connsiteX363" fmla="*/ 3746883 w 8946048"/>
              <a:gd name="connsiteY363" fmla="*/ 8051035 h 8680596"/>
              <a:gd name="connsiteX364" fmla="*/ 3799514 w 8946048"/>
              <a:gd name="connsiteY364" fmla="*/ 7997422 h 8680596"/>
              <a:gd name="connsiteX365" fmla="*/ 3806852 w 8946048"/>
              <a:gd name="connsiteY365" fmla="*/ 7948889 h 8680596"/>
              <a:gd name="connsiteX366" fmla="*/ 3862579 w 8946048"/>
              <a:gd name="connsiteY366" fmla="*/ 7892123 h 8680596"/>
              <a:gd name="connsiteX367" fmla="*/ 3860598 w 8946048"/>
              <a:gd name="connsiteY367" fmla="*/ 7849925 h 8680596"/>
              <a:gd name="connsiteX368" fmla="*/ 3936448 w 8946048"/>
              <a:gd name="connsiteY368" fmla="*/ 7772659 h 8680596"/>
              <a:gd name="connsiteX369" fmla="*/ 3936109 w 8946048"/>
              <a:gd name="connsiteY369" fmla="*/ 7738265 h 8680596"/>
              <a:gd name="connsiteX370" fmla="*/ 3993383 w 8946048"/>
              <a:gd name="connsiteY370" fmla="*/ 7679921 h 8680596"/>
              <a:gd name="connsiteX371" fmla="*/ 4032453 w 8946048"/>
              <a:gd name="connsiteY371" fmla="*/ 7678022 h 8680596"/>
              <a:gd name="connsiteX372" fmla="*/ 4030565 w 8946048"/>
              <a:gd name="connsiteY372" fmla="*/ 7645204 h 8680596"/>
              <a:gd name="connsiteX373" fmla="*/ 4126539 w 8946048"/>
              <a:gd name="connsiteY373" fmla="*/ 7547440 h 8680596"/>
              <a:gd name="connsiteX374" fmla="*/ 4126168 w 8946048"/>
              <a:gd name="connsiteY374" fmla="*/ 7509918 h 8680596"/>
              <a:gd name="connsiteX375" fmla="*/ 4158954 w 8946048"/>
              <a:gd name="connsiteY375" fmla="*/ 7504946 h 8680596"/>
              <a:gd name="connsiteX376" fmla="*/ 4172514 w 8946048"/>
              <a:gd name="connsiteY376" fmla="*/ 7453232 h 8680596"/>
              <a:gd name="connsiteX377" fmla="*/ 4220903 w 8946048"/>
              <a:gd name="connsiteY377" fmla="*/ 7444999 h 8680596"/>
              <a:gd name="connsiteX378" fmla="*/ 4222111 w 8946048"/>
              <a:gd name="connsiteY378" fmla="*/ 7409027 h 8680596"/>
              <a:gd name="connsiteX379" fmla="*/ 4316537 w 8946048"/>
              <a:gd name="connsiteY379" fmla="*/ 7312840 h 8680596"/>
              <a:gd name="connsiteX380" fmla="*/ 4354028 w 8946048"/>
              <a:gd name="connsiteY380" fmla="*/ 7309390 h 8680596"/>
              <a:gd name="connsiteX381" fmla="*/ 4323937 w 8946048"/>
              <a:gd name="connsiteY381" fmla="*/ 7270561 h 8680596"/>
              <a:gd name="connsiteX382" fmla="*/ 4000412 w 8946048"/>
              <a:gd name="connsiteY382" fmla="*/ 7600121 h 8680596"/>
              <a:gd name="connsiteX383" fmla="*/ 3951993 w 8946048"/>
              <a:gd name="connsiteY383" fmla="*/ 7605228 h 8680596"/>
              <a:gd name="connsiteX384" fmla="*/ 3820416 w 8946048"/>
              <a:gd name="connsiteY384" fmla="*/ 7739259 h 8680596"/>
              <a:gd name="connsiteX385" fmla="*/ 3779766 w 8946048"/>
              <a:gd name="connsiteY385" fmla="*/ 7739609 h 8680596"/>
              <a:gd name="connsiteX386" fmla="*/ 3703916 w 8946048"/>
              <a:gd name="connsiteY386" fmla="*/ 7816874 h 8680596"/>
              <a:gd name="connsiteX387" fmla="*/ 3669521 w 8946048"/>
              <a:gd name="connsiteY387" fmla="*/ 7817170 h 8680596"/>
              <a:gd name="connsiteX388" fmla="*/ 3612246 w 8946048"/>
              <a:gd name="connsiteY388" fmla="*/ 7875513 h 8680596"/>
              <a:gd name="connsiteX389" fmla="*/ 3611069 w 8946048"/>
              <a:gd name="connsiteY389" fmla="*/ 7914612 h 8680596"/>
              <a:gd name="connsiteX390" fmla="*/ 3440793 w 8946048"/>
              <a:gd name="connsiteY390" fmla="*/ 8088064 h 8680596"/>
              <a:gd name="connsiteX391" fmla="*/ 3441102 w 8946048"/>
              <a:gd name="connsiteY391" fmla="*/ 8119332 h 8680596"/>
              <a:gd name="connsiteX392" fmla="*/ 3402465 w 8946048"/>
              <a:gd name="connsiteY392" fmla="*/ 8165007 h 8680596"/>
              <a:gd name="connsiteX393" fmla="*/ 3364943 w 8946048"/>
              <a:gd name="connsiteY393" fmla="*/ 8165330 h 8680596"/>
              <a:gd name="connsiteX394" fmla="*/ 3231818 w 8946048"/>
              <a:gd name="connsiteY394" fmla="*/ 8300938 h 8680596"/>
              <a:gd name="connsiteX395" fmla="*/ 3192160 w 8946048"/>
              <a:gd name="connsiteY395" fmla="*/ 8243429 h 8680596"/>
              <a:gd name="connsiteX396" fmla="*/ 3136248 w 8946048"/>
              <a:gd name="connsiteY396" fmla="*/ 8281434 h 8680596"/>
              <a:gd name="connsiteX397" fmla="*/ 3075321 w 8946048"/>
              <a:gd name="connsiteY397" fmla="*/ 8286648 h 8680596"/>
              <a:gd name="connsiteX398" fmla="*/ 3038482 w 8946048"/>
              <a:gd name="connsiteY398" fmla="*/ 8197844 h 8680596"/>
              <a:gd name="connsiteX399" fmla="*/ 3070525 w 8946048"/>
              <a:gd name="connsiteY399" fmla="*/ 8117828 h 8680596"/>
              <a:gd name="connsiteX400" fmla="*/ 3101114 w 8946048"/>
              <a:gd name="connsiteY400" fmla="*/ 8048769 h 8680596"/>
              <a:gd name="connsiteX401" fmla="*/ 3112725 w 8946048"/>
              <a:gd name="connsiteY401" fmla="*/ 7957985 h 8680596"/>
              <a:gd name="connsiteX402" fmla="*/ 3188575 w 8946048"/>
              <a:gd name="connsiteY402" fmla="*/ 7880719 h 8680596"/>
              <a:gd name="connsiteX403" fmla="*/ 3226066 w 8946048"/>
              <a:gd name="connsiteY403" fmla="*/ 7877270 h 8680596"/>
              <a:gd name="connsiteX404" fmla="*/ 3228730 w 8946048"/>
              <a:gd name="connsiteY404" fmla="*/ 7830341 h 8680596"/>
              <a:gd name="connsiteX405" fmla="*/ 3287985 w 8946048"/>
              <a:gd name="connsiteY405" fmla="*/ 7814196 h 8680596"/>
              <a:gd name="connsiteX406" fmla="*/ 3264178 w 8946048"/>
              <a:gd name="connsiteY406" fmla="*/ 7778440 h 8680596"/>
              <a:gd name="connsiteX407" fmla="*/ 3341360 w 8946048"/>
              <a:gd name="connsiteY407" fmla="*/ 7677710 h 8680596"/>
              <a:gd name="connsiteX408" fmla="*/ 3339472 w 8946048"/>
              <a:gd name="connsiteY408" fmla="*/ 7644892 h 8680596"/>
              <a:gd name="connsiteX409" fmla="*/ 3372443 w 8946048"/>
              <a:gd name="connsiteY409" fmla="*/ 7658680 h 8680596"/>
              <a:gd name="connsiteX410" fmla="*/ 3402225 w 8946048"/>
              <a:gd name="connsiteY410" fmla="*/ 7666242 h 8680596"/>
              <a:gd name="connsiteX411" fmla="*/ 3376747 w 8946048"/>
              <a:gd name="connsiteY411" fmla="*/ 7619555 h 8680596"/>
              <a:gd name="connsiteX412" fmla="*/ 3437025 w 8946048"/>
              <a:gd name="connsiteY412" fmla="*/ 7548678 h 8680596"/>
              <a:gd name="connsiteX413" fmla="*/ 3485012 w 8946048"/>
              <a:gd name="connsiteY413" fmla="*/ 7499796 h 8680596"/>
              <a:gd name="connsiteX414" fmla="*/ 3510771 w 8946048"/>
              <a:gd name="connsiteY414" fmla="*/ 7416707 h 8680596"/>
              <a:gd name="connsiteX415" fmla="*/ 3396067 w 8946048"/>
              <a:gd name="connsiteY415" fmla="*/ 7517759 h 8680596"/>
              <a:gd name="connsiteX416" fmla="*/ 3396345 w 8946048"/>
              <a:gd name="connsiteY416" fmla="*/ 7545901 h 8680596"/>
              <a:gd name="connsiteX417" fmla="*/ 3355541 w 8946048"/>
              <a:gd name="connsiteY417" fmla="*/ 7530616 h 8680596"/>
              <a:gd name="connsiteX418" fmla="*/ 3341486 w 8946048"/>
              <a:gd name="connsiteY418" fmla="*/ 7532300 h 8680596"/>
              <a:gd name="connsiteX419" fmla="*/ 3248608 w 8946048"/>
              <a:gd name="connsiteY419" fmla="*/ 7626911 h 8680596"/>
              <a:gd name="connsiteX420" fmla="*/ 3070749 w 8946048"/>
              <a:gd name="connsiteY420" fmla="*/ 7665965 h 8680596"/>
              <a:gd name="connsiteX421" fmla="*/ 3031277 w 8946048"/>
              <a:gd name="connsiteY421" fmla="*/ 7627216 h 8680596"/>
              <a:gd name="connsiteX422" fmla="*/ 2937658 w 8946048"/>
              <a:gd name="connsiteY422" fmla="*/ 7646783 h 8680596"/>
              <a:gd name="connsiteX423" fmla="*/ 2878031 w 8946048"/>
              <a:gd name="connsiteY423" fmla="*/ 7625407 h 8680596"/>
              <a:gd name="connsiteX424" fmla="*/ 2871005 w 8946048"/>
              <a:gd name="connsiteY424" fmla="*/ 7547290 h 8680596"/>
              <a:gd name="connsiteX425" fmla="*/ 2735065 w 8946048"/>
              <a:gd name="connsiteY425" fmla="*/ 7556277 h 8680596"/>
              <a:gd name="connsiteX426" fmla="*/ 2607856 w 8946048"/>
              <a:gd name="connsiteY426" fmla="*/ 7499520 h 8680596"/>
              <a:gd name="connsiteX427" fmla="*/ 2590829 w 8946048"/>
              <a:gd name="connsiteY427" fmla="*/ 7516865 h 8680596"/>
              <a:gd name="connsiteX428" fmla="*/ 2456405 w 8946048"/>
              <a:gd name="connsiteY428" fmla="*/ 7521148 h 8680596"/>
              <a:gd name="connsiteX429" fmla="*/ 2394829 w 8946048"/>
              <a:gd name="connsiteY429" fmla="*/ 7460700 h 8680596"/>
              <a:gd name="connsiteX430" fmla="*/ 2368516 w 8946048"/>
              <a:gd name="connsiteY430" fmla="*/ 7329589 h 8680596"/>
              <a:gd name="connsiteX431" fmla="*/ 2308022 w 8946048"/>
              <a:gd name="connsiteY431" fmla="*/ 7378579 h 8680596"/>
              <a:gd name="connsiteX432" fmla="*/ 2183196 w 8946048"/>
              <a:gd name="connsiteY432" fmla="*/ 7404669 h 8680596"/>
              <a:gd name="connsiteX433" fmla="*/ 2126356 w 8946048"/>
              <a:gd name="connsiteY433" fmla="*/ 7348870 h 8680596"/>
              <a:gd name="connsiteX434" fmla="*/ 2070073 w 8946048"/>
              <a:gd name="connsiteY434" fmla="*/ 7349354 h 8680596"/>
              <a:gd name="connsiteX435" fmla="*/ 2031374 w 8946048"/>
              <a:gd name="connsiteY435" fmla="*/ 7388775 h 8680596"/>
              <a:gd name="connsiteX436" fmla="*/ 1956083 w 8946048"/>
              <a:gd name="connsiteY436" fmla="*/ 7364406 h 8680596"/>
              <a:gd name="connsiteX437" fmla="*/ 1951843 w 8946048"/>
              <a:gd name="connsiteY437" fmla="*/ 7251868 h 8680596"/>
              <a:gd name="connsiteX438" fmla="*/ 1913950 w 8946048"/>
              <a:gd name="connsiteY438" fmla="*/ 7214669 h 8680596"/>
              <a:gd name="connsiteX439" fmla="*/ 1936675 w 8946048"/>
              <a:gd name="connsiteY439" fmla="*/ 7140987 h 8680596"/>
              <a:gd name="connsiteX440" fmla="*/ 1971039 w 8946048"/>
              <a:gd name="connsiteY440" fmla="*/ 7137565 h 8680596"/>
              <a:gd name="connsiteX441" fmla="*/ 1970730 w 8946048"/>
              <a:gd name="connsiteY441" fmla="*/ 7106297 h 8680596"/>
              <a:gd name="connsiteX442" fmla="*/ 2027912 w 8946048"/>
              <a:gd name="connsiteY442" fmla="*/ 7038573 h 8680596"/>
              <a:gd name="connsiteX443" fmla="*/ 1998967 w 8946048"/>
              <a:gd name="connsiteY443" fmla="*/ 6957518 h 8680596"/>
              <a:gd name="connsiteX444" fmla="*/ 2021939 w 8946048"/>
              <a:gd name="connsiteY444" fmla="*/ 6908851 h 8680596"/>
              <a:gd name="connsiteX445" fmla="*/ 1998967 w 8946048"/>
              <a:gd name="connsiteY445" fmla="*/ 6957518 h 8680596"/>
              <a:gd name="connsiteX446" fmla="*/ 1945935 w 8946048"/>
              <a:gd name="connsiteY446" fmla="*/ 6970483 h 8680596"/>
              <a:gd name="connsiteX447" fmla="*/ 1921167 w 8946048"/>
              <a:gd name="connsiteY447" fmla="*/ 6995712 h 8680596"/>
              <a:gd name="connsiteX448" fmla="*/ 1892747 w 8946048"/>
              <a:gd name="connsiteY448" fmla="*/ 6967813 h 8680596"/>
              <a:gd name="connsiteX449" fmla="*/ 1947081 w 8946048"/>
              <a:gd name="connsiteY449" fmla="*/ 6928257 h 8680596"/>
              <a:gd name="connsiteX450" fmla="*/ 1949837 w 8946048"/>
              <a:gd name="connsiteY450" fmla="*/ 6890709 h 8680596"/>
              <a:gd name="connsiteX451" fmla="*/ 2005564 w 8946048"/>
              <a:gd name="connsiteY451" fmla="*/ 6833942 h 8680596"/>
              <a:gd name="connsiteX452" fmla="*/ 2044633 w 8946048"/>
              <a:gd name="connsiteY452" fmla="*/ 6832043 h 8680596"/>
              <a:gd name="connsiteX453" fmla="*/ 2044294 w 8946048"/>
              <a:gd name="connsiteY453" fmla="*/ 6797648 h 8680596"/>
              <a:gd name="connsiteX454" fmla="*/ 2138658 w 8946048"/>
              <a:gd name="connsiteY454" fmla="*/ 6695207 h 8680596"/>
              <a:gd name="connsiteX455" fmla="*/ 2141321 w 8946048"/>
              <a:gd name="connsiteY455" fmla="*/ 6648278 h 8680596"/>
              <a:gd name="connsiteX456" fmla="*/ 2200576 w 8946048"/>
              <a:gd name="connsiteY456" fmla="*/ 6632133 h 8680596"/>
              <a:gd name="connsiteX457" fmla="*/ 2251659 w 8946048"/>
              <a:gd name="connsiteY457" fmla="*/ 6580098 h 8680596"/>
              <a:gd name="connsiteX458" fmla="*/ 2254415 w 8946048"/>
              <a:gd name="connsiteY458" fmla="*/ 6542549 h 8680596"/>
              <a:gd name="connsiteX459" fmla="*/ 2305498 w 8946048"/>
              <a:gd name="connsiteY459" fmla="*/ 6490513 h 8680596"/>
              <a:gd name="connsiteX460" fmla="*/ 2328316 w 8946048"/>
              <a:gd name="connsiteY460" fmla="*/ 6426212 h 8680596"/>
              <a:gd name="connsiteX461" fmla="*/ 2367386 w 8946048"/>
              <a:gd name="connsiteY461" fmla="*/ 6424313 h 8680596"/>
              <a:gd name="connsiteX462" fmla="*/ 2367138 w 8946048"/>
              <a:gd name="connsiteY462" fmla="*/ 6399298 h 8680596"/>
              <a:gd name="connsiteX463" fmla="*/ 2448871 w 8946048"/>
              <a:gd name="connsiteY463" fmla="*/ 6284457 h 8680596"/>
              <a:gd name="connsiteX464" fmla="*/ 2366428 w 8946048"/>
              <a:gd name="connsiteY464" fmla="*/ 6327382 h 8680596"/>
              <a:gd name="connsiteX465" fmla="*/ 2295066 w 8946048"/>
              <a:gd name="connsiteY465" fmla="*/ 6384283 h 8680596"/>
              <a:gd name="connsiteX466" fmla="*/ 2239340 w 8946048"/>
              <a:gd name="connsiteY466" fmla="*/ 6441049 h 8680596"/>
              <a:gd name="connsiteX467" fmla="*/ 2177421 w 8946048"/>
              <a:gd name="connsiteY467" fmla="*/ 6504123 h 8680596"/>
              <a:gd name="connsiteX468" fmla="*/ 2134637 w 8946048"/>
              <a:gd name="connsiteY468" fmla="*/ 6446640 h 8680596"/>
              <a:gd name="connsiteX469" fmla="*/ 2092718 w 8946048"/>
              <a:gd name="connsiteY469" fmla="*/ 6476707 h 8680596"/>
              <a:gd name="connsiteX470" fmla="*/ 1977118 w 8946048"/>
              <a:gd name="connsiteY470" fmla="*/ 6487083 h 8680596"/>
              <a:gd name="connsiteX471" fmla="*/ 1949690 w 8946048"/>
              <a:gd name="connsiteY471" fmla="*/ 6401324 h 8680596"/>
              <a:gd name="connsiteX472" fmla="*/ 1963127 w 8946048"/>
              <a:gd name="connsiteY472" fmla="*/ 6337104 h 8680596"/>
              <a:gd name="connsiteX473" fmla="*/ 1998483 w 8946048"/>
              <a:gd name="connsiteY473" fmla="*/ 6275822 h 8680596"/>
              <a:gd name="connsiteX474" fmla="*/ 1945327 w 8946048"/>
              <a:gd name="connsiteY474" fmla="*/ 6276279 h 8680596"/>
              <a:gd name="connsiteX475" fmla="*/ 1901644 w 8946048"/>
              <a:gd name="connsiteY475" fmla="*/ 6286036 h 8680596"/>
              <a:gd name="connsiteX476" fmla="*/ 1924770 w 8946048"/>
              <a:gd name="connsiteY476" fmla="*/ 6253003 h 8680596"/>
              <a:gd name="connsiteX477" fmla="*/ 1912822 w 8946048"/>
              <a:gd name="connsiteY477" fmla="*/ 6151476 h 8680596"/>
              <a:gd name="connsiteX478" fmla="*/ 1962666 w 8946048"/>
              <a:gd name="connsiteY478" fmla="*/ 6132285 h 8680596"/>
              <a:gd name="connsiteX479" fmla="*/ 1977744 w 8946048"/>
              <a:gd name="connsiteY479" fmla="*/ 6075868 h 8680596"/>
              <a:gd name="connsiteX480" fmla="*/ 1981986 w 8946048"/>
              <a:gd name="connsiteY480" fmla="*/ 6030489 h 8680596"/>
              <a:gd name="connsiteX481" fmla="*/ 1937623 w 8946048"/>
              <a:gd name="connsiteY481" fmla="*/ 5971456 h 8680596"/>
              <a:gd name="connsiteX482" fmla="*/ 1975114 w 8946048"/>
              <a:gd name="connsiteY482" fmla="*/ 5968006 h 8680596"/>
              <a:gd name="connsiteX483" fmla="*/ 1994743 w 8946048"/>
              <a:gd name="connsiteY483" fmla="*/ 5897479 h 8680596"/>
              <a:gd name="connsiteX484" fmla="*/ 1983567 w 8946048"/>
              <a:gd name="connsiteY484" fmla="*/ 5874122 h 8680596"/>
              <a:gd name="connsiteX485" fmla="*/ 1924127 w 8946048"/>
              <a:gd name="connsiteY485" fmla="*/ 5871506 h 8680596"/>
              <a:gd name="connsiteX486" fmla="*/ 1808029 w 8946048"/>
              <a:gd name="connsiteY486" fmla="*/ 5989769 h 8680596"/>
              <a:gd name="connsiteX487" fmla="*/ 1770507 w 8946048"/>
              <a:gd name="connsiteY487" fmla="*/ 5990092 h 8680596"/>
              <a:gd name="connsiteX488" fmla="*/ 1471750 w 8946048"/>
              <a:gd name="connsiteY488" fmla="*/ 6294422 h 8680596"/>
              <a:gd name="connsiteX489" fmla="*/ 1310918 w 8946048"/>
              <a:gd name="connsiteY489" fmla="*/ 6316131 h 8680596"/>
              <a:gd name="connsiteX490" fmla="*/ 1211913 w 8946048"/>
              <a:gd name="connsiteY490" fmla="*/ 6265386 h 8680596"/>
              <a:gd name="connsiteX491" fmla="*/ 1071607 w 8946048"/>
              <a:gd name="connsiteY491" fmla="*/ 6307244 h 8680596"/>
              <a:gd name="connsiteX492" fmla="*/ 969444 w 8946048"/>
              <a:gd name="connsiteY492" fmla="*/ 6253399 h 8680596"/>
              <a:gd name="connsiteX493" fmla="*/ 982510 w 8946048"/>
              <a:gd name="connsiteY493" fmla="*/ 6151657 h 8680596"/>
              <a:gd name="connsiteX494" fmla="*/ 924092 w 8946048"/>
              <a:gd name="connsiteY494" fmla="*/ 6094308 h 8680596"/>
              <a:gd name="connsiteX495" fmla="*/ 923690 w 8946048"/>
              <a:gd name="connsiteY495" fmla="*/ 6053660 h 8680596"/>
              <a:gd name="connsiteX496" fmla="*/ 865643 w 8946048"/>
              <a:gd name="connsiteY496" fmla="*/ 6033833 h 8680596"/>
              <a:gd name="connsiteX497" fmla="*/ 807224 w 8946048"/>
              <a:gd name="connsiteY497" fmla="*/ 5976485 h 8680596"/>
              <a:gd name="connsiteX498" fmla="*/ 785772 w 8946048"/>
              <a:gd name="connsiteY498" fmla="*/ 5862531 h 8680596"/>
              <a:gd name="connsiteX499" fmla="*/ 824471 w 8946048"/>
              <a:gd name="connsiteY499" fmla="*/ 5823110 h 8680596"/>
              <a:gd name="connsiteX500" fmla="*/ 785184 w 8946048"/>
              <a:gd name="connsiteY500" fmla="*/ 5803122 h 8680596"/>
              <a:gd name="connsiteX501" fmla="*/ 750449 w 8946048"/>
              <a:gd name="connsiteY501" fmla="*/ 5769023 h 8680596"/>
              <a:gd name="connsiteX502" fmla="*/ 603890 w 8946048"/>
              <a:gd name="connsiteY502" fmla="*/ 5810935 h 8680596"/>
              <a:gd name="connsiteX503" fmla="*/ 540735 w 8946048"/>
              <a:gd name="connsiteY503" fmla="*/ 5748936 h 8680596"/>
              <a:gd name="connsiteX504" fmla="*/ 508477 w 8946048"/>
              <a:gd name="connsiteY504" fmla="*/ 5649148 h 8680596"/>
              <a:gd name="connsiteX505" fmla="*/ 480027 w 8946048"/>
              <a:gd name="connsiteY505" fmla="*/ 5618122 h 8680596"/>
              <a:gd name="connsiteX506" fmla="*/ 458821 w 8946048"/>
              <a:gd name="connsiteY506" fmla="*/ 5529182 h 8680596"/>
              <a:gd name="connsiteX507" fmla="*/ 513433 w 8946048"/>
              <a:gd name="connsiteY507" fmla="*/ 5517768 h 8680596"/>
              <a:gd name="connsiteX508" fmla="*/ 551730 w 8946048"/>
              <a:gd name="connsiteY508" fmla="*/ 5437699 h 8680596"/>
              <a:gd name="connsiteX509" fmla="*/ 569378 w 8946048"/>
              <a:gd name="connsiteY509" fmla="*/ 5324973 h 8680596"/>
              <a:gd name="connsiteX510" fmla="*/ 616438 w 8946048"/>
              <a:gd name="connsiteY510" fmla="*/ 5182286 h 8680596"/>
              <a:gd name="connsiteX511" fmla="*/ 531300 w 8946048"/>
              <a:gd name="connsiteY511" fmla="*/ 5269013 h 8680596"/>
              <a:gd name="connsiteX512" fmla="*/ 530123 w 8946048"/>
              <a:gd name="connsiteY512" fmla="*/ 5308111 h 8680596"/>
              <a:gd name="connsiteX513" fmla="*/ 451238 w 8946048"/>
              <a:gd name="connsiteY513" fmla="*/ 5394784 h 8680596"/>
              <a:gd name="connsiteX514" fmla="*/ 470309 w 8946048"/>
              <a:gd name="connsiteY514" fmla="*/ 5425890 h 8680596"/>
              <a:gd name="connsiteX515" fmla="*/ 458821 w 8946048"/>
              <a:gd name="connsiteY515" fmla="*/ 5529182 h 8680596"/>
              <a:gd name="connsiteX516" fmla="*/ 436034 w 8946048"/>
              <a:gd name="connsiteY516" fmla="*/ 5596610 h 8680596"/>
              <a:gd name="connsiteX517" fmla="*/ 399813 w 8946048"/>
              <a:gd name="connsiteY517" fmla="*/ 5570342 h 8680596"/>
              <a:gd name="connsiteX518" fmla="*/ 390062 w 8946048"/>
              <a:gd name="connsiteY518" fmla="*/ 5532901 h 8680596"/>
              <a:gd name="connsiteX519" fmla="*/ 380187 w 8946048"/>
              <a:gd name="connsiteY519" fmla="*/ 5482953 h 8680596"/>
              <a:gd name="connsiteX520" fmla="*/ 378237 w 8946048"/>
              <a:gd name="connsiteY520" fmla="*/ 5443881 h 8680596"/>
              <a:gd name="connsiteX521" fmla="*/ 379259 w 8946048"/>
              <a:gd name="connsiteY521" fmla="*/ 5389149 h 8680596"/>
              <a:gd name="connsiteX522" fmla="*/ 397773 w 8946048"/>
              <a:gd name="connsiteY522" fmla="*/ 5363973 h 8680596"/>
              <a:gd name="connsiteX523" fmla="*/ 387744 w 8946048"/>
              <a:gd name="connsiteY523" fmla="*/ 5298391 h 8680596"/>
              <a:gd name="connsiteX524" fmla="*/ 434182 w 8946048"/>
              <a:gd name="connsiteY524" fmla="*/ 5251085 h 8680596"/>
              <a:gd name="connsiteX525" fmla="*/ 435360 w 8946048"/>
              <a:gd name="connsiteY525" fmla="*/ 5211987 h 8680596"/>
              <a:gd name="connsiteX526" fmla="*/ 494182 w 8946048"/>
              <a:gd name="connsiteY526" fmla="*/ 5152067 h 8680596"/>
              <a:gd name="connsiteX527" fmla="*/ 471862 w 8946048"/>
              <a:gd name="connsiteY527" fmla="*/ 5108480 h 8680596"/>
              <a:gd name="connsiteX528" fmla="*/ 511460 w 8946048"/>
              <a:gd name="connsiteY528" fmla="*/ 5001819 h 8680596"/>
              <a:gd name="connsiteX529" fmla="*/ 424622 w 8946048"/>
              <a:gd name="connsiteY529" fmla="*/ 4916571 h 8680596"/>
              <a:gd name="connsiteX530" fmla="*/ 469451 w 8946048"/>
              <a:gd name="connsiteY530" fmla="*/ 4864589 h 8680596"/>
              <a:gd name="connsiteX531" fmla="*/ 487223 w 8946048"/>
              <a:gd name="connsiteY531" fmla="*/ 4764370 h 8680596"/>
              <a:gd name="connsiteX532" fmla="*/ 472889 w 8946048"/>
              <a:gd name="connsiteY532" fmla="*/ 4737913 h 8680596"/>
              <a:gd name="connsiteX533" fmla="*/ 547068 w 8946048"/>
              <a:gd name="connsiteY533" fmla="*/ 4649718 h 8680596"/>
              <a:gd name="connsiteX534" fmla="*/ 490847 w 8946048"/>
              <a:gd name="connsiteY534" fmla="*/ 4656455 h 8680596"/>
              <a:gd name="connsiteX535" fmla="*/ 472889 w 8946048"/>
              <a:gd name="connsiteY535" fmla="*/ 4737913 h 8680596"/>
              <a:gd name="connsiteX536" fmla="*/ 431187 w 8946048"/>
              <a:gd name="connsiteY536" fmla="*/ 4789869 h 8680596"/>
              <a:gd name="connsiteX537" fmla="*/ 392117 w 8946048"/>
              <a:gd name="connsiteY537" fmla="*/ 4791768 h 8680596"/>
              <a:gd name="connsiteX538" fmla="*/ 367659 w 8946048"/>
              <a:gd name="connsiteY538" fmla="*/ 4848266 h 8680596"/>
              <a:gd name="connsiteX539" fmla="*/ 314162 w 8946048"/>
              <a:gd name="connsiteY539" fmla="*/ 4814328 h 8680596"/>
              <a:gd name="connsiteX540" fmla="*/ 315898 w 8946048"/>
              <a:gd name="connsiteY540" fmla="*/ 4673595 h 8680596"/>
              <a:gd name="connsiteX541" fmla="*/ 408776 w 8946048"/>
              <a:gd name="connsiteY541" fmla="*/ 4578984 h 8680596"/>
              <a:gd name="connsiteX542" fmla="*/ 485368 w 8946048"/>
              <a:gd name="connsiteY542" fmla="*/ 4576762 h 8680596"/>
              <a:gd name="connsiteX543" fmla="*/ 485028 w 8946048"/>
              <a:gd name="connsiteY543" fmla="*/ 4542367 h 8680596"/>
              <a:gd name="connsiteX544" fmla="*/ 618153 w 8946048"/>
              <a:gd name="connsiteY544" fmla="*/ 4406759 h 8680596"/>
              <a:gd name="connsiteX545" fmla="*/ 617813 w 8946048"/>
              <a:gd name="connsiteY545" fmla="*/ 4372364 h 8680596"/>
              <a:gd name="connsiteX546" fmla="*/ 699670 w 8946048"/>
              <a:gd name="connsiteY546" fmla="*/ 4270030 h 8680596"/>
              <a:gd name="connsiteX547" fmla="*/ 679330 w 8946048"/>
              <a:gd name="connsiteY547" fmla="*/ 4268642 h 8680596"/>
              <a:gd name="connsiteX548" fmla="*/ 670012 w 8946048"/>
              <a:gd name="connsiteY548" fmla="*/ 4274976 h 8680596"/>
              <a:gd name="connsiteX549" fmla="*/ 386734 w 8946048"/>
              <a:gd name="connsiteY549" fmla="*/ 4563538 h 8680596"/>
              <a:gd name="connsiteX550" fmla="*/ 297418 w 8946048"/>
              <a:gd name="connsiteY550" fmla="*/ 4543980 h 8680596"/>
              <a:gd name="connsiteX551" fmla="*/ 183489 w 8946048"/>
              <a:gd name="connsiteY551" fmla="*/ 4565286 h 8680596"/>
              <a:gd name="connsiteX552" fmla="*/ 121913 w 8946048"/>
              <a:gd name="connsiteY552" fmla="*/ 4504838 h 8680596"/>
              <a:gd name="connsiteX553" fmla="*/ 69099 w 8946048"/>
              <a:gd name="connsiteY553" fmla="*/ 4381772 h 8680596"/>
              <a:gd name="connsiteX554" fmla="*/ 143402 w 8946048"/>
              <a:gd name="connsiteY554" fmla="*/ 4306084 h 8680596"/>
              <a:gd name="connsiteX555" fmla="*/ 159904 w 8946048"/>
              <a:gd name="connsiteY555" fmla="*/ 4235583 h 8680596"/>
              <a:gd name="connsiteX556" fmla="*/ 126871 w 8946048"/>
              <a:gd name="connsiteY556" fmla="*/ 4215541 h 8680596"/>
              <a:gd name="connsiteX557" fmla="*/ 60247 w 8946048"/>
              <a:gd name="connsiteY557" fmla="*/ 4277092 h 8680596"/>
              <a:gd name="connsiteX558" fmla="*/ 69099 w 8946048"/>
              <a:gd name="connsiteY558" fmla="*/ 4381772 h 8680596"/>
              <a:gd name="connsiteX559" fmla="*/ 48852 w 8946048"/>
              <a:gd name="connsiteY559" fmla="*/ 4389764 h 8680596"/>
              <a:gd name="connsiteX560" fmla="*/ 0 w 8946048"/>
              <a:gd name="connsiteY560" fmla="*/ 4351096 h 8680596"/>
              <a:gd name="connsiteX561" fmla="*/ 13097 w 8946048"/>
              <a:gd name="connsiteY561" fmla="*/ 4252481 h 8680596"/>
              <a:gd name="connsiteX562" fmla="*/ 73004 w 8946048"/>
              <a:gd name="connsiteY562" fmla="*/ 4144082 h 8680596"/>
              <a:gd name="connsiteX563" fmla="*/ 86194 w 8946048"/>
              <a:gd name="connsiteY563" fmla="*/ 4054847 h 8680596"/>
              <a:gd name="connsiteX564" fmla="*/ 97805 w 8946048"/>
              <a:gd name="connsiteY564" fmla="*/ 3964062 h 8680596"/>
              <a:gd name="connsiteX565" fmla="*/ 133408 w 8946048"/>
              <a:gd name="connsiteY565" fmla="*/ 3927795 h 8680596"/>
              <a:gd name="connsiteX566" fmla="*/ 133068 w 8946048"/>
              <a:gd name="connsiteY566" fmla="*/ 3893400 h 8680596"/>
              <a:gd name="connsiteX567" fmla="*/ 185699 w 8946048"/>
              <a:gd name="connsiteY567" fmla="*/ 3839787 h 8680596"/>
              <a:gd name="connsiteX568" fmla="*/ 193037 w 8946048"/>
              <a:gd name="connsiteY568" fmla="*/ 3791255 h 8680596"/>
              <a:gd name="connsiteX569" fmla="*/ 225143 w 8946048"/>
              <a:gd name="connsiteY569" fmla="*/ 3717492 h 8680596"/>
              <a:gd name="connsiteX570" fmla="*/ 322664 w 8946048"/>
              <a:gd name="connsiteY570" fmla="*/ 3618151 h 8680596"/>
              <a:gd name="connsiteX571" fmla="*/ 322263 w 8946048"/>
              <a:gd name="connsiteY571" fmla="*/ 3577503 h 8680596"/>
              <a:gd name="connsiteX572" fmla="*/ 416689 w 8946048"/>
              <a:gd name="connsiteY572" fmla="*/ 3481315 h 8680596"/>
              <a:gd name="connsiteX573" fmla="*/ 416349 w 8946048"/>
              <a:gd name="connsiteY573" fmla="*/ 3446921 h 8680596"/>
              <a:gd name="connsiteX574" fmla="*/ 455419 w 8946048"/>
              <a:gd name="connsiteY574" fmla="*/ 3445021 h 8680596"/>
              <a:gd name="connsiteX575" fmla="*/ 453592 w 8946048"/>
              <a:gd name="connsiteY575" fmla="*/ 3418457 h 8680596"/>
              <a:gd name="connsiteX576" fmla="*/ 465883 w 8946048"/>
              <a:gd name="connsiteY576" fmla="*/ 3396462 h 8680596"/>
              <a:gd name="connsiteX577" fmla="*/ 571145 w 8946048"/>
              <a:gd name="connsiteY577" fmla="*/ 3289236 h 8680596"/>
              <a:gd name="connsiteX578" fmla="*/ 548701 w 8946048"/>
              <a:gd name="connsiteY578" fmla="*/ 3233142 h 8680596"/>
              <a:gd name="connsiteX579" fmla="*/ 623745 w 8946048"/>
              <a:gd name="connsiteY579" fmla="*/ 3232497 h 8680596"/>
              <a:gd name="connsiteX580" fmla="*/ 759966 w 8946048"/>
              <a:gd name="connsiteY580" fmla="*/ 3093735 h 8680596"/>
              <a:gd name="connsiteX581" fmla="*/ 748759 w 8946048"/>
              <a:gd name="connsiteY581" fmla="*/ 3067251 h 8680596"/>
              <a:gd name="connsiteX582" fmla="*/ 760927 w 8946048"/>
              <a:gd name="connsiteY582" fmla="*/ 3032749 h 8680596"/>
              <a:gd name="connsiteX583" fmla="*/ 816499 w 8946048"/>
              <a:gd name="connsiteY583" fmla="*/ 2960348 h 8680596"/>
              <a:gd name="connsiteX584" fmla="*/ 850647 w 8946048"/>
              <a:gd name="connsiteY584" fmla="*/ 2935038 h 8680596"/>
              <a:gd name="connsiteX585" fmla="*/ 796901 w 8946048"/>
              <a:gd name="connsiteY585" fmla="*/ 3034003 h 8680596"/>
              <a:gd name="connsiteX586" fmla="*/ 806312 w 8946048"/>
              <a:gd name="connsiteY586" fmla="*/ 3037049 h 8680596"/>
              <a:gd name="connsiteX587" fmla="*/ 1006154 w 8946048"/>
              <a:gd name="connsiteY587" fmla="*/ 2849270 h 8680596"/>
              <a:gd name="connsiteX588" fmla="*/ 1007331 w 8946048"/>
              <a:gd name="connsiteY588" fmla="*/ 2810172 h 8680596"/>
              <a:gd name="connsiteX589" fmla="*/ 1041665 w 8946048"/>
              <a:gd name="connsiteY589" fmla="*/ 2803622 h 8680596"/>
              <a:gd name="connsiteX590" fmla="*/ 1097392 w 8946048"/>
              <a:gd name="connsiteY590" fmla="*/ 2746856 h 8680596"/>
              <a:gd name="connsiteX591" fmla="*/ 1106308 w 8946048"/>
              <a:gd name="connsiteY591" fmla="*/ 2699873 h 8680596"/>
              <a:gd name="connsiteX592" fmla="*/ 1154635 w 8946048"/>
              <a:gd name="connsiteY592" fmla="*/ 2685386 h 8680596"/>
              <a:gd name="connsiteX593" fmla="*/ 1169713 w 8946048"/>
              <a:gd name="connsiteY593" fmla="*/ 2628969 h 8680596"/>
              <a:gd name="connsiteX594" fmla="*/ 1232466 w 8946048"/>
              <a:gd name="connsiteY594" fmla="*/ 2650319 h 8680596"/>
              <a:gd name="connsiteX595" fmla="*/ 1251073 w 8946048"/>
              <a:gd name="connsiteY595" fmla="*/ 2634524 h 8680596"/>
              <a:gd name="connsiteX596" fmla="*/ 1268876 w 8946048"/>
              <a:gd name="connsiteY596" fmla="*/ 2537431 h 8680596"/>
              <a:gd name="connsiteX597" fmla="*/ 1311042 w 8946048"/>
              <a:gd name="connsiteY597" fmla="*/ 2532378 h 8680596"/>
              <a:gd name="connsiteX598" fmla="*/ 1310733 w 8946048"/>
              <a:gd name="connsiteY598" fmla="*/ 2501110 h 8680596"/>
              <a:gd name="connsiteX599" fmla="*/ 1354076 w 8946048"/>
              <a:gd name="connsiteY599" fmla="*/ 2456959 h 8680596"/>
              <a:gd name="connsiteX600" fmla="*/ 1399616 w 8946048"/>
              <a:gd name="connsiteY600" fmla="*/ 2476893 h 8680596"/>
              <a:gd name="connsiteX601" fmla="*/ 1416334 w 8946048"/>
              <a:gd name="connsiteY601" fmla="*/ 2428280 h 8680596"/>
              <a:gd name="connsiteX602" fmla="*/ 1444198 w 8946048"/>
              <a:gd name="connsiteY602" fmla="*/ 2399897 h 8680596"/>
              <a:gd name="connsiteX603" fmla="*/ 1486394 w 8946048"/>
              <a:gd name="connsiteY603" fmla="*/ 2397970 h 8680596"/>
              <a:gd name="connsiteX604" fmla="*/ 1462464 w 8946048"/>
              <a:gd name="connsiteY604" fmla="*/ 2349707 h 8680596"/>
              <a:gd name="connsiteX605" fmla="*/ 1535806 w 8946048"/>
              <a:gd name="connsiteY605" fmla="*/ 2335004 h 8680596"/>
              <a:gd name="connsiteX606" fmla="*/ 1546332 w 8946048"/>
              <a:gd name="connsiteY606" fmla="*/ 2292698 h 8680596"/>
              <a:gd name="connsiteX607" fmla="*/ 1611811 w 8946048"/>
              <a:gd name="connsiteY607" fmla="*/ 2273373 h 8680596"/>
              <a:gd name="connsiteX608" fmla="*/ 1616022 w 8946048"/>
              <a:gd name="connsiteY608" fmla="*/ 2224867 h 8680596"/>
              <a:gd name="connsiteX609" fmla="*/ 1650417 w 8946048"/>
              <a:gd name="connsiteY609" fmla="*/ 2224571 h 8680596"/>
              <a:gd name="connsiteX610" fmla="*/ 1729394 w 8946048"/>
              <a:gd name="connsiteY610" fmla="*/ 2147279 h 8680596"/>
              <a:gd name="connsiteX611" fmla="*/ 1771591 w 8946048"/>
              <a:gd name="connsiteY611" fmla="*/ 2145353 h 8680596"/>
              <a:gd name="connsiteX612" fmla="*/ 1747661 w 8946048"/>
              <a:gd name="connsiteY612" fmla="*/ 2097089 h 8680596"/>
              <a:gd name="connsiteX613" fmla="*/ 1824191 w 8946048"/>
              <a:gd name="connsiteY613" fmla="*/ 2088613 h 8680596"/>
              <a:gd name="connsiteX614" fmla="*/ 1803295 w 8946048"/>
              <a:gd name="connsiteY614" fmla="*/ 2030942 h 8680596"/>
              <a:gd name="connsiteX615" fmla="*/ 1866048 w 8946048"/>
              <a:gd name="connsiteY615" fmla="*/ 2052292 h 8680596"/>
              <a:gd name="connsiteX616" fmla="*/ 1840384 w 8946048"/>
              <a:gd name="connsiteY616" fmla="*/ 1986844 h 8680596"/>
              <a:gd name="connsiteX617" fmla="*/ 1895366 w 8946048"/>
              <a:gd name="connsiteY617" fmla="*/ 2012952 h 8680596"/>
              <a:gd name="connsiteX618" fmla="*/ 1904253 w 8946048"/>
              <a:gd name="connsiteY618" fmla="*/ 1962842 h 8680596"/>
              <a:gd name="connsiteX619" fmla="*/ 1955706 w 8946048"/>
              <a:gd name="connsiteY619" fmla="*/ 1948328 h 8680596"/>
              <a:gd name="connsiteX620" fmla="*/ 1960072 w 8946048"/>
              <a:gd name="connsiteY620" fmla="*/ 1915456 h 8680596"/>
              <a:gd name="connsiteX621" fmla="*/ 1995675 w 8946048"/>
              <a:gd name="connsiteY621" fmla="*/ 1879189 h 8680596"/>
              <a:gd name="connsiteX622" fmla="*/ 2047191 w 8946048"/>
              <a:gd name="connsiteY622" fmla="*/ 1870928 h 8680596"/>
              <a:gd name="connsiteX623" fmla="*/ 2054498 w 8946048"/>
              <a:gd name="connsiteY623" fmla="*/ 1819269 h 8680596"/>
              <a:gd name="connsiteX624" fmla="*/ 2090441 w 8946048"/>
              <a:gd name="connsiteY624" fmla="*/ 1817396 h 8680596"/>
              <a:gd name="connsiteX625" fmla="*/ 2093197 w 8946048"/>
              <a:gd name="connsiteY625" fmla="*/ 1779848 h 8680596"/>
              <a:gd name="connsiteX626" fmla="*/ 2136942 w 8946048"/>
              <a:gd name="connsiteY626" fmla="*/ 1776345 h 8680596"/>
              <a:gd name="connsiteX627" fmla="*/ 2155147 w 8946048"/>
              <a:gd name="connsiteY627" fmla="*/ 1719901 h 8680596"/>
              <a:gd name="connsiteX628" fmla="*/ 2206971 w 8946048"/>
              <a:gd name="connsiteY628" fmla="*/ 1742908 h 8680596"/>
              <a:gd name="connsiteX629" fmla="*/ 2186075 w 8946048"/>
              <a:gd name="connsiteY629" fmla="*/ 1685237 h 8680596"/>
              <a:gd name="connsiteX630" fmla="*/ 2230005 w 8946048"/>
              <a:gd name="connsiteY630" fmla="*/ 1700495 h 8680596"/>
              <a:gd name="connsiteX631" fmla="*/ 2279695 w 8946048"/>
              <a:gd name="connsiteY631" fmla="*/ 1665670 h 8680596"/>
              <a:gd name="connsiteX632" fmla="*/ 2280841 w 8946048"/>
              <a:gd name="connsiteY632" fmla="*/ 1623444 h 8680596"/>
              <a:gd name="connsiteX633" fmla="*/ 2310252 w 8946048"/>
              <a:gd name="connsiteY633" fmla="*/ 1593484 h 8680596"/>
              <a:gd name="connsiteX634" fmla="*/ 2332233 w 8946048"/>
              <a:gd name="connsiteY634" fmla="*/ 1602677 h 8680596"/>
              <a:gd name="connsiteX635" fmla="*/ 2328828 w 8946048"/>
              <a:gd name="connsiteY635" fmla="*/ 1574562 h 8680596"/>
              <a:gd name="connsiteX636" fmla="*/ 2375267 w 8946048"/>
              <a:gd name="connsiteY636" fmla="*/ 1527257 h 8680596"/>
              <a:gd name="connsiteX637" fmla="*/ 2414337 w 8946048"/>
              <a:gd name="connsiteY637" fmla="*/ 1525357 h 8680596"/>
              <a:gd name="connsiteX638" fmla="*/ 2451488 w 8946048"/>
              <a:gd name="connsiteY638" fmla="*/ 1487513 h 8680596"/>
              <a:gd name="connsiteX639" fmla="*/ 2455792 w 8946048"/>
              <a:gd name="connsiteY639" fmla="*/ 1448388 h 8680596"/>
              <a:gd name="connsiteX640" fmla="*/ 2491766 w 8946048"/>
              <a:gd name="connsiteY640" fmla="*/ 1449642 h 8680596"/>
              <a:gd name="connsiteX641" fmla="*/ 2549041 w 8946048"/>
              <a:gd name="connsiteY641" fmla="*/ 1391299 h 8680596"/>
              <a:gd name="connsiteX642" fmla="*/ 2581857 w 8946048"/>
              <a:gd name="connsiteY642" fmla="*/ 1389453 h 8680596"/>
              <a:gd name="connsiteX643" fmla="*/ 2699502 w 8946048"/>
              <a:gd name="connsiteY643" fmla="*/ 1269613 h 8680596"/>
              <a:gd name="connsiteX644" fmla="*/ 2700741 w 8946048"/>
              <a:gd name="connsiteY644" fmla="*/ 1236768 h 8680596"/>
              <a:gd name="connsiteX645" fmla="*/ 2725756 w 8946048"/>
              <a:gd name="connsiteY645" fmla="*/ 1236553 h 8680596"/>
              <a:gd name="connsiteX646" fmla="*/ 2749099 w 8946048"/>
              <a:gd name="connsiteY646" fmla="*/ 1225408 h 8680596"/>
              <a:gd name="connsiteX647" fmla="*/ 2814114 w 8946048"/>
              <a:gd name="connsiteY647" fmla="*/ 1159180 h 8680596"/>
              <a:gd name="connsiteX648" fmla="*/ 2851605 w 8946048"/>
              <a:gd name="connsiteY648" fmla="*/ 1155731 h 8680596"/>
              <a:gd name="connsiteX649" fmla="*/ 2855940 w 8946048"/>
              <a:gd name="connsiteY649" fmla="*/ 1119732 h 8680596"/>
              <a:gd name="connsiteX650" fmla="*/ 2888756 w 8946048"/>
              <a:gd name="connsiteY650" fmla="*/ 1117887 h 8680596"/>
              <a:gd name="connsiteX651" fmla="*/ 2972346 w 8946048"/>
              <a:gd name="connsiteY651" fmla="*/ 1032737 h 8680596"/>
              <a:gd name="connsiteX652" fmla="*/ 3042406 w 8946048"/>
              <a:gd name="connsiteY652" fmla="*/ 1002427 h 8680596"/>
              <a:gd name="connsiteX653" fmla="*/ 3045162 w 8946048"/>
              <a:gd name="connsiteY653" fmla="*/ 964879 h 8680596"/>
              <a:gd name="connsiteX654" fmla="*/ 3081105 w 8946048"/>
              <a:gd name="connsiteY654" fmla="*/ 963006 h 8680596"/>
              <a:gd name="connsiteX655" fmla="*/ 3195655 w 8946048"/>
              <a:gd name="connsiteY655" fmla="*/ 846320 h 8680596"/>
              <a:gd name="connsiteX656" fmla="*/ 3196832 w 8946048"/>
              <a:gd name="connsiteY656" fmla="*/ 807222 h 8680596"/>
              <a:gd name="connsiteX657" fmla="*/ 3263827 w 8946048"/>
              <a:gd name="connsiteY657" fmla="*/ 783193 h 8680596"/>
              <a:gd name="connsiteX658" fmla="*/ 3275840 w 8946048"/>
              <a:gd name="connsiteY658" fmla="*/ 733056 h 8680596"/>
              <a:gd name="connsiteX659" fmla="*/ 3310204 w 8946048"/>
              <a:gd name="connsiteY659" fmla="*/ 729634 h 8680596"/>
              <a:gd name="connsiteX660" fmla="*/ 3404630 w 8946048"/>
              <a:gd name="connsiteY660" fmla="*/ 633446 h 8680596"/>
              <a:gd name="connsiteX661" fmla="*/ 3405838 w 8946048"/>
              <a:gd name="connsiteY661" fmla="*/ 597475 h 8680596"/>
              <a:gd name="connsiteX662" fmla="*/ 3438655 w 8946048"/>
              <a:gd name="connsiteY662" fmla="*/ 595629 h 8680596"/>
              <a:gd name="connsiteX663" fmla="*/ 3453794 w 8946048"/>
              <a:gd name="connsiteY663" fmla="*/ 545466 h 8680596"/>
              <a:gd name="connsiteX664" fmla="*/ 3465869 w 8946048"/>
              <a:gd name="connsiteY664" fmla="*/ 501583 h 8680596"/>
              <a:gd name="connsiteX665" fmla="*/ 3504877 w 8946048"/>
              <a:gd name="connsiteY665" fmla="*/ 493430 h 8680596"/>
              <a:gd name="connsiteX666" fmla="*/ 3545217 w 8946048"/>
              <a:gd name="connsiteY666" fmla="*/ 461812 h 8680596"/>
              <a:gd name="connsiteX667" fmla="*/ 3593482 w 8946048"/>
              <a:gd name="connsiteY667" fmla="*/ 441071 h 8680596"/>
              <a:gd name="connsiteX668" fmla="*/ 3596238 w 8946048"/>
              <a:gd name="connsiteY668" fmla="*/ 403523 h 8680596"/>
              <a:gd name="connsiteX669" fmla="*/ 3674378 w 8946048"/>
              <a:gd name="connsiteY669" fmla="*/ 399724 h 8680596"/>
              <a:gd name="connsiteX670" fmla="*/ 3651996 w 8946048"/>
              <a:gd name="connsiteY670" fmla="*/ 349883 h 8680596"/>
              <a:gd name="connsiteX671" fmla="*/ 3726978 w 8946048"/>
              <a:gd name="connsiteY671" fmla="*/ 342984 h 8680596"/>
              <a:gd name="connsiteX672" fmla="*/ 3764129 w 8946048"/>
              <a:gd name="connsiteY672" fmla="*/ 305140 h 8680596"/>
              <a:gd name="connsiteX673" fmla="*/ 3806326 w 8946048"/>
              <a:gd name="connsiteY673" fmla="*/ 303214 h 8680596"/>
              <a:gd name="connsiteX674" fmla="*/ 3872888 w 8946048"/>
              <a:gd name="connsiteY674" fmla="*/ 235410 h 8680596"/>
              <a:gd name="connsiteX675" fmla="*/ 4103533 w 8946048"/>
              <a:gd name="connsiteY675" fmla="*/ 158377 h 8680596"/>
              <a:gd name="connsiteX676" fmla="*/ 4171643 w 8946048"/>
              <a:gd name="connsiteY676" fmla="*/ 88996 h 8680596"/>
              <a:gd name="connsiteX677" fmla="*/ 4190745 w 8946048"/>
              <a:gd name="connsiteY677" fmla="*/ 123229 h 8680596"/>
              <a:gd name="connsiteX678" fmla="*/ 4245511 w 8946048"/>
              <a:gd name="connsiteY678" fmla="*/ 127449 h 8680596"/>
              <a:gd name="connsiteX679" fmla="*/ 4265263 w 8946048"/>
              <a:gd name="connsiteY679" fmla="*/ 69428 h 8680596"/>
              <a:gd name="connsiteX680" fmla="*/ 4337180 w 8946048"/>
              <a:gd name="connsiteY680" fmla="*/ 68810 h 8680596"/>
              <a:gd name="connsiteX681" fmla="*/ 4388356 w 8946048"/>
              <a:gd name="connsiteY681" fmla="*/ 26155 h 8680596"/>
              <a:gd name="connsiteX682" fmla="*/ 4416745 w 8946048"/>
              <a:gd name="connsiteY682" fmla="*/ 50927 h 8680596"/>
              <a:gd name="connsiteX683" fmla="*/ 4398849 w 8946048"/>
              <a:gd name="connsiteY683" fmla="*/ 138639 h 8680596"/>
              <a:gd name="connsiteX684" fmla="*/ 4472253 w 8946048"/>
              <a:gd name="connsiteY684" fmla="*/ 130190 h 8680596"/>
              <a:gd name="connsiteX685" fmla="*/ 4532623 w 8946048"/>
              <a:gd name="connsiteY685" fmla="*/ 68693 h 8680596"/>
              <a:gd name="connsiteX686" fmla="*/ 4590454 w 8946048"/>
              <a:gd name="connsiteY686" fmla="*/ 66632 h 8680596"/>
              <a:gd name="connsiteX687" fmla="*/ 4563333 w 8946048"/>
              <a:gd name="connsiteY687" fmla="*/ 170059 h 8680596"/>
              <a:gd name="connsiteX688" fmla="*/ 4646086 w 8946048"/>
              <a:gd name="connsiteY688" fmla="*/ 158402 h 8680596"/>
              <a:gd name="connsiteX689" fmla="*/ 4649336 w 8946048"/>
              <a:gd name="connsiteY689" fmla="*/ 170883 h 8680596"/>
              <a:gd name="connsiteX690" fmla="*/ 4594135 w 8946048"/>
              <a:gd name="connsiteY690" fmla="*/ 280805 h 8680596"/>
              <a:gd name="connsiteX691" fmla="*/ 4591596 w 8946048"/>
              <a:gd name="connsiteY691" fmla="*/ 340241 h 8680596"/>
              <a:gd name="connsiteX692" fmla="*/ 4639829 w 8946048"/>
              <a:gd name="connsiteY692" fmla="*/ 316373 h 8680596"/>
              <a:gd name="connsiteX693" fmla="*/ 4667971 w 8946048"/>
              <a:gd name="connsiteY693" fmla="*/ 316131 h 8680596"/>
              <a:gd name="connsiteX694" fmla="*/ 4762397 w 8946048"/>
              <a:gd name="connsiteY694" fmla="*/ 219944 h 8680596"/>
              <a:gd name="connsiteX695" fmla="*/ 4804594 w 8946048"/>
              <a:gd name="connsiteY695" fmla="*/ 218017 h 8680596"/>
              <a:gd name="connsiteX696" fmla="*/ 4855677 w 8946048"/>
              <a:gd name="connsiteY696" fmla="*/ 165981 h 8680596"/>
              <a:gd name="connsiteX697" fmla="*/ 4960132 w 8946048"/>
              <a:gd name="connsiteY697" fmla="*/ 135376 h 8680596"/>
              <a:gd name="connsiteX698" fmla="*/ 5005023 w 8946048"/>
              <a:gd name="connsiteY698" fmla="*/ 89648 h 8680596"/>
              <a:gd name="connsiteX699" fmla="*/ 5148425 w 8946048"/>
              <a:gd name="connsiteY699" fmla="*/ 44636 h 8680596"/>
              <a:gd name="connsiteX700" fmla="*/ 5128642 w 8946048"/>
              <a:gd name="connsiteY700" fmla="*/ 99530 h 8680596"/>
              <a:gd name="connsiteX701" fmla="*/ 5147403 w 8946048"/>
              <a:gd name="connsiteY701" fmla="*/ 99368 h 8680596"/>
              <a:gd name="connsiteX702" fmla="*/ 5248051 w 8946048"/>
              <a:gd name="connsiteY702" fmla="*/ 0 h 8680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</a:cxnLst>
            <a:rect l="l" t="t" r="r" b="b"/>
            <a:pathLst>
              <a:path w="8946048" h="8680596">
                <a:moveTo>
                  <a:pt x="5248051" y="0"/>
                </a:moveTo>
                <a:cubicBezTo>
                  <a:pt x="5259073" y="7723"/>
                  <a:pt x="5273220" y="15419"/>
                  <a:pt x="5285821" y="24692"/>
                </a:cubicBezTo>
                <a:cubicBezTo>
                  <a:pt x="5275077" y="45111"/>
                  <a:pt x="5268978" y="60798"/>
                  <a:pt x="5261301" y="74936"/>
                </a:cubicBezTo>
                <a:cubicBezTo>
                  <a:pt x="5298977" y="90248"/>
                  <a:pt x="5328450" y="66541"/>
                  <a:pt x="5359657" y="60018"/>
                </a:cubicBezTo>
                <a:cubicBezTo>
                  <a:pt x="5378542" y="72364"/>
                  <a:pt x="5377148" y="89575"/>
                  <a:pt x="5380460" y="108309"/>
                </a:cubicBezTo>
                <a:cubicBezTo>
                  <a:pt x="5382163" y="122366"/>
                  <a:pt x="5394825" y="137893"/>
                  <a:pt x="5399654" y="151923"/>
                </a:cubicBezTo>
                <a:cubicBezTo>
                  <a:pt x="5393493" y="161357"/>
                  <a:pt x="5387301" y="167665"/>
                  <a:pt x="5381110" y="173972"/>
                </a:cubicBezTo>
                <a:cubicBezTo>
                  <a:pt x="5379809" y="200563"/>
                  <a:pt x="5378508" y="227154"/>
                  <a:pt x="5380334" y="253719"/>
                </a:cubicBezTo>
                <a:cubicBezTo>
                  <a:pt x="5352378" y="272722"/>
                  <a:pt x="5340149" y="300970"/>
                  <a:pt x="5338910" y="333815"/>
                </a:cubicBezTo>
                <a:cubicBezTo>
                  <a:pt x="5298416" y="349799"/>
                  <a:pt x="5312935" y="395016"/>
                  <a:pt x="5289746" y="421796"/>
                </a:cubicBezTo>
                <a:cubicBezTo>
                  <a:pt x="5269653" y="445422"/>
                  <a:pt x="5246403" y="465947"/>
                  <a:pt x="5229375" y="483293"/>
                </a:cubicBezTo>
                <a:cubicBezTo>
                  <a:pt x="5227982" y="500504"/>
                  <a:pt x="5229622" y="508308"/>
                  <a:pt x="5229746" y="520814"/>
                </a:cubicBezTo>
                <a:lnTo>
                  <a:pt x="5098169" y="654846"/>
                </a:lnTo>
                <a:cubicBezTo>
                  <a:pt x="5096745" y="668930"/>
                  <a:pt x="5096868" y="681438"/>
                  <a:pt x="5097023" y="697071"/>
                </a:cubicBezTo>
                <a:cubicBezTo>
                  <a:pt x="5059872" y="734916"/>
                  <a:pt x="5022721" y="772760"/>
                  <a:pt x="4984021" y="812181"/>
                </a:cubicBezTo>
                <a:cubicBezTo>
                  <a:pt x="4982474" y="813758"/>
                  <a:pt x="4982535" y="820012"/>
                  <a:pt x="4982597" y="826265"/>
                </a:cubicBezTo>
                <a:cubicBezTo>
                  <a:pt x="4988851" y="826211"/>
                  <a:pt x="5001420" y="832357"/>
                  <a:pt x="4999841" y="830807"/>
                </a:cubicBezTo>
                <a:cubicBezTo>
                  <a:pt x="5016745" y="800955"/>
                  <a:pt x="5049747" y="817870"/>
                  <a:pt x="5071480" y="802048"/>
                </a:cubicBezTo>
                <a:cubicBezTo>
                  <a:pt x="5086991" y="789406"/>
                  <a:pt x="5115132" y="789164"/>
                  <a:pt x="5135503" y="793680"/>
                </a:cubicBezTo>
                <a:cubicBezTo>
                  <a:pt x="5177824" y="804261"/>
                  <a:pt x="5210300" y="768020"/>
                  <a:pt x="5249432" y="772374"/>
                </a:cubicBezTo>
                <a:lnTo>
                  <a:pt x="5289679" y="731376"/>
                </a:lnTo>
                <a:cubicBezTo>
                  <a:pt x="5306892" y="732792"/>
                  <a:pt x="5324105" y="734207"/>
                  <a:pt x="5342866" y="734046"/>
                </a:cubicBezTo>
                <a:cubicBezTo>
                  <a:pt x="5358840" y="768306"/>
                  <a:pt x="5313517" y="770260"/>
                  <a:pt x="5307541" y="798455"/>
                </a:cubicBezTo>
                <a:cubicBezTo>
                  <a:pt x="5312309" y="806231"/>
                  <a:pt x="5317107" y="817135"/>
                  <a:pt x="5326611" y="829561"/>
                </a:cubicBezTo>
                <a:cubicBezTo>
                  <a:pt x="5353112" y="821516"/>
                  <a:pt x="5379582" y="810343"/>
                  <a:pt x="5406083" y="802298"/>
                </a:cubicBezTo>
                <a:cubicBezTo>
                  <a:pt x="5404411" y="791368"/>
                  <a:pt x="5404319" y="781987"/>
                  <a:pt x="5404195" y="769480"/>
                </a:cubicBezTo>
                <a:cubicBezTo>
                  <a:pt x="5433606" y="739520"/>
                  <a:pt x="5464566" y="707983"/>
                  <a:pt x="5498652" y="676419"/>
                </a:cubicBezTo>
                <a:cubicBezTo>
                  <a:pt x="5500200" y="674842"/>
                  <a:pt x="5506454" y="674789"/>
                  <a:pt x="5514255" y="673158"/>
                </a:cubicBezTo>
                <a:cubicBezTo>
                  <a:pt x="5520571" y="679358"/>
                  <a:pt x="5531592" y="687081"/>
                  <a:pt x="5539486" y="694831"/>
                </a:cubicBezTo>
                <a:cubicBezTo>
                  <a:pt x="5533603" y="732406"/>
                  <a:pt x="5500880" y="743632"/>
                  <a:pt x="5480818" y="770385"/>
                </a:cubicBezTo>
                <a:cubicBezTo>
                  <a:pt x="5482551" y="787569"/>
                  <a:pt x="5482737" y="806329"/>
                  <a:pt x="5484532" y="829767"/>
                </a:cubicBezTo>
                <a:cubicBezTo>
                  <a:pt x="5517225" y="815414"/>
                  <a:pt x="5549918" y="801061"/>
                  <a:pt x="5584189" y="788258"/>
                </a:cubicBezTo>
                <a:cubicBezTo>
                  <a:pt x="5588864" y="786655"/>
                  <a:pt x="5599885" y="794377"/>
                  <a:pt x="5609266" y="794297"/>
                </a:cubicBezTo>
                <a:cubicBezTo>
                  <a:pt x="5600040" y="810012"/>
                  <a:pt x="5584529" y="822653"/>
                  <a:pt x="5612702" y="825538"/>
                </a:cubicBezTo>
                <a:cubicBezTo>
                  <a:pt x="5612609" y="816157"/>
                  <a:pt x="5612516" y="806777"/>
                  <a:pt x="5609266" y="794297"/>
                </a:cubicBezTo>
                <a:cubicBezTo>
                  <a:pt x="5634095" y="775321"/>
                  <a:pt x="5649389" y="740792"/>
                  <a:pt x="5697685" y="723177"/>
                </a:cubicBezTo>
                <a:cubicBezTo>
                  <a:pt x="5691741" y="754499"/>
                  <a:pt x="5687313" y="781117"/>
                  <a:pt x="5684341" y="796778"/>
                </a:cubicBezTo>
                <a:lnTo>
                  <a:pt x="5734865" y="846377"/>
                </a:lnTo>
                <a:cubicBezTo>
                  <a:pt x="5727187" y="860515"/>
                  <a:pt x="5719509" y="874653"/>
                  <a:pt x="5710314" y="893494"/>
                </a:cubicBezTo>
                <a:cubicBezTo>
                  <a:pt x="5716660" y="902821"/>
                  <a:pt x="5724585" y="913697"/>
                  <a:pt x="5732511" y="924574"/>
                </a:cubicBezTo>
                <a:cubicBezTo>
                  <a:pt x="5724925" y="948092"/>
                  <a:pt x="5717340" y="971611"/>
                  <a:pt x="5706720" y="1004536"/>
                </a:cubicBezTo>
                <a:lnTo>
                  <a:pt x="5677309" y="1034496"/>
                </a:lnTo>
                <a:cubicBezTo>
                  <a:pt x="5675885" y="1048580"/>
                  <a:pt x="5677587" y="1062637"/>
                  <a:pt x="5676163" y="1076721"/>
                </a:cubicBezTo>
                <a:lnTo>
                  <a:pt x="5639012" y="1114566"/>
                </a:lnTo>
                <a:cubicBezTo>
                  <a:pt x="5639136" y="1127073"/>
                  <a:pt x="5637711" y="1141157"/>
                  <a:pt x="5636287" y="1155241"/>
                </a:cubicBezTo>
                <a:lnTo>
                  <a:pt x="5600684" y="1191508"/>
                </a:lnTo>
                <a:cubicBezTo>
                  <a:pt x="5600838" y="1207142"/>
                  <a:pt x="5599414" y="1221226"/>
                  <a:pt x="5599506" y="1230607"/>
                </a:cubicBezTo>
                <a:cubicBezTo>
                  <a:pt x="5576349" y="1260513"/>
                  <a:pt x="5534276" y="1274946"/>
                  <a:pt x="5545668" y="1320191"/>
                </a:cubicBezTo>
                <a:cubicBezTo>
                  <a:pt x="5528671" y="1340663"/>
                  <a:pt x="5511674" y="1361135"/>
                  <a:pt x="5490034" y="1386338"/>
                </a:cubicBezTo>
                <a:cubicBezTo>
                  <a:pt x="5490095" y="1392591"/>
                  <a:pt x="5488671" y="1406675"/>
                  <a:pt x="5485699" y="1422337"/>
                </a:cubicBezTo>
                <a:lnTo>
                  <a:pt x="5431520" y="1477526"/>
                </a:lnTo>
                <a:cubicBezTo>
                  <a:pt x="5433223" y="1491583"/>
                  <a:pt x="5431798" y="1505667"/>
                  <a:pt x="5430374" y="1519751"/>
                </a:cubicBezTo>
                <a:cubicBezTo>
                  <a:pt x="5413408" y="1543350"/>
                  <a:pt x="5383842" y="1557676"/>
                  <a:pt x="5373223" y="1590602"/>
                </a:cubicBezTo>
                <a:cubicBezTo>
                  <a:pt x="5387340" y="1595171"/>
                  <a:pt x="5399878" y="1598190"/>
                  <a:pt x="5418701" y="1604282"/>
                </a:cubicBezTo>
                <a:cubicBezTo>
                  <a:pt x="5406317" y="1616897"/>
                  <a:pt x="5400156" y="1626331"/>
                  <a:pt x="5390900" y="1638919"/>
                </a:cubicBezTo>
                <a:cubicBezTo>
                  <a:pt x="5375173" y="1629673"/>
                  <a:pt x="5359477" y="1623554"/>
                  <a:pt x="5343780" y="1617435"/>
                </a:cubicBezTo>
                <a:cubicBezTo>
                  <a:pt x="5314308" y="1641141"/>
                  <a:pt x="5370652" y="1646911"/>
                  <a:pt x="5353687" y="1670509"/>
                </a:cubicBezTo>
                <a:cubicBezTo>
                  <a:pt x="5344337" y="1673717"/>
                  <a:pt x="5331830" y="1673825"/>
                  <a:pt x="5319322" y="1673933"/>
                </a:cubicBezTo>
                <a:cubicBezTo>
                  <a:pt x="5319446" y="1686440"/>
                  <a:pt x="5317991" y="1697397"/>
                  <a:pt x="5318145" y="1713031"/>
                </a:cubicBezTo>
                <a:lnTo>
                  <a:pt x="5262418" y="1769797"/>
                </a:lnTo>
                <a:cubicBezTo>
                  <a:pt x="5260994" y="1783881"/>
                  <a:pt x="5261118" y="1796389"/>
                  <a:pt x="5261241" y="1808896"/>
                </a:cubicBezTo>
                <a:cubicBezTo>
                  <a:pt x="5247186" y="1810580"/>
                  <a:pt x="5234679" y="1810688"/>
                  <a:pt x="5223750" y="1812345"/>
                </a:cubicBezTo>
                <a:cubicBezTo>
                  <a:pt x="5223874" y="1824852"/>
                  <a:pt x="5220871" y="1837387"/>
                  <a:pt x="5219415" y="1848343"/>
                </a:cubicBezTo>
                <a:cubicBezTo>
                  <a:pt x="5208456" y="1846874"/>
                  <a:pt x="5199076" y="1846955"/>
                  <a:pt x="5188147" y="1848612"/>
                </a:cubicBezTo>
                <a:cubicBezTo>
                  <a:pt x="5186692" y="1859570"/>
                  <a:pt x="5185237" y="1870527"/>
                  <a:pt x="5185391" y="1886161"/>
                </a:cubicBezTo>
                <a:lnTo>
                  <a:pt x="5073938" y="1999694"/>
                </a:lnTo>
                <a:cubicBezTo>
                  <a:pt x="5072513" y="2013778"/>
                  <a:pt x="5071089" y="2027862"/>
                  <a:pt x="5071212" y="2040369"/>
                </a:cubicBezTo>
                <a:cubicBezTo>
                  <a:pt x="5058705" y="2040476"/>
                  <a:pt x="5044650" y="2042161"/>
                  <a:pt x="5029016" y="2042295"/>
                </a:cubicBezTo>
                <a:cubicBezTo>
                  <a:pt x="5024434" y="2053280"/>
                  <a:pt x="5018272" y="2062714"/>
                  <a:pt x="5009047" y="2078428"/>
                </a:cubicBezTo>
                <a:cubicBezTo>
                  <a:pt x="5030935" y="2078240"/>
                  <a:pt x="5048148" y="2079656"/>
                  <a:pt x="5066909" y="2079494"/>
                </a:cubicBezTo>
                <a:lnTo>
                  <a:pt x="5240281" y="1902888"/>
                </a:lnTo>
                <a:cubicBezTo>
                  <a:pt x="5241798" y="1898184"/>
                  <a:pt x="5241674" y="1885677"/>
                  <a:pt x="5243099" y="1871593"/>
                </a:cubicBezTo>
                <a:cubicBezTo>
                  <a:pt x="5258702" y="1868332"/>
                  <a:pt x="5274305" y="1865071"/>
                  <a:pt x="5294583" y="1860205"/>
                </a:cubicBezTo>
                <a:cubicBezTo>
                  <a:pt x="5295977" y="1842994"/>
                  <a:pt x="5298949" y="1827334"/>
                  <a:pt x="5301859" y="1805420"/>
                </a:cubicBezTo>
                <a:lnTo>
                  <a:pt x="5546438" y="1556278"/>
                </a:lnTo>
                <a:cubicBezTo>
                  <a:pt x="5547924" y="1548448"/>
                  <a:pt x="5546283" y="1540644"/>
                  <a:pt x="5546252" y="1537517"/>
                </a:cubicBezTo>
                <a:cubicBezTo>
                  <a:pt x="5547708" y="1526560"/>
                  <a:pt x="5544519" y="1520333"/>
                  <a:pt x="5547615" y="1517180"/>
                </a:cubicBezTo>
                <a:cubicBezTo>
                  <a:pt x="5629657" y="1433607"/>
                  <a:pt x="5711699" y="1350034"/>
                  <a:pt x="5793741" y="1266462"/>
                </a:cubicBezTo>
                <a:lnTo>
                  <a:pt x="5793370" y="1228940"/>
                </a:lnTo>
                <a:cubicBezTo>
                  <a:pt x="5841358" y="1180057"/>
                  <a:pt x="5895536" y="1124868"/>
                  <a:pt x="5946619" y="1072832"/>
                </a:cubicBezTo>
                <a:cubicBezTo>
                  <a:pt x="5946496" y="1060325"/>
                  <a:pt x="5946403" y="1050945"/>
                  <a:pt x="5946248" y="1035311"/>
                </a:cubicBezTo>
                <a:lnTo>
                  <a:pt x="6001975" y="978544"/>
                </a:lnTo>
                <a:cubicBezTo>
                  <a:pt x="6003369" y="961333"/>
                  <a:pt x="6001728" y="953530"/>
                  <a:pt x="6001604" y="941023"/>
                </a:cubicBezTo>
                <a:cubicBezTo>
                  <a:pt x="6012533" y="939365"/>
                  <a:pt x="6025040" y="939258"/>
                  <a:pt x="6039095" y="937573"/>
                </a:cubicBezTo>
                <a:lnTo>
                  <a:pt x="6077794" y="898152"/>
                </a:lnTo>
                <a:cubicBezTo>
                  <a:pt x="6077702" y="888772"/>
                  <a:pt x="6079126" y="874688"/>
                  <a:pt x="6077423" y="860631"/>
                </a:cubicBezTo>
                <a:cubicBezTo>
                  <a:pt x="6091232" y="833932"/>
                  <a:pt x="6116339" y="843097"/>
                  <a:pt x="6142871" y="838178"/>
                </a:cubicBezTo>
                <a:cubicBezTo>
                  <a:pt x="6145874" y="825644"/>
                  <a:pt x="6151973" y="809957"/>
                  <a:pt x="6161137" y="787988"/>
                </a:cubicBezTo>
                <a:cubicBezTo>
                  <a:pt x="6159589" y="789565"/>
                  <a:pt x="6165781" y="783258"/>
                  <a:pt x="6172035" y="783204"/>
                </a:cubicBezTo>
                <a:cubicBezTo>
                  <a:pt x="6198629" y="784539"/>
                  <a:pt x="6217081" y="753110"/>
                  <a:pt x="6245315" y="762248"/>
                </a:cubicBezTo>
                <a:cubicBezTo>
                  <a:pt x="6284014" y="722827"/>
                  <a:pt x="6324941" y="750619"/>
                  <a:pt x="6365714" y="762776"/>
                </a:cubicBezTo>
                <a:lnTo>
                  <a:pt x="6393577" y="734393"/>
                </a:lnTo>
                <a:lnTo>
                  <a:pt x="6420418" y="760742"/>
                </a:lnTo>
                <a:cubicBezTo>
                  <a:pt x="6440758" y="762131"/>
                  <a:pt x="6456423" y="765123"/>
                  <a:pt x="6470509" y="766566"/>
                </a:cubicBezTo>
                <a:cubicBezTo>
                  <a:pt x="6484935" y="802403"/>
                  <a:pt x="6488309" y="827391"/>
                  <a:pt x="6465152" y="857297"/>
                </a:cubicBezTo>
                <a:cubicBezTo>
                  <a:pt x="6452830" y="876165"/>
                  <a:pt x="6462550" y="910479"/>
                  <a:pt x="6462797" y="935494"/>
                </a:cubicBezTo>
                <a:cubicBezTo>
                  <a:pt x="6433293" y="956074"/>
                  <a:pt x="6422612" y="982745"/>
                  <a:pt x="6421373" y="1015590"/>
                </a:cubicBezTo>
                <a:cubicBezTo>
                  <a:pt x="6380879" y="1031574"/>
                  <a:pt x="6395398" y="1076791"/>
                  <a:pt x="6372209" y="1103571"/>
                </a:cubicBezTo>
                <a:cubicBezTo>
                  <a:pt x="6352117" y="1127196"/>
                  <a:pt x="6328866" y="1147722"/>
                  <a:pt x="6311839" y="1165068"/>
                </a:cubicBezTo>
                <a:cubicBezTo>
                  <a:pt x="6310445" y="1182279"/>
                  <a:pt x="6312086" y="1190082"/>
                  <a:pt x="6312241" y="1205716"/>
                </a:cubicBezTo>
                <a:lnTo>
                  <a:pt x="6234842" y="1284558"/>
                </a:lnTo>
                <a:cubicBezTo>
                  <a:pt x="6234997" y="1300192"/>
                  <a:pt x="6236637" y="1307996"/>
                  <a:pt x="6235182" y="1318953"/>
                </a:cubicBezTo>
                <a:lnTo>
                  <a:pt x="6179455" y="1375719"/>
                </a:lnTo>
                <a:cubicBezTo>
                  <a:pt x="6181158" y="1389777"/>
                  <a:pt x="6179733" y="1403861"/>
                  <a:pt x="6178309" y="1417945"/>
                </a:cubicBezTo>
                <a:lnTo>
                  <a:pt x="6110199" y="1487326"/>
                </a:lnTo>
                <a:cubicBezTo>
                  <a:pt x="6101127" y="1518674"/>
                  <a:pt x="6091994" y="1543770"/>
                  <a:pt x="6082923" y="1575118"/>
                </a:cubicBezTo>
                <a:cubicBezTo>
                  <a:pt x="6123541" y="1571642"/>
                  <a:pt x="6162580" y="1566616"/>
                  <a:pt x="6190690" y="1563247"/>
                </a:cubicBezTo>
                <a:lnTo>
                  <a:pt x="6238057" y="1609746"/>
                </a:lnTo>
                <a:cubicBezTo>
                  <a:pt x="6239759" y="1623803"/>
                  <a:pt x="6241431" y="1634733"/>
                  <a:pt x="6241555" y="1647240"/>
                </a:cubicBezTo>
                <a:cubicBezTo>
                  <a:pt x="6271275" y="1648548"/>
                  <a:pt x="6277250" y="1620354"/>
                  <a:pt x="6297467" y="1609235"/>
                </a:cubicBezTo>
                <a:cubicBezTo>
                  <a:pt x="6323998" y="1604316"/>
                  <a:pt x="6332016" y="1624573"/>
                  <a:pt x="6340034" y="1644830"/>
                </a:cubicBezTo>
                <a:cubicBezTo>
                  <a:pt x="6322852" y="1646541"/>
                  <a:pt x="6308797" y="1648226"/>
                  <a:pt x="6296289" y="1648334"/>
                </a:cubicBezTo>
                <a:cubicBezTo>
                  <a:pt x="6294958" y="1671798"/>
                  <a:pt x="6309106" y="1679494"/>
                  <a:pt x="6329508" y="1687136"/>
                </a:cubicBezTo>
                <a:cubicBezTo>
                  <a:pt x="6352758" y="1666611"/>
                  <a:pt x="6374430" y="1644534"/>
                  <a:pt x="6399228" y="1622432"/>
                </a:cubicBezTo>
                <a:cubicBezTo>
                  <a:pt x="6410249" y="1630155"/>
                  <a:pt x="6421271" y="1637877"/>
                  <a:pt x="6432261" y="1642474"/>
                </a:cubicBezTo>
                <a:cubicBezTo>
                  <a:pt x="6404706" y="1702125"/>
                  <a:pt x="6403715" y="1759984"/>
                  <a:pt x="6432443" y="1819152"/>
                </a:cubicBezTo>
                <a:cubicBezTo>
                  <a:pt x="6420060" y="1831766"/>
                  <a:pt x="6407676" y="1844381"/>
                  <a:pt x="6395292" y="1856996"/>
                </a:cubicBezTo>
                <a:cubicBezTo>
                  <a:pt x="6408140" y="1891283"/>
                  <a:pt x="6372382" y="1911916"/>
                  <a:pt x="6375818" y="1943157"/>
                </a:cubicBezTo>
                <a:cubicBezTo>
                  <a:pt x="6379223" y="1971272"/>
                  <a:pt x="6332382" y="1977929"/>
                  <a:pt x="6338945" y="2009143"/>
                </a:cubicBezTo>
                <a:cubicBezTo>
                  <a:pt x="6348696" y="2046584"/>
                  <a:pt x="6292475" y="2053322"/>
                  <a:pt x="6302195" y="2087636"/>
                </a:cubicBezTo>
                <a:lnTo>
                  <a:pt x="6324300" y="2109335"/>
                </a:lnTo>
                <a:cubicBezTo>
                  <a:pt x="6336745" y="2102974"/>
                  <a:pt x="6353866" y="2095009"/>
                  <a:pt x="6370986" y="2087044"/>
                </a:cubicBezTo>
                <a:cubicBezTo>
                  <a:pt x="6380428" y="2093217"/>
                  <a:pt x="6389871" y="2099390"/>
                  <a:pt x="6400892" y="2107113"/>
                </a:cubicBezTo>
                <a:cubicBezTo>
                  <a:pt x="6424266" y="2099094"/>
                  <a:pt x="6447640" y="2091076"/>
                  <a:pt x="6480364" y="2079850"/>
                </a:cubicBezTo>
                <a:lnTo>
                  <a:pt x="6512871" y="2046736"/>
                </a:lnTo>
                <a:cubicBezTo>
                  <a:pt x="6530084" y="2048151"/>
                  <a:pt x="6547297" y="2049567"/>
                  <a:pt x="6566058" y="2049406"/>
                </a:cubicBezTo>
                <a:cubicBezTo>
                  <a:pt x="6570918" y="2066563"/>
                  <a:pt x="6575809" y="2086847"/>
                  <a:pt x="6583858" y="2110230"/>
                </a:cubicBezTo>
                <a:cubicBezTo>
                  <a:pt x="6605653" y="2100662"/>
                  <a:pt x="6618068" y="2091174"/>
                  <a:pt x="6635219" y="2086336"/>
                </a:cubicBezTo>
                <a:cubicBezTo>
                  <a:pt x="6639894" y="2084732"/>
                  <a:pt x="6649337" y="2090905"/>
                  <a:pt x="6657200" y="2095528"/>
                </a:cubicBezTo>
                <a:cubicBezTo>
                  <a:pt x="6646395" y="2109693"/>
                  <a:pt x="6626117" y="2114557"/>
                  <a:pt x="6628005" y="2147376"/>
                </a:cubicBezTo>
                <a:cubicBezTo>
                  <a:pt x="6645125" y="2139411"/>
                  <a:pt x="6660698" y="2133023"/>
                  <a:pt x="6676239" y="2123508"/>
                </a:cubicBezTo>
                <a:lnTo>
                  <a:pt x="6678003" y="2143819"/>
                </a:lnTo>
                <a:cubicBezTo>
                  <a:pt x="6698189" y="2129573"/>
                  <a:pt x="6719922" y="2113751"/>
                  <a:pt x="6747878" y="2094748"/>
                </a:cubicBezTo>
                <a:cubicBezTo>
                  <a:pt x="6737228" y="2124547"/>
                  <a:pt x="6731160" y="2143362"/>
                  <a:pt x="6723513" y="2160626"/>
                </a:cubicBezTo>
                <a:lnTo>
                  <a:pt x="6745617" y="2182326"/>
                </a:lnTo>
                <a:cubicBezTo>
                  <a:pt x="6731902" y="2218405"/>
                  <a:pt x="6719734" y="2252907"/>
                  <a:pt x="6706019" y="2288986"/>
                </a:cubicBezTo>
                <a:cubicBezTo>
                  <a:pt x="6709176" y="2292087"/>
                  <a:pt x="6710786" y="2296763"/>
                  <a:pt x="6712334" y="2295187"/>
                </a:cubicBezTo>
                <a:cubicBezTo>
                  <a:pt x="6723293" y="2296656"/>
                  <a:pt x="6731095" y="2295025"/>
                  <a:pt x="6742055" y="2296495"/>
                </a:cubicBezTo>
                <a:cubicBezTo>
                  <a:pt x="6748741" y="2340216"/>
                  <a:pt x="6687845" y="2348557"/>
                  <a:pt x="6688309" y="2395459"/>
                </a:cubicBezTo>
                <a:cubicBezTo>
                  <a:pt x="6719454" y="2382683"/>
                  <a:pt x="6750598" y="2369907"/>
                  <a:pt x="6778616" y="2357158"/>
                </a:cubicBezTo>
                <a:cubicBezTo>
                  <a:pt x="6787966" y="2353950"/>
                  <a:pt x="6792578" y="2346093"/>
                  <a:pt x="6806510" y="2331902"/>
                </a:cubicBezTo>
                <a:cubicBezTo>
                  <a:pt x="6820627" y="2336471"/>
                  <a:pt x="6839450" y="2342563"/>
                  <a:pt x="6858273" y="2348655"/>
                </a:cubicBezTo>
                <a:cubicBezTo>
                  <a:pt x="6856725" y="2350232"/>
                  <a:pt x="6852143" y="2361216"/>
                  <a:pt x="6845982" y="2370650"/>
                </a:cubicBezTo>
                <a:cubicBezTo>
                  <a:pt x="6830348" y="2370784"/>
                  <a:pt x="6816293" y="2372469"/>
                  <a:pt x="6800658" y="2372604"/>
                </a:cubicBezTo>
                <a:cubicBezTo>
                  <a:pt x="6807036" y="2385057"/>
                  <a:pt x="6811834" y="2395961"/>
                  <a:pt x="6819821" y="2413091"/>
                </a:cubicBezTo>
                <a:cubicBezTo>
                  <a:pt x="6846353" y="2408172"/>
                  <a:pt x="6872854" y="2400126"/>
                  <a:pt x="6899386" y="2395208"/>
                </a:cubicBezTo>
                <a:cubicBezTo>
                  <a:pt x="6904617" y="2449887"/>
                  <a:pt x="6857745" y="2453416"/>
                  <a:pt x="6839262" y="2481719"/>
                </a:cubicBezTo>
                <a:cubicBezTo>
                  <a:pt x="6842667" y="2509833"/>
                  <a:pt x="6847620" y="2536371"/>
                  <a:pt x="6852573" y="2562909"/>
                </a:cubicBezTo>
                <a:cubicBezTo>
                  <a:pt x="6830685" y="2563097"/>
                  <a:pt x="6818178" y="2563204"/>
                  <a:pt x="6804123" y="2564888"/>
                </a:cubicBezTo>
                <a:cubicBezTo>
                  <a:pt x="6787157" y="2588487"/>
                  <a:pt x="6754464" y="2602840"/>
                  <a:pt x="6748550" y="2637289"/>
                </a:cubicBezTo>
                <a:cubicBezTo>
                  <a:pt x="6778333" y="2644850"/>
                  <a:pt x="6808053" y="2646158"/>
                  <a:pt x="6831273" y="2622506"/>
                </a:cubicBezTo>
                <a:cubicBezTo>
                  <a:pt x="6870497" y="2636240"/>
                  <a:pt x="6882448" y="2579850"/>
                  <a:pt x="6909073" y="2584312"/>
                </a:cubicBezTo>
                <a:cubicBezTo>
                  <a:pt x="6951362" y="2591766"/>
                  <a:pt x="6957183" y="2547937"/>
                  <a:pt x="6989969" y="2542965"/>
                </a:cubicBezTo>
                <a:cubicBezTo>
                  <a:pt x="7004210" y="2560041"/>
                  <a:pt x="6995045" y="2582009"/>
                  <a:pt x="6996810" y="2602320"/>
                </a:cubicBezTo>
                <a:cubicBezTo>
                  <a:pt x="6984580" y="2630569"/>
                  <a:pt x="6957863" y="2616727"/>
                  <a:pt x="6940712" y="2621565"/>
                </a:cubicBezTo>
                <a:lnTo>
                  <a:pt x="6898917" y="2664140"/>
                </a:lnTo>
                <a:cubicBezTo>
                  <a:pt x="6905294" y="2676593"/>
                  <a:pt x="6913220" y="2687470"/>
                  <a:pt x="6919597" y="2699923"/>
                </a:cubicBezTo>
                <a:cubicBezTo>
                  <a:pt x="6947646" y="2690300"/>
                  <a:pt x="6972568" y="2680705"/>
                  <a:pt x="6999069" y="2672660"/>
                </a:cubicBezTo>
                <a:cubicBezTo>
                  <a:pt x="6998945" y="2660153"/>
                  <a:pt x="6998852" y="2650772"/>
                  <a:pt x="6998759" y="2641392"/>
                </a:cubicBezTo>
                <a:cubicBezTo>
                  <a:pt x="7011267" y="2641284"/>
                  <a:pt x="7022195" y="2639627"/>
                  <a:pt x="7037830" y="2639492"/>
                </a:cubicBezTo>
                <a:lnTo>
                  <a:pt x="7074981" y="2601648"/>
                </a:lnTo>
                <a:cubicBezTo>
                  <a:pt x="7076405" y="2587564"/>
                  <a:pt x="7074703" y="2573507"/>
                  <a:pt x="7074579" y="2561000"/>
                </a:cubicBezTo>
                <a:cubicBezTo>
                  <a:pt x="7088387" y="2534301"/>
                  <a:pt x="7115104" y="2548143"/>
                  <a:pt x="7136899" y="2538574"/>
                </a:cubicBezTo>
                <a:lnTo>
                  <a:pt x="7194174" y="2480231"/>
                </a:lnTo>
                <a:cubicBezTo>
                  <a:pt x="7205195" y="2487954"/>
                  <a:pt x="7217764" y="2494100"/>
                  <a:pt x="7227207" y="2500273"/>
                </a:cubicBezTo>
                <a:cubicBezTo>
                  <a:pt x="7225752" y="2511230"/>
                  <a:pt x="7227423" y="2522161"/>
                  <a:pt x="7222779" y="2526891"/>
                </a:cubicBezTo>
                <a:cubicBezTo>
                  <a:pt x="7182532" y="2567889"/>
                  <a:pt x="7140737" y="2610464"/>
                  <a:pt x="7097394" y="2654616"/>
                </a:cubicBezTo>
                <a:cubicBezTo>
                  <a:pt x="7095939" y="2665573"/>
                  <a:pt x="7096063" y="2678080"/>
                  <a:pt x="7093090" y="2693741"/>
                </a:cubicBezTo>
                <a:cubicBezTo>
                  <a:pt x="7082285" y="2707905"/>
                  <a:pt x="7068385" y="2725224"/>
                  <a:pt x="7056032" y="2740965"/>
                </a:cubicBezTo>
                <a:cubicBezTo>
                  <a:pt x="7059220" y="2747192"/>
                  <a:pt x="7059251" y="2750319"/>
                  <a:pt x="7060861" y="2754995"/>
                </a:cubicBezTo>
                <a:cubicBezTo>
                  <a:pt x="7084235" y="2746977"/>
                  <a:pt x="7107609" y="2738958"/>
                  <a:pt x="7140333" y="2727733"/>
                </a:cubicBezTo>
                <a:lnTo>
                  <a:pt x="7285842" y="2579509"/>
                </a:lnTo>
                <a:cubicBezTo>
                  <a:pt x="7298349" y="2579401"/>
                  <a:pt x="7312404" y="2577717"/>
                  <a:pt x="7326490" y="2579160"/>
                </a:cubicBezTo>
                <a:lnTo>
                  <a:pt x="7363641" y="2541315"/>
                </a:lnTo>
                <a:cubicBezTo>
                  <a:pt x="7382402" y="2541154"/>
                  <a:pt x="7401163" y="2540993"/>
                  <a:pt x="7418346" y="2539281"/>
                </a:cubicBezTo>
                <a:cubicBezTo>
                  <a:pt x="7424816" y="2561116"/>
                  <a:pt x="7409275" y="2570630"/>
                  <a:pt x="7396891" y="2583245"/>
                </a:cubicBezTo>
                <a:cubicBezTo>
                  <a:pt x="7384507" y="2595860"/>
                  <a:pt x="7372123" y="2608474"/>
                  <a:pt x="7355096" y="2625820"/>
                </a:cubicBezTo>
                <a:cubicBezTo>
                  <a:pt x="7386580" y="2647438"/>
                  <a:pt x="7419211" y="2626831"/>
                  <a:pt x="7444349" y="2639124"/>
                </a:cubicBezTo>
                <a:cubicBezTo>
                  <a:pt x="7456981" y="2651524"/>
                  <a:pt x="7471190" y="2665473"/>
                  <a:pt x="7451036" y="2682846"/>
                </a:cubicBezTo>
                <a:cubicBezTo>
                  <a:pt x="7432429" y="2698641"/>
                  <a:pt x="7446701" y="2718844"/>
                  <a:pt x="7439054" y="2736109"/>
                </a:cubicBezTo>
                <a:lnTo>
                  <a:pt x="7384875" y="2791298"/>
                </a:lnTo>
                <a:cubicBezTo>
                  <a:pt x="7384968" y="2800679"/>
                  <a:pt x="7385060" y="2810059"/>
                  <a:pt x="7385153" y="2819439"/>
                </a:cubicBezTo>
                <a:cubicBezTo>
                  <a:pt x="7377630" y="2849211"/>
                  <a:pt x="7332399" y="2860545"/>
                  <a:pt x="7346856" y="2899509"/>
                </a:cubicBezTo>
                <a:cubicBezTo>
                  <a:pt x="7298900" y="2951518"/>
                  <a:pt x="7249396" y="3005103"/>
                  <a:pt x="7190604" y="3068150"/>
                </a:cubicBezTo>
                <a:cubicBezTo>
                  <a:pt x="7193824" y="3077504"/>
                  <a:pt x="7194040" y="3099392"/>
                  <a:pt x="7197414" y="3124379"/>
                </a:cubicBezTo>
                <a:cubicBezTo>
                  <a:pt x="7208404" y="3128975"/>
                  <a:pt x="7219395" y="3133572"/>
                  <a:pt x="7233543" y="3141268"/>
                </a:cubicBezTo>
                <a:cubicBezTo>
                  <a:pt x="7231810" y="3124083"/>
                  <a:pt x="7234813" y="3111549"/>
                  <a:pt x="7234689" y="3099042"/>
                </a:cubicBezTo>
                <a:lnTo>
                  <a:pt x="7271840" y="3061197"/>
                </a:lnTo>
                <a:cubicBezTo>
                  <a:pt x="7285896" y="3059513"/>
                  <a:pt x="7296824" y="3057856"/>
                  <a:pt x="7309331" y="3057748"/>
                </a:cubicBezTo>
                <a:cubicBezTo>
                  <a:pt x="7310756" y="3043665"/>
                  <a:pt x="7310632" y="3031157"/>
                  <a:pt x="7311995" y="3010819"/>
                </a:cubicBezTo>
                <a:cubicBezTo>
                  <a:pt x="7327598" y="3007558"/>
                  <a:pt x="7344749" y="3002720"/>
                  <a:pt x="7365027" y="2997855"/>
                </a:cubicBezTo>
                <a:cubicBezTo>
                  <a:pt x="7366514" y="2990025"/>
                  <a:pt x="7366390" y="2977517"/>
                  <a:pt x="7367845" y="2966560"/>
                </a:cubicBezTo>
                <a:cubicBezTo>
                  <a:pt x="7378773" y="2964903"/>
                  <a:pt x="7391250" y="2961669"/>
                  <a:pt x="7405336" y="2963111"/>
                </a:cubicBezTo>
                <a:lnTo>
                  <a:pt x="7464159" y="2903191"/>
                </a:lnTo>
                <a:cubicBezTo>
                  <a:pt x="7476728" y="2909337"/>
                  <a:pt x="7492424" y="2915456"/>
                  <a:pt x="7506572" y="2923152"/>
                </a:cubicBezTo>
                <a:cubicBezTo>
                  <a:pt x="7520689" y="2927721"/>
                  <a:pt x="7517500" y="2921495"/>
                  <a:pt x="7520504" y="2908960"/>
                </a:cubicBezTo>
                <a:cubicBezTo>
                  <a:pt x="7530907" y="2854147"/>
                  <a:pt x="7547564" y="2799281"/>
                  <a:pt x="7601990" y="2769105"/>
                </a:cubicBezTo>
                <a:cubicBezTo>
                  <a:pt x="7628892" y="2801708"/>
                  <a:pt x="7571339" y="2831910"/>
                  <a:pt x="7602948" y="2866037"/>
                </a:cubicBezTo>
                <a:cubicBezTo>
                  <a:pt x="7604496" y="2864459"/>
                  <a:pt x="7610780" y="2867532"/>
                  <a:pt x="7613876" y="2864379"/>
                </a:cubicBezTo>
                <a:cubicBezTo>
                  <a:pt x="7626260" y="2851764"/>
                  <a:pt x="7638644" y="2839149"/>
                  <a:pt x="7651028" y="2826534"/>
                </a:cubicBezTo>
                <a:cubicBezTo>
                  <a:pt x="7666662" y="2826400"/>
                  <a:pt x="7679169" y="2826293"/>
                  <a:pt x="7693224" y="2824608"/>
                </a:cubicBezTo>
                <a:lnTo>
                  <a:pt x="7730376" y="2786764"/>
                </a:lnTo>
                <a:cubicBezTo>
                  <a:pt x="7730283" y="2777383"/>
                  <a:pt x="7730190" y="2768003"/>
                  <a:pt x="7730035" y="2752369"/>
                </a:cubicBezTo>
                <a:cubicBezTo>
                  <a:pt x="7737837" y="2750738"/>
                  <a:pt x="7748766" y="2749081"/>
                  <a:pt x="7770622" y="2745766"/>
                </a:cubicBezTo>
                <a:cubicBezTo>
                  <a:pt x="7776815" y="2739458"/>
                  <a:pt x="7787619" y="2725294"/>
                  <a:pt x="7800034" y="2715806"/>
                </a:cubicBezTo>
                <a:cubicBezTo>
                  <a:pt x="7812449" y="2706318"/>
                  <a:pt x="7824925" y="2703083"/>
                  <a:pt x="7834460" y="2718637"/>
                </a:cubicBezTo>
                <a:cubicBezTo>
                  <a:pt x="7792665" y="2761211"/>
                  <a:pt x="7792665" y="2761211"/>
                  <a:pt x="7794491" y="2787776"/>
                </a:cubicBezTo>
                <a:cubicBezTo>
                  <a:pt x="7822571" y="2781281"/>
                  <a:pt x="7834800" y="2753032"/>
                  <a:pt x="7854986" y="2738786"/>
                </a:cubicBezTo>
                <a:cubicBezTo>
                  <a:pt x="7872384" y="2758963"/>
                  <a:pt x="7886316" y="2744771"/>
                  <a:pt x="7900247" y="2730580"/>
                </a:cubicBezTo>
                <a:cubicBezTo>
                  <a:pt x="7901703" y="2719623"/>
                  <a:pt x="7901579" y="2707115"/>
                  <a:pt x="7902972" y="2689905"/>
                </a:cubicBezTo>
                <a:cubicBezTo>
                  <a:pt x="7913932" y="2691374"/>
                  <a:pt x="7927987" y="2689689"/>
                  <a:pt x="7940494" y="2689582"/>
                </a:cubicBezTo>
                <a:lnTo>
                  <a:pt x="7996221" y="2632815"/>
                </a:lnTo>
                <a:cubicBezTo>
                  <a:pt x="8053959" y="2621374"/>
                  <a:pt x="8106062" y="2672523"/>
                  <a:pt x="8168414" y="2653224"/>
                </a:cubicBezTo>
                <a:lnTo>
                  <a:pt x="8253552" y="2566498"/>
                </a:lnTo>
                <a:cubicBezTo>
                  <a:pt x="8266152" y="2575771"/>
                  <a:pt x="8277174" y="2583494"/>
                  <a:pt x="8286616" y="2589667"/>
                </a:cubicBezTo>
                <a:cubicBezTo>
                  <a:pt x="8283890" y="2630342"/>
                  <a:pt x="8249588" y="2640018"/>
                  <a:pt x="8231074" y="2665194"/>
                </a:cubicBezTo>
                <a:cubicBezTo>
                  <a:pt x="8217019" y="2666878"/>
                  <a:pt x="8204511" y="2666986"/>
                  <a:pt x="8190456" y="2668670"/>
                </a:cubicBezTo>
                <a:lnTo>
                  <a:pt x="8134729" y="2725437"/>
                </a:lnTo>
                <a:cubicBezTo>
                  <a:pt x="8133305" y="2739520"/>
                  <a:pt x="8133429" y="2752028"/>
                  <a:pt x="8133552" y="2764535"/>
                </a:cubicBezTo>
                <a:cubicBezTo>
                  <a:pt x="8115038" y="2789711"/>
                  <a:pt x="8080767" y="2802514"/>
                  <a:pt x="8074915" y="2843216"/>
                </a:cubicBezTo>
                <a:cubicBezTo>
                  <a:pt x="8115502" y="2836613"/>
                  <a:pt x="8127639" y="2798983"/>
                  <a:pt x="8154077" y="2784684"/>
                </a:cubicBezTo>
                <a:cubicBezTo>
                  <a:pt x="8168133" y="2783000"/>
                  <a:pt x="8182188" y="2781316"/>
                  <a:pt x="8193117" y="2779658"/>
                </a:cubicBezTo>
                <a:lnTo>
                  <a:pt x="8279802" y="2691355"/>
                </a:lnTo>
                <a:cubicBezTo>
                  <a:pt x="8303146" y="2680210"/>
                  <a:pt x="8331380" y="2689348"/>
                  <a:pt x="8351442" y="2662595"/>
                </a:cubicBezTo>
                <a:cubicBezTo>
                  <a:pt x="8359120" y="2648458"/>
                  <a:pt x="8390420" y="2651315"/>
                  <a:pt x="8405930" y="2638674"/>
                </a:cubicBezTo>
                <a:cubicBezTo>
                  <a:pt x="8430790" y="2622825"/>
                  <a:pt x="8452708" y="2625763"/>
                  <a:pt x="8477786" y="2631802"/>
                </a:cubicBezTo>
                <a:cubicBezTo>
                  <a:pt x="8479642" y="2661493"/>
                  <a:pt x="8448404" y="2664889"/>
                  <a:pt x="8442336" y="2683703"/>
                </a:cubicBezTo>
                <a:cubicBezTo>
                  <a:pt x="8431408" y="2685361"/>
                  <a:pt x="8422028" y="2685442"/>
                  <a:pt x="8412648" y="2685522"/>
                </a:cubicBezTo>
                <a:cubicBezTo>
                  <a:pt x="8387726" y="2695118"/>
                  <a:pt x="8365992" y="2710940"/>
                  <a:pt x="8364722" y="2740658"/>
                </a:cubicBezTo>
                <a:cubicBezTo>
                  <a:pt x="8392894" y="2743543"/>
                  <a:pt x="8416082" y="2716763"/>
                  <a:pt x="8447414" y="2722748"/>
                </a:cubicBezTo>
                <a:cubicBezTo>
                  <a:pt x="8470880" y="2724110"/>
                  <a:pt x="8494224" y="2712964"/>
                  <a:pt x="8520724" y="2704918"/>
                </a:cubicBezTo>
                <a:cubicBezTo>
                  <a:pt x="8499362" y="2758262"/>
                  <a:pt x="8443294" y="2780634"/>
                  <a:pt x="8418774" y="2830878"/>
                </a:cubicBezTo>
                <a:cubicBezTo>
                  <a:pt x="8434470" y="2836997"/>
                  <a:pt x="8448588" y="2841566"/>
                  <a:pt x="8461126" y="2844586"/>
                </a:cubicBezTo>
                <a:cubicBezTo>
                  <a:pt x="8455274" y="2885288"/>
                  <a:pt x="8405306" y="2891972"/>
                  <a:pt x="8402582" y="2932647"/>
                </a:cubicBezTo>
                <a:cubicBezTo>
                  <a:pt x="8451124" y="2940047"/>
                  <a:pt x="8455150" y="2872781"/>
                  <a:pt x="8497410" y="2877108"/>
                </a:cubicBezTo>
                <a:cubicBezTo>
                  <a:pt x="8544342" y="2879831"/>
                  <a:pt x="8549978" y="2817242"/>
                  <a:pt x="8593754" y="2816865"/>
                </a:cubicBezTo>
                <a:cubicBezTo>
                  <a:pt x="8595518" y="2837176"/>
                  <a:pt x="8595704" y="2855937"/>
                  <a:pt x="8595890" y="2874698"/>
                </a:cubicBezTo>
                <a:lnTo>
                  <a:pt x="8558738" y="2912542"/>
                </a:lnTo>
                <a:cubicBezTo>
                  <a:pt x="8557314" y="2926626"/>
                  <a:pt x="8557438" y="2939133"/>
                  <a:pt x="8556012" y="2953217"/>
                </a:cubicBezTo>
                <a:cubicBezTo>
                  <a:pt x="8540534" y="2968986"/>
                  <a:pt x="8525054" y="2984754"/>
                  <a:pt x="8514280" y="3002045"/>
                </a:cubicBezTo>
                <a:cubicBezTo>
                  <a:pt x="8498552" y="2992799"/>
                  <a:pt x="8485890" y="2977273"/>
                  <a:pt x="8481494" y="3007018"/>
                </a:cubicBezTo>
                <a:cubicBezTo>
                  <a:pt x="8490874" y="3006937"/>
                  <a:pt x="8501804" y="3005280"/>
                  <a:pt x="8514280" y="3002045"/>
                </a:cubicBezTo>
                <a:cubicBezTo>
                  <a:pt x="8517438" y="3005145"/>
                  <a:pt x="8525270" y="3006642"/>
                  <a:pt x="8536260" y="3011237"/>
                </a:cubicBezTo>
                <a:lnTo>
                  <a:pt x="8629138" y="2916627"/>
                </a:lnTo>
                <a:cubicBezTo>
                  <a:pt x="8643194" y="2914943"/>
                  <a:pt x="8655700" y="2914836"/>
                  <a:pt x="8669756" y="2913151"/>
                </a:cubicBezTo>
                <a:cubicBezTo>
                  <a:pt x="8697496" y="2872261"/>
                  <a:pt x="8745978" y="2873407"/>
                  <a:pt x="8789568" y="2854270"/>
                </a:cubicBezTo>
                <a:cubicBezTo>
                  <a:pt x="8782168" y="2896549"/>
                  <a:pt x="8744738" y="2906252"/>
                  <a:pt x="8730962" y="2936077"/>
                </a:cubicBezTo>
                <a:cubicBezTo>
                  <a:pt x="8732572" y="2940754"/>
                  <a:pt x="8732664" y="2950135"/>
                  <a:pt x="8737432" y="2957912"/>
                </a:cubicBezTo>
                <a:cubicBezTo>
                  <a:pt x="8742168" y="2962562"/>
                  <a:pt x="8751580" y="2965608"/>
                  <a:pt x="8762600" y="2973331"/>
                </a:cubicBezTo>
                <a:cubicBezTo>
                  <a:pt x="8778112" y="2960689"/>
                  <a:pt x="8793592" y="2944920"/>
                  <a:pt x="8810650" y="2930702"/>
                </a:cubicBezTo>
                <a:cubicBezTo>
                  <a:pt x="8832538" y="2930514"/>
                  <a:pt x="8843590" y="2941363"/>
                  <a:pt x="8846932" y="2963224"/>
                </a:cubicBezTo>
                <a:lnTo>
                  <a:pt x="8754054" y="3057835"/>
                </a:lnTo>
                <a:cubicBezTo>
                  <a:pt x="8752630" y="3071919"/>
                  <a:pt x="8751206" y="3086003"/>
                  <a:pt x="8749812" y="3103213"/>
                </a:cubicBezTo>
                <a:cubicBezTo>
                  <a:pt x="8739008" y="3117378"/>
                  <a:pt x="8726654" y="3133120"/>
                  <a:pt x="8714302" y="3148861"/>
                </a:cubicBezTo>
                <a:cubicBezTo>
                  <a:pt x="8712846" y="3159819"/>
                  <a:pt x="8712940" y="3169199"/>
                  <a:pt x="8713032" y="3178579"/>
                </a:cubicBezTo>
                <a:cubicBezTo>
                  <a:pt x="8695912" y="3186544"/>
                  <a:pt x="8667646" y="3174279"/>
                  <a:pt x="8656966" y="3200951"/>
                </a:cubicBezTo>
                <a:cubicBezTo>
                  <a:pt x="8657090" y="3213458"/>
                  <a:pt x="8655664" y="3227542"/>
                  <a:pt x="8655788" y="3240049"/>
                </a:cubicBezTo>
                <a:cubicBezTo>
                  <a:pt x="8646408" y="3240130"/>
                  <a:pt x="8637028" y="3240211"/>
                  <a:pt x="8621394" y="3240345"/>
                </a:cubicBezTo>
                <a:cubicBezTo>
                  <a:pt x="8621486" y="3249726"/>
                  <a:pt x="8620030" y="3260683"/>
                  <a:pt x="8617058" y="3276344"/>
                </a:cubicBezTo>
                <a:lnTo>
                  <a:pt x="8541208" y="3353609"/>
                </a:lnTo>
                <a:cubicBezTo>
                  <a:pt x="8536534" y="3355213"/>
                  <a:pt x="8522478" y="3356897"/>
                  <a:pt x="8505296" y="3358609"/>
                </a:cubicBezTo>
                <a:lnTo>
                  <a:pt x="8347404" y="3519446"/>
                </a:lnTo>
                <a:cubicBezTo>
                  <a:pt x="8366380" y="3541173"/>
                  <a:pt x="8375544" y="3519204"/>
                  <a:pt x="8388022" y="3515970"/>
                </a:cubicBezTo>
                <a:cubicBezTo>
                  <a:pt x="8400466" y="3509609"/>
                  <a:pt x="8414554" y="3511051"/>
                  <a:pt x="8428608" y="3509367"/>
                </a:cubicBezTo>
                <a:lnTo>
                  <a:pt x="8482788" y="3454178"/>
                </a:lnTo>
                <a:cubicBezTo>
                  <a:pt x="8515696" y="3461712"/>
                  <a:pt x="8547150" y="3480204"/>
                  <a:pt x="8583000" y="3468952"/>
                </a:cubicBezTo>
                <a:cubicBezTo>
                  <a:pt x="8582908" y="3459571"/>
                  <a:pt x="8582814" y="3450190"/>
                  <a:pt x="8582722" y="3440810"/>
                </a:cubicBezTo>
                <a:cubicBezTo>
                  <a:pt x="8604456" y="3424988"/>
                  <a:pt x="8631142" y="3435703"/>
                  <a:pt x="8656126" y="3432361"/>
                </a:cubicBezTo>
                <a:cubicBezTo>
                  <a:pt x="8671636" y="3419720"/>
                  <a:pt x="8688694" y="3405501"/>
                  <a:pt x="8707302" y="3389706"/>
                </a:cubicBezTo>
                <a:cubicBezTo>
                  <a:pt x="8716774" y="3399006"/>
                  <a:pt x="8727796" y="3406728"/>
                  <a:pt x="8735690" y="3414478"/>
                </a:cubicBezTo>
                <a:cubicBezTo>
                  <a:pt x="8732934" y="3452027"/>
                  <a:pt x="8693926" y="3460180"/>
                  <a:pt x="8684792" y="3485275"/>
                </a:cubicBezTo>
                <a:cubicBezTo>
                  <a:pt x="8662998" y="3494843"/>
                  <a:pt x="8642534" y="3480948"/>
                  <a:pt x="8631760" y="3498239"/>
                </a:cubicBezTo>
                <a:cubicBezTo>
                  <a:pt x="8610088" y="3520315"/>
                  <a:pt x="8630646" y="3543592"/>
                  <a:pt x="8616806" y="3567163"/>
                </a:cubicBezTo>
                <a:cubicBezTo>
                  <a:pt x="8644854" y="3557541"/>
                  <a:pt x="8666680" y="3551099"/>
                  <a:pt x="8702532" y="3539846"/>
                </a:cubicBezTo>
                <a:lnTo>
                  <a:pt x="8769094" y="3472042"/>
                </a:lnTo>
                <a:cubicBezTo>
                  <a:pt x="8783148" y="3470358"/>
                  <a:pt x="8795656" y="3470250"/>
                  <a:pt x="8809712" y="3468565"/>
                </a:cubicBezTo>
                <a:cubicBezTo>
                  <a:pt x="8825222" y="3455924"/>
                  <a:pt x="8842280" y="3441705"/>
                  <a:pt x="8860888" y="3425910"/>
                </a:cubicBezTo>
                <a:cubicBezTo>
                  <a:pt x="8871940" y="3436760"/>
                  <a:pt x="8881382" y="3442933"/>
                  <a:pt x="8892434" y="3453782"/>
                </a:cubicBezTo>
                <a:cubicBezTo>
                  <a:pt x="8886304" y="3466343"/>
                  <a:pt x="8880142" y="3475778"/>
                  <a:pt x="8869400" y="3496196"/>
                </a:cubicBezTo>
                <a:cubicBezTo>
                  <a:pt x="8874168" y="3503972"/>
                  <a:pt x="8883672" y="3516399"/>
                  <a:pt x="8890050" y="3528853"/>
                </a:cubicBezTo>
                <a:cubicBezTo>
                  <a:pt x="8911844" y="3519284"/>
                  <a:pt x="8927416" y="3512896"/>
                  <a:pt x="8942990" y="3506508"/>
                </a:cubicBezTo>
                <a:cubicBezTo>
                  <a:pt x="8944630" y="3514311"/>
                  <a:pt x="8947850" y="3523665"/>
                  <a:pt x="8944754" y="3526819"/>
                </a:cubicBezTo>
                <a:cubicBezTo>
                  <a:pt x="8937044" y="3537830"/>
                  <a:pt x="8919924" y="3545795"/>
                  <a:pt x="8918468" y="3556752"/>
                </a:cubicBezTo>
                <a:cubicBezTo>
                  <a:pt x="8911008" y="3592777"/>
                  <a:pt x="8892494" y="3617953"/>
                  <a:pt x="8872462" y="3647832"/>
                </a:cubicBezTo>
                <a:cubicBezTo>
                  <a:pt x="8858624" y="3671404"/>
                  <a:pt x="8857384" y="3704249"/>
                  <a:pt x="8849922" y="3740275"/>
                </a:cubicBezTo>
                <a:lnTo>
                  <a:pt x="8780264" y="3811233"/>
                </a:lnTo>
                <a:cubicBezTo>
                  <a:pt x="8778840" y="3825316"/>
                  <a:pt x="8777416" y="3839401"/>
                  <a:pt x="8775992" y="3853485"/>
                </a:cubicBezTo>
                <a:lnTo>
                  <a:pt x="8681566" y="3949672"/>
                </a:lnTo>
                <a:cubicBezTo>
                  <a:pt x="8670636" y="3951330"/>
                  <a:pt x="8658130" y="3951437"/>
                  <a:pt x="8644044" y="3949995"/>
                </a:cubicBezTo>
                <a:cubicBezTo>
                  <a:pt x="8551166" y="4044606"/>
                  <a:pt x="8459836" y="4137639"/>
                  <a:pt x="8366958" y="4232250"/>
                </a:cubicBezTo>
                <a:cubicBezTo>
                  <a:pt x="8360674" y="4229177"/>
                  <a:pt x="8354388" y="4226104"/>
                  <a:pt x="8343398" y="4221508"/>
                </a:cubicBezTo>
                <a:cubicBezTo>
                  <a:pt x="8279932" y="4286158"/>
                  <a:pt x="8214917" y="4352386"/>
                  <a:pt x="8149903" y="4418613"/>
                </a:cubicBezTo>
                <a:cubicBezTo>
                  <a:pt x="8148355" y="4420190"/>
                  <a:pt x="8156280" y="4431066"/>
                  <a:pt x="8161047" y="4438843"/>
                </a:cubicBezTo>
                <a:cubicBezTo>
                  <a:pt x="8230706" y="4367885"/>
                  <a:pt x="8298816" y="4298504"/>
                  <a:pt x="8366958" y="4232250"/>
                </a:cubicBezTo>
                <a:cubicBezTo>
                  <a:pt x="8389032" y="4250822"/>
                  <a:pt x="8372064" y="4274421"/>
                  <a:pt x="8380084" y="4294679"/>
                </a:cubicBezTo>
                <a:cubicBezTo>
                  <a:pt x="8336772" y="4341957"/>
                  <a:pt x="8336772" y="4341957"/>
                  <a:pt x="8326182" y="4378009"/>
                </a:cubicBezTo>
                <a:cubicBezTo>
                  <a:pt x="8360516" y="4371460"/>
                  <a:pt x="8374262" y="4338507"/>
                  <a:pt x="8397512" y="4317982"/>
                </a:cubicBezTo>
                <a:cubicBezTo>
                  <a:pt x="8417666" y="4300609"/>
                  <a:pt x="8434664" y="4280137"/>
                  <a:pt x="8454788" y="4259638"/>
                </a:cubicBezTo>
                <a:lnTo>
                  <a:pt x="8535282" y="4177643"/>
                </a:lnTo>
                <a:cubicBezTo>
                  <a:pt x="8523268" y="4227779"/>
                  <a:pt x="8515714" y="4254424"/>
                  <a:pt x="8509708" y="4279492"/>
                </a:cubicBezTo>
                <a:cubicBezTo>
                  <a:pt x="8500328" y="4279572"/>
                  <a:pt x="8490946" y="4279653"/>
                  <a:pt x="8478440" y="4279761"/>
                </a:cubicBezTo>
                <a:cubicBezTo>
                  <a:pt x="8476984" y="4290718"/>
                  <a:pt x="8475530" y="4301675"/>
                  <a:pt x="8472588" y="4320463"/>
                </a:cubicBezTo>
                <a:cubicBezTo>
                  <a:pt x="8469616" y="4336124"/>
                  <a:pt x="8429028" y="4342727"/>
                  <a:pt x="8440296" y="4375464"/>
                </a:cubicBezTo>
                <a:cubicBezTo>
                  <a:pt x="8459058" y="4375303"/>
                  <a:pt x="8474692" y="4375169"/>
                  <a:pt x="8493452" y="4375007"/>
                </a:cubicBezTo>
                <a:cubicBezTo>
                  <a:pt x="8494878" y="4360923"/>
                  <a:pt x="8496332" y="4349966"/>
                  <a:pt x="8496210" y="4337459"/>
                </a:cubicBezTo>
                <a:lnTo>
                  <a:pt x="8529026" y="4335613"/>
                </a:lnTo>
                <a:cubicBezTo>
                  <a:pt x="8549180" y="4318241"/>
                  <a:pt x="8570882" y="4299292"/>
                  <a:pt x="8594132" y="4278766"/>
                </a:cubicBezTo>
                <a:cubicBezTo>
                  <a:pt x="8622244" y="4275397"/>
                  <a:pt x="8627228" y="4305062"/>
                  <a:pt x="8653914" y="4315777"/>
                </a:cubicBezTo>
                <a:cubicBezTo>
                  <a:pt x="8666358" y="4309416"/>
                  <a:pt x="8685058" y="4303001"/>
                  <a:pt x="8705306" y="4295009"/>
                </a:cubicBezTo>
                <a:cubicBezTo>
                  <a:pt x="8710290" y="4324674"/>
                  <a:pt x="8683788" y="4332719"/>
                  <a:pt x="8666854" y="4359444"/>
                </a:cubicBezTo>
                <a:cubicBezTo>
                  <a:pt x="8668588" y="4376629"/>
                  <a:pt x="8671992" y="4404743"/>
                  <a:pt x="8675304" y="4423477"/>
                </a:cubicBezTo>
                <a:lnTo>
                  <a:pt x="8477164" y="4625313"/>
                </a:lnTo>
                <a:cubicBezTo>
                  <a:pt x="8478806" y="4633116"/>
                  <a:pt x="8478898" y="4642497"/>
                  <a:pt x="8478930" y="4645623"/>
                </a:cubicBezTo>
                <a:cubicBezTo>
                  <a:pt x="8477474" y="4656581"/>
                  <a:pt x="8479084" y="4661257"/>
                  <a:pt x="8475988" y="4664411"/>
                </a:cubicBezTo>
                <a:cubicBezTo>
                  <a:pt x="8352182" y="4793685"/>
                  <a:pt x="8223668" y="4921437"/>
                  <a:pt x="8096736" y="5050738"/>
                </a:cubicBezTo>
                <a:cubicBezTo>
                  <a:pt x="8098408" y="5061668"/>
                  <a:pt x="8098501" y="5071049"/>
                  <a:pt x="8098655" y="5086683"/>
                </a:cubicBezTo>
                <a:lnTo>
                  <a:pt x="7623430" y="5570774"/>
                </a:lnTo>
                <a:cubicBezTo>
                  <a:pt x="7623584" y="5586408"/>
                  <a:pt x="7623677" y="5595788"/>
                  <a:pt x="7623800" y="5608295"/>
                </a:cubicBezTo>
                <a:lnTo>
                  <a:pt x="6631555" y="6619052"/>
                </a:lnTo>
                <a:cubicBezTo>
                  <a:pt x="6619047" y="6619159"/>
                  <a:pt x="6609667" y="6619240"/>
                  <a:pt x="6594032" y="6619375"/>
                </a:cubicBezTo>
                <a:lnTo>
                  <a:pt x="6289083" y="6930013"/>
                </a:lnTo>
                <a:cubicBezTo>
                  <a:pt x="6273449" y="6930147"/>
                  <a:pt x="6264068" y="6930227"/>
                  <a:pt x="6254688" y="6930308"/>
                </a:cubicBezTo>
                <a:lnTo>
                  <a:pt x="6065836" y="7122683"/>
                </a:lnTo>
                <a:cubicBezTo>
                  <a:pt x="6051781" y="7124368"/>
                  <a:pt x="6039273" y="7124475"/>
                  <a:pt x="6023639" y="7124610"/>
                </a:cubicBezTo>
                <a:lnTo>
                  <a:pt x="5853363" y="7298062"/>
                </a:lnTo>
                <a:cubicBezTo>
                  <a:pt x="5843983" y="7298143"/>
                  <a:pt x="5836181" y="7299774"/>
                  <a:pt x="5826800" y="7299854"/>
                </a:cubicBezTo>
                <a:cubicBezTo>
                  <a:pt x="5823674" y="7299881"/>
                  <a:pt x="5815841" y="7298385"/>
                  <a:pt x="5814293" y="7299962"/>
                </a:cubicBezTo>
                <a:cubicBezTo>
                  <a:pt x="5719867" y="7396149"/>
                  <a:pt x="5623893" y="7493914"/>
                  <a:pt x="5529467" y="7590101"/>
                </a:cubicBezTo>
                <a:cubicBezTo>
                  <a:pt x="5520087" y="7590182"/>
                  <a:pt x="5510707" y="7590262"/>
                  <a:pt x="5501326" y="7590343"/>
                </a:cubicBezTo>
                <a:cubicBezTo>
                  <a:pt x="5498199" y="7590370"/>
                  <a:pt x="5491945" y="7590423"/>
                  <a:pt x="5488849" y="7593577"/>
                </a:cubicBezTo>
                <a:cubicBezTo>
                  <a:pt x="5400615" y="7683457"/>
                  <a:pt x="5312381" y="7773337"/>
                  <a:pt x="5225695" y="7861640"/>
                </a:cubicBezTo>
                <a:cubicBezTo>
                  <a:pt x="5213188" y="7861748"/>
                  <a:pt x="5203807" y="7861829"/>
                  <a:pt x="5191300" y="7861936"/>
                </a:cubicBezTo>
                <a:lnTo>
                  <a:pt x="4912666" y="8145768"/>
                </a:lnTo>
                <a:cubicBezTo>
                  <a:pt x="4889261" y="8150660"/>
                  <a:pt x="4873658" y="8153921"/>
                  <a:pt x="4850253" y="8158813"/>
                </a:cubicBezTo>
                <a:cubicBezTo>
                  <a:pt x="4848829" y="8172897"/>
                  <a:pt x="4844309" y="8190135"/>
                  <a:pt x="4841367" y="8208922"/>
                </a:cubicBezTo>
                <a:cubicBezTo>
                  <a:pt x="4831987" y="8209003"/>
                  <a:pt x="4819479" y="8209111"/>
                  <a:pt x="4805424" y="8210795"/>
                </a:cubicBezTo>
                <a:lnTo>
                  <a:pt x="4653723" y="8365326"/>
                </a:lnTo>
                <a:cubicBezTo>
                  <a:pt x="4644343" y="8365406"/>
                  <a:pt x="4634962" y="8365487"/>
                  <a:pt x="4619328" y="8365622"/>
                </a:cubicBezTo>
                <a:cubicBezTo>
                  <a:pt x="4583601" y="8389381"/>
                  <a:pt x="4555862" y="8430272"/>
                  <a:pt x="4518648" y="8461862"/>
                </a:cubicBezTo>
                <a:cubicBezTo>
                  <a:pt x="4509268" y="8461943"/>
                  <a:pt x="4501466" y="8463574"/>
                  <a:pt x="4485832" y="8463708"/>
                </a:cubicBezTo>
                <a:cubicBezTo>
                  <a:pt x="4473417" y="8473196"/>
                  <a:pt x="4456359" y="8487415"/>
                  <a:pt x="4439300" y="8501633"/>
                </a:cubicBezTo>
                <a:cubicBezTo>
                  <a:pt x="4429920" y="8501714"/>
                  <a:pt x="4422118" y="8503344"/>
                  <a:pt x="4412738" y="8503425"/>
                </a:cubicBezTo>
                <a:cubicBezTo>
                  <a:pt x="4409611" y="8503452"/>
                  <a:pt x="4403357" y="8503506"/>
                  <a:pt x="4400261" y="8506659"/>
                </a:cubicBezTo>
                <a:cubicBezTo>
                  <a:pt x="4378868" y="8556876"/>
                  <a:pt x="4324195" y="8562037"/>
                  <a:pt x="4283762" y="8584274"/>
                </a:cubicBezTo>
                <a:cubicBezTo>
                  <a:pt x="4243329" y="8606511"/>
                  <a:pt x="4196767" y="8641309"/>
                  <a:pt x="4141692" y="8605822"/>
                </a:cubicBezTo>
                <a:cubicBezTo>
                  <a:pt x="4107080" y="8584230"/>
                  <a:pt x="4076121" y="8615767"/>
                  <a:pt x="4043336" y="8620739"/>
                </a:cubicBezTo>
                <a:lnTo>
                  <a:pt x="4003864" y="8581990"/>
                </a:lnTo>
                <a:cubicBezTo>
                  <a:pt x="4002192" y="8571060"/>
                  <a:pt x="4002068" y="8558553"/>
                  <a:pt x="4001914" y="8542919"/>
                </a:cubicBezTo>
                <a:cubicBezTo>
                  <a:pt x="3997239" y="8544522"/>
                  <a:pt x="3990955" y="8541449"/>
                  <a:pt x="3987859" y="8544603"/>
                </a:cubicBezTo>
                <a:cubicBezTo>
                  <a:pt x="3956899" y="8576140"/>
                  <a:pt x="3925940" y="8607677"/>
                  <a:pt x="3894981" y="8639214"/>
                </a:cubicBezTo>
                <a:cubicBezTo>
                  <a:pt x="3877799" y="8640925"/>
                  <a:pt x="3865291" y="8641033"/>
                  <a:pt x="3849657" y="8641167"/>
                </a:cubicBezTo>
                <a:lnTo>
                  <a:pt x="3810958" y="8680588"/>
                </a:lnTo>
                <a:cubicBezTo>
                  <a:pt x="3795323" y="8680722"/>
                  <a:pt x="3778110" y="8679307"/>
                  <a:pt x="3751486" y="8674845"/>
                </a:cubicBezTo>
                <a:lnTo>
                  <a:pt x="3716751" y="8640746"/>
                </a:lnTo>
                <a:cubicBezTo>
                  <a:pt x="3671489" y="8648953"/>
                  <a:pt x="3626227" y="8657160"/>
                  <a:pt x="3582513" y="8663790"/>
                </a:cubicBezTo>
                <a:lnTo>
                  <a:pt x="3541462" y="8623491"/>
                </a:lnTo>
                <a:cubicBezTo>
                  <a:pt x="3540937" y="8570335"/>
                  <a:pt x="3540412" y="8517180"/>
                  <a:pt x="3539979" y="8473404"/>
                </a:cubicBezTo>
                <a:cubicBezTo>
                  <a:pt x="3506699" y="8428348"/>
                  <a:pt x="3488463" y="8481665"/>
                  <a:pt x="3464904" y="8470923"/>
                </a:cubicBezTo>
                <a:cubicBezTo>
                  <a:pt x="3466143" y="8438078"/>
                  <a:pt x="3454843" y="8402214"/>
                  <a:pt x="3470076" y="8361431"/>
                </a:cubicBezTo>
                <a:cubicBezTo>
                  <a:pt x="3487258" y="8359720"/>
                  <a:pt x="3502861" y="8356458"/>
                  <a:pt x="3521591" y="8353170"/>
                </a:cubicBezTo>
                <a:cubicBezTo>
                  <a:pt x="3575770" y="8297981"/>
                  <a:pt x="3633045" y="8239638"/>
                  <a:pt x="3690319" y="8181294"/>
                </a:cubicBezTo>
                <a:cubicBezTo>
                  <a:pt x="3691805" y="8173464"/>
                  <a:pt x="3691713" y="8164083"/>
                  <a:pt x="3691558" y="8148450"/>
                </a:cubicBezTo>
                <a:lnTo>
                  <a:pt x="3748833" y="8090106"/>
                </a:lnTo>
                <a:cubicBezTo>
                  <a:pt x="3747100" y="8072922"/>
                  <a:pt x="3748586" y="8065092"/>
                  <a:pt x="3746883" y="8051035"/>
                </a:cubicBezTo>
                <a:lnTo>
                  <a:pt x="3799514" y="7997422"/>
                </a:lnTo>
                <a:cubicBezTo>
                  <a:pt x="3802487" y="7981761"/>
                  <a:pt x="3803942" y="7970804"/>
                  <a:pt x="3806852" y="7948889"/>
                </a:cubicBezTo>
                <a:lnTo>
                  <a:pt x="3862579" y="7892123"/>
                </a:lnTo>
                <a:cubicBezTo>
                  <a:pt x="3860845" y="7874939"/>
                  <a:pt x="3862332" y="7867109"/>
                  <a:pt x="3860598" y="7849925"/>
                </a:cubicBezTo>
                <a:lnTo>
                  <a:pt x="3936448" y="7772659"/>
                </a:lnTo>
                <a:cubicBezTo>
                  <a:pt x="3936294" y="7757025"/>
                  <a:pt x="3937780" y="7749195"/>
                  <a:pt x="3936109" y="7738265"/>
                </a:cubicBezTo>
                <a:lnTo>
                  <a:pt x="3993383" y="7679921"/>
                </a:lnTo>
                <a:cubicBezTo>
                  <a:pt x="4005891" y="7679814"/>
                  <a:pt x="4018398" y="7679706"/>
                  <a:pt x="4032453" y="7678022"/>
                </a:cubicBezTo>
                <a:cubicBezTo>
                  <a:pt x="4030813" y="7670218"/>
                  <a:pt x="4030720" y="7660838"/>
                  <a:pt x="4030565" y="7645204"/>
                </a:cubicBezTo>
                <a:lnTo>
                  <a:pt x="4126539" y="7547440"/>
                </a:lnTo>
                <a:cubicBezTo>
                  <a:pt x="4126385" y="7531806"/>
                  <a:pt x="4126292" y="7522426"/>
                  <a:pt x="4126168" y="7509918"/>
                </a:cubicBezTo>
                <a:cubicBezTo>
                  <a:pt x="4137097" y="7508261"/>
                  <a:pt x="4148025" y="7506603"/>
                  <a:pt x="4158954" y="7504946"/>
                </a:cubicBezTo>
                <a:cubicBezTo>
                  <a:pt x="4163505" y="7490835"/>
                  <a:pt x="4166477" y="7475174"/>
                  <a:pt x="4172514" y="7453232"/>
                </a:cubicBezTo>
                <a:cubicBezTo>
                  <a:pt x="4186570" y="7451548"/>
                  <a:pt x="4202173" y="7448287"/>
                  <a:pt x="4220903" y="7444999"/>
                </a:cubicBezTo>
                <a:cubicBezTo>
                  <a:pt x="4222359" y="7434042"/>
                  <a:pt x="4222235" y="7421534"/>
                  <a:pt x="4222111" y="7409027"/>
                </a:cubicBezTo>
                <a:lnTo>
                  <a:pt x="4316537" y="7312840"/>
                </a:lnTo>
                <a:cubicBezTo>
                  <a:pt x="4330593" y="7311155"/>
                  <a:pt x="4343100" y="7311048"/>
                  <a:pt x="4354028" y="7309390"/>
                </a:cubicBezTo>
                <a:cubicBezTo>
                  <a:pt x="4356939" y="7287476"/>
                  <a:pt x="4344339" y="7278203"/>
                  <a:pt x="4323937" y="7270561"/>
                </a:cubicBezTo>
                <a:lnTo>
                  <a:pt x="4000412" y="7600121"/>
                </a:lnTo>
                <a:cubicBezTo>
                  <a:pt x="3986357" y="7601805"/>
                  <a:pt x="3973849" y="7601913"/>
                  <a:pt x="3951993" y="7605228"/>
                </a:cubicBezTo>
                <a:lnTo>
                  <a:pt x="3820416" y="7739259"/>
                </a:lnTo>
                <a:cubicBezTo>
                  <a:pt x="3804781" y="7739394"/>
                  <a:pt x="3795401" y="7739475"/>
                  <a:pt x="3779766" y="7739609"/>
                </a:cubicBezTo>
                <a:lnTo>
                  <a:pt x="3703916" y="7816874"/>
                </a:lnTo>
                <a:cubicBezTo>
                  <a:pt x="3688282" y="7817008"/>
                  <a:pt x="3678901" y="7817089"/>
                  <a:pt x="3669521" y="7817170"/>
                </a:cubicBezTo>
                <a:lnTo>
                  <a:pt x="3612246" y="7875513"/>
                </a:lnTo>
                <a:cubicBezTo>
                  <a:pt x="3612370" y="7888020"/>
                  <a:pt x="3612493" y="7900527"/>
                  <a:pt x="3611069" y="7914612"/>
                </a:cubicBezTo>
                <a:lnTo>
                  <a:pt x="3440793" y="8088064"/>
                </a:lnTo>
                <a:cubicBezTo>
                  <a:pt x="3440886" y="8097445"/>
                  <a:pt x="3440979" y="8106825"/>
                  <a:pt x="3441102" y="8119332"/>
                </a:cubicBezTo>
                <a:cubicBezTo>
                  <a:pt x="3438192" y="8141247"/>
                  <a:pt x="3413239" y="8147716"/>
                  <a:pt x="3402465" y="8165007"/>
                </a:cubicBezTo>
                <a:cubicBezTo>
                  <a:pt x="3389958" y="8165115"/>
                  <a:pt x="3380577" y="8165195"/>
                  <a:pt x="3364943" y="8165330"/>
                </a:cubicBezTo>
                <a:lnTo>
                  <a:pt x="3231818" y="8300938"/>
                </a:lnTo>
                <a:cubicBezTo>
                  <a:pt x="3181788" y="8301368"/>
                  <a:pt x="3197082" y="8266839"/>
                  <a:pt x="3192160" y="8243429"/>
                </a:cubicBezTo>
                <a:cubicBezTo>
                  <a:pt x="3162440" y="8242120"/>
                  <a:pt x="3154886" y="8268766"/>
                  <a:pt x="3136248" y="8281434"/>
                </a:cubicBezTo>
                <a:cubicBezTo>
                  <a:pt x="3115939" y="8283172"/>
                  <a:pt x="3094082" y="8286487"/>
                  <a:pt x="3075321" y="8286648"/>
                </a:cubicBezTo>
                <a:cubicBezTo>
                  <a:pt x="3060895" y="8250811"/>
                  <a:pt x="3049688" y="8224327"/>
                  <a:pt x="3038482" y="8197844"/>
                </a:cubicBezTo>
                <a:cubicBezTo>
                  <a:pt x="3049163" y="8171172"/>
                  <a:pt x="3053529" y="8138300"/>
                  <a:pt x="3070525" y="8117828"/>
                </a:cubicBezTo>
                <a:cubicBezTo>
                  <a:pt x="3092197" y="8095752"/>
                  <a:pt x="3087213" y="8066088"/>
                  <a:pt x="3101114" y="8048769"/>
                </a:cubicBezTo>
                <a:cubicBezTo>
                  <a:pt x="3124271" y="8018863"/>
                  <a:pt x="3106749" y="7986180"/>
                  <a:pt x="3112725" y="7957985"/>
                </a:cubicBezTo>
                <a:lnTo>
                  <a:pt x="3188575" y="7880719"/>
                </a:lnTo>
                <a:cubicBezTo>
                  <a:pt x="3201052" y="7877485"/>
                  <a:pt x="3213559" y="7877378"/>
                  <a:pt x="3226066" y="7877270"/>
                </a:cubicBezTo>
                <a:cubicBezTo>
                  <a:pt x="3227491" y="7863186"/>
                  <a:pt x="3227367" y="7850679"/>
                  <a:pt x="3228730" y="7830341"/>
                </a:cubicBezTo>
                <a:cubicBezTo>
                  <a:pt x="3245881" y="7825503"/>
                  <a:pt x="3266159" y="7820638"/>
                  <a:pt x="3287985" y="7814196"/>
                </a:cubicBezTo>
                <a:cubicBezTo>
                  <a:pt x="3281608" y="7801743"/>
                  <a:pt x="3273682" y="7790866"/>
                  <a:pt x="3264178" y="7778440"/>
                </a:cubicBezTo>
                <a:cubicBezTo>
                  <a:pt x="3273126" y="7734584"/>
                  <a:pt x="3323001" y="7718520"/>
                  <a:pt x="3341360" y="7677710"/>
                </a:cubicBezTo>
                <a:cubicBezTo>
                  <a:pt x="3341267" y="7668329"/>
                  <a:pt x="3341174" y="7658949"/>
                  <a:pt x="3339472" y="7644892"/>
                </a:cubicBezTo>
                <a:cubicBezTo>
                  <a:pt x="3352041" y="7651038"/>
                  <a:pt x="3363031" y="7655634"/>
                  <a:pt x="3372443" y="7658680"/>
                </a:cubicBezTo>
                <a:cubicBezTo>
                  <a:pt x="3380307" y="7663303"/>
                  <a:pt x="3389687" y="7663223"/>
                  <a:pt x="3402225" y="7666242"/>
                </a:cubicBezTo>
                <a:cubicBezTo>
                  <a:pt x="3394238" y="7649112"/>
                  <a:pt x="3386282" y="7635108"/>
                  <a:pt x="3376747" y="7619555"/>
                </a:cubicBezTo>
                <a:cubicBezTo>
                  <a:pt x="3385818" y="7588206"/>
                  <a:pt x="3416932" y="7572304"/>
                  <a:pt x="3437025" y="7548678"/>
                </a:cubicBezTo>
                <a:cubicBezTo>
                  <a:pt x="3454021" y="7528206"/>
                  <a:pt x="3474176" y="7510834"/>
                  <a:pt x="3485012" y="7499796"/>
                </a:cubicBezTo>
                <a:cubicBezTo>
                  <a:pt x="3495600" y="7463743"/>
                  <a:pt x="3503186" y="7440225"/>
                  <a:pt x="3510771" y="7416707"/>
                </a:cubicBezTo>
                <a:cubicBezTo>
                  <a:pt x="3491979" y="7413741"/>
                  <a:pt x="3491979" y="7413741"/>
                  <a:pt x="3396067" y="7517759"/>
                </a:cubicBezTo>
                <a:cubicBezTo>
                  <a:pt x="3396160" y="7527140"/>
                  <a:pt x="3396252" y="7536520"/>
                  <a:pt x="3396345" y="7545901"/>
                </a:cubicBezTo>
                <a:cubicBezTo>
                  <a:pt x="3372878" y="7544539"/>
                  <a:pt x="3372878" y="7544539"/>
                  <a:pt x="3355541" y="7530616"/>
                </a:cubicBezTo>
                <a:cubicBezTo>
                  <a:pt x="3350867" y="7532220"/>
                  <a:pt x="3344582" y="7529147"/>
                  <a:pt x="3341486" y="7532300"/>
                </a:cubicBezTo>
                <a:cubicBezTo>
                  <a:pt x="3310527" y="7563837"/>
                  <a:pt x="3279568" y="7595374"/>
                  <a:pt x="3248608" y="7626911"/>
                </a:cubicBezTo>
                <a:cubicBezTo>
                  <a:pt x="3186103" y="7630576"/>
                  <a:pt x="3136537" y="7677908"/>
                  <a:pt x="3070749" y="7665965"/>
                </a:cubicBezTo>
                <a:lnTo>
                  <a:pt x="3031277" y="7627216"/>
                </a:lnTo>
                <a:cubicBezTo>
                  <a:pt x="3004746" y="7632135"/>
                  <a:pt x="2973539" y="7638657"/>
                  <a:pt x="2937658" y="7646783"/>
                </a:cubicBezTo>
                <a:cubicBezTo>
                  <a:pt x="2925089" y="7640638"/>
                  <a:pt x="2901560" y="7633022"/>
                  <a:pt x="2878031" y="7625407"/>
                </a:cubicBezTo>
                <a:cubicBezTo>
                  <a:pt x="2874657" y="7600419"/>
                  <a:pt x="2883760" y="7572197"/>
                  <a:pt x="2871005" y="7547290"/>
                </a:cubicBezTo>
                <a:cubicBezTo>
                  <a:pt x="2822153" y="7508622"/>
                  <a:pt x="2780512" y="7566831"/>
                  <a:pt x="2735065" y="7556277"/>
                </a:cubicBezTo>
                <a:cubicBezTo>
                  <a:pt x="2697265" y="7528458"/>
                  <a:pt x="2653303" y="7510074"/>
                  <a:pt x="2607856" y="7499520"/>
                </a:cubicBezTo>
                <a:lnTo>
                  <a:pt x="2590829" y="7516865"/>
                </a:lnTo>
                <a:cubicBezTo>
                  <a:pt x="2543926" y="7517268"/>
                  <a:pt x="2498602" y="7519222"/>
                  <a:pt x="2456405" y="7521148"/>
                </a:cubicBezTo>
                <a:lnTo>
                  <a:pt x="2394829" y="7460700"/>
                </a:lnTo>
                <a:cubicBezTo>
                  <a:pt x="2403746" y="7413717"/>
                  <a:pt x="2387679" y="7370076"/>
                  <a:pt x="2368516" y="7329589"/>
                </a:cubicBezTo>
                <a:cubicBezTo>
                  <a:pt x="2340437" y="7336085"/>
                  <a:pt x="2328177" y="7361207"/>
                  <a:pt x="2308022" y="7378579"/>
                </a:cubicBezTo>
                <a:cubicBezTo>
                  <a:pt x="2265918" y="7389885"/>
                  <a:pt x="2230222" y="7416772"/>
                  <a:pt x="2183196" y="7404669"/>
                </a:cubicBezTo>
                <a:lnTo>
                  <a:pt x="2126356" y="7348870"/>
                </a:lnTo>
                <a:cubicBezTo>
                  <a:pt x="2106047" y="7350608"/>
                  <a:pt x="2088834" y="7349193"/>
                  <a:pt x="2070073" y="7349354"/>
                </a:cubicBezTo>
                <a:lnTo>
                  <a:pt x="2031374" y="7388775"/>
                </a:lnTo>
                <a:cubicBezTo>
                  <a:pt x="2007846" y="7381160"/>
                  <a:pt x="1984317" y="7373544"/>
                  <a:pt x="1956083" y="7364406"/>
                </a:cubicBezTo>
                <a:cubicBezTo>
                  <a:pt x="1954195" y="7331588"/>
                  <a:pt x="1952245" y="7292516"/>
                  <a:pt x="1951843" y="7251868"/>
                </a:cubicBezTo>
                <a:lnTo>
                  <a:pt x="1913950" y="7214669"/>
                </a:lnTo>
                <a:cubicBezTo>
                  <a:pt x="1921535" y="7191151"/>
                  <a:pt x="1929121" y="7167632"/>
                  <a:pt x="1936675" y="7140987"/>
                </a:cubicBezTo>
                <a:cubicBezTo>
                  <a:pt x="1946056" y="7140907"/>
                  <a:pt x="1958563" y="7140799"/>
                  <a:pt x="1971039" y="7137565"/>
                </a:cubicBezTo>
                <a:cubicBezTo>
                  <a:pt x="1970978" y="7131311"/>
                  <a:pt x="1970885" y="7121931"/>
                  <a:pt x="1970730" y="7106297"/>
                </a:cubicBezTo>
                <a:cubicBezTo>
                  <a:pt x="1987727" y="7085825"/>
                  <a:pt x="2007820" y="7062199"/>
                  <a:pt x="2027912" y="7038573"/>
                </a:cubicBezTo>
                <a:cubicBezTo>
                  <a:pt x="2018285" y="7013639"/>
                  <a:pt x="2008626" y="6985579"/>
                  <a:pt x="1998967" y="6957518"/>
                </a:cubicBezTo>
                <a:cubicBezTo>
                  <a:pt x="2006614" y="6940254"/>
                  <a:pt x="2037852" y="6936858"/>
                  <a:pt x="2021939" y="6908851"/>
                </a:cubicBezTo>
                <a:cubicBezTo>
                  <a:pt x="1989278" y="6926331"/>
                  <a:pt x="1989278" y="6926331"/>
                  <a:pt x="1998967" y="6957518"/>
                </a:cubicBezTo>
                <a:cubicBezTo>
                  <a:pt x="1981816" y="6962356"/>
                  <a:pt x="1966213" y="6965618"/>
                  <a:pt x="1945935" y="6970483"/>
                </a:cubicBezTo>
                <a:lnTo>
                  <a:pt x="1921167" y="6995712"/>
                </a:lnTo>
                <a:cubicBezTo>
                  <a:pt x="1911694" y="6986412"/>
                  <a:pt x="1902221" y="6977112"/>
                  <a:pt x="1892747" y="6967813"/>
                </a:cubicBezTo>
                <a:cubicBezTo>
                  <a:pt x="1889219" y="6927191"/>
                  <a:pt x="1918939" y="6928499"/>
                  <a:pt x="1947081" y="6928257"/>
                </a:cubicBezTo>
                <a:cubicBezTo>
                  <a:pt x="1948536" y="6917300"/>
                  <a:pt x="1948412" y="6904793"/>
                  <a:pt x="1949837" y="6890709"/>
                </a:cubicBezTo>
                <a:lnTo>
                  <a:pt x="2005564" y="6833942"/>
                </a:lnTo>
                <a:cubicBezTo>
                  <a:pt x="2019619" y="6832258"/>
                  <a:pt x="2032126" y="6832150"/>
                  <a:pt x="2044633" y="6832043"/>
                </a:cubicBezTo>
                <a:cubicBezTo>
                  <a:pt x="2044541" y="6822663"/>
                  <a:pt x="2044448" y="6813282"/>
                  <a:pt x="2044294" y="6797648"/>
                </a:cubicBezTo>
                <a:cubicBezTo>
                  <a:pt x="2070516" y="6761461"/>
                  <a:pt x="2109308" y="6731421"/>
                  <a:pt x="2138658" y="6695207"/>
                </a:cubicBezTo>
                <a:cubicBezTo>
                  <a:pt x="2140082" y="6681123"/>
                  <a:pt x="2141506" y="6667039"/>
                  <a:pt x="2141321" y="6648278"/>
                </a:cubicBezTo>
                <a:cubicBezTo>
                  <a:pt x="2156924" y="6645017"/>
                  <a:pt x="2174075" y="6640179"/>
                  <a:pt x="2200576" y="6632133"/>
                </a:cubicBezTo>
                <a:lnTo>
                  <a:pt x="2251659" y="6580098"/>
                </a:lnTo>
                <a:cubicBezTo>
                  <a:pt x="2253145" y="6572267"/>
                  <a:pt x="2253022" y="6559760"/>
                  <a:pt x="2254415" y="6542549"/>
                </a:cubicBezTo>
                <a:lnTo>
                  <a:pt x="2305498" y="6490513"/>
                </a:lnTo>
                <a:cubicBezTo>
                  <a:pt x="2316210" y="6466968"/>
                  <a:pt x="2301876" y="6440511"/>
                  <a:pt x="2328316" y="6426212"/>
                </a:cubicBezTo>
                <a:cubicBezTo>
                  <a:pt x="2340823" y="6426105"/>
                  <a:pt x="2353330" y="6425997"/>
                  <a:pt x="2367386" y="6424313"/>
                </a:cubicBezTo>
                <a:cubicBezTo>
                  <a:pt x="2367293" y="6414932"/>
                  <a:pt x="2367231" y="6408679"/>
                  <a:pt x="2367138" y="6399298"/>
                </a:cubicBezTo>
                <a:cubicBezTo>
                  <a:pt x="2379213" y="6355415"/>
                  <a:pt x="2433794" y="6340874"/>
                  <a:pt x="2448871" y="6284457"/>
                </a:cubicBezTo>
                <a:cubicBezTo>
                  <a:pt x="2416210" y="6301937"/>
                  <a:pt x="2394538" y="6324013"/>
                  <a:pt x="2366428" y="6327382"/>
                </a:cubicBezTo>
                <a:cubicBezTo>
                  <a:pt x="2330515" y="6332381"/>
                  <a:pt x="2318317" y="6363757"/>
                  <a:pt x="2295066" y="6384283"/>
                </a:cubicBezTo>
                <a:cubicBezTo>
                  <a:pt x="2274912" y="6401655"/>
                  <a:pt x="2257915" y="6422127"/>
                  <a:pt x="2239340" y="6441049"/>
                </a:cubicBezTo>
                <a:lnTo>
                  <a:pt x="2177421" y="6504123"/>
                </a:lnTo>
                <a:cubicBezTo>
                  <a:pt x="2121169" y="6507733"/>
                  <a:pt x="2145782" y="6466870"/>
                  <a:pt x="2134637" y="6446640"/>
                </a:cubicBezTo>
                <a:cubicBezTo>
                  <a:pt x="2106465" y="6443755"/>
                  <a:pt x="2100489" y="6471950"/>
                  <a:pt x="2092718" y="6476707"/>
                </a:cubicBezTo>
                <a:cubicBezTo>
                  <a:pt x="2047426" y="6481787"/>
                  <a:pt x="2011482" y="6483660"/>
                  <a:pt x="1977118" y="6487083"/>
                </a:cubicBezTo>
                <a:cubicBezTo>
                  <a:pt x="1967428" y="6455895"/>
                  <a:pt x="1959380" y="6432511"/>
                  <a:pt x="1949690" y="6401324"/>
                </a:cubicBezTo>
                <a:cubicBezTo>
                  <a:pt x="1951114" y="6387240"/>
                  <a:pt x="1957121" y="6362172"/>
                  <a:pt x="1963127" y="6337104"/>
                </a:cubicBezTo>
                <a:cubicBezTo>
                  <a:pt x="1967586" y="6313612"/>
                  <a:pt x="2009751" y="6308559"/>
                  <a:pt x="1998483" y="6275822"/>
                </a:cubicBezTo>
                <a:lnTo>
                  <a:pt x="1945327" y="6276279"/>
                </a:lnTo>
                <a:cubicBezTo>
                  <a:pt x="1931302" y="6281090"/>
                  <a:pt x="1926875" y="6307708"/>
                  <a:pt x="1901644" y="6286036"/>
                </a:cubicBezTo>
                <a:cubicBezTo>
                  <a:pt x="1909353" y="6275025"/>
                  <a:pt x="1915514" y="6265590"/>
                  <a:pt x="1924770" y="6253003"/>
                </a:cubicBezTo>
                <a:cubicBezTo>
                  <a:pt x="1916629" y="6220238"/>
                  <a:pt x="1936598" y="6184105"/>
                  <a:pt x="1912822" y="6151476"/>
                </a:cubicBezTo>
                <a:cubicBezTo>
                  <a:pt x="1923720" y="6146691"/>
                  <a:pt x="1937744" y="6141880"/>
                  <a:pt x="1962666" y="6132285"/>
                </a:cubicBezTo>
                <a:cubicBezTo>
                  <a:pt x="1971985" y="6125950"/>
                  <a:pt x="1956041" y="6094817"/>
                  <a:pt x="1977744" y="6075868"/>
                </a:cubicBezTo>
                <a:cubicBezTo>
                  <a:pt x="1987062" y="6069533"/>
                  <a:pt x="1982110" y="6042996"/>
                  <a:pt x="1981986" y="6030489"/>
                </a:cubicBezTo>
                <a:cubicBezTo>
                  <a:pt x="1964557" y="6007186"/>
                  <a:pt x="1941028" y="5999570"/>
                  <a:pt x="1937623" y="5971456"/>
                </a:cubicBezTo>
                <a:cubicBezTo>
                  <a:pt x="1951678" y="5969772"/>
                  <a:pt x="1964186" y="5969664"/>
                  <a:pt x="1975114" y="5968006"/>
                </a:cubicBezTo>
                <a:cubicBezTo>
                  <a:pt x="1979603" y="5947642"/>
                  <a:pt x="1985672" y="5928827"/>
                  <a:pt x="1994743" y="5897479"/>
                </a:cubicBezTo>
                <a:cubicBezTo>
                  <a:pt x="1994743" y="5897479"/>
                  <a:pt x="1989945" y="5886575"/>
                  <a:pt x="1983567" y="5874122"/>
                </a:cubicBezTo>
                <a:cubicBezTo>
                  <a:pt x="1963228" y="5872733"/>
                  <a:pt x="1946014" y="5871318"/>
                  <a:pt x="1924127" y="5871506"/>
                </a:cubicBezTo>
                <a:lnTo>
                  <a:pt x="1808029" y="5989769"/>
                </a:lnTo>
                <a:cubicBezTo>
                  <a:pt x="1792395" y="5989904"/>
                  <a:pt x="1783014" y="5989984"/>
                  <a:pt x="1770507" y="5990092"/>
                </a:cubicBezTo>
                <a:lnTo>
                  <a:pt x="1471750" y="6294422"/>
                </a:lnTo>
                <a:cubicBezTo>
                  <a:pt x="1417138" y="6305837"/>
                  <a:pt x="1368904" y="6329704"/>
                  <a:pt x="1310918" y="6316131"/>
                </a:cubicBezTo>
                <a:cubicBezTo>
                  <a:pt x="1290269" y="6283475"/>
                  <a:pt x="1246524" y="6286978"/>
                  <a:pt x="1211913" y="6265386"/>
                </a:cubicBezTo>
                <a:cubicBezTo>
                  <a:pt x="1166713" y="6279846"/>
                  <a:pt x="1119934" y="6292757"/>
                  <a:pt x="1071607" y="6307244"/>
                </a:cubicBezTo>
                <a:cubicBezTo>
                  <a:pt x="1040030" y="6276245"/>
                  <a:pt x="1003932" y="6262484"/>
                  <a:pt x="969444" y="6253399"/>
                </a:cubicBezTo>
                <a:cubicBezTo>
                  <a:pt x="948733" y="6214489"/>
                  <a:pt x="975017" y="6184555"/>
                  <a:pt x="982510" y="6151657"/>
                </a:cubicBezTo>
                <a:lnTo>
                  <a:pt x="924092" y="6094308"/>
                </a:lnTo>
                <a:cubicBezTo>
                  <a:pt x="923968" y="6081801"/>
                  <a:pt x="922266" y="6067744"/>
                  <a:pt x="923690" y="6053660"/>
                </a:cubicBezTo>
                <a:cubicBezTo>
                  <a:pt x="909357" y="6027203"/>
                  <a:pt x="884434" y="6036799"/>
                  <a:pt x="865643" y="6033833"/>
                </a:cubicBezTo>
                <a:lnTo>
                  <a:pt x="807224" y="5976485"/>
                </a:lnTo>
                <a:cubicBezTo>
                  <a:pt x="805274" y="5937413"/>
                  <a:pt x="811126" y="5896711"/>
                  <a:pt x="785772" y="5862531"/>
                </a:cubicBezTo>
                <a:lnTo>
                  <a:pt x="824471" y="5823110"/>
                </a:lnTo>
                <a:cubicBezTo>
                  <a:pt x="825710" y="5790265"/>
                  <a:pt x="799332" y="5810818"/>
                  <a:pt x="785184" y="5803122"/>
                </a:cubicBezTo>
                <a:lnTo>
                  <a:pt x="750449" y="5769023"/>
                </a:lnTo>
                <a:cubicBezTo>
                  <a:pt x="702122" y="5783510"/>
                  <a:pt x="653795" y="5797997"/>
                  <a:pt x="603890" y="5810935"/>
                </a:cubicBezTo>
                <a:lnTo>
                  <a:pt x="540735" y="5748936"/>
                </a:lnTo>
                <a:cubicBezTo>
                  <a:pt x="531076" y="5720876"/>
                  <a:pt x="521324" y="5683435"/>
                  <a:pt x="508477" y="5649148"/>
                </a:cubicBezTo>
                <a:cubicBezTo>
                  <a:pt x="503648" y="5635117"/>
                  <a:pt x="489500" y="5627421"/>
                  <a:pt x="480027" y="5618122"/>
                </a:cubicBezTo>
                <a:cubicBezTo>
                  <a:pt x="467241" y="5590088"/>
                  <a:pt x="487241" y="5557082"/>
                  <a:pt x="458821" y="5529182"/>
                </a:cubicBezTo>
                <a:cubicBezTo>
                  <a:pt x="480647" y="5522741"/>
                  <a:pt x="497829" y="5521029"/>
                  <a:pt x="513433" y="5517768"/>
                </a:cubicBezTo>
                <a:cubicBezTo>
                  <a:pt x="503681" y="5480327"/>
                  <a:pt x="536343" y="5462848"/>
                  <a:pt x="551730" y="5437699"/>
                </a:cubicBezTo>
                <a:cubicBezTo>
                  <a:pt x="549780" y="5398627"/>
                  <a:pt x="552536" y="5361079"/>
                  <a:pt x="569378" y="5324973"/>
                </a:cubicBezTo>
                <a:cubicBezTo>
                  <a:pt x="584642" y="5287316"/>
                  <a:pt x="593651" y="5249714"/>
                  <a:pt x="616438" y="5182286"/>
                </a:cubicBezTo>
                <a:cubicBezTo>
                  <a:pt x="573095" y="5226438"/>
                  <a:pt x="551424" y="5248514"/>
                  <a:pt x="531300" y="5269013"/>
                </a:cubicBezTo>
                <a:cubicBezTo>
                  <a:pt x="529876" y="5283097"/>
                  <a:pt x="529999" y="5295604"/>
                  <a:pt x="530123" y="5308111"/>
                </a:cubicBezTo>
                <a:cubicBezTo>
                  <a:pt x="503838" y="5338044"/>
                  <a:pt x="471238" y="5361778"/>
                  <a:pt x="451238" y="5394784"/>
                </a:cubicBezTo>
                <a:cubicBezTo>
                  <a:pt x="462352" y="5411887"/>
                  <a:pt x="468699" y="5421214"/>
                  <a:pt x="470309" y="5425890"/>
                </a:cubicBezTo>
                <a:cubicBezTo>
                  <a:pt x="464395" y="5460339"/>
                  <a:pt x="456871" y="5490111"/>
                  <a:pt x="458821" y="5529182"/>
                </a:cubicBezTo>
                <a:cubicBezTo>
                  <a:pt x="443342" y="5544951"/>
                  <a:pt x="432629" y="5568496"/>
                  <a:pt x="436034" y="5596610"/>
                </a:cubicBezTo>
                <a:cubicBezTo>
                  <a:pt x="415725" y="5598349"/>
                  <a:pt x="403125" y="5589076"/>
                  <a:pt x="399813" y="5570342"/>
                </a:cubicBezTo>
                <a:cubicBezTo>
                  <a:pt x="396563" y="5557861"/>
                  <a:pt x="397956" y="5540651"/>
                  <a:pt x="390062" y="5532901"/>
                </a:cubicBezTo>
                <a:cubicBezTo>
                  <a:pt x="374273" y="5517401"/>
                  <a:pt x="381920" y="5500137"/>
                  <a:pt x="380187" y="5482953"/>
                </a:cubicBezTo>
                <a:cubicBezTo>
                  <a:pt x="378484" y="5468895"/>
                  <a:pt x="378360" y="5456388"/>
                  <a:pt x="378237" y="5443881"/>
                </a:cubicBezTo>
                <a:lnTo>
                  <a:pt x="379259" y="5389149"/>
                </a:lnTo>
                <a:cubicBezTo>
                  <a:pt x="382324" y="5382868"/>
                  <a:pt x="388516" y="5376561"/>
                  <a:pt x="397773" y="5363973"/>
                </a:cubicBezTo>
                <a:cubicBezTo>
                  <a:pt x="396009" y="5343662"/>
                  <a:pt x="391056" y="5317125"/>
                  <a:pt x="387744" y="5298391"/>
                </a:cubicBezTo>
                <a:lnTo>
                  <a:pt x="434182" y="5251085"/>
                </a:lnTo>
                <a:cubicBezTo>
                  <a:pt x="434059" y="5238578"/>
                  <a:pt x="433935" y="5226071"/>
                  <a:pt x="435360" y="5211987"/>
                </a:cubicBezTo>
                <a:lnTo>
                  <a:pt x="494182" y="5152067"/>
                </a:lnTo>
                <a:cubicBezTo>
                  <a:pt x="486226" y="5138063"/>
                  <a:pt x="478270" y="5124060"/>
                  <a:pt x="471862" y="5108480"/>
                </a:cubicBezTo>
                <a:cubicBezTo>
                  <a:pt x="484029" y="5073977"/>
                  <a:pt x="496196" y="5039475"/>
                  <a:pt x="511460" y="5001819"/>
                </a:cubicBezTo>
                <a:lnTo>
                  <a:pt x="424622" y="4916571"/>
                </a:lnTo>
                <a:cubicBezTo>
                  <a:pt x="441618" y="4896099"/>
                  <a:pt x="453971" y="4880358"/>
                  <a:pt x="469451" y="4864589"/>
                </a:cubicBezTo>
                <a:cubicBezTo>
                  <a:pt x="470659" y="4828618"/>
                  <a:pt x="460938" y="4794303"/>
                  <a:pt x="487223" y="4764370"/>
                </a:cubicBezTo>
                <a:cubicBezTo>
                  <a:pt x="490319" y="4761217"/>
                  <a:pt x="480815" y="4748790"/>
                  <a:pt x="472889" y="4737913"/>
                </a:cubicBezTo>
                <a:cubicBezTo>
                  <a:pt x="496078" y="4711134"/>
                  <a:pt x="535055" y="4699854"/>
                  <a:pt x="547068" y="4649718"/>
                </a:cubicBezTo>
                <a:cubicBezTo>
                  <a:pt x="525211" y="4653033"/>
                  <a:pt x="504902" y="4654771"/>
                  <a:pt x="490847" y="4656455"/>
                </a:cubicBezTo>
                <a:cubicBezTo>
                  <a:pt x="481744" y="4684677"/>
                  <a:pt x="474159" y="4708195"/>
                  <a:pt x="472889" y="4737913"/>
                </a:cubicBezTo>
                <a:cubicBezTo>
                  <a:pt x="462146" y="4758332"/>
                  <a:pt x="446667" y="4774100"/>
                  <a:pt x="431187" y="4789869"/>
                </a:cubicBezTo>
                <a:cubicBezTo>
                  <a:pt x="417132" y="4791553"/>
                  <a:pt x="404624" y="4791661"/>
                  <a:pt x="392117" y="4791768"/>
                </a:cubicBezTo>
                <a:cubicBezTo>
                  <a:pt x="392333" y="4813656"/>
                  <a:pt x="397255" y="4837066"/>
                  <a:pt x="367659" y="4848266"/>
                </a:cubicBezTo>
                <a:cubicBezTo>
                  <a:pt x="341096" y="4850057"/>
                  <a:pt x="336112" y="4820393"/>
                  <a:pt x="314162" y="4814328"/>
                </a:cubicBezTo>
                <a:cubicBezTo>
                  <a:pt x="315247" y="4765849"/>
                  <a:pt x="314814" y="4722074"/>
                  <a:pt x="315898" y="4673595"/>
                </a:cubicBezTo>
                <a:lnTo>
                  <a:pt x="408776" y="4578984"/>
                </a:lnTo>
                <a:cubicBezTo>
                  <a:pt x="433791" y="4578769"/>
                  <a:pt x="458806" y="4578554"/>
                  <a:pt x="485368" y="4576762"/>
                </a:cubicBezTo>
                <a:cubicBezTo>
                  <a:pt x="485276" y="4567382"/>
                  <a:pt x="485183" y="4558001"/>
                  <a:pt x="485028" y="4542367"/>
                </a:cubicBezTo>
                <a:lnTo>
                  <a:pt x="618153" y="4406759"/>
                </a:lnTo>
                <a:cubicBezTo>
                  <a:pt x="617999" y="4391125"/>
                  <a:pt x="617906" y="4381744"/>
                  <a:pt x="617813" y="4372364"/>
                </a:cubicBezTo>
                <a:cubicBezTo>
                  <a:pt x="637751" y="4333104"/>
                  <a:pt x="681342" y="4313967"/>
                  <a:pt x="699670" y="4270030"/>
                </a:cubicBezTo>
                <a:cubicBezTo>
                  <a:pt x="688711" y="4268561"/>
                  <a:pt x="684005" y="4267038"/>
                  <a:pt x="679330" y="4268642"/>
                </a:cubicBezTo>
                <a:cubicBezTo>
                  <a:pt x="674655" y="4270246"/>
                  <a:pt x="671559" y="4273399"/>
                  <a:pt x="670012" y="4274976"/>
                </a:cubicBezTo>
                <a:cubicBezTo>
                  <a:pt x="575586" y="4371164"/>
                  <a:pt x="481160" y="4467351"/>
                  <a:pt x="386734" y="4563538"/>
                </a:cubicBezTo>
                <a:cubicBezTo>
                  <a:pt x="355311" y="4548173"/>
                  <a:pt x="320668" y="4523455"/>
                  <a:pt x="297418" y="4543980"/>
                </a:cubicBezTo>
                <a:cubicBezTo>
                  <a:pt x="258626" y="4574021"/>
                  <a:pt x="219309" y="4550906"/>
                  <a:pt x="183489" y="4565286"/>
                </a:cubicBezTo>
                <a:lnTo>
                  <a:pt x="121913" y="4504838"/>
                </a:lnTo>
                <a:cubicBezTo>
                  <a:pt x="112100" y="4461143"/>
                  <a:pt x="89625" y="4401922"/>
                  <a:pt x="69099" y="4381772"/>
                </a:cubicBezTo>
                <a:lnTo>
                  <a:pt x="143402" y="4306084"/>
                </a:lnTo>
                <a:cubicBezTo>
                  <a:pt x="150894" y="4273185"/>
                  <a:pt x="156932" y="4251244"/>
                  <a:pt x="159904" y="4235583"/>
                </a:cubicBezTo>
                <a:cubicBezTo>
                  <a:pt x="142598" y="4224787"/>
                  <a:pt x="134735" y="4220164"/>
                  <a:pt x="126871" y="4215541"/>
                </a:cubicBezTo>
                <a:cubicBezTo>
                  <a:pt x="97274" y="4226740"/>
                  <a:pt x="81919" y="4255016"/>
                  <a:pt x="60247" y="4277092"/>
                </a:cubicBezTo>
                <a:cubicBezTo>
                  <a:pt x="63714" y="4311460"/>
                  <a:pt x="53125" y="4347512"/>
                  <a:pt x="69099" y="4381772"/>
                </a:cubicBezTo>
                <a:cubicBezTo>
                  <a:pt x="64425" y="4383376"/>
                  <a:pt x="53558" y="4391287"/>
                  <a:pt x="48852" y="4389764"/>
                </a:cubicBezTo>
                <a:cubicBezTo>
                  <a:pt x="33125" y="4380518"/>
                  <a:pt x="20494" y="4368119"/>
                  <a:pt x="0" y="4351096"/>
                </a:cubicBezTo>
                <a:cubicBezTo>
                  <a:pt x="2880" y="4326055"/>
                  <a:pt x="7245" y="4293183"/>
                  <a:pt x="13097" y="4252481"/>
                </a:cubicBezTo>
                <a:cubicBezTo>
                  <a:pt x="45759" y="4235001"/>
                  <a:pt x="29507" y="4172599"/>
                  <a:pt x="73004" y="4144082"/>
                </a:cubicBezTo>
                <a:cubicBezTo>
                  <a:pt x="88360" y="4115806"/>
                  <a:pt x="63005" y="4081626"/>
                  <a:pt x="86194" y="4054847"/>
                </a:cubicBezTo>
                <a:cubicBezTo>
                  <a:pt x="107804" y="4026518"/>
                  <a:pt x="88734" y="3995411"/>
                  <a:pt x="97805" y="3964062"/>
                </a:cubicBezTo>
                <a:lnTo>
                  <a:pt x="133408" y="3927795"/>
                </a:lnTo>
                <a:cubicBezTo>
                  <a:pt x="133316" y="3918414"/>
                  <a:pt x="133223" y="3909034"/>
                  <a:pt x="133068" y="3893400"/>
                </a:cubicBezTo>
                <a:lnTo>
                  <a:pt x="185699" y="3839787"/>
                </a:lnTo>
                <a:cubicBezTo>
                  <a:pt x="187123" y="3825703"/>
                  <a:pt x="190127" y="3813169"/>
                  <a:pt x="193037" y="3791255"/>
                </a:cubicBezTo>
                <a:cubicBezTo>
                  <a:pt x="197526" y="3770890"/>
                  <a:pt x="241210" y="3761133"/>
                  <a:pt x="225143" y="3717492"/>
                </a:cubicBezTo>
                <a:lnTo>
                  <a:pt x="322664" y="3618151"/>
                </a:lnTo>
                <a:cubicBezTo>
                  <a:pt x="322510" y="3602517"/>
                  <a:pt x="322417" y="3593137"/>
                  <a:pt x="322263" y="3577503"/>
                </a:cubicBezTo>
                <a:lnTo>
                  <a:pt x="416689" y="3481315"/>
                </a:lnTo>
                <a:cubicBezTo>
                  <a:pt x="416534" y="3465681"/>
                  <a:pt x="416441" y="3456301"/>
                  <a:pt x="416349" y="3446921"/>
                </a:cubicBezTo>
                <a:cubicBezTo>
                  <a:pt x="428856" y="3446813"/>
                  <a:pt x="442911" y="3445129"/>
                  <a:pt x="455419" y="3445021"/>
                </a:cubicBezTo>
                <a:cubicBezTo>
                  <a:pt x="455326" y="3435641"/>
                  <a:pt x="453685" y="3427837"/>
                  <a:pt x="453592" y="3418457"/>
                </a:cubicBezTo>
                <a:cubicBezTo>
                  <a:pt x="458205" y="3410599"/>
                  <a:pt x="459692" y="3402769"/>
                  <a:pt x="465883" y="3396462"/>
                </a:cubicBezTo>
                <a:cubicBezTo>
                  <a:pt x="498360" y="3360221"/>
                  <a:pt x="535542" y="3325504"/>
                  <a:pt x="571145" y="3289236"/>
                </a:cubicBezTo>
                <a:cubicBezTo>
                  <a:pt x="563158" y="3272106"/>
                  <a:pt x="556719" y="3253399"/>
                  <a:pt x="548701" y="3233142"/>
                </a:cubicBezTo>
                <a:cubicBezTo>
                  <a:pt x="573716" y="3232927"/>
                  <a:pt x="595603" y="3232739"/>
                  <a:pt x="623745" y="3232497"/>
                </a:cubicBezTo>
                <a:lnTo>
                  <a:pt x="759966" y="3093735"/>
                </a:lnTo>
                <a:cubicBezTo>
                  <a:pt x="755168" y="3082831"/>
                  <a:pt x="751979" y="3076604"/>
                  <a:pt x="748759" y="3067251"/>
                </a:cubicBezTo>
                <a:lnTo>
                  <a:pt x="760927" y="3032749"/>
                </a:lnTo>
                <a:cubicBezTo>
                  <a:pt x="766840" y="2998300"/>
                  <a:pt x="796406" y="2983974"/>
                  <a:pt x="816499" y="2960348"/>
                </a:cubicBezTo>
                <a:cubicBezTo>
                  <a:pt x="824239" y="2952464"/>
                  <a:pt x="836684" y="2946103"/>
                  <a:pt x="850647" y="2935038"/>
                </a:cubicBezTo>
                <a:cubicBezTo>
                  <a:pt x="855847" y="2986590"/>
                  <a:pt x="798078" y="2994904"/>
                  <a:pt x="796901" y="3034003"/>
                </a:cubicBezTo>
                <a:cubicBezTo>
                  <a:pt x="800059" y="3037103"/>
                  <a:pt x="804764" y="3038626"/>
                  <a:pt x="806312" y="3037049"/>
                </a:cubicBezTo>
                <a:cubicBezTo>
                  <a:pt x="874484" y="2973922"/>
                  <a:pt x="942657" y="2910794"/>
                  <a:pt x="1006154" y="2849270"/>
                </a:cubicBezTo>
                <a:cubicBezTo>
                  <a:pt x="1006000" y="2833636"/>
                  <a:pt x="1007486" y="2825806"/>
                  <a:pt x="1007331" y="2810172"/>
                </a:cubicBezTo>
                <a:cubicBezTo>
                  <a:pt x="1015133" y="2808541"/>
                  <a:pt x="1026062" y="2806884"/>
                  <a:pt x="1041665" y="2803622"/>
                </a:cubicBezTo>
                <a:lnTo>
                  <a:pt x="1097392" y="2746856"/>
                </a:lnTo>
                <a:cubicBezTo>
                  <a:pt x="1100426" y="2737449"/>
                  <a:pt x="1103398" y="2721788"/>
                  <a:pt x="1106308" y="2699873"/>
                </a:cubicBezTo>
                <a:cubicBezTo>
                  <a:pt x="1120333" y="2695062"/>
                  <a:pt x="1135936" y="2691801"/>
                  <a:pt x="1154635" y="2685386"/>
                </a:cubicBezTo>
                <a:cubicBezTo>
                  <a:pt x="1159187" y="2671275"/>
                  <a:pt x="1163676" y="2650911"/>
                  <a:pt x="1169713" y="2628969"/>
                </a:cubicBezTo>
                <a:cubicBezTo>
                  <a:pt x="1194821" y="2638134"/>
                  <a:pt x="1213644" y="2644227"/>
                  <a:pt x="1232466" y="2650319"/>
                </a:cubicBezTo>
                <a:cubicBezTo>
                  <a:pt x="1238658" y="2644012"/>
                  <a:pt x="1251104" y="2637651"/>
                  <a:pt x="1251073" y="2634524"/>
                </a:cubicBezTo>
                <a:cubicBezTo>
                  <a:pt x="1242869" y="2595506"/>
                  <a:pt x="1287977" y="2571665"/>
                  <a:pt x="1268876" y="2537431"/>
                </a:cubicBezTo>
                <a:cubicBezTo>
                  <a:pt x="1286058" y="2535720"/>
                  <a:pt x="1296986" y="2534063"/>
                  <a:pt x="1311042" y="2532378"/>
                </a:cubicBezTo>
                <a:cubicBezTo>
                  <a:pt x="1310949" y="2522998"/>
                  <a:pt x="1310856" y="2513618"/>
                  <a:pt x="1310733" y="2501110"/>
                </a:cubicBezTo>
                <a:lnTo>
                  <a:pt x="1354076" y="2456959"/>
                </a:lnTo>
                <a:cubicBezTo>
                  <a:pt x="1369772" y="2463078"/>
                  <a:pt x="1383920" y="2470774"/>
                  <a:pt x="1399616" y="2476893"/>
                </a:cubicBezTo>
                <a:cubicBezTo>
                  <a:pt x="1419832" y="2465775"/>
                  <a:pt x="1438469" y="2453106"/>
                  <a:pt x="1416334" y="2428280"/>
                </a:cubicBezTo>
                <a:lnTo>
                  <a:pt x="1444198" y="2399897"/>
                </a:lnTo>
                <a:cubicBezTo>
                  <a:pt x="1456705" y="2399789"/>
                  <a:pt x="1469212" y="2399682"/>
                  <a:pt x="1486394" y="2397970"/>
                </a:cubicBezTo>
                <a:cubicBezTo>
                  <a:pt x="1478408" y="2380840"/>
                  <a:pt x="1470451" y="2366837"/>
                  <a:pt x="1462464" y="2349707"/>
                </a:cubicBezTo>
                <a:cubicBezTo>
                  <a:pt x="1484167" y="2330757"/>
                  <a:pt x="1510946" y="2350853"/>
                  <a:pt x="1535806" y="2335004"/>
                </a:cubicBezTo>
                <a:cubicBezTo>
                  <a:pt x="1538840" y="2325597"/>
                  <a:pt x="1541812" y="2309936"/>
                  <a:pt x="1546332" y="2292698"/>
                </a:cubicBezTo>
                <a:cubicBezTo>
                  <a:pt x="1565032" y="2286283"/>
                  <a:pt x="1585310" y="2281418"/>
                  <a:pt x="1611811" y="2273373"/>
                </a:cubicBezTo>
                <a:cubicBezTo>
                  <a:pt x="1613235" y="2259289"/>
                  <a:pt x="1614628" y="2242078"/>
                  <a:pt x="1616022" y="2224867"/>
                </a:cubicBezTo>
                <a:cubicBezTo>
                  <a:pt x="1625402" y="2224786"/>
                  <a:pt x="1631656" y="2224732"/>
                  <a:pt x="1650417" y="2224571"/>
                </a:cubicBezTo>
                <a:cubicBezTo>
                  <a:pt x="1678373" y="2205569"/>
                  <a:pt x="1701500" y="2172536"/>
                  <a:pt x="1729394" y="2147279"/>
                </a:cubicBezTo>
                <a:cubicBezTo>
                  <a:pt x="1743450" y="2145595"/>
                  <a:pt x="1755957" y="2145487"/>
                  <a:pt x="1771591" y="2145353"/>
                </a:cubicBezTo>
                <a:cubicBezTo>
                  <a:pt x="1763604" y="2128223"/>
                  <a:pt x="1755617" y="2111092"/>
                  <a:pt x="1747661" y="2097089"/>
                </a:cubicBezTo>
                <a:cubicBezTo>
                  <a:pt x="1770942" y="2079690"/>
                  <a:pt x="1796080" y="2091982"/>
                  <a:pt x="1824191" y="2088613"/>
                </a:cubicBezTo>
                <a:cubicBezTo>
                  <a:pt x="1817752" y="2069906"/>
                  <a:pt x="1811313" y="2051199"/>
                  <a:pt x="1803295" y="2030942"/>
                </a:cubicBezTo>
                <a:cubicBezTo>
                  <a:pt x="1825244" y="2037008"/>
                  <a:pt x="1842519" y="2044677"/>
                  <a:pt x="1866048" y="2052292"/>
                </a:cubicBezTo>
                <a:cubicBezTo>
                  <a:pt x="1856451" y="2030485"/>
                  <a:pt x="1850012" y="2011778"/>
                  <a:pt x="1840384" y="1986844"/>
                </a:cubicBezTo>
                <a:cubicBezTo>
                  <a:pt x="1860817" y="1997613"/>
                  <a:pt x="1876513" y="2003733"/>
                  <a:pt x="1895366" y="2012952"/>
                </a:cubicBezTo>
                <a:cubicBezTo>
                  <a:pt x="1898339" y="1997291"/>
                  <a:pt x="1901342" y="1984757"/>
                  <a:pt x="1904253" y="1962842"/>
                </a:cubicBezTo>
                <a:cubicBezTo>
                  <a:pt x="1918277" y="1958031"/>
                  <a:pt x="1933880" y="1954770"/>
                  <a:pt x="1955706" y="1948328"/>
                </a:cubicBezTo>
                <a:cubicBezTo>
                  <a:pt x="1955644" y="1942074"/>
                  <a:pt x="1957100" y="1931117"/>
                  <a:pt x="1960072" y="1915456"/>
                </a:cubicBezTo>
                <a:lnTo>
                  <a:pt x="1995675" y="1879189"/>
                </a:lnTo>
                <a:cubicBezTo>
                  <a:pt x="2008152" y="1875955"/>
                  <a:pt x="2025334" y="1874243"/>
                  <a:pt x="2047191" y="1870928"/>
                </a:cubicBezTo>
                <a:cubicBezTo>
                  <a:pt x="2050132" y="1852141"/>
                  <a:pt x="2053104" y="1836480"/>
                  <a:pt x="2054498" y="1819269"/>
                </a:cubicBezTo>
                <a:cubicBezTo>
                  <a:pt x="2065426" y="1817611"/>
                  <a:pt x="2077934" y="1817504"/>
                  <a:pt x="2090441" y="1817396"/>
                </a:cubicBezTo>
                <a:cubicBezTo>
                  <a:pt x="2091865" y="1803312"/>
                  <a:pt x="2091742" y="1790805"/>
                  <a:pt x="2093197" y="1779848"/>
                </a:cubicBezTo>
                <a:cubicBezTo>
                  <a:pt x="2107252" y="1778163"/>
                  <a:pt x="2119760" y="1778056"/>
                  <a:pt x="2136942" y="1776345"/>
                </a:cubicBezTo>
                <a:cubicBezTo>
                  <a:pt x="2143010" y="1757530"/>
                  <a:pt x="2149078" y="1738715"/>
                  <a:pt x="2155147" y="1719901"/>
                </a:cubicBezTo>
                <a:cubicBezTo>
                  <a:pt x="2169295" y="1727597"/>
                  <a:pt x="2184991" y="1733716"/>
                  <a:pt x="2206971" y="1742908"/>
                </a:cubicBezTo>
                <a:cubicBezTo>
                  <a:pt x="2197374" y="1721101"/>
                  <a:pt x="2190935" y="1702394"/>
                  <a:pt x="2186075" y="1685237"/>
                </a:cubicBezTo>
                <a:cubicBezTo>
                  <a:pt x="2206291" y="1674119"/>
                  <a:pt x="2215888" y="1695925"/>
                  <a:pt x="2230005" y="1700495"/>
                </a:cubicBezTo>
                <a:cubicBezTo>
                  <a:pt x="2258178" y="1703380"/>
                  <a:pt x="2260995" y="1672085"/>
                  <a:pt x="2279695" y="1665670"/>
                </a:cubicBezTo>
                <a:cubicBezTo>
                  <a:pt x="2282667" y="1650009"/>
                  <a:pt x="2280964" y="1635952"/>
                  <a:pt x="2280841" y="1623444"/>
                </a:cubicBezTo>
                <a:lnTo>
                  <a:pt x="2310252" y="1593484"/>
                </a:lnTo>
                <a:cubicBezTo>
                  <a:pt x="2318116" y="1598107"/>
                  <a:pt x="2329137" y="1605831"/>
                  <a:pt x="2332233" y="1602677"/>
                </a:cubicBezTo>
                <a:cubicBezTo>
                  <a:pt x="2346226" y="1594739"/>
                  <a:pt x="2338301" y="1583862"/>
                  <a:pt x="2328828" y="1574562"/>
                </a:cubicBezTo>
                <a:lnTo>
                  <a:pt x="2375267" y="1527257"/>
                </a:lnTo>
                <a:cubicBezTo>
                  <a:pt x="2389322" y="1525573"/>
                  <a:pt x="2403408" y="1527015"/>
                  <a:pt x="2414337" y="1525357"/>
                </a:cubicBezTo>
                <a:lnTo>
                  <a:pt x="2451488" y="1487513"/>
                </a:lnTo>
                <a:cubicBezTo>
                  <a:pt x="2452912" y="1473429"/>
                  <a:pt x="2452789" y="1460922"/>
                  <a:pt x="2455792" y="1448388"/>
                </a:cubicBezTo>
                <a:cubicBezTo>
                  <a:pt x="2466751" y="1449857"/>
                  <a:pt x="2474553" y="1448227"/>
                  <a:pt x="2491766" y="1449642"/>
                </a:cubicBezTo>
                <a:lnTo>
                  <a:pt x="2549041" y="1391299"/>
                </a:lnTo>
                <a:cubicBezTo>
                  <a:pt x="2564675" y="1391165"/>
                  <a:pt x="2574055" y="1391084"/>
                  <a:pt x="2581857" y="1389453"/>
                </a:cubicBezTo>
                <a:lnTo>
                  <a:pt x="2699502" y="1269613"/>
                </a:lnTo>
                <a:cubicBezTo>
                  <a:pt x="2700927" y="1255529"/>
                  <a:pt x="2700834" y="1246149"/>
                  <a:pt x="2700741" y="1236768"/>
                </a:cubicBezTo>
                <a:cubicBezTo>
                  <a:pt x="2708574" y="1238264"/>
                  <a:pt x="2716376" y="1236634"/>
                  <a:pt x="2725756" y="1236553"/>
                </a:cubicBezTo>
                <a:cubicBezTo>
                  <a:pt x="2733527" y="1231796"/>
                  <a:pt x="2741328" y="1230165"/>
                  <a:pt x="2749099" y="1225408"/>
                </a:cubicBezTo>
                <a:cubicBezTo>
                  <a:pt x="2770771" y="1203332"/>
                  <a:pt x="2792442" y="1181256"/>
                  <a:pt x="2814114" y="1159180"/>
                </a:cubicBezTo>
                <a:cubicBezTo>
                  <a:pt x="2828169" y="1157496"/>
                  <a:pt x="2840677" y="1157388"/>
                  <a:pt x="2851605" y="1155731"/>
                </a:cubicBezTo>
                <a:cubicBezTo>
                  <a:pt x="2854608" y="1143197"/>
                  <a:pt x="2854484" y="1130690"/>
                  <a:pt x="2855940" y="1119732"/>
                </a:cubicBezTo>
                <a:cubicBezTo>
                  <a:pt x="2866868" y="1118075"/>
                  <a:pt x="2876249" y="1117994"/>
                  <a:pt x="2888756" y="1117887"/>
                </a:cubicBezTo>
                <a:lnTo>
                  <a:pt x="2972346" y="1032737"/>
                </a:lnTo>
                <a:cubicBezTo>
                  <a:pt x="3000302" y="1013734"/>
                  <a:pt x="3028629" y="1032253"/>
                  <a:pt x="3042406" y="1002427"/>
                </a:cubicBezTo>
                <a:cubicBezTo>
                  <a:pt x="3042314" y="993047"/>
                  <a:pt x="3043738" y="978963"/>
                  <a:pt x="3045162" y="964879"/>
                </a:cubicBezTo>
                <a:cubicBezTo>
                  <a:pt x="3056091" y="963221"/>
                  <a:pt x="3068598" y="963114"/>
                  <a:pt x="3081105" y="963006"/>
                </a:cubicBezTo>
                <a:lnTo>
                  <a:pt x="3195655" y="846320"/>
                </a:lnTo>
                <a:cubicBezTo>
                  <a:pt x="3195531" y="833813"/>
                  <a:pt x="3196956" y="819729"/>
                  <a:pt x="3196832" y="807222"/>
                </a:cubicBezTo>
                <a:cubicBezTo>
                  <a:pt x="3209061" y="778973"/>
                  <a:pt x="3237357" y="794365"/>
                  <a:pt x="3263827" y="783193"/>
                </a:cubicBezTo>
                <a:cubicBezTo>
                  <a:pt x="3266831" y="770658"/>
                  <a:pt x="3269803" y="754998"/>
                  <a:pt x="3275840" y="733056"/>
                </a:cubicBezTo>
                <a:cubicBezTo>
                  <a:pt x="3282094" y="733002"/>
                  <a:pt x="3294601" y="732895"/>
                  <a:pt x="3310204" y="729634"/>
                </a:cubicBezTo>
                <a:lnTo>
                  <a:pt x="3404630" y="633446"/>
                </a:lnTo>
                <a:cubicBezTo>
                  <a:pt x="3404537" y="624066"/>
                  <a:pt x="3404414" y="611559"/>
                  <a:pt x="3405838" y="597475"/>
                </a:cubicBezTo>
                <a:cubicBezTo>
                  <a:pt x="3416767" y="595817"/>
                  <a:pt x="3429274" y="595709"/>
                  <a:pt x="3438655" y="595629"/>
                </a:cubicBezTo>
                <a:cubicBezTo>
                  <a:pt x="3444723" y="576814"/>
                  <a:pt x="3450822" y="561127"/>
                  <a:pt x="3453794" y="545466"/>
                </a:cubicBezTo>
                <a:cubicBezTo>
                  <a:pt x="3456798" y="532931"/>
                  <a:pt x="3459801" y="520397"/>
                  <a:pt x="3465869" y="501583"/>
                </a:cubicBezTo>
                <a:cubicBezTo>
                  <a:pt x="3475249" y="501502"/>
                  <a:pt x="3492432" y="499791"/>
                  <a:pt x="3504877" y="493430"/>
                </a:cubicBezTo>
                <a:cubicBezTo>
                  <a:pt x="3520419" y="483915"/>
                  <a:pt x="3531193" y="466623"/>
                  <a:pt x="3545217" y="461812"/>
                </a:cubicBezTo>
                <a:cubicBezTo>
                  <a:pt x="3562368" y="456974"/>
                  <a:pt x="3581160" y="459940"/>
                  <a:pt x="3593482" y="441071"/>
                </a:cubicBezTo>
                <a:cubicBezTo>
                  <a:pt x="3594937" y="430114"/>
                  <a:pt x="3594814" y="417607"/>
                  <a:pt x="3596238" y="403523"/>
                </a:cubicBezTo>
                <a:cubicBezTo>
                  <a:pt x="3619674" y="401758"/>
                  <a:pt x="3646237" y="399966"/>
                  <a:pt x="3674378" y="399724"/>
                </a:cubicBezTo>
                <a:cubicBezTo>
                  <a:pt x="3666391" y="382593"/>
                  <a:pt x="3659983" y="367013"/>
                  <a:pt x="3651996" y="349883"/>
                </a:cubicBezTo>
                <a:cubicBezTo>
                  <a:pt x="3675308" y="335611"/>
                  <a:pt x="3701994" y="346326"/>
                  <a:pt x="3726978" y="342984"/>
                </a:cubicBezTo>
                <a:lnTo>
                  <a:pt x="3764129" y="305140"/>
                </a:lnTo>
                <a:cubicBezTo>
                  <a:pt x="3776637" y="305032"/>
                  <a:pt x="3790692" y="303348"/>
                  <a:pt x="3806326" y="303214"/>
                </a:cubicBezTo>
                <a:lnTo>
                  <a:pt x="3872888" y="235410"/>
                </a:lnTo>
                <a:cubicBezTo>
                  <a:pt x="3949234" y="208173"/>
                  <a:pt x="4017807" y="185694"/>
                  <a:pt x="4103533" y="158377"/>
                </a:cubicBezTo>
                <a:lnTo>
                  <a:pt x="4171643" y="88996"/>
                </a:lnTo>
                <a:cubicBezTo>
                  <a:pt x="4199816" y="91880"/>
                  <a:pt x="4182788" y="109226"/>
                  <a:pt x="4190745" y="123229"/>
                </a:cubicBezTo>
                <a:cubicBezTo>
                  <a:pt x="4204923" y="134052"/>
                  <a:pt x="4226718" y="124483"/>
                  <a:pt x="4245511" y="127449"/>
                </a:cubicBezTo>
                <a:cubicBezTo>
                  <a:pt x="4268823" y="113177"/>
                  <a:pt x="4263901" y="89766"/>
                  <a:pt x="4265263" y="69428"/>
                </a:cubicBezTo>
                <a:cubicBezTo>
                  <a:pt x="4290278" y="69213"/>
                  <a:pt x="4312166" y="69025"/>
                  <a:pt x="4337180" y="68810"/>
                </a:cubicBezTo>
                <a:cubicBezTo>
                  <a:pt x="4352691" y="56168"/>
                  <a:pt x="4369749" y="41950"/>
                  <a:pt x="4388356" y="26155"/>
                </a:cubicBezTo>
                <a:cubicBezTo>
                  <a:pt x="4397829" y="35454"/>
                  <a:pt x="4413525" y="41573"/>
                  <a:pt x="4416745" y="50927"/>
                </a:cubicBezTo>
                <a:cubicBezTo>
                  <a:pt x="4428013" y="83664"/>
                  <a:pt x="4411078" y="110390"/>
                  <a:pt x="4398849" y="138639"/>
                </a:cubicBezTo>
                <a:cubicBezTo>
                  <a:pt x="4433553" y="169611"/>
                  <a:pt x="4440397" y="71049"/>
                  <a:pt x="4472253" y="130190"/>
                </a:cubicBezTo>
                <a:lnTo>
                  <a:pt x="4532623" y="68693"/>
                </a:lnTo>
                <a:cubicBezTo>
                  <a:pt x="4554511" y="68505"/>
                  <a:pt x="4571693" y="66794"/>
                  <a:pt x="4590454" y="66632"/>
                </a:cubicBezTo>
                <a:cubicBezTo>
                  <a:pt x="4598596" y="99396"/>
                  <a:pt x="4586398" y="130772"/>
                  <a:pt x="4563333" y="170059"/>
                </a:cubicBezTo>
                <a:cubicBezTo>
                  <a:pt x="4619369" y="144560"/>
                  <a:pt x="4619369" y="144560"/>
                  <a:pt x="4646086" y="158402"/>
                </a:cubicBezTo>
                <a:cubicBezTo>
                  <a:pt x="4646117" y="161529"/>
                  <a:pt x="4649306" y="167756"/>
                  <a:pt x="4649336" y="170883"/>
                </a:cubicBezTo>
                <a:cubicBezTo>
                  <a:pt x="4627788" y="205466"/>
                  <a:pt x="4631410" y="255468"/>
                  <a:pt x="4594135" y="280805"/>
                </a:cubicBezTo>
                <a:cubicBezTo>
                  <a:pt x="4594320" y="299566"/>
                  <a:pt x="4594506" y="318327"/>
                  <a:pt x="4591596" y="340241"/>
                </a:cubicBezTo>
                <a:cubicBezTo>
                  <a:pt x="4610264" y="330699"/>
                  <a:pt x="4624257" y="322761"/>
                  <a:pt x="4639829" y="316373"/>
                </a:cubicBezTo>
                <a:cubicBezTo>
                  <a:pt x="4649179" y="313166"/>
                  <a:pt x="4658591" y="316212"/>
                  <a:pt x="4667971" y="316131"/>
                </a:cubicBezTo>
                <a:lnTo>
                  <a:pt x="4762397" y="219944"/>
                </a:lnTo>
                <a:cubicBezTo>
                  <a:pt x="4776453" y="218259"/>
                  <a:pt x="4790539" y="219702"/>
                  <a:pt x="4804594" y="218017"/>
                </a:cubicBezTo>
                <a:lnTo>
                  <a:pt x="4855677" y="165981"/>
                </a:lnTo>
                <a:cubicBezTo>
                  <a:pt x="4894654" y="154702"/>
                  <a:pt x="4925830" y="145053"/>
                  <a:pt x="4960132" y="135376"/>
                </a:cubicBezTo>
                <a:lnTo>
                  <a:pt x="5005023" y="89648"/>
                </a:lnTo>
                <a:cubicBezTo>
                  <a:pt x="5053350" y="75160"/>
                  <a:pt x="5100098" y="59123"/>
                  <a:pt x="5148425" y="44636"/>
                </a:cubicBezTo>
                <a:cubicBezTo>
                  <a:pt x="5142357" y="63451"/>
                  <a:pt x="5136289" y="82265"/>
                  <a:pt x="5128642" y="99530"/>
                </a:cubicBezTo>
                <a:cubicBezTo>
                  <a:pt x="5139601" y="100999"/>
                  <a:pt x="5145855" y="100945"/>
                  <a:pt x="5147403" y="99368"/>
                </a:cubicBezTo>
                <a:cubicBezTo>
                  <a:pt x="5179941" y="69381"/>
                  <a:pt x="5212448" y="36268"/>
                  <a:pt x="5248051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91301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580401" y="1158821"/>
            <a:ext cx="7723705" cy="7587609"/>
          </a:xfrm>
          <a:custGeom>
            <a:avLst/>
            <a:gdLst>
              <a:gd name="connsiteX0" fmla="*/ 3709000 w 7723705"/>
              <a:gd name="connsiteY0" fmla="*/ 0 h 7587609"/>
              <a:gd name="connsiteX1" fmla="*/ 3934596 w 7723705"/>
              <a:gd name="connsiteY1" fmla="*/ 117607 h 7587609"/>
              <a:gd name="connsiteX2" fmla="*/ 3964062 w 7723705"/>
              <a:gd name="connsiteY2" fmla="*/ 179017 h 7587609"/>
              <a:gd name="connsiteX3" fmla="*/ 4076860 w 7723705"/>
              <a:gd name="connsiteY3" fmla="*/ 237821 h 7587609"/>
              <a:gd name="connsiteX4" fmla="*/ 4116346 w 7723705"/>
              <a:gd name="connsiteY4" fmla="*/ 358630 h 7587609"/>
              <a:gd name="connsiteX5" fmla="*/ 4143619 w 7723705"/>
              <a:gd name="connsiteY5" fmla="*/ 502867 h 7587609"/>
              <a:gd name="connsiteX6" fmla="*/ 4189276 w 7723705"/>
              <a:gd name="connsiteY6" fmla="*/ 526669 h 7587609"/>
              <a:gd name="connsiteX7" fmla="*/ 4194494 w 7723705"/>
              <a:gd name="connsiteY7" fmla="*/ 621486 h 7587609"/>
              <a:gd name="connsiteX8" fmla="*/ 4242836 w 7723705"/>
              <a:gd name="connsiteY8" fmla="*/ 646688 h 7587609"/>
              <a:gd name="connsiteX9" fmla="*/ 4367931 w 7723705"/>
              <a:gd name="connsiteY9" fmla="*/ 917767 h 7587609"/>
              <a:gd name="connsiteX10" fmla="*/ 4513761 w 7723705"/>
              <a:gd name="connsiteY10" fmla="*/ 1175277 h 7587609"/>
              <a:gd name="connsiteX11" fmla="*/ 4493775 w 7723705"/>
              <a:gd name="connsiteY11" fmla="*/ 1213616 h 7587609"/>
              <a:gd name="connsiteX12" fmla="*/ 4611896 w 7723705"/>
              <a:gd name="connsiteY12" fmla="*/ 1399796 h 7587609"/>
              <a:gd name="connsiteX13" fmla="*/ 4667989 w 7723705"/>
              <a:gd name="connsiteY13" fmla="*/ 1613234 h 7587609"/>
              <a:gd name="connsiteX14" fmla="*/ 4719454 w 7723705"/>
              <a:gd name="connsiteY14" fmla="*/ 1566927 h 7587609"/>
              <a:gd name="connsiteX15" fmla="*/ 4693319 w 7723705"/>
              <a:gd name="connsiteY15" fmla="*/ 1499127 h 7587609"/>
              <a:gd name="connsiteX16" fmla="*/ 4728851 w 7723705"/>
              <a:gd name="connsiteY16" fmla="*/ 1430971 h 7587609"/>
              <a:gd name="connsiteX17" fmla="*/ 4713743 w 7723705"/>
              <a:gd name="connsiteY17" fmla="*/ 1387881 h 7587609"/>
              <a:gd name="connsiteX18" fmla="*/ 4713174 w 7723705"/>
              <a:gd name="connsiteY18" fmla="*/ 1349662 h 7587609"/>
              <a:gd name="connsiteX19" fmla="*/ 4809573 w 7723705"/>
              <a:gd name="connsiteY19" fmla="*/ 1380956 h 7587609"/>
              <a:gd name="connsiteX20" fmla="*/ 4787234 w 7723705"/>
              <a:gd name="connsiteY20" fmla="*/ 1312427 h 7587609"/>
              <a:gd name="connsiteX21" fmla="*/ 4860518 w 7723705"/>
              <a:gd name="connsiteY21" fmla="*/ 1171853 h 7587609"/>
              <a:gd name="connsiteX22" fmla="*/ 4838464 w 7723705"/>
              <a:gd name="connsiteY22" fmla="*/ 1122434 h 7587609"/>
              <a:gd name="connsiteX23" fmla="*/ 4905085 w 7723705"/>
              <a:gd name="connsiteY23" fmla="*/ 994640 h 7587609"/>
              <a:gd name="connsiteX24" fmla="*/ 5026585 w 7723705"/>
              <a:gd name="connsiteY24" fmla="*/ 1049854 h 7587609"/>
              <a:gd name="connsiteX25" fmla="*/ 5102298 w 7723705"/>
              <a:gd name="connsiteY25" fmla="*/ 970140 h 7587609"/>
              <a:gd name="connsiteX26" fmla="*/ 5185241 w 7723705"/>
              <a:gd name="connsiteY26" fmla="*/ 915864 h 7587609"/>
              <a:gd name="connsiteX27" fmla="*/ 5303229 w 7723705"/>
              <a:gd name="connsiteY27" fmla="*/ 990918 h 7587609"/>
              <a:gd name="connsiteX28" fmla="*/ 5397977 w 7723705"/>
              <a:gd name="connsiteY28" fmla="*/ 1064691 h 7587609"/>
              <a:gd name="connsiteX29" fmla="*/ 5471524 w 7723705"/>
              <a:gd name="connsiteY29" fmla="*/ 1146372 h 7587609"/>
              <a:gd name="connsiteX30" fmla="*/ 5508374 w 7723705"/>
              <a:gd name="connsiteY30" fmla="*/ 1141204 h 7587609"/>
              <a:gd name="connsiteX31" fmla="*/ 5486500 w 7723705"/>
              <a:gd name="connsiteY31" fmla="*/ 1078334 h 7587609"/>
              <a:gd name="connsiteX32" fmla="*/ 5560304 w 7723705"/>
              <a:gd name="connsiteY32" fmla="*/ 1100557 h 7587609"/>
              <a:gd name="connsiteX33" fmla="*/ 5591345 w 7723705"/>
              <a:gd name="connsiteY33" fmla="*/ 1165497 h 7587609"/>
              <a:gd name="connsiteX34" fmla="*/ 5634316 w 7723705"/>
              <a:gd name="connsiteY34" fmla="*/ 1187898 h 7587609"/>
              <a:gd name="connsiteX35" fmla="*/ 5729945 w 7723705"/>
              <a:gd name="connsiteY35" fmla="*/ 1397568 h 7587609"/>
              <a:gd name="connsiteX36" fmla="*/ 5702186 w 7723705"/>
              <a:gd name="connsiteY36" fmla="*/ 1450815 h 7587609"/>
              <a:gd name="connsiteX37" fmla="*/ 5660686 w 7723705"/>
              <a:gd name="connsiteY37" fmla="*/ 1399384 h 7587609"/>
              <a:gd name="connsiteX38" fmla="*/ 5629104 w 7723705"/>
              <a:gd name="connsiteY38" fmla="*/ 1374793 h 7587609"/>
              <a:gd name="connsiteX39" fmla="*/ 5597882 w 7723705"/>
              <a:gd name="connsiteY39" fmla="*/ 1323303 h 7587609"/>
              <a:gd name="connsiteX40" fmla="*/ 5629104 w 7723705"/>
              <a:gd name="connsiteY40" fmla="*/ 1374793 h 7587609"/>
              <a:gd name="connsiteX41" fmla="*/ 5600880 w 7723705"/>
              <a:gd name="connsiteY41" fmla="*/ 1422381 h 7587609"/>
              <a:gd name="connsiteX42" fmla="*/ 5731631 w 7723705"/>
              <a:gd name="connsiteY42" fmla="*/ 1715370 h 7587609"/>
              <a:gd name="connsiteX43" fmla="*/ 5716551 w 7723705"/>
              <a:gd name="connsiteY43" fmla="*/ 1750848 h 7587609"/>
              <a:gd name="connsiteX44" fmla="*/ 5846836 w 7723705"/>
              <a:gd name="connsiteY44" fmla="*/ 2038177 h 7587609"/>
              <a:gd name="connsiteX45" fmla="*/ 5835656 w 7723705"/>
              <a:gd name="connsiteY45" fmla="*/ 2105485 h 7587609"/>
              <a:gd name="connsiteX46" fmla="*/ 5899751 w 7723705"/>
              <a:gd name="connsiteY46" fmla="*/ 2165986 h 7587609"/>
              <a:gd name="connsiteX47" fmla="*/ 5888752 w 7723705"/>
              <a:gd name="connsiteY47" fmla="*/ 2219844 h 7587609"/>
              <a:gd name="connsiteX48" fmla="*/ 5966407 w 7723705"/>
              <a:gd name="connsiteY48" fmla="*/ 2398473 h 7587609"/>
              <a:gd name="connsiteX49" fmla="*/ 6003541 w 7723705"/>
              <a:gd name="connsiteY49" fmla="*/ 2412415 h 7587609"/>
              <a:gd name="connsiteX50" fmla="*/ 6043514 w 7723705"/>
              <a:gd name="connsiteY50" fmla="*/ 2335738 h 7587609"/>
              <a:gd name="connsiteX51" fmla="*/ 6002556 w 7723705"/>
              <a:gd name="connsiteY51" fmla="*/ 2243959 h 7587609"/>
              <a:gd name="connsiteX52" fmla="*/ 5994083 w 7723705"/>
              <a:gd name="connsiteY52" fmla="*/ 2109522 h 7587609"/>
              <a:gd name="connsiteX53" fmla="*/ 6090482 w 7723705"/>
              <a:gd name="connsiteY53" fmla="*/ 2140815 h 7587609"/>
              <a:gd name="connsiteX54" fmla="*/ 6069719 w 7723705"/>
              <a:gd name="connsiteY54" fmla="*/ 2075816 h 7587609"/>
              <a:gd name="connsiteX55" fmla="*/ 6140781 w 7723705"/>
              <a:gd name="connsiteY55" fmla="*/ 1939503 h 7587609"/>
              <a:gd name="connsiteX56" fmla="*/ 6163093 w 7723705"/>
              <a:gd name="connsiteY56" fmla="*/ 1929464 h 7587609"/>
              <a:gd name="connsiteX57" fmla="*/ 6227729 w 7723705"/>
              <a:gd name="connsiteY57" fmla="*/ 1949616 h 7587609"/>
              <a:gd name="connsiteX58" fmla="*/ 6289833 w 7723705"/>
              <a:gd name="connsiteY58" fmla="*/ 1876351 h 7587609"/>
              <a:gd name="connsiteX59" fmla="*/ 6397127 w 7723705"/>
              <a:gd name="connsiteY59" fmla="*/ 1821227 h 7587609"/>
              <a:gd name="connsiteX60" fmla="*/ 6639330 w 7723705"/>
              <a:gd name="connsiteY60" fmla="*/ 2031463 h 7587609"/>
              <a:gd name="connsiteX61" fmla="*/ 6660996 w 7723705"/>
              <a:gd name="connsiteY61" fmla="*/ 2029214 h 7587609"/>
              <a:gd name="connsiteX62" fmla="*/ 6702648 w 7723705"/>
              <a:gd name="connsiteY62" fmla="*/ 1988627 h 7587609"/>
              <a:gd name="connsiteX63" fmla="*/ 6812940 w 7723705"/>
              <a:gd name="connsiteY63" fmla="*/ 2032581 h 7587609"/>
              <a:gd name="connsiteX64" fmla="*/ 6843517 w 7723705"/>
              <a:gd name="connsiteY64" fmla="*/ 2091861 h 7587609"/>
              <a:gd name="connsiteX65" fmla="*/ 6925711 w 7723705"/>
              <a:gd name="connsiteY65" fmla="*/ 2012816 h 7587609"/>
              <a:gd name="connsiteX66" fmla="*/ 6976169 w 7723705"/>
              <a:gd name="connsiteY66" fmla="*/ 2001199 h 7587609"/>
              <a:gd name="connsiteX67" fmla="*/ 7032901 w 7723705"/>
              <a:gd name="connsiteY67" fmla="*/ 1925134 h 7587609"/>
              <a:gd name="connsiteX68" fmla="*/ 7171397 w 7723705"/>
              <a:gd name="connsiteY68" fmla="*/ 2124645 h 7587609"/>
              <a:gd name="connsiteX69" fmla="*/ 7237560 w 7723705"/>
              <a:gd name="connsiteY69" fmla="*/ 2272904 h 7587609"/>
              <a:gd name="connsiteX70" fmla="*/ 7278081 w 7723705"/>
              <a:gd name="connsiteY70" fmla="*/ 2437592 h 7587609"/>
              <a:gd name="connsiteX71" fmla="*/ 7312946 w 7723705"/>
              <a:gd name="connsiteY71" fmla="*/ 2580370 h 7587609"/>
              <a:gd name="connsiteX72" fmla="*/ 7342696 w 7723705"/>
              <a:gd name="connsiteY72" fmla="*/ 2660890 h 7587609"/>
              <a:gd name="connsiteX73" fmla="*/ 7386187 w 7723705"/>
              <a:gd name="connsiteY73" fmla="*/ 2846087 h 7587609"/>
              <a:gd name="connsiteX74" fmla="*/ 7402433 w 7723705"/>
              <a:gd name="connsiteY74" fmla="*/ 2965615 h 7587609"/>
              <a:gd name="connsiteX75" fmla="*/ 7443779 w 7723705"/>
              <a:gd name="connsiteY75" fmla="*/ 3109063 h 7587609"/>
              <a:gd name="connsiteX76" fmla="*/ 7479755 w 7723705"/>
              <a:gd name="connsiteY76" fmla="*/ 3249711 h 7587609"/>
              <a:gd name="connsiteX77" fmla="*/ 7521101 w 7723705"/>
              <a:gd name="connsiteY77" fmla="*/ 3393159 h 7587609"/>
              <a:gd name="connsiteX78" fmla="*/ 7520844 w 7723705"/>
              <a:gd name="connsiteY78" fmla="*/ 3452618 h 7587609"/>
              <a:gd name="connsiteX79" fmla="*/ 7574870 w 7723705"/>
              <a:gd name="connsiteY79" fmla="*/ 3578297 h 7587609"/>
              <a:gd name="connsiteX80" fmla="*/ 7587139 w 7723705"/>
              <a:gd name="connsiteY80" fmla="*/ 3712004 h 7587609"/>
              <a:gd name="connsiteX81" fmla="*/ 7557160 w 7723705"/>
              <a:gd name="connsiteY81" fmla="*/ 3769512 h 7587609"/>
              <a:gd name="connsiteX82" fmla="*/ 7654621 w 7723705"/>
              <a:gd name="connsiteY82" fmla="*/ 3923252 h 7587609"/>
              <a:gd name="connsiteX83" fmla="*/ 7616869 w 7723705"/>
              <a:gd name="connsiteY83" fmla="*/ 3995669 h 7587609"/>
              <a:gd name="connsiteX84" fmla="*/ 7673552 w 7723705"/>
              <a:gd name="connsiteY84" fmla="*/ 4044180 h 7587609"/>
              <a:gd name="connsiteX85" fmla="*/ 7723705 w 7723705"/>
              <a:gd name="connsiteY85" fmla="*/ 4216598 h 7587609"/>
              <a:gd name="connsiteX86" fmla="*/ 7634537 w 7723705"/>
              <a:gd name="connsiteY86" fmla="*/ 4210744 h 7587609"/>
              <a:gd name="connsiteX87" fmla="*/ 7635029 w 7723705"/>
              <a:gd name="connsiteY87" fmla="*/ 4294972 h 7587609"/>
              <a:gd name="connsiteX88" fmla="*/ 7645335 w 7723705"/>
              <a:gd name="connsiteY88" fmla="*/ 4373480 h 7587609"/>
              <a:gd name="connsiteX89" fmla="*/ 7582121 w 7723705"/>
              <a:gd name="connsiteY89" fmla="*/ 4448876 h 7587609"/>
              <a:gd name="connsiteX90" fmla="*/ 7546819 w 7723705"/>
              <a:gd name="connsiteY90" fmla="*/ 4379006 h 7587609"/>
              <a:gd name="connsiteX91" fmla="*/ 7495173 w 7723705"/>
              <a:gd name="connsiteY91" fmla="*/ 4438762 h 7587609"/>
              <a:gd name="connsiteX92" fmla="*/ 7623259 w 7723705"/>
              <a:gd name="connsiteY92" fmla="*/ 4527206 h 7587609"/>
              <a:gd name="connsiteX93" fmla="*/ 7482446 w 7723705"/>
              <a:gd name="connsiteY93" fmla="*/ 4581108 h 7587609"/>
              <a:gd name="connsiteX94" fmla="*/ 7425013 w 7723705"/>
              <a:gd name="connsiteY94" fmla="*/ 4507827 h 7587609"/>
              <a:gd name="connsiteX95" fmla="*/ 7376879 w 7723705"/>
              <a:gd name="connsiteY95" fmla="*/ 4547744 h 7587609"/>
              <a:gd name="connsiteX96" fmla="*/ 7451925 w 7723705"/>
              <a:gd name="connsiteY96" fmla="*/ 4678964 h 7587609"/>
              <a:gd name="connsiteX97" fmla="*/ 7293783 w 7723705"/>
              <a:gd name="connsiteY97" fmla="*/ 4694036 h 7587609"/>
              <a:gd name="connsiteX98" fmla="*/ 7303727 w 7723705"/>
              <a:gd name="connsiteY98" fmla="*/ 4799444 h 7587609"/>
              <a:gd name="connsiteX99" fmla="*/ 7246530 w 7723705"/>
              <a:gd name="connsiteY99" fmla="*/ 4869850 h 7587609"/>
              <a:gd name="connsiteX100" fmla="*/ 7215954 w 7723705"/>
              <a:gd name="connsiteY100" fmla="*/ 4810570 h 7587609"/>
              <a:gd name="connsiteX101" fmla="*/ 7193178 w 7723705"/>
              <a:gd name="connsiteY101" fmla="*/ 4814949 h 7587609"/>
              <a:gd name="connsiteX102" fmla="*/ 7201394 w 7723705"/>
              <a:gd name="connsiteY102" fmla="*/ 5008844 h 7587609"/>
              <a:gd name="connsiteX103" fmla="*/ 7145877 w 7723705"/>
              <a:gd name="connsiteY103" fmla="*/ 5115339 h 7587609"/>
              <a:gd name="connsiteX104" fmla="*/ 7155793 w 7723705"/>
              <a:gd name="connsiteY104" fmla="*/ 5142179 h 7587609"/>
              <a:gd name="connsiteX105" fmla="*/ 7220791 w 7723705"/>
              <a:gd name="connsiteY105" fmla="*/ 5135432 h 7587609"/>
              <a:gd name="connsiteX106" fmla="*/ 7239104 w 7723705"/>
              <a:gd name="connsiteY106" fmla="*/ 5342718 h 7587609"/>
              <a:gd name="connsiteX107" fmla="*/ 7208972 w 7723705"/>
              <a:gd name="connsiteY107" fmla="*/ 5492243 h 7587609"/>
              <a:gd name="connsiteX108" fmla="*/ 7272394 w 7723705"/>
              <a:gd name="connsiteY108" fmla="*/ 5481966 h 7587609"/>
              <a:gd name="connsiteX109" fmla="*/ 7283421 w 7723705"/>
              <a:gd name="connsiteY109" fmla="*/ 5506676 h 7587609"/>
              <a:gd name="connsiteX110" fmla="*/ 7245953 w 7723705"/>
              <a:gd name="connsiteY110" fmla="*/ 5598202 h 7587609"/>
              <a:gd name="connsiteX111" fmla="*/ 7361027 w 7723705"/>
              <a:gd name="connsiteY111" fmla="*/ 5809882 h 7587609"/>
              <a:gd name="connsiteX112" fmla="*/ 7216883 w 7723705"/>
              <a:gd name="connsiteY112" fmla="*/ 5870173 h 7587609"/>
              <a:gd name="connsiteX113" fmla="*/ 7187236 w 7723705"/>
              <a:gd name="connsiteY113" fmla="*/ 5822213 h 7587609"/>
              <a:gd name="connsiteX114" fmla="*/ 7216883 w 7723705"/>
              <a:gd name="connsiteY114" fmla="*/ 5870173 h 7587609"/>
              <a:gd name="connsiteX115" fmla="*/ 7168673 w 7723705"/>
              <a:gd name="connsiteY115" fmla="*/ 5956099 h 7587609"/>
              <a:gd name="connsiteX116" fmla="*/ 7220193 w 7723705"/>
              <a:gd name="connsiteY116" fmla="*/ 6066929 h 7587609"/>
              <a:gd name="connsiteX117" fmla="*/ 7120261 w 7723705"/>
              <a:gd name="connsiteY117" fmla="*/ 6258619 h 7587609"/>
              <a:gd name="connsiteX118" fmla="*/ 7024791 w 7723705"/>
              <a:gd name="connsiteY118" fmla="*/ 6238646 h 7587609"/>
              <a:gd name="connsiteX119" fmla="*/ 7043980 w 7723705"/>
              <a:gd name="connsiteY119" fmla="*/ 6300115 h 7587609"/>
              <a:gd name="connsiteX120" fmla="*/ 6966255 w 7723705"/>
              <a:gd name="connsiteY120" fmla="*/ 6449207 h 7587609"/>
              <a:gd name="connsiteX121" fmla="*/ 6855393 w 7723705"/>
              <a:gd name="connsiteY121" fmla="*/ 6367035 h 7587609"/>
              <a:gd name="connsiteX122" fmla="*/ 6807724 w 7723705"/>
              <a:gd name="connsiteY122" fmla="*/ 6412611 h 7587609"/>
              <a:gd name="connsiteX123" fmla="*/ 6707813 w 7723705"/>
              <a:gd name="connsiteY123" fmla="*/ 6401157 h 7587609"/>
              <a:gd name="connsiteX124" fmla="*/ 6670061 w 7723705"/>
              <a:gd name="connsiteY124" fmla="*/ 6473573 h 7587609"/>
              <a:gd name="connsiteX125" fmla="*/ 6604419 w 7723705"/>
              <a:gd name="connsiteY125" fmla="*/ 6488110 h 7587609"/>
              <a:gd name="connsiteX126" fmla="*/ 6623322 w 7723705"/>
              <a:gd name="connsiteY126" fmla="*/ 6530470 h 7587609"/>
              <a:gd name="connsiteX127" fmla="*/ 6614856 w 7723705"/>
              <a:gd name="connsiteY127" fmla="*/ 6677746 h 7587609"/>
              <a:gd name="connsiteX128" fmla="*/ 6521142 w 7723705"/>
              <a:gd name="connsiteY128" fmla="*/ 6647852 h 7587609"/>
              <a:gd name="connsiteX129" fmla="*/ 6569997 w 7723705"/>
              <a:gd name="connsiteY129" fmla="*/ 6554137 h 7587609"/>
              <a:gd name="connsiteX130" fmla="*/ 6504223 w 7723705"/>
              <a:gd name="connsiteY130" fmla="*/ 6457547 h 7587609"/>
              <a:gd name="connsiteX131" fmla="*/ 6477908 w 7723705"/>
              <a:gd name="connsiteY131" fmla="*/ 6403196 h 7587609"/>
              <a:gd name="connsiteX132" fmla="*/ 6445576 w 7723705"/>
              <a:gd name="connsiteY132" fmla="*/ 6353836 h 7587609"/>
              <a:gd name="connsiteX133" fmla="*/ 6477908 w 7723705"/>
              <a:gd name="connsiteY133" fmla="*/ 6403196 h 7587609"/>
              <a:gd name="connsiteX134" fmla="*/ 6504223 w 7723705"/>
              <a:gd name="connsiteY134" fmla="*/ 6457547 h 7587609"/>
              <a:gd name="connsiteX135" fmla="*/ 6499657 w 7723705"/>
              <a:gd name="connsiteY135" fmla="*/ 6636651 h 7587609"/>
              <a:gd name="connsiteX136" fmla="*/ 6521142 w 7723705"/>
              <a:gd name="connsiteY136" fmla="*/ 6647852 h 7587609"/>
              <a:gd name="connsiteX137" fmla="*/ 6573023 w 7723705"/>
              <a:gd name="connsiteY137" fmla="*/ 6731783 h 7587609"/>
              <a:gd name="connsiteX138" fmla="*/ 6578526 w 7723705"/>
              <a:gd name="connsiteY138" fmla="*/ 6845710 h 7587609"/>
              <a:gd name="connsiteX139" fmla="*/ 6445096 w 7723705"/>
              <a:gd name="connsiteY139" fmla="*/ 6833034 h 7587609"/>
              <a:gd name="connsiteX140" fmla="*/ 6417671 w 7723705"/>
              <a:gd name="connsiteY140" fmla="*/ 6780814 h 7587609"/>
              <a:gd name="connsiteX141" fmla="*/ 6383326 w 7723705"/>
              <a:gd name="connsiteY141" fmla="*/ 6800832 h 7587609"/>
              <a:gd name="connsiteX142" fmla="*/ 6416824 w 7723705"/>
              <a:gd name="connsiteY142" fmla="*/ 7005199 h 7587609"/>
              <a:gd name="connsiteX143" fmla="*/ 6479135 w 7723705"/>
              <a:gd name="connsiteY143" fmla="*/ 6997052 h 7587609"/>
              <a:gd name="connsiteX144" fmla="*/ 6411015 w 7723705"/>
              <a:gd name="connsiteY144" fmla="*/ 7075307 h 7587609"/>
              <a:gd name="connsiteX145" fmla="*/ 6334401 w 7723705"/>
              <a:gd name="connsiteY145" fmla="*/ 7222270 h 7587609"/>
              <a:gd name="connsiteX146" fmla="*/ 6282082 w 7723705"/>
              <a:gd name="connsiteY146" fmla="*/ 7211247 h 7587609"/>
              <a:gd name="connsiteX147" fmla="*/ 6230229 w 7723705"/>
              <a:gd name="connsiteY147" fmla="*/ 7205885 h 7587609"/>
              <a:gd name="connsiteX148" fmla="*/ 6252103 w 7723705"/>
              <a:gd name="connsiteY148" fmla="*/ 7268754 h 7587609"/>
              <a:gd name="connsiteX149" fmla="*/ 6161054 w 7723705"/>
              <a:gd name="connsiteY149" fmla="*/ 7443406 h 7587609"/>
              <a:gd name="connsiteX150" fmla="*/ 6143649 w 7723705"/>
              <a:gd name="connsiteY150" fmla="*/ 7450585 h 7587609"/>
              <a:gd name="connsiteX151" fmla="*/ 6044640 w 7723705"/>
              <a:gd name="connsiteY151" fmla="*/ 7371882 h 7587609"/>
              <a:gd name="connsiteX152" fmla="*/ 5980677 w 7723705"/>
              <a:gd name="connsiteY152" fmla="*/ 7422508 h 7587609"/>
              <a:gd name="connsiteX153" fmla="*/ 5947415 w 7723705"/>
              <a:gd name="connsiteY153" fmla="*/ 7361828 h 7587609"/>
              <a:gd name="connsiteX154" fmla="*/ 5908191 w 7723705"/>
              <a:gd name="connsiteY154" fmla="*/ 7463274 h 7587609"/>
              <a:gd name="connsiteX155" fmla="*/ 5796323 w 7723705"/>
              <a:gd name="connsiteY155" fmla="*/ 7415790 h 7587609"/>
              <a:gd name="connsiteX156" fmla="*/ 5696642 w 7723705"/>
              <a:gd name="connsiteY156" fmla="*/ 7266309 h 7587609"/>
              <a:gd name="connsiteX157" fmla="*/ 5595614 w 7723705"/>
              <a:gd name="connsiteY157" fmla="*/ 6975272 h 7587609"/>
              <a:gd name="connsiteX158" fmla="*/ 5591533 w 7723705"/>
              <a:gd name="connsiteY158" fmla="*/ 6956892 h 7587609"/>
              <a:gd name="connsiteX159" fmla="*/ 5500242 w 7723705"/>
              <a:gd name="connsiteY159" fmla="*/ 6706144 h 7587609"/>
              <a:gd name="connsiteX160" fmla="*/ 5407375 w 7723705"/>
              <a:gd name="connsiteY160" fmla="*/ 6451866 h 7587609"/>
              <a:gd name="connsiteX161" fmla="*/ 5421809 w 7723705"/>
              <a:gd name="connsiteY161" fmla="*/ 6424177 h 7587609"/>
              <a:gd name="connsiteX162" fmla="*/ 5378062 w 7723705"/>
              <a:gd name="connsiteY162" fmla="*/ 6298439 h 7587609"/>
              <a:gd name="connsiteX163" fmla="*/ 5347277 w 7723705"/>
              <a:gd name="connsiteY163" fmla="*/ 6174041 h 7587609"/>
              <a:gd name="connsiteX164" fmla="*/ 5324550 w 7723705"/>
              <a:gd name="connsiteY164" fmla="*/ 6053842 h 7587609"/>
              <a:gd name="connsiteX165" fmla="*/ 5312128 w 7723705"/>
              <a:gd name="connsiteY165" fmla="*/ 6012153 h 7587609"/>
              <a:gd name="connsiteX166" fmla="*/ 5264869 w 7723705"/>
              <a:gd name="connsiteY166" fmla="*/ 5906254 h 7587609"/>
              <a:gd name="connsiteX167" fmla="*/ 5251593 w 7723705"/>
              <a:gd name="connsiteY167" fmla="*/ 5807235 h 7587609"/>
              <a:gd name="connsiteX168" fmla="*/ 5204903 w 7723705"/>
              <a:gd name="connsiteY168" fmla="*/ 5739555 h 7587609"/>
              <a:gd name="connsiteX169" fmla="*/ 5172571 w 7723705"/>
              <a:gd name="connsiteY169" fmla="*/ 5690194 h 7587609"/>
              <a:gd name="connsiteX170" fmla="*/ 5204903 w 7723705"/>
              <a:gd name="connsiteY170" fmla="*/ 5739555 h 7587609"/>
              <a:gd name="connsiteX171" fmla="*/ 5147810 w 7723705"/>
              <a:gd name="connsiteY171" fmla="*/ 5842520 h 7587609"/>
              <a:gd name="connsiteX172" fmla="*/ 5124721 w 7723705"/>
              <a:gd name="connsiteY172" fmla="*/ 5749221 h 7587609"/>
              <a:gd name="connsiteX173" fmla="*/ 5079037 w 7723705"/>
              <a:gd name="connsiteY173" fmla="*/ 5646851 h 7587609"/>
              <a:gd name="connsiteX174" fmla="*/ 5116789 w 7723705"/>
              <a:gd name="connsiteY174" fmla="*/ 5574435 h 7587609"/>
              <a:gd name="connsiteX175" fmla="*/ 5059405 w 7723705"/>
              <a:gd name="connsiteY175" fmla="*/ 5376577 h 7587609"/>
              <a:gd name="connsiteX176" fmla="*/ 5030168 w 7723705"/>
              <a:gd name="connsiteY176" fmla="*/ 5177141 h 7587609"/>
              <a:gd name="connsiteX177" fmla="*/ 4946497 w 7723705"/>
              <a:gd name="connsiteY177" fmla="*/ 5003502 h 7587609"/>
              <a:gd name="connsiteX178" fmla="*/ 4960335 w 7723705"/>
              <a:gd name="connsiteY178" fmla="*/ 4859026 h 7587609"/>
              <a:gd name="connsiteX179" fmla="*/ 4906594 w 7723705"/>
              <a:gd name="connsiteY179" fmla="*/ 4752456 h 7587609"/>
              <a:gd name="connsiteX180" fmla="*/ 4879813 w 7723705"/>
              <a:gd name="connsiteY180" fmla="*/ 4692446 h 7587609"/>
              <a:gd name="connsiteX181" fmla="*/ 4902666 w 7723705"/>
              <a:gd name="connsiteY181" fmla="*/ 4642059 h 7587609"/>
              <a:gd name="connsiteX182" fmla="*/ 4871264 w 7723705"/>
              <a:gd name="connsiteY182" fmla="*/ 4604018 h 7587609"/>
              <a:gd name="connsiteX183" fmla="*/ 4840042 w 7723705"/>
              <a:gd name="connsiteY183" fmla="*/ 4552528 h 7587609"/>
              <a:gd name="connsiteX184" fmla="*/ 4871264 w 7723705"/>
              <a:gd name="connsiteY184" fmla="*/ 4604018 h 7587609"/>
              <a:gd name="connsiteX185" fmla="*/ 4846371 w 7723705"/>
              <a:gd name="connsiteY185" fmla="*/ 4645216 h 7587609"/>
              <a:gd name="connsiteX186" fmla="*/ 4879813 w 7723705"/>
              <a:gd name="connsiteY186" fmla="*/ 4692446 h 7587609"/>
              <a:gd name="connsiteX187" fmla="*/ 4906594 w 7723705"/>
              <a:gd name="connsiteY187" fmla="*/ 4752456 h 7587609"/>
              <a:gd name="connsiteX188" fmla="*/ 4892756 w 7723705"/>
              <a:gd name="connsiteY188" fmla="*/ 4896932 h 7587609"/>
              <a:gd name="connsiteX189" fmla="*/ 4946497 w 7723705"/>
              <a:gd name="connsiteY189" fmla="*/ 5003502 h 7587609"/>
              <a:gd name="connsiteX190" fmla="*/ 4897641 w 7723705"/>
              <a:gd name="connsiteY190" fmla="*/ 5097217 h 7587609"/>
              <a:gd name="connsiteX191" fmla="*/ 4974054 w 7723705"/>
              <a:gd name="connsiteY191" fmla="*/ 5166849 h 7587609"/>
              <a:gd name="connsiteX192" fmla="*/ 4936121 w 7723705"/>
              <a:gd name="connsiteY192" fmla="*/ 5252715 h 7587609"/>
              <a:gd name="connsiteX193" fmla="*/ 4973957 w 7723705"/>
              <a:gd name="connsiteY193" fmla="*/ 5416002 h 7587609"/>
              <a:gd name="connsiteX194" fmla="*/ 5012930 w 7723705"/>
              <a:gd name="connsiteY194" fmla="*/ 5655728 h 7587609"/>
              <a:gd name="connsiteX195" fmla="*/ 5046996 w 7723705"/>
              <a:gd name="connsiteY195" fmla="*/ 5898314 h 7587609"/>
              <a:gd name="connsiteX196" fmla="*/ 5060300 w 7723705"/>
              <a:gd name="connsiteY196" fmla="*/ 6075900 h 7587609"/>
              <a:gd name="connsiteX197" fmla="*/ 5069752 w 7723705"/>
              <a:gd name="connsiteY197" fmla="*/ 6097080 h 7587609"/>
              <a:gd name="connsiteX198" fmla="*/ 5028669 w 7723705"/>
              <a:gd name="connsiteY198" fmla="*/ 6175886 h 7587609"/>
              <a:gd name="connsiteX199" fmla="*/ 5076573 w 7723705"/>
              <a:gd name="connsiteY199" fmla="*/ 6273996 h 7587609"/>
              <a:gd name="connsiteX200" fmla="*/ 5086053 w 7723705"/>
              <a:gd name="connsiteY200" fmla="*/ 6373744 h 7587609"/>
              <a:gd name="connsiteX201" fmla="*/ 5108496 w 7723705"/>
              <a:gd name="connsiteY201" fmla="*/ 6474832 h 7587609"/>
              <a:gd name="connsiteX202" fmla="*/ 5133548 w 7723705"/>
              <a:gd name="connsiteY202" fmla="*/ 6623330 h 7587609"/>
              <a:gd name="connsiteX203" fmla="*/ 5213604 w 7723705"/>
              <a:gd name="connsiteY203" fmla="*/ 6784249 h 7587609"/>
              <a:gd name="connsiteX204" fmla="*/ 5268324 w 7723705"/>
              <a:gd name="connsiteY204" fmla="*/ 6777562 h 7587609"/>
              <a:gd name="connsiteX205" fmla="*/ 5256498 w 7723705"/>
              <a:gd name="connsiteY205" fmla="*/ 6852659 h 7587609"/>
              <a:gd name="connsiteX206" fmla="*/ 5260037 w 7723705"/>
              <a:gd name="connsiteY206" fmla="*/ 6911388 h 7587609"/>
              <a:gd name="connsiteX207" fmla="*/ 5228302 w 7723705"/>
              <a:gd name="connsiteY207" fmla="*/ 6978815 h 7587609"/>
              <a:gd name="connsiteX208" fmla="*/ 5180502 w 7723705"/>
              <a:gd name="connsiteY208" fmla="*/ 6913264 h 7587609"/>
              <a:gd name="connsiteX209" fmla="*/ 5053838 w 7723705"/>
              <a:gd name="connsiteY209" fmla="*/ 6920368 h 7587609"/>
              <a:gd name="connsiteX210" fmla="*/ 5088960 w 7723705"/>
              <a:gd name="connsiteY210" fmla="*/ 7003688 h 7587609"/>
              <a:gd name="connsiteX211" fmla="*/ 5155067 w 7723705"/>
              <a:gd name="connsiteY211" fmla="*/ 6994811 h 7587609"/>
              <a:gd name="connsiteX212" fmla="*/ 5132138 w 7723705"/>
              <a:gd name="connsiteY212" fmla="*/ 7091208 h 7587609"/>
              <a:gd name="connsiteX213" fmla="*/ 5155123 w 7723705"/>
              <a:gd name="connsiteY213" fmla="*/ 7151947 h 7587609"/>
              <a:gd name="connsiteX214" fmla="*/ 5030319 w 7723705"/>
              <a:gd name="connsiteY214" fmla="*/ 7181691 h 7587609"/>
              <a:gd name="connsiteX215" fmla="*/ 5050798 w 7723705"/>
              <a:gd name="connsiteY215" fmla="*/ 7227581 h 7587609"/>
              <a:gd name="connsiteX216" fmla="*/ 4968528 w 7723705"/>
              <a:gd name="connsiteY216" fmla="*/ 7352633 h 7587609"/>
              <a:gd name="connsiteX217" fmla="*/ 4937951 w 7723705"/>
              <a:gd name="connsiteY217" fmla="*/ 7293354 h 7587609"/>
              <a:gd name="connsiteX218" fmla="*/ 4872052 w 7723705"/>
              <a:gd name="connsiteY218" fmla="*/ 7367349 h 7587609"/>
              <a:gd name="connsiteX219" fmla="*/ 4896611 w 7723705"/>
              <a:gd name="connsiteY219" fmla="*/ 7431618 h 7587609"/>
              <a:gd name="connsiteX220" fmla="*/ 4829990 w 7723705"/>
              <a:gd name="connsiteY220" fmla="*/ 7559412 h 7587609"/>
              <a:gd name="connsiteX221" fmla="*/ 4766721 w 7723705"/>
              <a:gd name="connsiteY221" fmla="*/ 7477671 h 7587609"/>
              <a:gd name="connsiteX222" fmla="*/ 4721994 w 7723705"/>
              <a:gd name="connsiteY222" fmla="*/ 7465190 h 7587609"/>
              <a:gd name="connsiteX223" fmla="*/ 4490437 w 7723705"/>
              <a:gd name="connsiteY223" fmla="*/ 7509708 h 7587609"/>
              <a:gd name="connsiteX224" fmla="*/ 4429750 w 7723705"/>
              <a:gd name="connsiteY224" fmla="*/ 7396808 h 7587609"/>
              <a:gd name="connsiteX225" fmla="*/ 4371928 w 7723705"/>
              <a:gd name="connsiteY225" fmla="*/ 7271858 h 7587609"/>
              <a:gd name="connsiteX226" fmla="*/ 4320901 w 7723705"/>
              <a:gd name="connsiteY226" fmla="*/ 7245257 h 7587609"/>
              <a:gd name="connsiteX227" fmla="*/ 4328181 w 7723705"/>
              <a:gd name="connsiteY227" fmla="*/ 7146120 h 7587609"/>
              <a:gd name="connsiteX228" fmla="*/ 4280095 w 7723705"/>
              <a:gd name="connsiteY228" fmla="*/ 7061460 h 7587609"/>
              <a:gd name="connsiteX229" fmla="*/ 4209852 w 7723705"/>
              <a:gd name="connsiteY229" fmla="*/ 6894821 h 7587609"/>
              <a:gd name="connsiteX230" fmla="*/ 4172017 w 7723705"/>
              <a:gd name="connsiteY230" fmla="*/ 6731533 h 7587609"/>
              <a:gd name="connsiteX231" fmla="*/ 4145493 w 7723705"/>
              <a:gd name="connsiteY231" fmla="*/ 6612065 h 7587609"/>
              <a:gd name="connsiteX232" fmla="*/ 4045291 w 7723705"/>
              <a:gd name="connsiteY232" fmla="*/ 6299788 h 7587609"/>
              <a:gd name="connsiteX233" fmla="*/ 4050920 w 7723705"/>
              <a:gd name="connsiteY233" fmla="*/ 6243130 h 7587609"/>
              <a:gd name="connsiteX234" fmla="*/ 3982043 w 7723705"/>
              <a:gd name="connsiteY234" fmla="*/ 6014902 h 7587609"/>
              <a:gd name="connsiteX235" fmla="*/ 3891786 w 7723705"/>
              <a:gd name="connsiteY235" fmla="*/ 5808033 h 7587609"/>
              <a:gd name="connsiteX236" fmla="*/ 3860717 w 7723705"/>
              <a:gd name="connsiteY236" fmla="*/ 5664525 h 7587609"/>
              <a:gd name="connsiteX237" fmla="*/ 3826678 w 7723705"/>
              <a:gd name="connsiteY237" fmla="*/ 5500508 h 7587609"/>
              <a:gd name="connsiteX238" fmla="*/ 3760515 w 7723705"/>
              <a:gd name="connsiteY238" fmla="*/ 5352249 h 7587609"/>
              <a:gd name="connsiteX239" fmla="*/ 3722679 w 7723705"/>
              <a:gd name="connsiteY239" fmla="*/ 5188961 h 7587609"/>
              <a:gd name="connsiteX240" fmla="*/ 3656516 w 7723705"/>
              <a:gd name="connsiteY240" fmla="*/ 5040702 h 7587609"/>
              <a:gd name="connsiteX241" fmla="*/ 3672061 w 7723705"/>
              <a:gd name="connsiteY241" fmla="*/ 5010883 h 7587609"/>
              <a:gd name="connsiteX242" fmla="*/ 3580305 w 7723705"/>
              <a:gd name="connsiteY242" fmla="*/ 4754475 h 7587609"/>
              <a:gd name="connsiteX243" fmla="*/ 3491699 w 7723705"/>
              <a:gd name="connsiteY243" fmla="*/ 4505127 h 7587609"/>
              <a:gd name="connsiteX244" fmla="*/ 3408645 w 7723705"/>
              <a:gd name="connsiteY244" fmla="*/ 4245130 h 7587609"/>
              <a:gd name="connsiteX245" fmla="*/ 3346722 w 7723705"/>
              <a:gd name="connsiteY245" fmla="*/ 4304946 h 7587609"/>
              <a:gd name="connsiteX246" fmla="*/ 3298456 w 7723705"/>
              <a:gd name="connsiteY246" fmla="*/ 4233735 h 7587609"/>
              <a:gd name="connsiteX247" fmla="*/ 3258373 w 7723705"/>
              <a:gd name="connsiteY247" fmla="*/ 3996140 h 7587609"/>
              <a:gd name="connsiteX248" fmla="*/ 3186991 w 7723705"/>
              <a:gd name="connsiteY248" fmla="*/ 3753062 h 7587609"/>
              <a:gd name="connsiteX249" fmla="*/ 3176401 w 7723705"/>
              <a:gd name="connsiteY249" fmla="*/ 3655444 h 7587609"/>
              <a:gd name="connsiteX250" fmla="*/ 3099753 w 7723705"/>
              <a:gd name="connsiteY250" fmla="*/ 3442126 h 7587609"/>
              <a:gd name="connsiteX251" fmla="*/ 3124180 w 7723705"/>
              <a:gd name="connsiteY251" fmla="*/ 3395268 h 7587609"/>
              <a:gd name="connsiteX252" fmla="*/ 3090738 w 7723705"/>
              <a:gd name="connsiteY252" fmla="*/ 3348038 h 7587609"/>
              <a:gd name="connsiteX253" fmla="*/ 3067108 w 7723705"/>
              <a:gd name="connsiteY253" fmla="*/ 3295088 h 7587609"/>
              <a:gd name="connsiteX254" fmla="*/ 3034776 w 7723705"/>
              <a:gd name="connsiteY254" fmla="*/ 3245728 h 7587609"/>
              <a:gd name="connsiteX255" fmla="*/ 3067108 w 7723705"/>
              <a:gd name="connsiteY255" fmla="*/ 3295088 h 7587609"/>
              <a:gd name="connsiteX256" fmla="*/ 3090738 w 7723705"/>
              <a:gd name="connsiteY256" fmla="*/ 3348038 h 7587609"/>
              <a:gd name="connsiteX257" fmla="*/ 3068996 w 7723705"/>
              <a:gd name="connsiteY257" fmla="*/ 3396296 h 7587609"/>
              <a:gd name="connsiteX258" fmla="*/ 3099753 w 7723705"/>
              <a:gd name="connsiteY258" fmla="*/ 3442126 h 7587609"/>
              <a:gd name="connsiteX259" fmla="*/ 3096296 w 7723705"/>
              <a:gd name="connsiteY259" fmla="*/ 3619101 h 7587609"/>
              <a:gd name="connsiteX260" fmla="*/ 3131446 w 7723705"/>
              <a:gd name="connsiteY260" fmla="*/ 3780989 h 7587609"/>
              <a:gd name="connsiteX261" fmla="*/ 3147692 w 7723705"/>
              <a:gd name="connsiteY261" fmla="*/ 3900517 h 7587609"/>
              <a:gd name="connsiteX262" fmla="*/ 3169309 w 7723705"/>
              <a:gd name="connsiteY262" fmla="*/ 4022845 h 7587609"/>
              <a:gd name="connsiteX263" fmla="*/ 3207144 w 7723705"/>
              <a:gd name="connsiteY263" fmla="*/ 4186133 h 7587609"/>
              <a:gd name="connsiteX264" fmla="*/ 3232841 w 7723705"/>
              <a:gd name="connsiteY264" fmla="*/ 4326840 h 7587609"/>
              <a:gd name="connsiteX265" fmla="*/ 3247977 w 7723705"/>
              <a:gd name="connsiteY265" fmla="*/ 4448498 h 7587609"/>
              <a:gd name="connsiteX266" fmla="*/ 3276360 w 7723705"/>
              <a:gd name="connsiteY266" fmla="*/ 4590606 h 7587609"/>
              <a:gd name="connsiteX267" fmla="*/ 3303480 w 7723705"/>
              <a:gd name="connsiteY267" fmla="*/ 4826861 h 7587609"/>
              <a:gd name="connsiteX268" fmla="*/ 3335402 w 7723705"/>
              <a:gd name="connsiteY268" fmla="*/ 5027697 h 7587609"/>
              <a:gd name="connsiteX269" fmla="*/ 3344854 w 7723705"/>
              <a:gd name="connsiteY269" fmla="*/ 5048877 h 7587609"/>
              <a:gd name="connsiteX270" fmla="*/ 3348706 w 7723705"/>
              <a:gd name="connsiteY270" fmla="*/ 5205284 h 7587609"/>
              <a:gd name="connsiteX271" fmla="*/ 3385430 w 7723705"/>
              <a:gd name="connsiteY271" fmla="*/ 5370701 h 7587609"/>
              <a:gd name="connsiteX272" fmla="*/ 3401648 w 7723705"/>
              <a:gd name="connsiteY272" fmla="*/ 5411661 h 7587609"/>
              <a:gd name="connsiteX273" fmla="*/ 3402245 w 7723705"/>
              <a:gd name="connsiteY273" fmla="*/ 5528448 h 7587609"/>
              <a:gd name="connsiteX274" fmla="*/ 3402842 w 7723705"/>
              <a:gd name="connsiteY274" fmla="*/ 5645235 h 7587609"/>
              <a:gd name="connsiteX275" fmla="*/ 3487936 w 7723705"/>
              <a:gd name="connsiteY275" fmla="*/ 5914422 h 7587609"/>
              <a:gd name="connsiteX276" fmla="*/ 3446853 w 7723705"/>
              <a:gd name="connsiteY276" fmla="*/ 5993228 h 7587609"/>
              <a:gd name="connsiteX277" fmla="*/ 3494758 w 7723705"/>
              <a:gd name="connsiteY277" fmla="*/ 6091338 h 7587609"/>
              <a:gd name="connsiteX278" fmla="*/ 3498581 w 7723705"/>
              <a:gd name="connsiteY278" fmla="*/ 6169176 h 7587609"/>
              <a:gd name="connsiteX279" fmla="*/ 3516403 w 7723705"/>
              <a:gd name="connsiteY279" fmla="*/ 6292234 h 7587609"/>
              <a:gd name="connsiteX280" fmla="*/ 3536444 w 7723705"/>
              <a:gd name="connsiteY280" fmla="*/ 6411032 h 7587609"/>
              <a:gd name="connsiteX281" fmla="*/ 3561059 w 7723705"/>
              <a:gd name="connsiteY281" fmla="*/ 6632438 h 7587609"/>
              <a:gd name="connsiteX282" fmla="*/ 3535910 w 7723705"/>
              <a:gd name="connsiteY282" fmla="*/ 6733094 h 7587609"/>
              <a:gd name="connsiteX283" fmla="*/ 3596389 w 7723705"/>
              <a:gd name="connsiteY283" fmla="*/ 6780876 h 7587609"/>
              <a:gd name="connsiteX284" fmla="*/ 3591691 w 7723705"/>
              <a:gd name="connsiteY284" fmla="*/ 6848854 h 7587609"/>
              <a:gd name="connsiteX285" fmla="*/ 3622628 w 7723705"/>
              <a:gd name="connsiteY285" fmla="*/ 6881234 h 7587609"/>
              <a:gd name="connsiteX286" fmla="*/ 3677195 w 7723705"/>
              <a:gd name="connsiteY286" fmla="*/ 6966564 h 7587609"/>
              <a:gd name="connsiteX287" fmla="*/ 3644633 w 7723705"/>
              <a:gd name="connsiteY287" fmla="*/ 7055231 h 7587609"/>
              <a:gd name="connsiteX288" fmla="*/ 3553529 w 7723705"/>
              <a:gd name="connsiteY288" fmla="*/ 7072746 h 7587609"/>
              <a:gd name="connsiteX289" fmla="*/ 3518692 w 7723705"/>
              <a:gd name="connsiteY289" fmla="*/ 7008536 h 7587609"/>
              <a:gd name="connsiteX290" fmla="*/ 3476575 w 7723705"/>
              <a:gd name="connsiteY290" fmla="*/ 7043464 h 7587609"/>
              <a:gd name="connsiteX291" fmla="*/ 3572926 w 7723705"/>
              <a:gd name="connsiteY291" fmla="*/ 7199334 h 7587609"/>
              <a:gd name="connsiteX292" fmla="*/ 3536284 w 7723705"/>
              <a:gd name="connsiteY292" fmla="*/ 7269620 h 7587609"/>
              <a:gd name="connsiteX293" fmla="*/ 3470641 w 7723705"/>
              <a:gd name="connsiteY293" fmla="*/ 7284157 h 7587609"/>
              <a:gd name="connsiteX294" fmla="*/ 3370605 w 7723705"/>
              <a:gd name="connsiteY294" fmla="*/ 7443289 h 7587609"/>
              <a:gd name="connsiteX295" fmla="*/ 3336878 w 7723705"/>
              <a:gd name="connsiteY295" fmla="*/ 7376949 h 7587609"/>
              <a:gd name="connsiteX296" fmla="*/ 3281360 w 7723705"/>
              <a:gd name="connsiteY296" fmla="*/ 7483443 h 7587609"/>
              <a:gd name="connsiteX297" fmla="*/ 3241027 w 7723705"/>
              <a:gd name="connsiteY297" fmla="*/ 7587019 h 7587609"/>
              <a:gd name="connsiteX298" fmla="*/ 3144884 w 7723705"/>
              <a:gd name="connsiteY298" fmla="*/ 7496267 h 7587609"/>
              <a:gd name="connsiteX299" fmla="*/ 3093884 w 7723705"/>
              <a:gd name="connsiteY299" fmla="*/ 7548233 h 7587609"/>
              <a:gd name="connsiteX300" fmla="*/ 2923709 w 7723705"/>
              <a:gd name="connsiteY300" fmla="*/ 7573285 h 7587609"/>
              <a:gd name="connsiteX301" fmla="*/ 2887400 w 7723705"/>
              <a:gd name="connsiteY301" fmla="*/ 7538104 h 7587609"/>
              <a:gd name="connsiteX302" fmla="*/ 2783430 w 7723705"/>
              <a:gd name="connsiteY302" fmla="*/ 7305125 h 7587609"/>
              <a:gd name="connsiteX303" fmla="*/ 2729120 w 7723705"/>
              <a:gd name="connsiteY303" fmla="*/ 7160337 h 7587609"/>
              <a:gd name="connsiteX304" fmla="*/ 2678322 w 7723705"/>
              <a:gd name="connsiteY304" fmla="*/ 6995708 h 7587609"/>
              <a:gd name="connsiteX305" fmla="*/ 2649939 w 7723705"/>
              <a:gd name="connsiteY305" fmla="*/ 6853600 h 7587609"/>
              <a:gd name="connsiteX306" fmla="*/ 2583776 w 7723705"/>
              <a:gd name="connsiteY306" fmla="*/ 6705341 h 7587609"/>
              <a:gd name="connsiteX307" fmla="*/ 2564844 w 7723705"/>
              <a:gd name="connsiteY307" fmla="*/ 6584413 h 7587609"/>
              <a:gd name="connsiteX308" fmla="*/ 2530805 w 7723705"/>
              <a:gd name="connsiteY308" fmla="*/ 6420396 h 7587609"/>
              <a:gd name="connsiteX309" fmla="*/ 2485663 w 7723705"/>
              <a:gd name="connsiteY309" fmla="*/ 6277678 h 7587609"/>
              <a:gd name="connsiteX310" fmla="*/ 2425697 w 7723705"/>
              <a:gd name="connsiteY310" fmla="*/ 6110979 h 7587609"/>
              <a:gd name="connsiteX311" fmla="*/ 2405655 w 7723705"/>
              <a:gd name="connsiteY311" fmla="*/ 5992181 h 7587609"/>
              <a:gd name="connsiteX312" fmla="*/ 2393490 w 7723705"/>
              <a:gd name="connsiteY312" fmla="*/ 5891033 h 7587609"/>
              <a:gd name="connsiteX313" fmla="*/ 2355113 w 7723705"/>
              <a:gd name="connsiteY313" fmla="*/ 5768094 h 7587609"/>
              <a:gd name="connsiteX314" fmla="*/ 2329984 w 7723705"/>
              <a:gd name="connsiteY314" fmla="*/ 5665606 h 7587609"/>
              <a:gd name="connsiteX315" fmla="*/ 2295119 w 7723705"/>
              <a:gd name="connsiteY315" fmla="*/ 5522828 h 7587609"/>
              <a:gd name="connsiteX316" fmla="*/ 2257569 w 7723705"/>
              <a:gd name="connsiteY316" fmla="*/ 5378650 h 7587609"/>
              <a:gd name="connsiteX317" fmla="*/ 2202330 w 7723705"/>
              <a:gd name="connsiteY317" fmla="*/ 5222541 h 7587609"/>
              <a:gd name="connsiteX318" fmla="*/ 2140406 w 7723705"/>
              <a:gd name="connsiteY318" fmla="*/ 5282356 h 7587609"/>
              <a:gd name="connsiteX319" fmla="*/ 2113730 w 7723705"/>
              <a:gd name="connsiteY319" fmla="*/ 5254906 h 7587609"/>
              <a:gd name="connsiteX320" fmla="*/ 2099240 w 7723705"/>
              <a:gd name="connsiteY320" fmla="*/ 5125458 h 7587609"/>
              <a:gd name="connsiteX321" fmla="*/ 2151920 w 7723705"/>
              <a:gd name="connsiteY321" fmla="*/ 5109581 h 7587609"/>
              <a:gd name="connsiteX322" fmla="*/ 2099240 w 7723705"/>
              <a:gd name="connsiteY322" fmla="*/ 5125458 h 7587609"/>
              <a:gd name="connsiteX323" fmla="*/ 2085784 w 7723705"/>
              <a:gd name="connsiteY323" fmla="*/ 5039890 h 7587609"/>
              <a:gd name="connsiteX324" fmla="*/ 2037414 w 7723705"/>
              <a:gd name="connsiteY324" fmla="*/ 4936120 h 7587609"/>
              <a:gd name="connsiteX325" fmla="*/ 2058560 w 7723705"/>
              <a:gd name="connsiteY325" fmla="*/ 4771076 h 7587609"/>
              <a:gd name="connsiteX326" fmla="*/ 2003244 w 7723705"/>
              <a:gd name="connsiteY326" fmla="*/ 4660976 h 7587609"/>
              <a:gd name="connsiteX327" fmla="*/ 1968559 w 7723705"/>
              <a:gd name="connsiteY327" fmla="*/ 4504748 h 7587609"/>
              <a:gd name="connsiteX328" fmla="*/ 1991411 w 7723705"/>
              <a:gd name="connsiteY328" fmla="*/ 4454360 h 7587609"/>
              <a:gd name="connsiteX329" fmla="*/ 1960010 w 7723705"/>
              <a:gd name="connsiteY329" fmla="*/ 4416320 h 7587609"/>
              <a:gd name="connsiteX330" fmla="*/ 1931473 w 7723705"/>
              <a:gd name="connsiteY330" fmla="*/ 4366230 h 7587609"/>
              <a:gd name="connsiteX331" fmla="*/ 1960010 w 7723705"/>
              <a:gd name="connsiteY331" fmla="*/ 4416320 h 7587609"/>
              <a:gd name="connsiteX332" fmla="*/ 1937803 w 7723705"/>
              <a:gd name="connsiteY332" fmla="*/ 4458918 h 7587609"/>
              <a:gd name="connsiteX333" fmla="*/ 1968559 w 7723705"/>
              <a:gd name="connsiteY333" fmla="*/ 4504748 h 7587609"/>
              <a:gd name="connsiteX334" fmla="*/ 2003244 w 7723705"/>
              <a:gd name="connsiteY334" fmla="*/ 4660976 h 7587609"/>
              <a:gd name="connsiteX335" fmla="*/ 1949946 w 7723705"/>
              <a:gd name="connsiteY335" fmla="*/ 4763211 h 7587609"/>
              <a:gd name="connsiteX336" fmla="*/ 2006192 w 7723705"/>
              <a:gd name="connsiteY336" fmla="*/ 4884630 h 7587609"/>
              <a:gd name="connsiteX337" fmla="*/ 1973992 w 7723705"/>
              <a:gd name="connsiteY337" fmla="*/ 4946397 h 7587609"/>
              <a:gd name="connsiteX338" fmla="*/ 2024403 w 7723705"/>
              <a:gd name="connsiteY338" fmla="*/ 5059356 h 7587609"/>
              <a:gd name="connsiteX339" fmla="*/ 1984430 w 7723705"/>
              <a:gd name="connsiteY339" fmla="*/ 5136033 h 7587609"/>
              <a:gd name="connsiteX340" fmla="*/ 2048449 w 7723705"/>
              <a:gd name="connsiteY340" fmla="*/ 5242543 h 7587609"/>
              <a:gd name="connsiteX341" fmla="*/ 2012917 w 7723705"/>
              <a:gd name="connsiteY341" fmla="*/ 5310700 h 7587609"/>
              <a:gd name="connsiteX342" fmla="*/ 2059198 w 7723705"/>
              <a:gd name="connsiteY342" fmla="*/ 5529856 h 7587609"/>
              <a:gd name="connsiteX343" fmla="*/ 2050578 w 7723705"/>
              <a:gd name="connsiteY343" fmla="*/ 5769150 h 7587609"/>
              <a:gd name="connsiteX344" fmla="*/ 1992528 w 7723705"/>
              <a:gd name="connsiteY344" fmla="*/ 5782227 h 7587609"/>
              <a:gd name="connsiteX345" fmla="*/ 2070516 w 7723705"/>
              <a:gd name="connsiteY345" fmla="*/ 5855389 h 7587609"/>
              <a:gd name="connsiteX346" fmla="*/ 2033694 w 7723705"/>
              <a:gd name="connsiteY346" fmla="*/ 5939125 h 7587609"/>
              <a:gd name="connsiteX347" fmla="*/ 2084104 w 7723705"/>
              <a:gd name="connsiteY347" fmla="*/ 6052085 h 7587609"/>
              <a:gd name="connsiteX348" fmla="*/ 2045970 w 7723705"/>
              <a:gd name="connsiteY348" fmla="*/ 6354545 h 7587609"/>
              <a:gd name="connsiteX349" fmla="*/ 2097309 w 7723705"/>
              <a:gd name="connsiteY349" fmla="*/ 6478825 h 7587609"/>
              <a:gd name="connsiteX350" fmla="*/ 2060668 w 7723705"/>
              <a:gd name="connsiteY350" fmla="*/ 6549111 h 7587609"/>
              <a:gd name="connsiteX351" fmla="*/ 2091063 w 7723705"/>
              <a:gd name="connsiteY351" fmla="*/ 6621841 h 7587609"/>
              <a:gd name="connsiteX352" fmla="*/ 2002284 w 7723705"/>
              <a:gd name="connsiteY352" fmla="*/ 6667655 h 7587609"/>
              <a:gd name="connsiteX353" fmla="*/ 2063874 w 7723705"/>
              <a:gd name="connsiteY353" fmla="*/ 6713307 h 7587609"/>
              <a:gd name="connsiteX354" fmla="*/ 2045053 w 7723705"/>
              <a:gd name="connsiteY354" fmla="*/ 6906651 h 7587609"/>
              <a:gd name="connsiteX355" fmla="*/ 1941346 w 7723705"/>
              <a:gd name="connsiteY355" fmla="*/ 6895927 h 7587609"/>
              <a:gd name="connsiteX356" fmla="*/ 1965572 w 7723705"/>
              <a:gd name="connsiteY356" fmla="*/ 7065664 h 7587609"/>
              <a:gd name="connsiteX357" fmla="*/ 1915606 w 7723705"/>
              <a:gd name="connsiteY357" fmla="*/ 7161509 h 7587609"/>
              <a:gd name="connsiteX358" fmla="*/ 1936085 w 7723705"/>
              <a:gd name="connsiteY358" fmla="*/ 7207399 h 7587609"/>
              <a:gd name="connsiteX359" fmla="*/ 1768776 w 7723705"/>
              <a:gd name="connsiteY359" fmla="*/ 7220401 h 7587609"/>
              <a:gd name="connsiteX360" fmla="*/ 1791761 w 7723705"/>
              <a:gd name="connsiteY360" fmla="*/ 7281140 h 7587609"/>
              <a:gd name="connsiteX361" fmla="*/ 1732912 w 7723705"/>
              <a:gd name="connsiteY361" fmla="*/ 7394025 h 7587609"/>
              <a:gd name="connsiteX362" fmla="*/ 1603638 w 7723705"/>
              <a:gd name="connsiteY362" fmla="*/ 7353720 h 7587609"/>
              <a:gd name="connsiteX363" fmla="*/ 1502152 w 7723705"/>
              <a:gd name="connsiteY363" fmla="*/ 7338735 h 7587609"/>
              <a:gd name="connsiteX364" fmla="*/ 1401055 w 7723705"/>
              <a:gd name="connsiteY364" fmla="*/ 7375420 h 7587609"/>
              <a:gd name="connsiteX365" fmla="*/ 1370117 w 7723705"/>
              <a:gd name="connsiteY365" fmla="*/ 7343039 h 7587609"/>
              <a:gd name="connsiteX366" fmla="*/ 1228340 w 7723705"/>
              <a:gd name="connsiteY366" fmla="*/ 7025341 h 7587609"/>
              <a:gd name="connsiteX367" fmla="*/ 1189678 w 7723705"/>
              <a:gd name="connsiteY367" fmla="*/ 6883293 h 7587609"/>
              <a:gd name="connsiteX368" fmla="*/ 1148332 w 7723705"/>
              <a:gd name="connsiteY368" fmla="*/ 6739845 h 7587609"/>
              <a:gd name="connsiteX369" fmla="*/ 1142108 w 7723705"/>
              <a:gd name="connsiteY369" fmla="*/ 6679716 h 7587609"/>
              <a:gd name="connsiteX370" fmla="*/ 1093994 w 7723705"/>
              <a:gd name="connsiteY370" fmla="*/ 6516488 h 7587609"/>
              <a:gd name="connsiteX371" fmla="*/ 1059955 w 7723705"/>
              <a:gd name="connsiteY371" fmla="*/ 6352470 h 7587609"/>
              <a:gd name="connsiteX372" fmla="*/ 1020753 w 7723705"/>
              <a:gd name="connsiteY372" fmla="*/ 6250771 h 7587609"/>
              <a:gd name="connsiteX373" fmla="*/ 1018040 w 7723705"/>
              <a:gd name="connsiteY373" fmla="*/ 6170803 h 7587609"/>
              <a:gd name="connsiteX374" fmla="*/ 901619 w 7723705"/>
              <a:gd name="connsiteY374" fmla="*/ 5817566 h 7587609"/>
              <a:gd name="connsiteX375" fmla="*/ 869440 w 7723705"/>
              <a:gd name="connsiteY375" fmla="*/ 5676188 h 7587609"/>
              <a:gd name="connsiteX376" fmla="*/ 837261 w 7723705"/>
              <a:gd name="connsiteY376" fmla="*/ 5534811 h 7587609"/>
              <a:gd name="connsiteX377" fmla="*/ 765935 w 7723705"/>
              <a:gd name="connsiteY377" fmla="*/ 5448869 h 7587609"/>
              <a:gd name="connsiteX378" fmla="*/ 763222 w 7723705"/>
              <a:gd name="connsiteY378" fmla="*/ 5368901 h 7587609"/>
              <a:gd name="connsiteX379" fmla="*/ 740237 w 7723705"/>
              <a:gd name="connsiteY379" fmla="*/ 5308162 h 7587609"/>
              <a:gd name="connsiteX380" fmla="*/ 721875 w 7723705"/>
              <a:gd name="connsiteY380" fmla="*/ 5225453 h 7587609"/>
              <a:gd name="connsiteX381" fmla="*/ 668779 w 7723705"/>
              <a:gd name="connsiteY381" fmla="*/ 5111093 h 7587609"/>
              <a:gd name="connsiteX382" fmla="*/ 677454 w 7723705"/>
              <a:gd name="connsiteY382" fmla="*/ 5028936 h 7587609"/>
              <a:gd name="connsiteX383" fmla="*/ 668779 w 7723705"/>
              <a:gd name="connsiteY383" fmla="*/ 5111093 h 7587609"/>
              <a:gd name="connsiteX384" fmla="*/ 640194 w 7723705"/>
              <a:gd name="connsiteY384" fmla="*/ 5185580 h 7587609"/>
              <a:gd name="connsiteX385" fmla="*/ 587516 w 7723705"/>
              <a:gd name="connsiteY385" fmla="*/ 5201458 h 7587609"/>
              <a:gd name="connsiteX386" fmla="*/ 640194 w 7723705"/>
              <a:gd name="connsiteY386" fmla="*/ 5185580 h 7587609"/>
              <a:gd name="connsiteX387" fmla="*/ 661964 w 7723705"/>
              <a:gd name="connsiteY387" fmla="*/ 5215890 h 7587609"/>
              <a:gd name="connsiteX388" fmla="*/ 663026 w 7723705"/>
              <a:gd name="connsiteY388" fmla="*/ 5338337 h 7587609"/>
              <a:gd name="connsiteX389" fmla="*/ 618897 w 7723705"/>
              <a:gd name="connsiteY389" fmla="*/ 5442643 h 7587609"/>
              <a:gd name="connsiteX390" fmla="*/ 687433 w 7723705"/>
              <a:gd name="connsiteY390" fmla="*/ 5494625 h 7587609"/>
              <a:gd name="connsiteX391" fmla="*/ 676899 w 7723705"/>
              <a:gd name="connsiteY391" fmla="*/ 5554143 h 7587609"/>
              <a:gd name="connsiteX392" fmla="*/ 698307 w 7723705"/>
              <a:gd name="connsiteY392" fmla="*/ 5611352 h 7587609"/>
              <a:gd name="connsiteX393" fmla="*/ 661665 w 7723705"/>
              <a:gd name="connsiteY393" fmla="*/ 5681639 h 7587609"/>
              <a:gd name="connsiteX394" fmla="*/ 699813 w 7723705"/>
              <a:gd name="connsiteY394" fmla="*/ 5942604 h 7587609"/>
              <a:gd name="connsiteX395" fmla="*/ 690930 w 7723705"/>
              <a:gd name="connsiteY395" fmla="*/ 5959643 h 7587609"/>
              <a:gd name="connsiteX396" fmla="*/ 693983 w 7723705"/>
              <a:gd name="connsiteY396" fmla="*/ 6215857 h 7587609"/>
              <a:gd name="connsiteX397" fmla="*/ 749611 w 7723705"/>
              <a:gd name="connsiteY397" fmla="*/ 6423634 h 7587609"/>
              <a:gd name="connsiteX398" fmla="*/ 658611 w 7723705"/>
              <a:gd name="connsiteY398" fmla="*/ 6473709 h 7587609"/>
              <a:gd name="connsiteX399" fmla="*/ 720201 w 7723705"/>
              <a:gd name="connsiteY399" fmla="*/ 6519360 h 7587609"/>
              <a:gd name="connsiteX400" fmla="*/ 703601 w 7723705"/>
              <a:gd name="connsiteY400" fmla="*/ 6708445 h 7587609"/>
              <a:gd name="connsiteX401" fmla="*/ 728161 w 7723705"/>
              <a:gd name="connsiteY401" fmla="*/ 6772715 h 7587609"/>
              <a:gd name="connsiteX402" fmla="*/ 691519 w 7723705"/>
              <a:gd name="connsiteY402" fmla="*/ 6843001 h 7587609"/>
              <a:gd name="connsiteX403" fmla="*/ 717189 w 7723705"/>
              <a:gd name="connsiteY403" fmla="*/ 6905141 h 7587609"/>
              <a:gd name="connsiteX404" fmla="*/ 667841 w 7723705"/>
              <a:gd name="connsiteY404" fmla="*/ 6914628 h 7587609"/>
              <a:gd name="connsiteX405" fmla="*/ 686411 w 7723705"/>
              <a:gd name="connsiteY405" fmla="*/ 7062455 h 7587609"/>
              <a:gd name="connsiteX406" fmla="*/ 727397 w 7723705"/>
              <a:gd name="connsiteY406" fmla="*/ 7232803 h 7587609"/>
              <a:gd name="connsiteX407" fmla="*/ 635724 w 7723705"/>
              <a:gd name="connsiteY407" fmla="*/ 7212099 h 7587609"/>
              <a:gd name="connsiteX408" fmla="*/ 622399 w 7723705"/>
              <a:gd name="connsiteY408" fmla="*/ 7237658 h 7587609"/>
              <a:gd name="connsiteX409" fmla="*/ 640220 w 7723705"/>
              <a:gd name="connsiteY409" fmla="*/ 7360715 h 7587609"/>
              <a:gd name="connsiteX410" fmla="*/ 580622 w 7723705"/>
              <a:gd name="connsiteY410" fmla="*/ 7448831 h 7587609"/>
              <a:gd name="connsiteX411" fmla="*/ 546895 w 7723705"/>
              <a:gd name="connsiteY411" fmla="*/ 7382491 h 7587609"/>
              <a:gd name="connsiteX412" fmla="*/ 503022 w 7723705"/>
              <a:gd name="connsiteY412" fmla="*/ 7427338 h 7587609"/>
              <a:gd name="connsiteX413" fmla="*/ 464986 w 7723705"/>
              <a:gd name="connsiteY413" fmla="*/ 7480645 h 7587609"/>
              <a:gd name="connsiteX414" fmla="*/ 429322 w 7723705"/>
              <a:gd name="connsiteY414" fmla="*/ 7437674 h 7587609"/>
              <a:gd name="connsiteX415" fmla="*/ 456901 w 7723705"/>
              <a:gd name="connsiteY415" fmla="*/ 7397876 h 7587609"/>
              <a:gd name="connsiteX416" fmla="*/ 444195 w 7723705"/>
              <a:gd name="connsiteY416" fmla="*/ 7337077 h 7587609"/>
              <a:gd name="connsiteX417" fmla="*/ 412147 w 7723705"/>
              <a:gd name="connsiteY417" fmla="*/ 7306827 h 7587609"/>
              <a:gd name="connsiteX418" fmla="*/ 434999 w 7723705"/>
              <a:gd name="connsiteY418" fmla="*/ 7256439 h 7587609"/>
              <a:gd name="connsiteX419" fmla="*/ 387018 w 7723705"/>
              <a:gd name="connsiteY419" fmla="*/ 7204338 h 7587609"/>
              <a:gd name="connsiteX420" fmla="*/ 458677 w 7723705"/>
              <a:gd name="connsiteY420" fmla="*/ 7184812 h 7587609"/>
              <a:gd name="connsiteX421" fmla="*/ 370981 w 7723705"/>
              <a:gd name="connsiteY421" fmla="*/ 7149929 h 7587609"/>
              <a:gd name="connsiteX422" fmla="*/ 441710 w 7723705"/>
              <a:gd name="connsiteY422" fmla="*/ 7119083 h 7587609"/>
              <a:gd name="connsiteX423" fmla="*/ 363180 w 7723705"/>
              <a:gd name="connsiteY423" fmla="*/ 7086270 h 7587609"/>
              <a:gd name="connsiteX424" fmla="*/ 411675 w 7723705"/>
              <a:gd name="connsiteY424" fmla="*/ 7019454 h 7587609"/>
              <a:gd name="connsiteX425" fmla="*/ 344353 w 7723705"/>
              <a:gd name="connsiteY425" fmla="*/ 6997902 h 7587609"/>
              <a:gd name="connsiteX426" fmla="*/ 373506 w 7723705"/>
              <a:gd name="connsiteY426" fmla="*/ 6961634 h 7587609"/>
              <a:gd name="connsiteX427" fmla="*/ 350315 w 7723705"/>
              <a:gd name="connsiteY427" fmla="*/ 6835776 h 7587609"/>
              <a:gd name="connsiteX428" fmla="*/ 375027 w 7723705"/>
              <a:gd name="connsiteY428" fmla="*/ 6808028 h 7587609"/>
              <a:gd name="connsiteX429" fmla="*/ 327510 w 7723705"/>
              <a:gd name="connsiteY429" fmla="*/ 6761587 h 7587609"/>
              <a:gd name="connsiteX430" fmla="*/ 359246 w 7723705"/>
              <a:gd name="connsiteY430" fmla="*/ 6694160 h 7587609"/>
              <a:gd name="connsiteX431" fmla="*/ 323583 w 7723705"/>
              <a:gd name="connsiteY431" fmla="*/ 6651189 h 7587609"/>
              <a:gd name="connsiteX432" fmla="*/ 361335 w 7723705"/>
              <a:gd name="connsiteY432" fmla="*/ 6578773 h 7587609"/>
              <a:gd name="connsiteX433" fmla="*/ 292903 w 7723705"/>
              <a:gd name="connsiteY433" fmla="*/ 6559350 h 7587609"/>
              <a:gd name="connsiteX434" fmla="*/ 322057 w 7723705"/>
              <a:gd name="connsiteY434" fmla="*/ 6523082 h 7587609"/>
              <a:gd name="connsiteX435" fmla="*/ 314540 w 7723705"/>
              <a:gd name="connsiteY435" fmla="*/ 6478533 h 7587609"/>
              <a:gd name="connsiteX436" fmla="*/ 274151 w 7723705"/>
              <a:gd name="connsiteY436" fmla="*/ 6424973 h 7587609"/>
              <a:gd name="connsiteX437" fmla="*/ 331738 w 7723705"/>
              <a:gd name="connsiteY437" fmla="*/ 6406236 h 7587609"/>
              <a:gd name="connsiteX438" fmla="*/ 315415 w 7723705"/>
              <a:gd name="connsiteY438" fmla="*/ 6332717 h 7587609"/>
              <a:gd name="connsiteX439" fmla="*/ 281147 w 7723705"/>
              <a:gd name="connsiteY439" fmla="*/ 6306726 h 7587609"/>
              <a:gd name="connsiteX440" fmla="*/ 310301 w 7723705"/>
              <a:gd name="connsiteY440" fmla="*/ 6270458 h 7587609"/>
              <a:gd name="connsiteX441" fmla="*/ 220175 w 7723705"/>
              <a:gd name="connsiteY441" fmla="*/ 6174716 h 7587609"/>
              <a:gd name="connsiteX442" fmla="*/ 215164 w 7723705"/>
              <a:gd name="connsiteY442" fmla="*/ 6145017 h 7587609"/>
              <a:gd name="connsiteX443" fmla="*/ 287004 w 7723705"/>
              <a:gd name="connsiteY443" fmla="*/ 6112041 h 7587609"/>
              <a:gd name="connsiteX444" fmla="*/ 238559 w 7723705"/>
              <a:gd name="connsiteY444" fmla="*/ 6054280 h 7587609"/>
              <a:gd name="connsiteX445" fmla="*/ 260300 w 7723705"/>
              <a:gd name="connsiteY445" fmla="*/ 6006022 h 7587609"/>
              <a:gd name="connsiteX446" fmla="*/ 216580 w 7723705"/>
              <a:gd name="connsiteY446" fmla="*/ 5958852 h 7587609"/>
              <a:gd name="connsiteX447" fmla="*/ 197288 w 7723705"/>
              <a:gd name="connsiteY447" fmla="*/ 5864823 h 7587609"/>
              <a:gd name="connsiteX448" fmla="*/ 220425 w 7723705"/>
              <a:gd name="connsiteY448" fmla="*/ 5833545 h 7587609"/>
              <a:gd name="connsiteX449" fmla="*/ 179210 w 7723705"/>
              <a:gd name="connsiteY449" fmla="*/ 5801224 h 7587609"/>
              <a:gd name="connsiteX450" fmla="*/ 139307 w 7723705"/>
              <a:gd name="connsiteY450" fmla="*/ 5550178 h 7587609"/>
              <a:gd name="connsiteX451" fmla="*/ 134838 w 7723705"/>
              <a:gd name="connsiteY451" fmla="*/ 5480130 h 7587609"/>
              <a:gd name="connsiteX452" fmla="*/ 138634 w 7723705"/>
              <a:gd name="connsiteY452" fmla="*/ 5479400 h 7587609"/>
              <a:gd name="connsiteX453" fmla="*/ 204048 w 7723705"/>
              <a:gd name="connsiteY453" fmla="*/ 5602890 h 7587609"/>
              <a:gd name="connsiteX454" fmla="*/ 204124 w 7723705"/>
              <a:gd name="connsiteY454" fmla="*/ 5556881 h 7587609"/>
              <a:gd name="connsiteX455" fmla="*/ 169828 w 7723705"/>
              <a:gd name="connsiteY455" fmla="*/ 5452322 h 7587609"/>
              <a:gd name="connsiteX456" fmla="*/ 142222 w 7723705"/>
              <a:gd name="connsiteY456" fmla="*/ 5413552 h 7587609"/>
              <a:gd name="connsiteX457" fmla="*/ 124998 w 7723705"/>
              <a:gd name="connsiteY457" fmla="*/ 5407281 h 7587609"/>
              <a:gd name="connsiteX458" fmla="*/ 124249 w 7723705"/>
              <a:gd name="connsiteY458" fmla="*/ 5382512 h 7587609"/>
              <a:gd name="connsiteX459" fmla="*/ 107121 w 7723705"/>
              <a:gd name="connsiteY459" fmla="*/ 5127087 h 7587609"/>
              <a:gd name="connsiteX460" fmla="*/ 119155 w 7723705"/>
              <a:gd name="connsiteY460" fmla="*/ 5117108 h 7587609"/>
              <a:gd name="connsiteX461" fmla="*/ 108412 w 7723705"/>
              <a:gd name="connsiteY461" fmla="*/ 5111508 h 7587609"/>
              <a:gd name="connsiteX462" fmla="*/ 95497 w 7723705"/>
              <a:gd name="connsiteY462" fmla="*/ 4985590 h 7587609"/>
              <a:gd name="connsiteX463" fmla="*/ 53971 w 7723705"/>
              <a:gd name="connsiteY463" fmla="*/ 4855592 h 7587609"/>
              <a:gd name="connsiteX464" fmla="*/ 89502 w 7723705"/>
              <a:gd name="connsiteY464" fmla="*/ 4787435 h 7587609"/>
              <a:gd name="connsiteX465" fmla="*/ 37024 w 7723705"/>
              <a:gd name="connsiteY465" fmla="*/ 4586718 h 7587609"/>
              <a:gd name="connsiteX466" fmla="*/ 49647 w 7723705"/>
              <a:gd name="connsiteY466" fmla="*/ 4411813 h 7587609"/>
              <a:gd name="connsiteX467" fmla="*/ 23638 w 7723705"/>
              <a:gd name="connsiteY467" fmla="*/ 4173427 h 7587609"/>
              <a:gd name="connsiteX468" fmla="*/ 16275 w 7723705"/>
              <a:gd name="connsiteY468" fmla="*/ 4036860 h 7587609"/>
              <a:gd name="connsiteX469" fmla="*/ 6483 w 7723705"/>
              <a:gd name="connsiteY469" fmla="*/ 3839435 h 7587609"/>
              <a:gd name="connsiteX470" fmla="*/ 31785 w 7723705"/>
              <a:gd name="connsiteY470" fmla="*/ 3646761 h 7587609"/>
              <a:gd name="connsiteX471" fmla="*/ 13992 w 7723705"/>
              <a:gd name="connsiteY471" fmla="*/ 3602271 h 7587609"/>
              <a:gd name="connsiteX472" fmla="*/ 180546 w 7723705"/>
              <a:gd name="connsiteY472" fmla="*/ 3282787 h 7587609"/>
              <a:gd name="connsiteX473" fmla="*/ 151260 w 7723705"/>
              <a:gd name="connsiteY473" fmla="*/ 3207927 h 7587609"/>
              <a:gd name="connsiteX474" fmla="*/ 273454 w 7723705"/>
              <a:gd name="connsiteY474" fmla="*/ 3130775 h 7587609"/>
              <a:gd name="connsiteX475" fmla="*/ 353275 w 7723705"/>
              <a:gd name="connsiteY475" fmla="*/ 3148008 h 7587609"/>
              <a:gd name="connsiteX476" fmla="*/ 392241 w 7723705"/>
              <a:gd name="connsiteY476" fmla="*/ 3106021 h 7587609"/>
              <a:gd name="connsiteX477" fmla="*/ 480660 w 7723705"/>
              <a:gd name="connsiteY477" fmla="*/ 3087105 h 7587609"/>
              <a:gd name="connsiteX478" fmla="*/ 706256 w 7723705"/>
              <a:gd name="connsiteY478" fmla="*/ 3204713 h 7587609"/>
              <a:gd name="connsiteX479" fmla="*/ 757207 w 7723705"/>
              <a:gd name="connsiteY479" fmla="*/ 3277323 h 7587609"/>
              <a:gd name="connsiteX480" fmla="*/ 792898 w 7723705"/>
              <a:gd name="connsiteY480" fmla="*/ 3398862 h 7587609"/>
              <a:gd name="connsiteX481" fmla="*/ 820816 w 7723705"/>
              <a:gd name="connsiteY481" fmla="*/ 3535310 h 7587609"/>
              <a:gd name="connsiteX482" fmla="*/ 879721 w 7723705"/>
              <a:gd name="connsiteY482" fmla="*/ 3579561 h 7587609"/>
              <a:gd name="connsiteX483" fmla="*/ 870581 w 7723705"/>
              <a:gd name="connsiteY483" fmla="*/ 3656059 h 7587609"/>
              <a:gd name="connsiteX484" fmla="*/ 928555 w 7723705"/>
              <a:gd name="connsiteY484" fmla="*/ 3688991 h 7587609"/>
              <a:gd name="connsiteX485" fmla="*/ 924037 w 7723705"/>
              <a:gd name="connsiteY485" fmla="*/ 3743519 h 7587609"/>
              <a:gd name="connsiteX486" fmla="*/ 1076843 w 7723705"/>
              <a:gd name="connsiteY486" fmla="*/ 4085928 h 7587609"/>
              <a:gd name="connsiteX487" fmla="*/ 1062796 w 7723705"/>
              <a:gd name="connsiteY487" fmla="*/ 4165285 h 7587609"/>
              <a:gd name="connsiteX488" fmla="*/ 1226704 w 7723705"/>
              <a:gd name="connsiteY488" fmla="*/ 4486395 h 7587609"/>
              <a:gd name="connsiteX489" fmla="*/ 1204963 w 7723705"/>
              <a:gd name="connsiteY489" fmla="*/ 4534652 h 7587609"/>
              <a:gd name="connsiteX490" fmla="*/ 1235255 w 7723705"/>
              <a:gd name="connsiteY490" fmla="*/ 4574823 h 7587609"/>
              <a:gd name="connsiteX491" fmla="*/ 1264901 w 7723705"/>
              <a:gd name="connsiteY491" fmla="*/ 4622783 h 7587609"/>
              <a:gd name="connsiteX492" fmla="*/ 1235255 w 7723705"/>
              <a:gd name="connsiteY492" fmla="*/ 4574823 h 7587609"/>
              <a:gd name="connsiteX493" fmla="*/ 1257462 w 7723705"/>
              <a:gd name="connsiteY493" fmla="*/ 4532225 h 7587609"/>
              <a:gd name="connsiteX494" fmla="*/ 1226704 w 7723705"/>
              <a:gd name="connsiteY494" fmla="*/ 4486395 h 7587609"/>
              <a:gd name="connsiteX495" fmla="*/ 1253353 w 7723705"/>
              <a:gd name="connsiteY495" fmla="*/ 4435277 h 7587609"/>
              <a:gd name="connsiteX496" fmla="*/ 1192069 w 7723705"/>
              <a:gd name="connsiteY496" fmla="*/ 4205590 h 7587609"/>
              <a:gd name="connsiteX497" fmla="*/ 1085877 w 7723705"/>
              <a:gd name="connsiteY497" fmla="*/ 3976871 h 7587609"/>
              <a:gd name="connsiteX498" fmla="*/ 1114747 w 7723705"/>
              <a:gd name="connsiteY498" fmla="*/ 3921494 h 7587609"/>
              <a:gd name="connsiteX499" fmla="*/ 1159939 w 7723705"/>
              <a:gd name="connsiteY499" fmla="*/ 3939635 h 7587609"/>
              <a:gd name="connsiteX500" fmla="*/ 1192270 w 7723705"/>
              <a:gd name="connsiteY500" fmla="*/ 3988995 h 7587609"/>
              <a:gd name="connsiteX501" fmla="*/ 1159939 w 7723705"/>
              <a:gd name="connsiteY501" fmla="*/ 3939635 h 7587609"/>
              <a:gd name="connsiteX502" fmla="*/ 1133623 w 7723705"/>
              <a:gd name="connsiteY502" fmla="*/ 3885285 h 7587609"/>
              <a:gd name="connsiteX503" fmla="*/ 1151389 w 7723705"/>
              <a:gd name="connsiteY503" fmla="*/ 3851207 h 7587609"/>
              <a:gd name="connsiteX504" fmla="*/ 1121271 w 7723705"/>
              <a:gd name="connsiteY504" fmla="*/ 3515874 h 7587609"/>
              <a:gd name="connsiteX505" fmla="*/ 1095546 w 7723705"/>
              <a:gd name="connsiteY505" fmla="*/ 3296598 h 7587609"/>
              <a:gd name="connsiteX506" fmla="*/ 1060396 w 7723705"/>
              <a:gd name="connsiteY506" fmla="*/ 3134711 h 7587609"/>
              <a:gd name="connsiteX507" fmla="*/ 1041492 w 7723705"/>
              <a:gd name="connsiteY507" fmla="*/ 3092351 h 7587609"/>
              <a:gd name="connsiteX508" fmla="*/ 1021423 w 7723705"/>
              <a:gd name="connsiteY508" fmla="*/ 2894985 h 7587609"/>
              <a:gd name="connsiteX509" fmla="*/ 998952 w 7723705"/>
              <a:gd name="connsiteY509" fmla="*/ 2715328 h 7587609"/>
              <a:gd name="connsiteX510" fmla="*/ 958432 w 7723705"/>
              <a:gd name="connsiteY510" fmla="*/ 2550641 h 7587609"/>
              <a:gd name="connsiteX511" fmla="*/ 947272 w 7723705"/>
              <a:gd name="connsiteY511" fmla="*/ 2414804 h 7587609"/>
              <a:gd name="connsiteX512" fmla="*/ 905871 w 7723705"/>
              <a:gd name="connsiteY512" fmla="*/ 2114219 h 7587609"/>
              <a:gd name="connsiteX513" fmla="*/ 901478 w 7723705"/>
              <a:gd name="connsiteY513" fmla="*/ 1998162 h 7587609"/>
              <a:gd name="connsiteX514" fmla="*/ 882574 w 7723705"/>
              <a:gd name="connsiteY514" fmla="*/ 1955802 h 7587609"/>
              <a:gd name="connsiteX515" fmla="*/ 868106 w 7723705"/>
              <a:gd name="connsiteY515" fmla="*/ 1623210 h 7587609"/>
              <a:gd name="connsiteX516" fmla="*/ 848452 w 7723705"/>
              <a:gd name="connsiteY516" fmla="*/ 1556080 h 7587609"/>
              <a:gd name="connsiteX517" fmla="*/ 996130 w 7723705"/>
              <a:gd name="connsiteY517" fmla="*/ 1272804 h 7587609"/>
              <a:gd name="connsiteX518" fmla="*/ 968884 w 7723705"/>
              <a:gd name="connsiteY518" fmla="*/ 1207135 h 7587609"/>
              <a:gd name="connsiteX519" fmla="*/ 1027733 w 7723705"/>
              <a:gd name="connsiteY519" fmla="*/ 1094250 h 7587609"/>
              <a:gd name="connsiteX520" fmla="*/ 1194862 w 7723705"/>
              <a:gd name="connsiteY520" fmla="*/ 1094698 h 7587609"/>
              <a:gd name="connsiteX521" fmla="*/ 1329090 w 7723705"/>
              <a:gd name="connsiteY521" fmla="*/ 1007566 h 7587609"/>
              <a:gd name="connsiteX522" fmla="*/ 1560057 w 7723705"/>
              <a:gd name="connsiteY522" fmla="*/ 1127974 h 7587609"/>
              <a:gd name="connsiteX523" fmla="*/ 1586837 w 7723705"/>
              <a:gd name="connsiteY523" fmla="*/ 1187983 h 7587609"/>
              <a:gd name="connsiteX524" fmla="*/ 1653979 w 7723705"/>
              <a:gd name="connsiteY524" fmla="*/ 1222986 h 7587609"/>
              <a:gd name="connsiteX525" fmla="*/ 1680759 w 7723705"/>
              <a:gd name="connsiteY525" fmla="*/ 1282995 h 7587609"/>
              <a:gd name="connsiteX526" fmla="*/ 1690780 w 7723705"/>
              <a:gd name="connsiteY526" fmla="*/ 1342394 h 7587609"/>
              <a:gd name="connsiteX527" fmla="*/ 1962843 w 7723705"/>
              <a:gd name="connsiteY527" fmla="*/ 1947422 h 7587609"/>
              <a:gd name="connsiteX528" fmla="*/ 2003232 w 7723705"/>
              <a:gd name="connsiteY528" fmla="*/ 2000982 h 7587609"/>
              <a:gd name="connsiteX529" fmla="*/ 1994558 w 7723705"/>
              <a:gd name="connsiteY529" fmla="*/ 2083140 h 7587609"/>
              <a:gd name="connsiteX530" fmla="*/ 2003232 w 7723705"/>
              <a:gd name="connsiteY530" fmla="*/ 2000982 h 7587609"/>
              <a:gd name="connsiteX531" fmla="*/ 2029881 w 7723705"/>
              <a:gd name="connsiteY531" fmla="*/ 1949865 h 7587609"/>
              <a:gd name="connsiteX532" fmla="*/ 1961004 w 7723705"/>
              <a:gd name="connsiteY532" fmla="*/ 1721637 h 7587609"/>
              <a:gd name="connsiteX533" fmla="*/ 1896882 w 7723705"/>
              <a:gd name="connsiteY533" fmla="*/ 1582567 h 7587609"/>
              <a:gd name="connsiteX534" fmla="*/ 1821010 w 7723705"/>
              <a:gd name="connsiteY534" fmla="*/ 1472587 h 7587609"/>
              <a:gd name="connsiteX535" fmla="*/ 1772072 w 7723705"/>
              <a:gd name="connsiteY535" fmla="*/ 1330598 h 7587609"/>
              <a:gd name="connsiteX536" fmla="*/ 1831156 w 7723705"/>
              <a:gd name="connsiteY536" fmla="*/ 1361400 h 7587609"/>
              <a:gd name="connsiteX537" fmla="*/ 1890810 w 7723705"/>
              <a:gd name="connsiteY537" fmla="*/ 1430421 h 7587609"/>
              <a:gd name="connsiteX538" fmla="*/ 1919346 w 7723705"/>
              <a:gd name="connsiteY538" fmla="*/ 1480511 h 7587609"/>
              <a:gd name="connsiteX539" fmla="*/ 1890810 w 7723705"/>
              <a:gd name="connsiteY539" fmla="*/ 1430421 h 7587609"/>
              <a:gd name="connsiteX540" fmla="*/ 1905759 w 7723705"/>
              <a:gd name="connsiteY540" fmla="*/ 1283816 h 7587609"/>
              <a:gd name="connsiteX541" fmla="*/ 1867382 w 7723705"/>
              <a:gd name="connsiteY541" fmla="*/ 1160877 h 7587609"/>
              <a:gd name="connsiteX542" fmla="*/ 1854106 w 7723705"/>
              <a:gd name="connsiteY542" fmla="*/ 1061859 h 7587609"/>
              <a:gd name="connsiteX543" fmla="*/ 1856195 w 7723705"/>
              <a:gd name="connsiteY543" fmla="*/ 946472 h 7587609"/>
              <a:gd name="connsiteX544" fmla="*/ 1830859 w 7723705"/>
              <a:gd name="connsiteY544" fmla="*/ 778865 h 7587609"/>
              <a:gd name="connsiteX545" fmla="*/ 1958549 w 7723705"/>
              <a:gd name="connsiteY545" fmla="*/ 533927 h 7587609"/>
              <a:gd name="connsiteX546" fmla="*/ 1932880 w 7723705"/>
              <a:gd name="connsiteY546" fmla="*/ 471787 h 7587609"/>
              <a:gd name="connsiteX547" fmla="*/ 2045026 w 7723705"/>
              <a:gd name="connsiteY547" fmla="*/ 256668 h 7587609"/>
              <a:gd name="connsiteX548" fmla="*/ 2223078 w 7723705"/>
              <a:gd name="connsiteY548" fmla="*/ 249266 h 7587609"/>
              <a:gd name="connsiteX549" fmla="*/ 2258609 w 7723705"/>
              <a:gd name="connsiteY549" fmla="*/ 181109 h 7587609"/>
              <a:gd name="connsiteX550" fmla="*/ 2388423 w 7723705"/>
              <a:gd name="connsiteY550" fmla="*/ 181065 h 7587609"/>
              <a:gd name="connsiteX551" fmla="*/ 2427521 w 7723705"/>
              <a:gd name="connsiteY551" fmla="*/ 250205 h 7587609"/>
              <a:gd name="connsiteX552" fmla="*/ 2650431 w 7723705"/>
              <a:gd name="connsiteY552" fmla="*/ 366412 h 7587609"/>
              <a:gd name="connsiteX553" fmla="*/ 2717649 w 7723705"/>
              <a:gd name="connsiteY553" fmla="*/ 355406 h 7587609"/>
              <a:gd name="connsiteX554" fmla="*/ 2863556 w 7723705"/>
              <a:gd name="connsiteY554" fmla="*/ 566907 h 7587609"/>
              <a:gd name="connsiteX555" fmla="*/ 2796415 w 7723705"/>
              <a:gd name="connsiteY555" fmla="*/ 531905 h 7587609"/>
              <a:gd name="connsiteX556" fmla="*/ 2765373 w 7723705"/>
              <a:gd name="connsiteY556" fmla="*/ 466965 h 7587609"/>
              <a:gd name="connsiteX557" fmla="*/ 2696941 w 7723705"/>
              <a:gd name="connsiteY557" fmla="*/ 447543 h 7587609"/>
              <a:gd name="connsiteX558" fmla="*/ 2814700 w 7723705"/>
              <a:gd name="connsiteY558" fmla="*/ 660623 h 7587609"/>
              <a:gd name="connsiteX559" fmla="*/ 2797400 w 7723705"/>
              <a:gd name="connsiteY559" fmla="*/ 700361 h 7587609"/>
              <a:gd name="connsiteX560" fmla="*/ 2871127 w 7723705"/>
              <a:gd name="connsiteY560" fmla="*/ 768592 h 7587609"/>
              <a:gd name="connsiteX561" fmla="*/ 2922106 w 7723705"/>
              <a:gd name="connsiteY561" fmla="*/ 919771 h 7587609"/>
              <a:gd name="connsiteX562" fmla="*/ 2988137 w 7723705"/>
              <a:gd name="connsiteY562" fmla="*/ 956903 h 7587609"/>
              <a:gd name="connsiteX563" fmla="*/ 2982793 w 7723705"/>
              <a:gd name="connsiteY563" fmla="*/ 1032671 h 7587609"/>
              <a:gd name="connsiteX564" fmla="*/ 3047999 w 7723705"/>
              <a:gd name="connsiteY564" fmla="*/ 1091043 h 7587609"/>
              <a:gd name="connsiteX565" fmla="*/ 3037645 w 7723705"/>
              <a:gd name="connsiteY565" fmla="*/ 1137111 h 7587609"/>
              <a:gd name="connsiteX566" fmla="*/ 3177667 w 7723705"/>
              <a:gd name="connsiteY566" fmla="*/ 1464729 h 7587609"/>
              <a:gd name="connsiteX567" fmla="*/ 3230270 w 7723705"/>
              <a:gd name="connsiteY567" fmla="*/ 1494861 h 7587609"/>
              <a:gd name="connsiteX568" fmla="*/ 3224926 w 7723705"/>
              <a:gd name="connsiteY568" fmla="*/ 1570629 h 7587609"/>
              <a:gd name="connsiteX569" fmla="*/ 3286335 w 7723705"/>
              <a:gd name="connsiteY569" fmla="*/ 1629730 h 7587609"/>
              <a:gd name="connsiteX570" fmla="*/ 3273115 w 7723705"/>
              <a:gd name="connsiteY570" fmla="*/ 1687848 h 7587609"/>
              <a:gd name="connsiteX571" fmla="*/ 3325538 w 7723705"/>
              <a:gd name="connsiteY571" fmla="*/ 1731429 h 7587609"/>
              <a:gd name="connsiteX572" fmla="*/ 3459050 w 7723705"/>
              <a:gd name="connsiteY572" fmla="*/ 1979809 h 7587609"/>
              <a:gd name="connsiteX573" fmla="*/ 3427780 w 7723705"/>
              <a:gd name="connsiteY573" fmla="*/ 2052896 h 7587609"/>
              <a:gd name="connsiteX574" fmla="*/ 3515942 w 7723705"/>
              <a:gd name="connsiteY574" fmla="*/ 2093439 h 7587609"/>
              <a:gd name="connsiteX575" fmla="*/ 3459050 w 7723705"/>
              <a:gd name="connsiteY575" fmla="*/ 1979809 h 7587609"/>
              <a:gd name="connsiteX576" fmla="*/ 3487920 w 7723705"/>
              <a:gd name="connsiteY576" fmla="*/ 1924432 h 7587609"/>
              <a:gd name="connsiteX577" fmla="*/ 3357169 w 7723705"/>
              <a:gd name="connsiteY577" fmla="*/ 1631443 h 7587609"/>
              <a:gd name="connsiteX578" fmla="*/ 3374005 w 7723705"/>
              <a:gd name="connsiteY578" fmla="*/ 1586045 h 7587609"/>
              <a:gd name="connsiteX579" fmla="*/ 3291832 w 7723705"/>
              <a:gd name="connsiteY579" fmla="*/ 1461944 h 7587609"/>
              <a:gd name="connsiteX580" fmla="*/ 3283129 w 7723705"/>
              <a:gd name="connsiteY580" fmla="*/ 1465534 h 7587609"/>
              <a:gd name="connsiteX581" fmla="*/ 3114571 w 7723705"/>
              <a:gd name="connsiteY581" fmla="*/ 1087826 h 7587609"/>
              <a:gd name="connsiteX582" fmla="*/ 3142330 w 7723705"/>
              <a:gd name="connsiteY582" fmla="*/ 1034578 h 7587609"/>
              <a:gd name="connsiteX583" fmla="*/ 3217376 w 7723705"/>
              <a:gd name="connsiteY583" fmla="*/ 1165798 h 7587609"/>
              <a:gd name="connsiteX584" fmla="*/ 3295753 w 7723705"/>
              <a:gd name="connsiteY584" fmla="*/ 1290629 h 7587609"/>
              <a:gd name="connsiteX585" fmla="*/ 3324289 w 7723705"/>
              <a:gd name="connsiteY585" fmla="*/ 1340719 h 7587609"/>
              <a:gd name="connsiteX586" fmla="*/ 3295753 w 7723705"/>
              <a:gd name="connsiteY586" fmla="*/ 1290629 h 7587609"/>
              <a:gd name="connsiteX587" fmla="*/ 3325087 w 7723705"/>
              <a:gd name="connsiteY587" fmla="*/ 1240912 h 7587609"/>
              <a:gd name="connsiteX588" fmla="*/ 3264989 w 7723705"/>
              <a:gd name="connsiteY588" fmla="*/ 963086 h 7587609"/>
              <a:gd name="connsiteX589" fmla="*/ 3214240 w 7723705"/>
              <a:gd name="connsiteY589" fmla="*/ 673881 h 7587609"/>
              <a:gd name="connsiteX590" fmla="*/ 3321944 w 7723705"/>
              <a:gd name="connsiteY590" fmla="*/ 467281 h 7587609"/>
              <a:gd name="connsiteX591" fmla="*/ 3297385 w 7723705"/>
              <a:gd name="connsiteY591" fmla="*/ 403011 h 7587609"/>
              <a:gd name="connsiteX592" fmla="*/ 3370668 w 7723705"/>
              <a:gd name="connsiteY592" fmla="*/ 262438 h 7587609"/>
              <a:gd name="connsiteX593" fmla="*/ 3346109 w 7723705"/>
              <a:gd name="connsiteY593" fmla="*/ 198169 h 7587609"/>
              <a:gd name="connsiteX594" fmla="*/ 3401627 w 7723705"/>
              <a:gd name="connsiteY594" fmla="*/ 91674 h 7587609"/>
              <a:gd name="connsiteX595" fmla="*/ 3583475 w 7723705"/>
              <a:gd name="connsiteY595" fmla="*/ 83542 h 7587609"/>
              <a:gd name="connsiteX596" fmla="*/ 3616785 w 7723705"/>
              <a:gd name="connsiteY596" fmla="*/ 19645 h 7587609"/>
              <a:gd name="connsiteX597" fmla="*/ 3709000 w 7723705"/>
              <a:gd name="connsiteY597" fmla="*/ 0 h 7587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</a:cxnLst>
            <a:rect l="l" t="t" r="r" b="b"/>
            <a:pathLst>
              <a:path w="7723705" h="7587609">
                <a:moveTo>
                  <a:pt x="3709000" y="0"/>
                </a:moveTo>
                <a:lnTo>
                  <a:pt x="3934596" y="117607"/>
                </a:lnTo>
                <a:cubicBezTo>
                  <a:pt x="3944048" y="138787"/>
                  <a:pt x="3954610" y="157837"/>
                  <a:pt x="3964062" y="179017"/>
                </a:cubicBezTo>
                <a:lnTo>
                  <a:pt x="4076860" y="237821"/>
                </a:lnTo>
                <a:cubicBezTo>
                  <a:pt x="4061134" y="281089"/>
                  <a:pt x="4097907" y="321930"/>
                  <a:pt x="4116346" y="358630"/>
                </a:cubicBezTo>
                <a:cubicBezTo>
                  <a:pt x="4144882" y="408720"/>
                  <a:pt x="4124251" y="454848"/>
                  <a:pt x="4143619" y="502867"/>
                </a:cubicBezTo>
                <a:lnTo>
                  <a:pt x="4189276" y="526669"/>
                </a:lnTo>
                <a:cubicBezTo>
                  <a:pt x="4190490" y="557098"/>
                  <a:pt x="4194390" y="588927"/>
                  <a:pt x="4194494" y="621486"/>
                </a:cubicBezTo>
                <a:lnTo>
                  <a:pt x="4242836" y="646688"/>
                </a:lnTo>
                <a:cubicBezTo>
                  <a:pt x="4283794" y="738468"/>
                  <a:pt x="4307347" y="837426"/>
                  <a:pt x="4367931" y="917767"/>
                </a:cubicBezTo>
                <a:cubicBezTo>
                  <a:pt x="4433886" y="1000908"/>
                  <a:pt x="4470583" y="1087758"/>
                  <a:pt x="4513761" y="1175277"/>
                </a:cubicBezTo>
                <a:lnTo>
                  <a:pt x="4493775" y="1213616"/>
                </a:lnTo>
                <a:cubicBezTo>
                  <a:pt x="4563422" y="1263467"/>
                  <a:pt x="4588446" y="1333397"/>
                  <a:pt x="4611896" y="1399796"/>
                </a:cubicBezTo>
                <a:cubicBezTo>
                  <a:pt x="4635345" y="1466196"/>
                  <a:pt x="4647406" y="1534784"/>
                  <a:pt x="4667989" y="1613234"/>
                </a:cubicBezTo>
                <a:cubicBezTo>
                  <a:pt x="4690481" y="1589745"/>
                  <a:pt x="4706310" y="1579036"/>
                  <a:pt x="4719454" y="1566927"/>
                </a:cubicBezTo>
                <a:cubicBezTo>
                  <a:pt x="4711113" y="1543617"/>
                  <a:pt x="4701661" y="1522437"/>
                  <a:pt x="4693319" y="1499127"/>
                </a:cubicBezTo>
                <a:lnTo>
                  <a:pt x="4728851" y="1430971"/>
                </a:lnTo>
                <a:cubicBezTo>
                  <a:pt x="4723660" y="1414721"/>
                  <a:pt x="4716248" y="1402731"/>
                  <a:pt x="4713743" y="1387881"/>
                </a:cubicBezTo>
                <a:cubicBezTo>
                  <a:pt x="4710127" y="1375161"/>
                  <a:pt x="4712993" y="1363112"/>
                  <a:pt x="4713174" y="1349662"/>
                </a:cubicBezTo>
                <a:cubicBezTo>
                  <a:pt x="4742251" y="1359403"/>
                  <a:pt x="4767817" y="1388984"/>
                  <a:pt x="4809573" y="1380956"/>
                </a:cubicBezTo>
                <a:cubicBezTo>
                  <a:pt x="4802807" y="1361176"/>
                  <a:pt x="4797616" y="1344926"/>
                  <a:pt x="4787234" y="1312427"/>
                </a:cubicBezTo>
                <a:lnTo>
                  <a:pt x="4860518" y="1171853"/>
                </a:lnTo>
                <a:cubicBezTo>
                  <a:pt x="4849490" y="1147143"/>
                  <a:pt x="4843189" y="1133023"/>
                  <a:pt x="4838464" y="1122434"/>
                </a:cubicBezTo>
                <a:lnTo>
                  <a:pt x="4905085" y="994640"/>
                </a:lnTo>
                <a:cubicBezTo>
                  <a:pt x="4946480" y="1013511"/>
                  <a:pt x="4982504" y="1029583"/>
                  <a:pt x="5026585" y="1049854"/>
                </a:cubicBezTo>
                <a:cubicBezTo>
                  <a:pt x="5051298" y="1022106"/>
                  <a:pt x="5069708" y="980238"/>
                  <a:pt x="5102298" y="970140"/>
                </a:cubicBezTo>
                <a:cubicBezTo>
                  <a:pt x="5142478" y="958581"/>
                  <a:pt x="5152652" y="925963"/>
                  <a:pt x="5185241" y="915864"/>
                </a:cubicBezTo>
                <a:cubicBezTo>
                  <a:pt x="5231542" y="931876"/>
                  <a:pt x="5284971" y="940768"/>
                  <a:pt x="5303229" y="990918"/>
                </a:cubicBezTo>
                <a:cubicBezTo>
                  <a:pt x="5318337" y="1034008"/>
                  <a:pt x="5366395" y="1040100"/>
                  <a:pt x="5397977" y="1064691"/>
                </a:cubicBezTo>
                <a:cubicBezTo>
                  <a:pt x="5426874" y="1087881"/>
                  <a:pt x="5421891" y="1136750"/>
                  <a:pt x="5471524" y="1146372"/>
                </a:cubicBezTo>
                <a:cubicBezTo>
                  <a:pt x="5483377" y="1149842"/>
                  <a:pt x="5496986" y="1143393"/>
                  <a:pt x="5508374" y="1141204"/>
                </a:cubicBezTo>
                <a:cubicBezTo>
                  <a:pt x="5503183" y="1124954"/>
                  <a:pt x="5496417" y="1105174"/>
                  <a:pt x="5486500" y="1078334"/>
                </a:cubicBezTo>
                <a:cubicBezTo>
                  <a:pt x="5516688" y="1085946"/>
                  <a:pt x="5540394" y="1092886"/>
                  <a:pt x="5560304" y="1100557"/>
                </a:cubicBezTo>
                <a:cubicBezTo>
                  <a:pt x="5572441" y="1123137"/>
                  <a:pt x="5581893" y="1144317"/>
                  <a:pt x="5591345" y="1165497"/>
                </a:cubicBezTo>
                <a:lnTo>
                  <a:pt x="5634316" y="1187898"/>
                </a:lnTo>
                <a:cubicBezTo>
                  <a:pt x="5665822" y="1258498"/>
                  <a:pt x="5698439" y="1326968"/>
                  <a:pt x="5729945" y="1397568"/>
                </a:cubicBezTo>
                <a:lnTo>
                  <a:pt x="5702186" y="1450815"/>
                </a:lnTo>
                <a:cubicBezTo>
                  <a:pt x="5686717" y="1434625"/>
                  <a:pt x="5675045" y="1417704"/>
                  <a:pt x="5660686" y="1399384"/>
                </a:cubicBezTo>
                <a:cubicBezTo>
                  <a:pt x="5649479" y="1388124"/>
                  <a:pt x="5638271" y="1376864"/>
                  <a:pt x="5629104" y="1374793"/>
                </a:cubicBezTo>
                <a:cubicBezTo>
                  <a:pt x="5633261" y="1347164"/>
                  <a:pt x="5650381" y="1320875"/>
                  <a:pt x="5597882" y="1323303"/>
                </a:cubicBezTo>
                <a:cubicBezTo>
                  <a:pt x="5606869" y="1338823"/>
                  <a:pt x="5615856" y="1354343"/>
                  <a:pt x="5629104" y="1374793"/>
                </a:cubicBezTo>
                <a:cubicBezTo>
                  <a:pt x="5619756" y="1386173"/>
                  <a:pt x="5610873" y="1403212"/>
                  <a:pt x="5600880" y="1422381"/>
                </a:cubicBezTo>
                <a:cubicBezTo>
                  <a:pt x="5644989" y="1521220"/>
                  <a:pt x="5689097" y="1620060"/>
                  <a:pt x="5731631" y="1715370"/>
                </a:cubicBezTo>
                <a:cubicBezTo>
                  <a:pt x="5727654" y="1729549"/>
                  <a:pt x="5722102" y="1740199"/>
                  <a:pt x="5716551" y="1750848"/>
                </a:cubicBezTo>
                <a:lnTo>
                  <a:pt x="5846836" y="2038177"/>
                </a:lnTo>
                <a:cubicBezTo>
                  <a:pt x="5841569" y="2067936"/>
                  <a:pt x="5839168" y="2085645"/>
                  <a:pt x="5835656" y="2105485"/>
                </a:cubicBezTo>
                <a:cubicBezTo>
                  <a:pt x="5859182" y="2125875"/>
                  <a:pt x="5881597" y="2148395"/>
                  <a:pt x="5899751" y="2165986"/>
                </a:cubicBezTo>
                <a:cubicBezTo>
                  <a:pt x="5894019" y="2190085"/>
                  <a:pt x="5890508" y="2209924"/>
                  <a:pt x="5888752" y="2219844"/>
                </a:cubicBezTo>
                <a:cubicBezTo>
                  <a:pt x="5915997" y="2285514"/>
                  <a:pt x="5942313" y="2339864"/>
                  <a:pt x="5966407" y="2398473"/>
                </a:cubicBezTo>
                <a:cubicBezTo>
                  <a:pt x="5973173" y="2418253"/>
                  <a:pt x="5979010" y="2426713"/>
                  <a:pt x="6003541" y="2412415"/>
                </a:cubicBezTo>
                <a:lnTo>
                  <a:pt x="6043514" y="2335738"/>
                </a:lnTo>
                <a:cubicBezTo>
                  <a:pt x="6026186" y="2296908"/>
                  <a:pt x="6010433" y="2261609"/>
                  <a:pt x="6002556" y="2243959"/>
                </a:cubicBezTo>
                <a:cubicBezTo>
                  <a:pt x="5997907" y="2187360"/>
                  <a:pt x="5997338" y="2149141"/>
                  <a:pt x="5994083" y="2109522"/>
                </a:cubicBezTo>
                <a:cubicBezTo>
                  <a:pt x="6023160" y="2119263"/>
                  <a:pt x="6048726" y="2148843"/>
                  <a:pt x="6090482" y="2140815"/>
                </a:cubicBezTo>
                <a:cubicBezTo>
                  <a:pt x="6083716" y="2121036"/>
                  <a:pt x="6076950" y="2101256"/>
                  <a:pt x="6069719" y="2075816"/>
                </a:cubicBezTo>
                <a:cubicBezTo>
                  <a:pt x="6090816" y="2035348"/>
                  <a:pt x="6116354" y="1986360"/>
                  <a:pt x="6140781" y="1939503"/>
                </a:cubicBezTo>
                <a:cubicBezTo>
                  <a:pt x="6143002" y="1935243"/>
                  <a:pt x="6154390" y="1933054"/>
                  <a:pt x="6163093" y="1929464"/>
                </a:cubicBezTo>
                <a:cubicBezTo>
                  <a:pt x="6183003" y="1937135"/>
                  <a:pt x="6204023" y="1942676"/>
                  <a:pt x="6227729" y="1949616"/>
                </a:cubicBezTo>
                <a:cubicBezTo>
                  <a:pt x="6274857" y="1944389"/>
                  <a:pt x="6267341" y="1899839"/>
                  <a:pt x="6289833" y="1876351"/>
                </a:cubicBezTo>
                <a:cubicBezTo>
                  <a:pt x="6341221" y="1876053"/>
                  <a:pt x="6361208" y="1837715"/>
                  <a:pt x="6397127" y="1821227"/>
                </a:cubicBezTo>
                <a:cubicBezTo>
                  <a:pt x="6541688" y="1891172"/>
                  <a:pt x="6541688" y="1891172"/>
                  <a:pt x="6639330" y="2031463"/>
                </a:cubicBezTo>
                <a:cubicBezTo>
                  <a:pt x="6646922" y="2030003"/>
                  <a:pt x="6656089" y="2032074"/>
                  <a:pt x="6660996" y="2029214"/>
                </a:cubicBezTo>
                <a:cubicBezTo>
                  <a:pt x="6675250" y="2014975"/>
                  <a:pt x="6688394" y="2002866"/>
                  <a:pt x="6702648" y="1988627"/>
                </a:cubicBezTo>
                <a:cubicBezTo>
                  <a:pt x="6747090" y="1981999"/>
                  <a:pt x="6778492" y="2020040"/>
                  <a:pt x="6812940" y="2032581"/>
                </a:cubicBezTo>
                <a:cubicBezTo>
                  <a:pt x="6823503" y="2051631"/>
                  <a:pt x="6834065" y="2070681"/>
                  <a:pt x="6843517" y="2091861"/>
                </a:cubicBezTo>
                <a:cubicBezTo>
                  <a:pt x="6897126" y="2087304"/>
                  <a:pt x="6884239" y="2039954"/>
                  <a:pt x="6925711" y="2012816"/>
                </a:cubicBezTo>
                <a:cubicBezTo>
                  <a:pt x="6930617" y="2009957"/>
                  <a:pt x="6953393" y="2005578"/>
                  <a:pt x="6976169" y="2001199"/>
                </a:cubicBezTo>
                <a:cubicBezTo>
                  <a:pt x="6998661" y="1977711"/>
                  <a:pt x="6991145" y="1933161"/>
                  <a:pt x="7032901" y="1925134"/>
                </a:cubicBezTo>
                <a:cubicBezTo>
                  <a:pt x="7088294" y="1989224"/>
                  <a:pt x="7145907" y="2049056"/>
                  <a:pt x="7171397" y="2124645"/>
                </a:cubicBezTo>
                <a:cubicBezTo>
                  <a:pt x="7189655" y="2174794"/>
                  <a:pt x="7218191" y="2224885"/>
                  <a:pt x="7237560" y="2272904"/>
                </a:cubicBezTo>
                <a:cubicBezTo>
                  <a:pt x="7257394" y="2326584"/>
                  <a:pt x="7296207" y="2376615"/>
                  <a:pt x="7278081" y="2437592"/>
                </a:cubicBezTo>
                <a:cubicBezTo>
                  <a:pt x="7265686" y="2474471"/>
                  <a:pt x="7336908" y="2527853"/>
                  <a:pt x="7312946" y="2580370"/>
                </a:cubicBezTo>
                <a:cubicBezTo>
                  <a:pt x="7306749" y="2598809"/>
                  <a:pt x="7325187" y="2635509"/>
                  <a:pt x="7342696" y="2660890"/>
                </a:cubicBezTo>
                <a:cubicBezTo>
                  <a:pt x="7382440" y="2722240"/>
                  <a:pt x="7374591" y="2783158"/>
                  <a:pt x="7386187" y="2846087"/>
                </a:cubicBezTo>
                <a:cubicBezTo>
                  <a:pt x="7393238" y="2884976"/>
                  <a:pt x="7383529" y="2923255"/>
                  <a:pt x="7402433" y="2965615"/>
                </a:cubicBezTo>
                <a:cubicBezTo>
                  <a:pt x="7424022" y="3009374"/>
                  <a:pt x="7465057" y="3055145"/>
                  <a:pt x="7443779" y="3109063"/>
                </a:cubicBezTo>
                <a:cubicBezTo>
                  <a:pt x="7426479" y="3148801"/>
                  <a:pt x="7497701" y="3202183"/>
                  <a:pt x="7479755" y="3249711"/>
                </a:cubicBezTo>
                <a:cubicBezTo>
                  <a:pt x="7464494" y="3298639"/>
                  <a:pt x="7522288" y="3345021"/>
                  <a:pt x="7521101" y="3393159"/>
                </a:cubicBezTo>
                <a:cubicBezTo>
                  <a:pt x="7521386" y="3412269"/>
                  <a:pt x="7514078" y="3432838"/>
                  <a:pt x="7520844" y="3452618"/>
                </a:cubicBezTo>
                <a:cubicBezTo>
                  <a:pt x="7533266" y="3494307"/>
                  <a:pt x="7562448" y="3536608"/>
                  <a:pt x="7574870" y="3578297"/>
                </a:cubicBezTo>
                <a:cubicBezTo>
                  <a:pt x="7584606" y="3618587"/>
                  <a:pt x="7581379" y="3657535"/>
                  <a:pt x="7587139" y="3712004"/>
                </a:cubicBezTo>
                <a:lnTo>
                  <a:pt x="7557160" y="3769512"/>
                </a:lnTo>
                <a:cubicBezTo>
                  <a:pt x="7600880" y="3816682"/>
                  <a:pt x="7645710" y="3861723"/>
                  <a:pt x="7654621" y="3923252"/>
                </a:cubicBezTo>
                <a:lnTo>
                  <a:pt x="7616869" y="3995669"/>
                </a:lnTo>
                <a:cubicBezTo>
                  <a:pt x="7633448" y="4009729"/>
                  <a:pt x="7652712" y="4025189"/>
                  <a:pt x="7673552" y="4044180"/>
                </a:cubicBezTo>
                <a:cubicBezTo>
                  <a:pt x="7675516" y="4099379"/>
                  <a:pt x="7680630" y="4161637"/>
                  <a:pt x="7723705" y="4216598"/>
                </a:cubicBezTo>
                <a:cubicBezTo>
                  <a:pt x="7695197" y="4245076"/>
                  <a:pt x="7666945" y="4214096"/>
                  <a:pt x="7634537" y="4210744"/>
                </a:cubicBezTo>
                <a:cubicBezTo>
                  <a:pt x="7588339" y="4227292"/>
                  <a:pt x="7659742" y="4267224"/>
                  <a:pt x="7635029" y="4294972"/>
                </a:cubicBezTo>
                <a:cubicBezTo>
                  <a:pt x="7620775" y="4309211"/>
                  <a:pt x="7652642" y="4352911"/>
                  <a:pt x="7645335" y="4373480"/>
                </a:cubicBezTo>
                <a:cubicBezTo>
                  <a:pt x="7633586" y="4402569"/>
                  <a:pt x="7630359" y="4441518"/>
                  <a:pt x="7582121" y="4448876"/>
                </a:cubicBezTo>
                <a:cubicBezTo>
                  <a:pt x="7572669" y="4427696"/>
                  <a:pt x="7562107" y="4408646"/>
                  <a:pt x="7546819" y="4379006"/>
                </a:cubicBezTo>
                <a:cubicBezTo>
                  <a:pt x="7529234" y="4399635"/>
                  <a:pt x="7512759" y="4418133"/>
                  <a:pt x="7495173" y="4438762"/>
                </a:cubicBezTo>
                <a:cubicBezTo>
                  <a:pt x="7542870" y="4471753"/>
                  <a:pt x="7582510" y="4500544"/>
                  <a:pt x="7623259" y="4527206"/>
                </a:cubicBezTo>
                <a:cubicBezTo>
                  <a:pt x="7581142" y="4562133"/>
                  <a:pt x="7508449" y="4537780"/>
                  <a:pt x="7482446" y="4581108"/>
                </a:cubicBezTo>
                <a:cubicBezTo>
                  <a:pt x="7463827" y="4557858"/>
                  <a:pt x="7445207" y="4534607"/>
                  <a:pt x="7425013" y="4507827"/>
                </a:cubicBezTo>
                <a:cubicBezTo>
                  <a:pt x="7409183" y="4518536"/>
                  <a:pt x="7396040" y="4530645"/>
                  <a:pt x="7376879" y="4547744"/>
                </a:cubicBezTo>
                <a:cubicBezTo>
                  <a:pt x="7399579" y="4589374"/>
                  <a:pt x="7420703" y="4627474"/>
                  <a:pt x="7451925" y="4678964"/>
                </a:cubicBezTo>
                <a:cubicBezTo>
                  <a:pt x="7390724" y="4684981"/>
                  <a:pt x="7347392" y="4689479"/>
                  <a:pt x="7293783" y="4694036"/>
                </a:cubicBezTo>
                <a:cubicBezTo>
                  <a:pt x="7296573" y="4727996"/>
                  <a:pt x="7297322" y="4752765"/>
                  <a:pt x="7303727" y="4799444"/>
                </a:cubicBezTo>
                <a:cubicBezTo>
                  <a:pt x="7300216" y="4819284"/>
                  <a:pt x="7298564" y="4861763"/>
                  <a:pt x="7246530" y="4869850"/>
                </a:cubicBezTo>
                <a:cubicBezTo>
                  <a:pt x="7235968" y="4850800"/>
                  <a:pt x="7225406" y="4831750"/>
                  <a:pt x="7215954" y="4810570"/>
                </a:cubicBezTo>
                <a:cubicBezTo>
                  <a:pt x="7208362" y="4812030"/>
                  <a:pt x="7195399" y="4810689"/>
                  <a:pt x="7193178" y="4814949"/>
                </a:cubicBezTo>
                <a:cubicBezTo>
                  <a:pt x="7175412" y="4849027"/>
                  <a:pt x="7179881" y="4919076"/>
                  <a:pt x="7201394" y="5008844"/>
                </a:cubicBezTo>
                <a:cubicBezTo>
                  <a:pt x="7183629" y="5042923"/>
                  <a:pt x="7164753" y="5079131"/>
                  <a:pt x="7145877" y="5115339"/>
                </a:cubicBezTo>
                <a:cubicBezTo>
                  <a:pt x="7143656" y="5119599"/>
                  <a:pt x="7149492" y="5128059"/>
                  <a:pt x="7155793" y="5142179"/>
                </a:cubicBezTo>
                <a:cubicBezTo>
                  <a:pt x="7173663" y="5140660"/>
                  <a:pt x="7195329" y="5138411"/>
                  <a:pt x="7220791" y="5135432"/>
                </a:cubicBezTo>
                <a:cubicBezTo>
                  <a:pt x="7225260" y="5205480"/>
                  <a:pt x="7233525" y="5274799"/>
                  <a:pt x="7239104" y="5342718"/>
                </a:cubicBezTo>
                <a:cubicBezTo>
                  <a:pt x="7255607" y="5402787"/>
                  <a:pt x="7174135" y="5428033"/>
                  <a:pt x="7208972" y="5492243"/>
                </a:cubicBezTo>
                <a:cubicBezTo>
                  <a:pt x="7230638" y="5489994"/>
                  <a:pt x="7252303" y="5487745"/>
                  <a:pt x="7272394" y="5481966"/>
                </a:cubicBezTo>
                <a:cubicBezTo>
                  <a:pt x="7277120" y="5492556"/>
                  <a:pt x="7284066" y="5498886"/>
                  <a:pt x="7283421" y="5506676"/>
                </a:cubicBezTo>
                <a:cubicBezTo>
                  <a:pt x="7273893" y="5531505"/>
                  <a:pt x="7261679" y="5554933"/>
                  <a:pt x="7245953" y="5598202"/>
                </a:cubicBezTo>
                <a:cubicBezTo>
                  <a:pt x="7280791" y="5662412"/>
                  <a:pt x="7323504" y="5744272"/>
                  <a:pt x="7361027" y="5809882"/>
                </a:cubicBezTo>
                <a:cubicBezTo>
                  <a:pt x="7328182" y="5879438"/>
                  <a:pt x="7276793" y="5879736"/>
                  <a:pt x="7216883" y="5870173"/>
                </a:cubicBezTo>
                <a:cubicBezTo>
                  <a:pt x="7219929" y="5844674"/>
                  <a:pt x="7239735" y="5819786"/>
                  <a:pt x="7187236" y="5822213"/>
                </a:cubicBezTo>
                <a:cubicBezTo>
                  <a:pt x="7196223" y="5837733"/>
                  <a:pt x="7202525" y="5851853"/>
                  <a:pt x="7216883" y="5870173"/>
                </a:cubicBezTo>
                <a:cubicBezTo>
                  <a:pt x="7200873" y="5894332"/>
                  <a:pt x="7185328" y="5924151"/>
                  <a:pt x="7168673" y="5956099"/>
                </a:cubicBezTo>
                <a:cubicBezTo>
                  <a:pt x="7185536" y="5989269"/>
                  <a:pt x="7201289" y="6024569"/>
                  <a:pt x="7220193" y="6066929"/>
                </a:cubicBezTo>
                <a:lnTo>
                  <a:pt x="7120261" y="6258619"/>
                </a:lnTo>
                <a:cubicBezTo>
                  <a:pt x="7092759" y="6252408"/>
                  <a:pt x="7064146" y="6248327"/>
                  <a:pt x="7024791" y="6238646"/>
                </a:cubicBezTo>
                <a:cubicBezTo>
                  <a:pt x="7030447" y="6260555"/>
                  <a:pt x="7035638" y="6276805"/>
                  <a:pt x="7043980" y="6300115"/>
                </a:cubicBezTo>
                <a:lnTo>
                  <a:pt x="6966255" y="6449207"/>
                </a:lnTo>
                <a:cubicBezTo>
                  <a:pt x="6885428" y="6466663"/>
                  <a:pt x="6892812" y="6400086"/>
                  <a:pt x="6855393" y="6367035"/>
                </a:cubicBezTo>
                <a:cubicBezTo>
                  <a:pt x="6841139" y="6381274"/>
                  <a:pt x="6827995" y="6393383"/>
                  <a:pt x="6807724" y="6412611"/>
                </a:cubicBezTo>
                <a:cubicBezTo>
                  <a:pt x="6779112" y="6408530"/>
                  <a:pt x="6744018" y="6403779"/>
                  <a:pt x="6707813" y="6401157"/>
                </a:cubicBezTo>
                <a:lnTo>
                  <a:pt x="6670061" y="6473573"/>
                </a:lnTo>
                <a:cubicBezTo>
                  <a:pt x="6647285" y="6477952"/>
                  <a:pt x="6624509" y="6482331"/>
                  <a:pt x="6604419" y="6488110"/>
                </a:cubicBezTo>
                <a:cubicBezTo>
                  <a:pt x="6610720" y="6502230"/>
                  <a:pt x="6617021" y="6516350"/>
                  <a:pt x="6623322" y="6530470"/>
                </a:cubicBezTo>
                <a:cubicBezTo>
                  <a:pt x="6632878" y="6584209"/>
                  <a:pt x="6561038" y="6617185"/>
                  <a:pt x="6614856" y="6677746"/>
                </a:cubicBezTo>
                <a:cubicBezTo>
                  <a:pt x="6573564" y="6691434"/>
                  <a:pt x="6550219" y="6657594"/>
                  <a:pt x="6521142" y="6647852"/>
                </a:cubicBezTo>
                <a:lnTo>
                  <a:pt x="6569997" y="6554137"/>
                </a:lnTo>
                <a:cubicBezTo>
                  <a:pt x="6533508" y="6532406"/>
                  <a:pt x="6556361" y="6482018"/>
                  <a:pt x="6504223" y="6457547"/>
                </a:cubicBezTo>
                <a:cubicBezTo>
                  <a:pt x="6517547" y="6431988"/>
                  <a:pt x="6510781" y="6412208"/>
                  <a:pt x="6477908" y="6403196"/>
                </a:cubicBezTo>
                <a:cubicBezTo>
                  <a:pt x="6482065" y="6375567"/>
                  <a:pt x="6499185" y="6349279"/>
                  <a:pt x="6445576" y="6353836"/>
                </a:cubicBezTo>
                <a:cubicBezTo>
                  <a:pt x="6454563" y="6369356"/>
                  <a:pt x="6463549" y="6384876"/>
                  <a:pt x="6477908" y="6403196"/>
                </a:cubicBezTo>
                <a:cubicBezTo>
                  <a:pt x="6461433" y="6421695"/>
                  <a:pt x="6471995" y="6440745"/>
                  <a:pt x="6504223" y="6457547"/>
                </a:cubicBezTo>
                <a:cubicBezTo>
                  <a:pt x="6457019" y="6508783"/>
                  <a:pt x="6509081" y="6579264"/>
                  <a:pt x="6499657" y="6636651"/>
                </a:cubicBezTo>
                <a:cubicBezTo>
                  <a:pt x="6498546" y="6638781"/>
                  <a:pt x="6513085" y="6643652"/>
                  <a:pt x="6521142" y="6647852"/>
                </a:cubicBezTo>
                <a:cubicBezTo>
                  <a:pt x="6489122" y="6696170"/>
                  <a:pt x="6557735" y="6702143"/>
                  <a:pt x="6573023" y="6731783"/>
                </a:cubicBezTo>
                <a:cubicBezTo>
                  <a:pt x="6576278" y="6771402"/>
                  <a:pt x="6577957" y="6807491"/>
                  <a:pt x="6578526" y="6845710"/>
                </a:cubicBezTo>
                <a:cubicBezTo>
                  <a:pt x="6536950" y="6840288"/>
                  <a:pt x="6494264" y="6836996"/>
                  <a:pt x="6445096" y="6833034"/>
                </a:cubicBezTo>
                <a:cubicBezTo>
                  <a:pt x="6438795" y="6818914"/>
                  <a:pt x="6428233" y="6799864"/>
                  <a:pt x="6417671" y="6780814"/>
                </a:cubicBezTo>
                <a:cubicBezTo>
                  <a:pt x="6404062" y="6787263"/>
                  <a:pt x="6391563" y="6791583"/>
                  <a:pt x="6383326" y="6800832"/>
                </a:cubicBezTo>
                <a:cubicBezTo>
                  <a:pt x="6376199" y="6807952"/>
                  <a:pt x="6410057" y="6985419"/>
                  <a:pt x="6416824" y="7005199"/>
                </a:cubicBezTo>
                <a:cubicBezTo>
                  <a:pt x="6438489" y="7002950"/>
                  <a:pt x="6457470" y="6999301"/>
                  <a:pt x="6479135" y="6997052"/>
                </a:cubicBezTo>
                <a:cubicBezTo>
                  <a:pt x="6484895" y="7051521"/>
                  <a:pt x="6484895" y="7051521"/>
                  <a:pt x="6411015" y="7075307"/>
                </a:cubicBezTo>
                <a:lnTo>
                  <a:pt x="6334401" y="7222270"/>
                </a:lnTo>
                <a:cubicBezTo>
                  <a:pt x="6309584" y="7217458"/>
                  <a:pt x="6293935" y="7214718"/>
                  <a:pt x="6282082" y="7211247"/>
                </a:cubicBezTo>
                <a:cubicBezTo>
                  <a:pt x="6266433" y="7208507"/>
                  <a:pt x="6249674" y="7207896"/>
                  <a:pt x="6230229" y="7205885"/>
                </a:cubicBezTo>
                <a:cubicBezTo>
                  <a:pt x="6236995" y="7225665"/>
                  <a:pt x="6244871" y="7243315"/>
                  <a:pt x="6252103" y="7268754"/>
                </a:cubicBezTo>
                <a:cubicBezTo>
                  <a:pt x="6223233" y="7324131"/>
                  <a:pt x="6194829" y="7385169"/>
                  <a:pt x="6161054" y="7443406"/>
                </a:cubicBezTo>
                <a:cubicBezTo>
                  <a:pt x="6158833" y="7447665"/>
                  <a:pt x="6148555" y="7447725"/>
                  <a:pt x="6143649" y="7450585"/>
                </a:cubicBezTo>
                <a:cubicBezTo>
                  <a:pt x="6079762" y="7455202"/>
                  <a:pt x="6081129" y="7393614"/>
                  <a:pt x="6044640" y="7371882"/>
                </a:cubicBezTo>
                <a:cubicBezTo>
                  <a:pt x="6022794" y="7387581"/>
                  <a:pt x="6003633" y="7404680"/>
                  <a:pt x="5980677" y="7422508"/>
                </a:cubicBezTo>
                <a:cubicBezTo>
                  <a:pt x="5965854" y="7398528"/>
                  <a:pt x="5957977" y="7380878"/>
                  <a:pt x="5947415" y="7361828"/>
                </a:cubicBezTo>
                <a:cubicBezTo>
                  <a:pt x="5858712" y="7361634"/>
                  <a:pt x="5927532" y="7432725"/>
                  <a:pt x="5908191" y="7463274"/>
                </a:cubicBezTo>
                <a:cubicBezTo>
                  <a:pt x="5865970" y="7465642"/>
                  <a:pt x="5835033" y="7433261"/>
                  <a:pt x="5796323" y="7415790"/>
                </a:cubicBezTo>
                <a:cubicBezTo>
                  <a:pt x="5772694" y="7362840"/>
                  <a:pt x="5762673" y="7303441"/>
                  <a:pt x="5696642" y="7266309"/>
                </a:cubicBezTo>
                <a:cubicBezTo>
                  <a:pt x="5668182" y="7170210"/>
                  <a:pt x="5579631" y="7077999"/>
                  <a:pt x="5595614" y="6975272"/>
                </a:cubicBezTo>
                <a:cubicBezTo>
                  <a:pt x="5597835" y="6971012"/>
                  <a:pt x="5594684" y="6963952"/>
                  <a:pt x="5591533" y="6956892"/>
                </a:cubicBezTo>
                <a:cubicBezTo>
                  <a:pt x="5570485" y="6872783"/>
                  <a:pt x="5507681" y="6796702"/>
                  <a:pt x="5500242" y="6706144"/>
                </a:cubicBezTo>
                <a:cubicBezTo>
                  <a:pt x="5491047" y="6625506"/>
                  <a:pt x="5440276" y="6539446"/>
                  <a:pt x="5407375" y="6451866"/>
                </a:cubicBezTo>
                <a:lnTo>
                  <a:pt x="5421809" y="6424177"/>
                </a:lnTo>
                <a:cubicBezTo>
                  <a:pt x="5404016" y="6379688"/>
                  <a:pt x="5368998" y="6328928"/>
                  <a:pt x="5378062" y="6298439"/>
                </a:cubicBezTo>
                <a:cubicBezTo>
                  <a:pt x="5389526" y="6250241"/>
                  <a:pt x="5359699" y="6215730"/>
                  <a:pt x="5347277" y="6174041"/>
                </a:cubicBezTo>
                <a:cubicBezTo>
                  <a:pt x="5337541" y="6133751"/>
                  <a:pt x="5293175" y="6094370"/>
                  <a:pt x="5324550" y="6053842"/>
                </a:cubicBezTo>
                <a:cubicBezTo>
                  <a:pt x="5328991" y="6045323"/>
                  <a:pt x="5315743" y="6024873"/>
                  <a:pt x="5312128" y="6012153"/>
                </a:cubicBezTo>
                <a:cubicBezTo>
                  <a:pt x="5296375" y="5976853"/>
                  <a:pt x="5276825" y="5942283"/>
                  <a:pt x="5264869" y="5906254"/>
                </a:cubicBezTo>
                <a:cubicBezTo>
                  <a:pt x="5257172" y="5875154"/>
                  <a:pt x="5264661" y="5841135"/>
                  <a:pt x="5251593" y="5807235"/>
                </a:cubicBezTo>
                <a:cubicBezTo>
                  <a:pt x="5244362" y="5781796"/>
                  <a:pt x="5244258" y="5749237"/>
                  <a:pt x="5204903" y="5739555"/>
                </a:cubicBezTo>
                <a:cubicBezTo>
                  <a:pt x="5209060" y="5711926"/>
                  <a:pt x="5226180" y="5685637"/>
                  <a:pt x="5172571" y="5690194"/>
                </a:cubicBezTo>
                <a:cubicBezTo>
                  <a:pt x="5181558" y="5705715"/>
                  <a:pt x="5187859" y="5719835"/>
                  <a:pt x="5204903" y="5739555"/>
                </a:cubicBezTo>
                <a:cubicBezTo>
                  <a:pt x="5185562" y="5770103"/>
                  <a:pt x="5166686" y="5806312"/>
                  <a:pt x="5147810" y="5842520"/>
                </a:cubicBezTo>
                <a:cubicBezTo>
                  <a:pt x="5084929" y="5812448"/>
                  <a:pt x="5135103" y="5781721"/>
                  <a:pt x="5124721" y="5749221"/>
                </a:cubicBezTo>
                <a:cubicBezTo>
                  <a:pt x="5110544" y="5717451"/>
                  <a:pt x="5093680" y="5684281"/>
                  <a:pt x="5079037" y="5646851"/>
                </a:cubicBezTo>
                <a:lnTo>
                  <a:pt x="5116789" y="5574435"/>
                </a:lnTo>
                <a:cubicBezTo>
                  <a:pt x="5067879" y="5511014"/>
                  <a:pt x="5083965" y="5440847"/>
                  <a:pt x="5059405" y="5376577"/>
                </a:cubicBezTo>
                <a:cubicBezTo>
                  <a:pt x="5030585" y="5307378"/>
                  <a:pt x="5042229" y="5245730"/>
                  <a:pt x="5030168" y="5177141"/>
                </a:cubicBezTo>
                <a:cubicBezTo>
                  <a:pt x="5021258" y="5115612"/>
                  <a:pt x="5000959" y="5056273"/>
                  <a:pt x="4946497" y="5003502"/>
                </a:cubicBezTo>
                <a:cubicBezTo>
                  <a:pt x="5009169" y="4968455"/>
                  <a:pt x="4939703" y="4905154"/>
                  <a:pt x="4960335" y="4859026"/>
                </a:cubicBezTo>
                <a:cubicBezTo>
                  <a:pt x="4972083" y="4829937"/>
                  <a:pt x="4950029" y="4780517"/>
                  <a:pt x="4906594" y="4752456"/>
                </a:cubicBezTo>
                <a:cubicBezTo>
                  <a:pt x="4919918" y="4726897"/>
                  <a:pt x="4909356" y="4707847"/>
                  <a:pt x="4879813" y="4692446"/>
                </a:cubicBezTo>
                <a:cubicBezTo>
                  <a:pt x="4888696" y="4675407"/>
                  <a:pt x="4902950" y="4661168"/>
                  <a:pt x="4902666" y="4642059"/>
                </a:cubicBezTo>
                <a:cubicBezTo>
                  <a:pt x="4902846" y="4628609"/>
                  <a:pt x="4880896" y="4611748"/>
                  <a:pt x="4871264" y="4604018"/>
                </a:cubicBezTo>
                <a:cubicBezTo>
                  <a:pt x="4875421" y="4576389"/>
                  <a:pt x="4892541" y="4550100"/>
                  <a:pt x="4840042" y="4552528"/>
                </a:cubicBezTo>
                <a:cubicBezTo>
                  <a:pt x="4849029" y="4568048"/>
                  <a:pt x="4858016" y="4583568"/>
                  <a:pt x="4871264" y="4604018"/>
                </a:cubicBezTo>
                <a:cubicBezTo>
                  <a:pt x="4863026" y="4613268"/>
                  <a:pt x="4848772" y="4627506"/>
                  <a:pt x="4846371" y="4645216"/>
                </a:cubicBezTo>
                <a:cubicBezTo>
                  <a:pt x="4848876" y="4660066"/>
                  <a:pt x="4868141" y="4675526"/>
                  <a:pt x="4879813" y="4692446"/>
                </a:cubicBezTo>
                <a:cubicBezTo>
                  <a:pt x="4863804" y="4716605"/>
                  <a:pt x="4874366" y="4735655"/>
                  <a:pt x="4906594" y="4752456"/>
                </a:cubicBezTo>
                <a:cubicBezTo>
                  <a:pt x="4845032" y="4785372"/>
                  <a:pt x="4910702" y="4849404"/>
                  <a:pt x="4892756" y="4896932"/>
                </a:cubicBezTo>
                <a:cubicBezTo>
                  <a:pt x="4882117" y="4923891"/>
                  <a:pt x="4903061" y="4975440"/>
                  <a:pt x="4946497" y="5003502"/>
                </a:cubicBezTo>
                <a:lnTo>
                  <a:pt x="4897641" y="5097217"/>
                </a:lnTo>
                <a:cubicBezTo>
                  <a:pt x="4921167" y="5117608"/>
                  <a:pt x="4940896" y="5138728"/>
                  <a:pt x="4974054" y="5166849"/>
                </a:cubicBezTo>
                <a:cubicBezTo>
                  <a:pt x="4963415" y="5193808"/>
                  <a:pt x="4948981" y="5221496"/>
                  <a:pt x="4936121" y="5252715"/>
                </a:cubicBezTo>
                <a:cubicBezTo>
                  <a:pt x="4958641" y="5307794"/>
                  <a:pt x="4999030" y="5361355"/>
                  <a:pt x="4973957" y="5416002"/>
                </a:cubicBezTo>
                <a:cubicBezTo>
                  <a:pt x="5010189" y="5497192"/>
                  <a:pt x="4969106" y="5575998"/>
                  <a:pt x="5012930" y="5655728"/>
                </a:cubicBezTo>
                <a:cubicBezTo>
                  <a:pt x="5055644" y="5737588"/>
                  <a:pt x="5022153" y="5814935"/>
                  <a:pt x="5046996" y="5898314"/>
                </a:cubicBezTo>
                <a:cubicBezTo>
                  <a:pt x="5061924" y="5954853"/>
                  <a:pt x="5054075" y="6015771"/>
                  <a:pt x="5060300" y="6075900"/>
                </a:cubicBezTo>
                <a:cubicBezTo>
                  <a:pt x="5060765" y="6081560"/>
                  <a:pt x="5066601" y="6090020"/>
                  <a:pt x="5069752" y="6097080"/>
                </a:cubicBezTo>
                <a:lnTo>
                  <a:pt x="5028669" y="6175886"/>
                </a:lnTo>
                <a:cubicBezTo>
                  <a:pt x="5043957" y="6205526"/>
                  <a:pt x="5064616" y="6237966"/>
                  <a:pt x="5076573" y="6273996"/>
                </a:cubicBezTo>
                <a:cubicBezTo>
                  <a:pt x="5089641" y="6307895"/>
                  <a:pt x="5061132" y="6336374"/>
                  <a:pt x="5086053" y="6373744"/>
                </a:cubicBezTo>
                <a:cubicBezTo>
                  <a:pt x="5107822" y="6404054"/>
                  <a:pt x="5124686" y="6437224"/>
                  <a:pt x="5108496" y="6474832"/>
                </a:cubicBezTo>
                <a:cubicBezTo>
                  <a:pt x="5097857" y="6501791"/>
                  <a:pt x="5118981" y="6539891"/>
                  <a:pt x="5133548" y="6623330"/>
                </a:cubicBezTo>
                <a:cubicBezTo>
                  <a:pt x="5143000" y="6644510"/>
                  <a:pt x="5175616" y="6712979"/>
                  <a:pt x="5213604" y="6784249"/>
                </a:cubicBezTo>
                <a:cubicBezTo>
                  <a:pt x="5224992" y="6782060"/>
                  <a:pt x="5246658" y="6779811"/>
                  <a:pt x="5268324" y="6777562"/>
                </a:cubicBezTo>
                <a:cubicBezTo>
                  <a:pt x="5290093" y="6807872"/>
                  <a:pt x="5263341" y="6826430"/>
                  <a:pt x="5256498" y="6852659"/>
                </a:cubicBezTo>
                <a:cubicBezTo>
                  <a:pt x="5254097" y="6870369"/>
                  <a:pt x="5253271" y="6891608"/>
                  <a:pt x="5260037" y="6911388"/>
                </a:cubicBezTo>
                <a:cubicBezTo>
                  <a:pt x="5270419" y="6943888"/>
                  <a:pt x="5266908" y="6963727"/>
                  <a:pt x="5228302" y="6978815"/>
                </a:cubicBezTo>
                <a:cubicBezTo>
                  <a:pt x="5212369" y="6956965"/>
                  <a:pt x="5196435" y="6935115"/>
                  <a:pt x="5180502" y="6913264"/>
                </a:cubicBezTo>
                <a:cubicBezTo>
                  <a:pt x="5129009" y="6881003"/>
                  <a:pt x="5094019" y="6908810"/>
                  <a:pt x="5053838" y="6920368"/>
                </a:cubicBezTo>
                <a:cubicBezTo>
                  <a:pt x="5066441" y="6948608"/>
                  <a:pt x="5079043" y="6976848"/>
                  <a:pt x="5088960" y="7003688"/>
                </a:cubicBezTo>
                <a:cubicBezTo>
                  <a:pt x="5111736" y="6999309"/>
                  <a:pt x="5133402" y="6997060"/>
                  <a:pt x="5155067" y="6994811"/>
                </a:cubicBezTo>
                <a:cubicBezTo>
                  <a:pt x="5180453" y="7037841"/>
                  <a:pt x="5139626" y="7057189"/>
                  <a:pt x="5132138" y="7091208"/>
                </a:cubicBezTo>
                <a:cubicBezTo>
                  <a:pt x="5138905" y="7110987"/>
                  <a:pt x="5148356" y="7132168"/>
                  <a:pt x="5155123" y="7151947"/>
                </a:cubicBezTo>
                <a:cubicBezTo>
                  <a:pt x="5116052" y="7161375"/>
                  <a:pt x="5073186" y="7171533"/>
                  <a:pt x="5030319" y="7181691"/>
                </a:cubicBezTo>
                <a:cubicBezTo>
                  <a:pt x="5038196" y="7199341"/>
                  <a:pt x="5044497" y="7213461"/>
                  <a:pt x="5050798" y="7227581"/>
                </a:cubicBezTo>
                <a:cubicBezTo>
                  <a:pt x="5035538" y="7276509"/>
                  <a:pt x="5025649" y="7328237"/>
                  <a:pt x="4968528" y="7352633"/>
                </a:cubicBezTo>
                <a:cubicBezTo>
                  <a:pt x="4957965" y="7333584"/>
                  <a:pt x="4948514" y="7312403"/>
                  <a:pt x="4937951" y="7293354"/>
                </a:cubicBezTo>
                <a:cubicBezTo>
                  <a:pt x="4887028" y="7299311"/>
                  <a:pt x="4894544" y="7343860"/>
                  <a:pt x="4872052" y="7367349"/>
                </a:cubicBezTo>
                <a:cubicBezTo>
                  <a:pt x="4878818" y="7387129"/>
                  <a:pt x="4888270" y="7408308"/>
                  <a:pt x="4896611" y="7431618"/>
                </a:cubicBezTo>
                <a:cubicBezTo>
                  <a:pt x="4876625" y="7469957"/>
                  <a:pt x="4854418" y="7512555"/>
                  <a:pt x="4829990" y="7559412"/>
                </a:cubicBezTo>
                <a:cubicBezTo>
                  <a:pt x="4801274" y="7522772"/>
                  <a:pt x="4782654" y="7499522"/>
                  <a:pt x="4766721" y="7477671"/>
                </a:cubicBezTo>
                <a:cubicBezTo>
                  <a:pt x="4749497" y="7471401"/>
                  <a:pt x="4733383" y="7463000"/>
                  <a:pt x="4721994" y="7465190"/>
                </a:cubicBezTo>
                <a:cubicBezTo>
                  <a:pt x="4643388" y="7478386"/>
                  <a:pt x="4567468" y="7492982"/>
                  <a:pt x="4490437" y="7509708"/>
                </a:cubicBezTo>
                <a:cubicBezTo>
                  <a:pt x="4451908" y="7478787"/>
                  <a:pt x="4448189" y="7433508"/>
                  <a:pt x="4429750" y="7396808"/>
                </a:cubicBezTo>
                <a:cubicBezTo>
                  <a:pt x="4407050" y="7355178"/>
                  <a:pt x="4391942" y="7312088"/>
                  <a:pt x="4371928" y="7271858"/>
                </a:cubicBezTo>
                <a:lnTo>
                  <a:pt x="4320901" y="7245257"/>
                </a:lnTo>
                <a:cubicBezTo>
                  <a:pt x="4320616" y="7226147"/>
                  <a:pt x="4324128" y="7206308"/>
                  <a:pt x="4328181" y="7146120"/>
                </a:cubicBezTo>
                <a:cubicBezTo>
                  <a:pt x="4326605" y="7142590"/>
                  <a:pt x="4298999" y="7103819"/>
                  <a:pt x="4280095" y="7061460"/>
                </a:cubicBezTo>
                <a:cubicBezTo>
                  <a:pt x="4251094" y="7005710"/>
                  <a:pt x="4207555" y="6945089"/>
                  <a:pt x="4209852" y="6894821"/>
                </a:cubicBezTo>
                <a:cubicBezTo>
                  <a:pt x="4210109" y="6835362"/>
                  <a:pt x="4167034" y="6780401"/>
                  <a:pt x="4172017" y="6731533"/>
                </a:cubicBezTo>
                <a:cubicBezTo>
                  <a:pt x="4177465" y="6688324"/>
                  <a:pt x="4171524" y="6647305"/>
                  <a:pt x="4145493" y="6612065"/>
                </a:cubicBezTo>
                <a:cubicBezTo>
                  <a:pt x="4079254" y="6509814"/>
                  <a:pt x="4102363" y="6399968"/>
                  <a:pt x="4045291" y="6299788"/>
                </a:cubicBezTo>
                <a:cubicBezTo>
                  <a:pt x="4036304" y="6284268"/>
                  <a:pt x="4058796" y="6260780"/>
                  <a:pt x="4050920" y="6243130"/>
                </a:cubicBezTo>
                <a:cubicBezTo>
                  <a:pt x="4022744" y="6166140"/>
                  <a:pt x="3991238" y="6095541"/>
                  <a:pt x="3982043" y="6014902"/>
                </a:cubicBezTo>
                <a:cubicBezTo>
                  <a:pt x="3972668" y="5947713"/>
                  <a:pt x="3921717" y="5875103"/>
                  <a:pt x="3891786" y="5808033"/>
                </a:cubicBezTo>
                <a:cubicBezTo>
                  <a:pt x="3928712" y="5756856"/>
                  <a:pt x="3886102" y="5707555"/>
                  <a:pt x="3860717" y="5664525"/>
                </a:cubicBezTo>
                <a:cubicBezTo>
                  <a:pt x="3829030" y="5607375"/>
                  <a:pt x="3856789" y="5554128"/>
                  <a:pt x="3826678" y="5500508"/>
                </a:cubicBezTo>
                <a:cubicBezTo>
                  <a:pt x="3800827" y="5451818"/>
                  <a:pt x="3776087" y="5400998"/>
                  <a:pt x="3760515" y="5352249"/>
                </a:cubicBezTo>
                <a:cubicBezTo>
                  <a:pt x="3744477" y="5297839"/>
                  <a:pt x="3758162" y="5245381"/>
                  <a:pt x="3722679" y="5188961"/>
                </a:cubicBezTo>
                <a:cubicBezTo>
                  <a:pt x="3695719" y="5142401"/>
                  <a:pt x="3678571" y="5090121"/>
                  <a:pt x="3656516" y="5040702"/>
                </a:cubicBezTo>
                <a:lnTo>
                  <a:pt x="3672061" y="5010883"/>
                </a:lnTo>
                <a:cubicBezTo>
                  <a:pt x="3639160" y="4923304"/>
                  <a:pt x="3585704" y="4835844"/>
                  <a:pt x="3580305" y="4754475"/>
                </a:cubicBezTo>
                <a:cubicBezTo>
                  <a:pt x="3571755" y="4666047"/>
                  <a:pt x="3490616" y="4585825"/>
                  <a:pt x="3491699" y="4505127"/>
                </a:cubicBezTo>
                <a:cubicBezTo>
                  <a:pt x="3490276" y="4409580"/>
                  <a:pt x="3435064" y="4332039"/>
                  <a:pt x="3408645" y="4245130"/>
                </a:cubicBezTo>
                <a:cubicBezTo>
                  <a:pt x="3355036" y="4249688"/>
                  <a:pt x="3363197" y="4286447"/>
                  <a:pt x="3346722" y="4304946"/>
                </a:cubicBezTo>
                <a:cubicBezTo>
                  <a:pt x="3306902" y="4289605"/>
                  <a:pt x="3296055" y="4251445"/>
                  <a:pt x="3298456" y="4233735"/>
                </a:cubicBezTo>
                <a:cubicBezTo>
                  <a:pt x="3308706" y="4155108"/>
                  <a:pt x="3238955" y="4072697"/>
                  <a:pt x="3258373" y="3996140"/>
                </a:cubicBezTo>
                <a:cubicBezTo>
                  <a:pt x="3204271" y="3916469"/>
                  <a:pt x="3241093" y="3832733"/>
                  <a:pt x="3186991" y="3753062"/>
                </a:cubicBezTo>
                <a:cubicBezTo>
                  <a:pt x="3167907" y="3724152"/>
                  <a:pt x="3208914" y="3691355"/>
                  <a:pt x="3176401" y="3655444"/>
                </a:cubicBezTo>
                <a:cubicBezTo>
                  <a:pt x="3195819" y="3578887"/>
                  <a:pt x="3159406" y="3511147"/>
                  <a:pt x="3099753" y="3442126"/>
                </a:cubicBezTo>
                <a:cubicBezTo>
                  <a:pt x="3107525" y="3427217"/>
                  <a:pt x="3125575" y="3412248"/>
                  <a:pt x="3124180" y="3395268"/>
                </a:cubicBezTo>
                <a:cubicBezTo>
                  <a:pt x="3121675" y="3380419"/>
                  <a:pt x="3103521" y="3362828"/>
                  <a:pt x="3090738" y="3348038"/>
                </a:cubicBezTo>
                <a:cubicBezTo>
                  <a:pt x="3106748" y="3323879"/>
                  <a:pt x="3097296" y="3302700"/>
                  <a:pt x="3067108" y="3295088"/>
                </a:cubicBezTo>
                <a:cubicBezTo>
                  <a:pt x="3071265" y="3267459"/>
                  <a:pt x="3088385" y="3241171"/>
                  <a:pt x="3034776" y="3245728"/>
                </a:cubicBezTo>
                <a:cubicBezTo>
                  <a:pt x="3043763" y="3261248"/>
                  <a:pt x="3050065" y="3275368"/>
                  <a:pt x="3067108" y="3295088"/>
                </a:cubicBezTo>
                <a:cubicBezTo>
                  <a:pt x="3051744" y="3311457"/>
                  <a:pt x="3061196" y="3332637"/>
                  <a:pt x="3090738" y="3348038"/>
                </a:cubicBezTo>
                <a:cubicBezTo>
                  <a:pt x="3082965" y="3362947"/>
                  <a:pt x="3067601" y="3379316"/>
                  <a:pt x="3068996" y="3396296"/>
                </a:cubicBezTo>
                <a:cubicBezTo>
                  <a:pt x="3068815" y="3409746"/>
                  <a:pt x="3089655" y="3428736"/>
                  <a:pt x="3099753" y="3442126"/>
                </a:cubicBezTo>
                <a:cubicBezTo>
                  <a:pt x="3052548" y="3493363"/>
                  <a:pt x="3085165" y="3561833"/>
                  <a:pt x="3096296" y="3619101"/>
                </a:cubicBezTo>
                <a:cubicBezTo>
                  <a:pt x="3105852" y="3672841"/>
                  <a:pt x="3123000" y="3725120"/>
                  <a:pt x="3131446" y="3780989"/>
                </a:cubicBezTo>
                <a:cubicBezTo>
                  <a:pt x="3137386" y="3822008"/>
                  <a:pt x="3110918" y="3859676"/>
                  <a:pt x="3147692" y="3900517"/>
                </a:cubicBezTo>
                <a:cubicBezTo>
                  <a:pt x="3183355" y="3943487"/>
                  <a:pt x="3151980" y="3984015"/>
                  <a:pt x="3169309" y="4022845"/>
                </a:cubicBezTo>
                <a:cubicBezTo>
                  <a:pt x="3192938" y="4075795"/>
                  <a:pt x="3202494" y="4129534"/>
                  <a:pt x="3207144" y="4186133"/>
                </a:cubicBezTo>
                <a:cubicBezTo>
                  <a:pt x="3210863" y="4231412"/>
                  <a:pt x="3192917" y="4278940"/>
                  <a:pt x="3232841" y="4326840"/>
                </a:cubicBezTo>
                <a:cubicBezTo>
                  <a:pt x="3269615" y="4367681"/>
                  <a:pt x="3230183" y="4404008"/>
                  <a:pt x="3247977" y="4448498"/>
                </a:cubicBezTo>
                <a:cubicBezTo>
                  <a:pt x="3265770" y="4492988"/>
                  <a:pt x="3261897" y="4539726"/>
                  <a:pt x="3276360" y="4590606"/>
                </a:cubicBezTo>
                <a:cubicBezTo>
                  <a:pt x="3298053" y="4666924"/>
                  <a:pt x="3294285" y="4746222"/>
                  <a:pt x="3303480" y="4826861"/>
                </a:cubicBezTo>
                <a:cubicBezTo>
                  <a:pt x="3312855" y="4894050"/>
                  <a:pt x="3295194" y="4960687"/>
                  <a:pt x="3335402" y="5027697"/>
                </a:cubicBezTo>
                <a:cubicBezTo>
                  <a:pt x="3341239" y="5036158"/>
                  <a:pt x="3344389" y="5043217"/>
                  <a:pt x="3344854" y="5048877"/>
                </a:cubicBezTo>
                <a:cubicBezTo>
                  <a:pt x="3347929" y="5101946"/>
                  <a:pt x="3338039" y="5153674"/>
                  <a:pt x="3348706" y="5205284"/>
                </a:cubicBezTo>
                <a:cubicBezTo>
                  <a:pt x="3360947" y="5260423"/>
                  <a:pt x="3401336" y="5313983"/>
                  <a:pt x="3385430" y="5370701"/>
                </a:cubicBezTo>
                <a:cubicBezTo>
                  <a:pt x="3380989" y="5379221"/>
                  <a:pt x="3404980" y="5405271"/>
                  <a:pt x="3401648" y="5411661"/>
                </a:cubicBezTo>
                <a:cubicBezTo>
                  <a:pt x="3367123" y="5445128"/>
                  <a:pt x="3421121" y="5492240"/>
                  <a:pt x="3402245" y="5528448"/>
                </a:cubicBezTo>
                <a:cubicBezTo>
                  <a:pt x="3380684" y="5563256"/>
                  <a:pt x="3440052" y="5613168"/>
                  <a:pt x="3402842" y="5645235"/>
                </a:cubicBezTo>
                <a:cubicBezTo>
                  <a:pt x="3458984" y="5734095"/>
                  <a:pt x="3430684" y="5827692"/>
                  <a:pt x="3487936" y="5914422"/>
                </a:cubicBezTo>
                <a:lnTo>
                  <a:pt x="3446853" y="5993228"/>
                </a:lnTo>
                <a:cubicBezTo>
                  <a:pt x="3462141" y="6022868"/>
                  <a:pt x="3485486" y="6056709"/>
                  <a:pt x="3494758" y="6091338"/>
                </a:cubicBezTo>
                <a:cubicBezTo>
                  <a:pt x="3504675" y="6118178"/>
                  <a:pt x="3487554" y="6144467"/>
                  <a:pt x="3498581" y="6169176"/>
                </a:cubicBezTo>
                <a:cubicBezTo>
                  <a:pt x="3517485" y="6211536"/>
                  <a:pt x="3480739" y="6249263"/>
                  <a:pt x="3516403" y="6292234"/>
                </a:cubicBezTo>
                <a:cubicBezTo>
                  <a:pt x="3547805" y="6330274"/>
                  <a:pt x="3529394" y="6372142"/>
                  <a:pt x="3536444" y="6411032"/>
                </a:cubicBezTo>
                <a:cubicBezTo>
                  <a:pt x="3551656" y="6486681"/>
                  <a:pt x="3545848" y="6556789"/>
                  <a:pt x="3561059" y="6632438"/>
                </a:cubicBezTo>
                <a:cubicBezTo>
                  <a:pt x="3566069" y="6662137"/>
                  <a:pt x="3545618" y="6694815"/>
                  <a:pt x="3535910" y="6733094"/>
                </a:cubicBezTo>
                <a:cubicBezTo>
                  <a:pt x="3548227" y="6742224"/>
                  <a:pt x="3567492" y="6757685"/>
                  <a:pt x="3596389" y="6780876"/>
                </a:cubicBezTo>
                <a:cubicBezTo>
                  <a:pt x="3593988" y="6798585"/>
                  <a:pt x="3588256" y="6822684"/>
                  <a:pt x="3591691" y="6848854"/>
                </a:cubicBezTo>
                <a:cubicBezTo>
                  <a:pt x="3593731" y="6858043"/>
                  <a:pt x="3611420" y="6869974"/>
                  <a:pt x="3622628" y="6881234"/>
                </a:cubicBezTo>
                <a:cubicBezTo>
                  <a:pt x="3591718" y="6927422"/>
                  <a:pt x="3661906" y="6936925"/>
                  <a:pt x="3677195" y="6966564"/>
                </a:cubicBezTo>
                <a:cubicBezTo>
                  <a:pt x="3688041" y="7004724"/>
                  <a:pt x="3656382" y="7026142"/>
                  <a:pt x="3644633" y="7055231"/>
                </a:cubicBezTo>
                <a:cubicBezTo>
                  <a:pt x="3614265" y="7061069"/>
                  <a:pt x="3583897" y="7066908"/>
                  <a:pt x="3553529" y="7072746"/>
                </a:cubicBezTo>
                <a:cubicBezTo>
                  <a:pt x="3542967" y="7053696"/>
                  <a:pt x="3533515" y="7032516"/>
                  <a:pt x="3518692" y="7008536"/>
                </a:cubicBezTo>
                <a:cubicBezTo>
                  <a:pt x="3504438" y="7022775"/>
                  <a:pt x="3488608" y="7033484"/>
                  <a:pt x="3476575" y="7043464"/>
                </a:cubicBezTo>
                <a:cubicBezTo>
                  <a:pt x="3479468" y="7109982"/>
                  <a:pt x="3533001" y="7151433"/>
                  <a:pt x="3572926" y="7199334"/>
                </a:cubicBezTo>
                <a:cubicBezTo>
                  <a:pt x="3560712" y="7222763"/>
                  <a:pt x="3548498" y="7246191"/>
                  <a:pt x="3536284" y="7269620"/>
                </a:cubicBezTo>
                <a:cubicBezTo>
                  <a:pt x="3512397" y="7276129"/>
                  <a:pt x="3489621" y="7280508"/>
                  <a:pt x="3470641" y="7284157"/>
                </a:cubicBezTo>
                <a:cubicBezTo>
                  <a:pt x="3436400" y="7336734"/>
                  <a:pt x="3422070" y="7396982"/>
                  <a:pt x="3370605" y="7443289"/>
                </a:cubicBezTo>
                <a:cubicBezTo>
                  <a:pt x="3355317" y="7413648"/>
                  <a:pt x="3344755" y="7394598"/>
                  <a:pt x="3336878" y="7376949"/>
                </a:cubicBezTo>
                <a:cubicBezTo>
                  <a:pt x="3276246" y="7421185"/>
                  <a:pt x="3269764" y="7420514"/>
                  <a:pt x="3281360" y="7483443"/>
                </a:cubicBezTo>
                <a:cubicBezTo>
                  <a:pt x="3293137" y="7532922"/>
                  <a:pt x="3269535" y="7558541"/>
                  <a:pt x="3241027" y="7587019"/>
                </a:cubicBezTo>
                <a:cubicBezTo>
                  <a:pt x="3176029" y="7593766"/>
                  <a:pt x="3169159" y="7541427"/>
                  <a:pt x="3144884" y="7496267"/>
                </a:cubicBezTo>
                <a:cubicBezTo>
                  <a:pt x="3123503" y="7517625"/>
                  <a:pt x="3109249" y="7531864"/>
                  <a:pt x="3093884" y="7548233"/>
                </a:cubicBezTo>
                <a:cubicBezTo>
                  <a:pt x="3039165" y="7554920"/>
                  <a:pt x="2987415" y="7582117"/>
                  <a:pt x="2923709" y="7573285"/>
                </a:cubicBezTo>
                <a:cubicBezTo>
                  <a:pt x="2907130" y="7559224"/>
                  <a:pt x="2892126" y="7548694"/>
                  <a:pt x="2887400" y="7538104"/>
                </a:cubicBezTo>
                <a:cubicBezTo>
                  <a:pt x="2850058" y="7459044"/>
                  <a:pt x="2815401" y="7381385"/>
                  <a:pt x="2783430" y="7305125"/>
                </a:cubicBezTo>
                <a:cubicBezTo>
                  <a:pt x="2761376" y="7255705"/>
                  <a:pt x="2727469" y="7202815"/>
                  <a:pt x="2729120" y="7160337"/>
                </a:cubicBezTo>
                <a:cubicBezTo>
                  <a:pt x="2734284" y="7098018"/>
                  <a:pt x="2694359" y="7050117"/>
                  <a:pt x="2678322" y="6995708"/>
                </a:cubicBezTo>
                <a:cubicBezTo>
                  <a:pt x="2665434" y="6948359"/>
                  <a:pt x="2615233" y="6900518"/>
                  <a:pt x="2649939" y="6853600"/>
                </a:cubicBezTo>
                <a:cubicBezTo>
                  <a:pt x="2627884" y="6804181"/>
                  <a:pt x="2605830" y="6754761"/>
                  <a:pt x="2583776" y="6705341"/>
                </a:cubicBezTo>
                <a:cubicBezTo>
                  <a:pt x="2567557" y="6664381"/>
                  <a:pt x="2600507" y="6627384"/>
                  <a:pt x="2564844" y="6584413"/>
                </a:cubicBezTo>
                <a:cubicBezTo>
                  <a:pt x="2520659" y="6531582"/>
                  <a:pt x="2565178" y="6478946"/>
                  <a:pt x="2530805" y="6420396"/>
                </a:cubicBezTo>
                <a:cubicBezTo>
                  <a:pt x="2505419" y="6377366"/>
                  <a:pt x="2477349" y="6332935"/>
                  <a:pt x="2485663" y="6277678"/>
                </a:cubicBezTo>
                <a:cubicBezTo>
                  <a:pt x="2487960" y="6227409"/>
                  <a:pt x="2443310" y="6168918"/>
                  <a:pt x="2425697" y="6110979"/>
                </a:cubicBezTo>
                <a:cubicBezTo>
                  <a:pt x="2412165" y="6071419"/>
                  <a:pt x="2438632" y="6033751"/>
                  <a:pt x="2405655" y="5992181"/>
                </a:cubicBezTo>
                <a:cubicBezTo>
                  <a:pt x="2379624" y="5956940"/>
                  <a:pt x="2392484" y="5925722"/>
                  <a:pt x="2393490" y="5891033"/>
                </a:cubicBezTo>
                <a:cubicBezTo>
                  <a:pt x="2390235" y="5851413"/>
                  <a:pt x="2350311" y="5803513"/>
                  <a:pt x="2355113" y="5768094"/>
                </a:cubicBezTo>
                <a:cubicBezTo>
                  <a:pt x="2361026" y="5730545"/>
                  <a:pt x="2339256" y="5700235"/>
                  <a:pt x="2329984" y="5665606"/>
                </a:cubicBezTo>
                <a:cubicBezTo>
                  <a:pt x="2317098" y="5618256"/>
                  <a:pt x="2280324" y="5577415"/>
                  <a:pt x="2295119" y="5522828"/>
                </a:cubicBezTo>
                <a:cubicBezTo>
                  <a:pt x="2308625" y="5483819"/>
                  <a:pt x="2251941" y="5435308"/>
                  <a:pt x="2257569" y="5378650"/>
                </a:cubicBezTo>
                <a:cubicBezTo>
                  <a:pt x="2264127" y="5333311"/>
                  <a:pt x="2222163" y="5276220"/>
                  <a:pt x="2202330" y="5222541"/>
                </a:cubicBezTo>
                <a:cubicBezTo>
                  <a:pt x="2152516" y="5226368"/>
                  <a:pt x="2159567" y="5265258"/>
                  <a:pt x="2140406" y="5282356"/>
                </a:cubicBezTo>
                <a:cubicBezTo>
                  <a:pt x="2131884" y="5272496"/>
                  <a:pt x="2111510" y="5259166"/>
                  <a:pt x="2113730" y="5254906"/>
                </a:cubicBezTo>
                <a:cubicBezTo>
                  <a:pt x="2131031" y="5215168"/>
                  <a:pt x="2094903" y="5166537"/>
                  <a:pt x="2099240" y="5125458"/>
                </a:cubicBezTo>
                <a:cubicBezTo>
                  <a:pt x="2132113" y="5134470"/>
                  <a:pt x="2164806" y="5156930"/>
                  <a:pt x="2151920" y="5109581"/>
                </a:cubicBezTo>
                <a:cubicBezTo>
                  <a:pt x="2135625" y="5114630"/>
                  <a:pt x="2120441" y="5117550"/>
                  <a:pt x="2099240" y="5125458"/>
                </a:cubicBezTo>
                <a:cubicBezTo>
                  <a:pt x="2089788" y="5104279"/>
                  <a:pt x="2080517" y="5069649"/>
                  <a:pt x="2085784" y="5039890"/>
                </a:cubicBezTo>
                <a:cubicBezTo>
                  <a:pt x="2071607" y="5008120"/>
                  <a:pt x="2055854" y="4972820"/>
                  <a:pt x="2037414" y="4936120"/>
                </a:cubicBezTo>
                <a:cubicBezTo>
                  <a:pt x="2074805" y="4890603"/>
                  <a:pt x="2059414" y="4828404"/>
                  <a:pt x="2058560" y="4771076"/>
                </a:cubicBezTo>
                <a:cubicBezTo>
                  <a:pt x="2060676" y="4734257"/>
                  <a:pt x="2049364" y="4690437"/>
                  <a:pt x="2003244" y="4660976"/>
                </a:cubicBezTo>
                <a:cubicBezTo>
                  <a:pt x="2040170" y="4609799"/>
                  <a:pt x="2033300" y="4557459"/>
                  <a:pt x="1968559" y="4504748"/>
                </a:cubicBezTo>
                <a:cubicBezTo>
                  <a:pt x="1977442" y="4487709"/>
                  <a:pt x="1991696" y="4473470"/>
                  <a:pt x="1991411" y="4454360"/>
                </a:cubicBezTo>
                <a:cubicBezTo>
                  <a:pt x="1991592" y="4440910"/>
                  <a:pt x="1972328" y="4425450"/>
                  <a:pt x="1960010" y="4416320"/>
                </a:cubicBezTo>
                <a:cubicBezTo>
                  <a:pt x="1964166" y="4388691"/>
                  <a:pt x="1983973" y="4363802"/>
                  <a:pt x="1931473" y="4366230"/>
                </a:cubicBezTo>
                <a:cubicBezTo>
                  <a:pt x="1937774" y="4380350"/>
                  <a:pt x="1946762" y="4395870"/>
                  <a:pt x="1960010" y="4416320"/>
                </a:cubicBezTo>
                <a:cubicBezTo>
                  <a:pt x="1951773" y="4425569"/>
                  <a:pt x="1937518" y="4439808"/>
                  <a:pt x="1937803" y="4458918"/>
                </a:cubicBezTo>
                <a:cubicBezTo>
                  <a:pt x="1937622" y="4472367"/>
                  <a:pt x="1956887" y="4487828"/>
                  <a:pt x="1968559" y="4504748"/>
                </a:cubicBezTo>
                <a:cubicBezTo>
                  <a:pt x="1931633" y="4555925"/>
                  <a:pt x="1938503" y="4608264"/>
                  <a:pt x="2003244" y="4660976"/>
                </a:cubicBezTo>
                <a:lnTo>
                  <a:pt x="1949946" y="4763211"/>
                </a:lnTo>
                <a:cubicBezTo>
                  <a:pt x="1964124" y="4794981"/>
                  <a:pt x="1984139" y="4835210"/>
                  <a:pt x="2006192" y="4884630"/>
                </a:cubicBezTo>
                <a:lnTo>
                  <a:pt x="1973992" y="4946397"/>
                </a:lnTo>
                <a:cubicBezTo>
                  <a:pt x="1991321" y="4985227"/>
                  <a:pt x="2007074" y="5020527"/>
                  <a:pt x="2024403" y="5059356"/>
                </a:cubicBezTo>
                <a:lnTo>
                  <a:pt x="1984430" y="5136033"/>
                </a:lnTo>
                <a:cubicBezTo>
                  <a:pt x="2003979" y="5170603"/>
                  <a:pt x="2027789" y="5210103"/>
                  <a:pt x="2048449" y="5242543"/>
                </a:cubicBezTo>
                <a:lnTo>
                  <a:pt x="2012917" y="5310700"/>
                </a:lnTo>
                <a:cubicBezTo>
                  <a:pt x="2017386" y="5380748"/>
                  <a:pt x="2013152" y="5454386"/>
                  <a:pt x="2059198" y="5529856"/>
                </a:cubicBezTo>
                <a:cubicBezTo>
                  <a:pt x="2018759" y="5600873"/>
                  <a:pt x="2053882" y="5684192"/>
                  <a:pt x="2050578" y="5769150"/>
                </a:cubicBezTo>
                <a:cubicBezTo>
                  <a:pt x="2039190" y="5771339"/>
                  <a:pt x="2019100" y="5777119"/>
                  <a:pt x="1992528" y="5782227"/>
                </a:cubicBezTo>
                <a:cubicBezTo>
                  <a:pt x="2017628" y="5806148"/>
                  <a:pt x="2038468" y="5825138"/>
                  <a:pt x="2070516" y="5855389"/>
                </a:cubicBezTo>
                <a:cubicBezTo>
                  <a:pt x="2059877" y="5882347"/>
                  <a:pt x="2045442" y="5910036"/>
                  <a:pt x="2033694" y="5939125"/>
                </a:cubicBezTo>
                <a:cubicBezTo>
                  <a:pt x="2049446" y="5974425"/>
                  <a:pt x="2065200" y="6009725"/>
                  <a:pt x="2084104" y="6052085"/>
                </a:cubicBezTo>
                <a:cubicBezTo>
                  <a:pt x="2013763" y="6134599"/>
                  <a:pt x="2114270" y="6262840"/>
                  <a:pt x="2045970" y="6354545"/>
                </a:cubicBezTo>
                <a:cubicBezTo>
                  <a:pt x="2062188" y="6395505"/>
                  <a:pt x="2078406" y="6436465"/>
                  <a:pt x="2097309" y="6478825"/>
                </a:cubicBezTo>
                <a:lnTo>
                  <a:pt x="2060668" y="6549111"/>
                </a:lnTo>
                <a:cubicBezTo>
                  <a:pt x="2070120" y="6570291"/>
                  <a:pt x="2078461" y="6593601"/>
                  <a:pt x="2091063" y="6621841"/>
                </a:cubicBezTo>
                <a:cubicBezTo>
                  <a:pt x="2062736" y="6636869"/>
                  <a:pt x="2035518" y="6649767"/>
                  <a:pt x="2002284" y="6667655"/>
                </a:cubicBezTo>
                <a:cubicBezTo>
                  <a:pt x="2024234" y="6684516"/>
                  <a:pt x="2040813" y="6698577"/>
                  <a:pt x="2063874" y="6713307"/>
                </a:cubicBezTo>
                <a:cubicBezTo>
                  <a:pt x="2065192" y="6776296"/>
                  <a:pt x="2092902" y="6847625"/>
                  <a:pt x="2045053" y="6906651"/>
                </a:cubicBezTo>
                <a:cubicBezTo>
                  <a:pt x="2012645" y="6903300"/>
                  <a:pt x="1973755" y="6899278"/>
                  <a:pt x="1941346" y="6895927"/>
                </a:cubicBezTo>
                <a:cubicBezTo>
                  <a:pt x="1950902" y="6949666"/>
                  <a:pt x="1957772" y="7002005"/>
                  <a:pt x="1965572" y="7065664"/>
                </a:cubicBezTo>
                <a:lnTo>
                  <a:pt x="1915606" y="7161509"/>
                </a:lnTo>
                <a:cubicBezTo>
                  <a:pt x="1923483" y="7179159"/>
                  <a:pt x="1929784" y="7193279"/>
                  <a:pt x="1936085" y="7207399"/>
                </a:cubicBezTo>
                <a:cubicBezTo>
                  <a:pt x="1895363" y="7259305"/>
                  <a:pt x="1828867" y="7216514"/>
                  <a:pt x="1768776" y="7220401"/>
                </a:cubicBezTo>
                <a:cubicBezTo>
                  <a:pt x="1778227" y="7241581"/>
                  <a:pt x="1786105" y="7259230"/>
                  <a:pt x="1791761" y="7281140"/>
                </a:cubicBezTo>
                <a:lnTo>
                  <a:pt x="1732912" y="7394025"/>
                </a:lnTo>
                <a:cubicBezTo>
                  <a:pt x="1691981" y="7380813"/>
                  <a:pt x="1644749" y="7353482"/>
                  <a:pt x="1603638" y="7353720"/>
                </a:cubicBezTo>
                <a:cubicBezTo>
                  <a:pt x="1563638" y="7351828"/>
                  <a:pt x="1529009" y="7352736"/>
                  <a:pt x="1502152" y="7338735"/>
                </a:cubicBezTo>
                <a:cubicBezTo>
                  <a:pt x="1453450" y="7340433"/>
                  <a:pt x="1464400" y="7411152"/>
                  <a:pt x="1401055" y="7375420"/>
                </a:cubicBezTo>
                <a:cubicBezTo>
                  <a:pt x="1389847" y="7364160"/>
                  <a:pt x="1373733" y="7355759"/>
                  <a:pt x="1370117" y="7343039"/>
                </a:cubicBezTo>
                <a:cubicBezTo>
                  <a:pt x="1321748" y="7239270"/>
                  <a:pt x="1271803" y="7131971"/>
                  <a:pt x="1228340" y="7025341"/>
                </a:cubicBezTo>
                <a:cubicBezTo>
                  <a:pt x="1210547" y="6980851"/>
                  <a:pt x="1168402" y="6937211"/>
                  <a:pt x="1189678" y="6883293"/>
                </a:cubicBezTo>
                <a:cubicBezTo>
                  <a:pt x="1205404" y="6840025"/>
                  <a:pt x="1134647" y="6792303"/>
                  <a:pt x="1148332" y="6739845"/>
                </a:cubicBezTo>
                <a:cubicBezTo>
                  <a:pt x="1153419" y="6723535"/>
                  <a:pt x="1147763" y="6701626"/>
                  <a:pt x="1142108" y="6679716"/>
                </a:cubicBezTo>
                <a:cubicBezTo>
                  <a:pt x="1128756" y="6626707"/>
                  <a:pt x="1076979" y="6575336"/>
                  <a:pt x="1093994" y="6516488"/>
                </a:cubicBezTo>
                <a:cubicBezTo>
                  <a:pt x="1107679" y="6464030"/>
                  <a:pt x="1028866" y="6412107"/>
                  <a:pt x="1059955" y="6352470"/>
                </a:cubicBezTo>
                <a:cubicBezTo>
                  <a:pt x="1068373" y="6329771"/>
                  <a:pt x="1030025" y="6285401"/>
                  <a:pt x="1020753" y="6250771"/>
                </a:cubicBezTo>
                <a:cubicBezTo>
                  <a:pt x="1014633" y="6223201"/>
                  <a:pt x="1030177" y="6193383"/>
                  <a:pt x="1018040" y="6170803"/>
                </a:cubicBezTo>
                <a:cubicBezTo>
                  <a:pt x="954666" y="6056503"/>
                  <a:pt x="960086" y="5934726"/>
                  <a:pt x="901619" y="5817566"/>
                </a:cubicBezTo>
                <a:cubicBezTo>
                  <a:pt x="881606" y="5777336"/>
                  <a:pt x="900662" y="5727679"/>
                  <a:pt x="869440" y="5676188"/>
                </a:cubicBezTo>
                <a:cubicBezTo>
                  <a:pt x="844055" y="5633158"/>
                  <a:pt x="827372" y="5586539"/>
                  <a:pt x="837261" y="5534811"/>
                </a:cubicBezTo>
                <a:cubicBezTo>
                  <a:pt x="840308" y="5509311"/>
                  <a:pt x="774561" y="5491289"/>
                  <a:pt x="765935" y="5448869"/>
                </a:cubicBezTo>
                <a:cubicBezTo>
                  <a:pt x="757128" y="5419900"/>
                  <a:pt x="752583" y="5395860"/>
                  <a:pt x="763222" y="5368901"/>
                </a:cubicBezTo>
                <a:cubicBezTo>
                  <a:pt x="769883" y="5356122"/>
                  <a:pt x="747004" y="5327941"/>
                  <a:pt x="740237" y="5308162"/>
                </a:cubicBezTo>
                <a:cubicBezTo>
                  <a:pt x="730321" y="5281322"/>
                  <a:pt x="712812" y="5255942"/>
                  <a:pt x="721875" y="5225453"/>
                </a:cubicBezTo>
                <a:cubicBezTo>
                  <a:pt x="731583" y="5187175"/>
                  <a:pt x="713791" y="5142685"/>
                  <a:pt x="668779" y="5111093"/>
                </a:cubicBezTo>
                <a:cubicBezTo>
                  <a:pt x="672937" y="5083464"/>
                  <a:pt x="719134" y="5066917"/>
                  <a:pt x="677454" y="5028936"/>
                </a:cubicBezTo>
                <a:cubicBezTo>
                  <a:pt x="634227" y="5065993"/>
                  <a:pt x="634227" y="5065993"/>
                  <a:pt x="668779" y="5111093"/>
                </a:cubicBezTo>
                <a:cubicBezTo>
                  <a:pt x="655455" y="5136652"/>
                  <a:pt x="643241" y="5160081"/>
                  <a:pt x="640194" y="5185580"/>
                </a:cubicBezTo>
                <a:cubicBezTo>
                  <a:pt x="607322" y="5176569"/>
                  <a:pt x="573518" y="5156238"/>
                  <a:pt x="587516" y="5201458"/>
                </a:cubicBezTo>
                <a:cubicBezTo>
                  <a:pt x="602699" y="5198538"/>
                  <a:pt x="618994" y="5193489"/>
                  <a:pt x="640194" y="5185580"/>
                </a:cubicBezTo>
                <a:cubicBezTo>
                  <a:pt x="642235" y="5194770"/>
                  <a:pt x="659925" y="5206701"/>
                  <a:pt x="661964" y="5215890"/>
                </a:cubicBezTo>
                <a:cubicBezTo>
                  <a:pt x="664754" y="5249850"/>
                  <a:pt x="664858" y="5282409"/>
                  <a:pt x="663026" y="5338337"/>
                </a:cubicBezTo>
                <a:cubicBezTo>
                  <a:pt x="655719" y="5358907"/>
                  <a:pt x="637307" y="5400775"/>
                  <a:pt x="618897" y="5442643"/>
                </a:cubicBezTo>
                <a:cubicBezTo>
                  <a:pt x="643532" y="5460904"/>
                  <a:pt x="662797" y="5476364"/>
                  <a:pt x="687433" y="5494625"/>
                </a:cubicBezTo>
                <a:cubicBezTo>
                  <a:pt x="682346" y="5510934"/>
                  <a:pt x="679945" y="5528644"/>
                  <a:pt x="676899" y="5554143"/>
                </a:cubicBezTo>
                <a:cubicBezTo>
                  <a:pt x="683200" y="5568263"/>
                  <a:pt x="689966" y="5588043"/>
                  <a:pt x="698307" y="5611352"/>
                </a:cubicBezTo>
                <a:lnTo>
                  <a:pt x="661665" y="5681639"/>
                </a:lnTo>
                <a:cubicBezTo>
                  <a:pt x="713005" y="5805918"/>
                  <a:pt x="715511" y="5820768"/>
                  <a:pt x="699813" y="5942604"/>
                </a:cubicBezTo>
                <a:cubicBezTo>
                  <a:pt x="696482" y="5948994"/>
                  <a:pt x="690465" y="5953983"/>
                  <a:pt x="690930" y="5959643"/>
                </a:cubicBezTo>
                <a:cubicBezTo>
                  <a:pt x="716239" y="6048682"/>
                  <a:pt x="701083" y="6130169"/>
                  <a:pt x="693983" y="6215857"/>
                </a:cubicBezTo>
                <a:cubicBezTo>
                  <a:pt x="688820" y="6278175"/>
                  <a:pt x="698660" y="6351024"/>
                  <a:pt x="749611" y="6423634"/>
                </a:cubicBezTo>
                <a:cubicBezTo>
                  <a:pt x="720174" y="6440793"/>
                  <a:pt x="691846" y="6455821"/>
                  <a:pt x="658611" y="6473709"/>
                </a:cubicBezTo>
                <a:cubicBezTo>
                  <a:pt x="681671" y="6488440"/>
                  <a:pt x="698251" y="6502500"/>
                  <a:pt x="720201" y="6519360"/>
                </a:cubicBezTo>
                <a:cubicBezTo>
                  <a:pt x="718834" y="6580949"/>
                  <a:pt x="749230" y="6653679"/>
                  <a:pt x="703601" y="6708445"/>
                </a:cubicBezTo>
                <a:cubicBezTo>
                  <a:pt x="710368" y="6728225"/>
                  <a:pt x="719819" y="6749405"/>
                  <a:pt x="728161" y="6772715"/>
                </a:cubicBezTo>
                <a:lnTo>
                  <a:pt x="691519" y="6843001"/>
                </a:lnTo>
                <a:cubicBezTo>
                  <a:pt x="700971" y="6864181"/>
                  <a:pt x="707737" y="6883961"/>
                  <a:pt x="717189" y="6905141"/>
                </a:cubicBezTo>
                <a:cubicBezTo>
                  <a:pt x="702005" y="6908060"/>
                  <a:pt x="686821" y="6910979"/>
                  <a:pt x="667841" y="6914628"/>
                </a:cubicBezTo>
                <a:cubicBezTo>
                  <a:pt x="670450" y="6962037"/>
                  <a:pt x="651394" y="7011695"/>
                  <a:pt x="686411" y="7062455"/>
                </a:cubicBezTo>
                <a:cubicBezTo>
                  <a:pt x="725690" y="7118146"/>
                  <a:pt x="677376" y="7171512"/>
                  <a:pt x="727397" y="7232803"/>
                </a:cubicBezTo>
                <a:cubicBezTo>
                  <a:pt x="693413" y="7225922"/>
                  <a:pt x="663225" y="7218311"/>
                  <a:pt x="635724" y="7212099"/>
                </a:cubicBezTo>
                <a:cubicBezTo>
                  <a:pt x="609797" y="7209418"/>
                  <a:pt x="608041" y="7219338"/>
                  <a:pt x="622399" y="7237658"/>
                </a:cubicBezTo>
                <a:cubicBezTo>
                  <a:pt x="655376" y="7279228"/>
                  <a:pt x="613259" y="7314156"/>
                  <a:pt x="640220" y="7360715"/>
                </a:cubicBezTo>
                <a:cubicBezTo>
                  <a:pt x="656619" y="7388226"/>
                  <a:pt x="644121" y="7392545"/>
                  <a:pt x="580622" y="7448831"/>
                </a:cubicBezTo>
                <a:cubicBezTo>
                  <a:pt x="570060" y="7429781"/>
                  <a:pt x="559498" y="7410731"/>
                  <a:pt x="546895" y="7382491"/>
                </a:cubicBezTo>
                <a:cubicBezTo>
                  <a:pt x="530420" y="7400990"/>
                  <a:pt x="514591" y="7411699"/>
                  <a:pt x="503022" y="7427338"/>
                </a:cubicBezTo>
                <a:cubicBezTo>
                  <a:pt x="491454" y="7442977"/>
                  <a:pt x="479885" y="7458616"/>
                  <a:pt x="464986" y="7480645"/>
                </a:cubicBezTo>
                <a:lnTo>
                  <a:pt x="429322" y="7437674"/>
                </a:lnTo>
                <a:lnTo>
                  <a:pt x="456901" y="7397876"/>
                </a:lnTo>
                <a:lnTo>
                  <a:pt x="444195" y="7337077"/>
                </a:lnTo>
                <a:cubicBezTo>
                  <a:pt x="430301" y="7324417"/>
                  <a:pt x="419093" y="7313157"/>
                  <a:pt x="412147" y="7306827"/>
                </a:cubicBezTo>
                <a:cubicBezTo>
                  <a:pt x="423251" y="7285528"/>
                  <a:pt x="428337" y="7269219"/>
                  <a:pt x="434999" y="7256439"/>
                </a:cubicBezTo>
                <a:cubicBezTo>
                  <a:pt x="415270" y="7235319"/>
                  <a:pt x="402487" y="7220529"/>
                  <a:pt x="387018" y="7204338"/>
                </a:cubicBezTo>
                <a:cubicBezTo>
                  <a:pt x="414701" y="7197100"/>
                  <a:pt x="434792" y="7191321"/>
                  <a:pt x="458677" y="7184812"/>
                </a:cubicBezTo>
                <a:cubicBezTo>
                  <a:pt x="425339" y="7170141"/>
                  <a:pt x="400058" y="7159670"/>
                  <a:pt x="370981" y="7149929"/>
                </a:cubicBezTo>
                <a:cubicBezTo>
                  <a:pt x="394402" y="7137760"/>
                  <a:pt x="416714" y="7127722"/>
                  <a:pt x="441710" y="7119083"/>
                </a:cubicBezTo>
                <a:cubicBezTo>
                  <a:pt x="411058" y="7105812"/>
                  <a:pt x="388461" y="7096741"/>
                  <a:pt x="363180" y="7086270"/>
                </a:cubicBezTo>
                <a:cubicBezTo>
                  <a:pt x="380300" y="7059982"/>
                  <a:pt x="412889" y="7049883"/>
                  <a:pt x="411675" y="7019454"/>
                </a:cubicBezTo>
                <a:cubicBezTo>
                  <a:pt x="389079" y="7010383"/>
                  <a:pt x="368059" y="7004842"/>
                  <a:pt x="344353" y="6997902"/>
                </a:cubicBezTo>
                <a:cubicBezTo>
                  <a:pt x="354811" y="6984392"/>
                  <a:pt x="364159" y="6973013"/>
                  <a:pt x="373506" y="6961634"/>
                </a:cubicBezTo>
                <a:cubicBezTo>
                  <a:pt x="368677" y="6918484"/>
                  <a:pt x="351994" y="6871865"/>
                  <a:pt x="350315" y="6835776"/>
                </a:cubicBezTo>
                <a:cubicBezTo>
                  <a:pt x="364569" y="6821537"/>
                  <a:pt x="371696" y="6814418"/>
                  <a:pt x="375027" y="6808028"/>
                </a:cubicBezTo>
                <a:cubicBezTo>
                  <a:pt x="359558" y="6791837"/>
                  <a:pt x="344090" y="6775647"/>
                  <a:pt x="327510" y="6761587"/>
                </a:cubicBezTo>
                <a:cubicBezTo>
                  <a:pt x="340835" y="6736028"/>
                  <a:pt x="349253" y="6713329"/>
                  <a:pt x="359246" y="6694160"/>
                </a:cubicBezTo>
                <a:cubicBezTo>
                  <a:pt x="342202" y="6674439"/>
                  <a:pt x="329419" y="6659649"/>
                  <a:pt x="323583" y="6651189"/>
                </a:cubicBezTo>
                <a:cubicBezTo>
                  <a:pt x="323479" y="6618630"/>
                  <a:pt x="364124" y="6612732"/>
                  <a:pt x="361335" y="6578773"/>
                </a:cubicBezTo>
                <a:cubicBezTo>
                  <a:pt x="337629" y="6571832"/>
                  <a:pt x="316609" y="6566291"/>
                  <a:pt x="292903" y="6559350"/>
                </a:cubicBezTo>
                <a:cubicBezTo>
                  <a:pt x="303360" y="6545841"/>
                  <a:pt x="312709" y="6534462"/>
                  <a:pt x="322057" y="6523082"/>
                </a:cubicBezTo>
                <a:lnTo>
                  <a:pt x="314540" y="6478533"/>
                </a:lnTo>
                <a:cubicBezTo>
                  <a:pt x="269169" y="6473841"/>
                  <a:pt x="271105" y="6450472"/>
                  <a:pt x="274151" y="6424973"/>
                </a:cubicBezTo>
                <a:cubicBezTo>
                  <a:pt x="294242" y="6419194"/>
                  <a:pt x="311647" y="6412015"/>
                  <a:pt x="331738" y="6406236"/>
                </a:cubicBezTo>
                <a:lnTo>
                  <a:pt x="315415" y="6332717"/>
                </a:lnTo>
                <a:cubicBezTo>
                  <a:pt x="303097" y="6323587"/>
                  <a:pt x="293465" y="6315856"/>
                  <a:pt x="281147" y="6306726"/>
                </a:cubicBezTo>
                <a:cubicBezTo>
                  <a:pt x="290495" y="6295346"/>
                  <a:pt x="298733" y="6286097"/>
                  <a:pt x="310301" y="6270458"/>
                </a:cubicBezTo>
                <a:cubicBezTo>
                  <a:pt x="256408" y="6255906"/>
                  <a:pt x="265831" y="6198518"/>
                  <a:pt x="220175" y="6174716"/>
                </a:cubicBezTo>
                <a:cubicBezTo>
                  <a:pt x="214804" y="6171916"/>
                  <a:pt x="216095" y="6156337"/>
                  <a:pt x="215164" y="6145017"/>
                </a:cubicBezTo>
                <a:cubicBezTo>
                  <a:pt x="237476" y="6134978"/>
                  <a:pt x="258677" y="6127069"/>
                  <a:pt x="287004" y="6112041"/>
                </a:cubicBezTo>
                <a:cubicBezTo>
                  <a:pt x="267275" y="6090921"/>
                  <a:pt x="251341" y="6069071"/>
                  <a:pt x="238559" y="6054280"/>
                </a:cubicBezTo>
                <a:cubicBezTo>
                  <a:pt x="247441" y="6037241"/>
                  <a:pt x="253639" y="6018802"/>
                  <a:pt x="260300" y="6006022"/>
                </a:cubicBezTo>
                <a:cubicBezTo>
                  <a:pt x="240571" y="5984902"/>
                  <a:pt x="225102" y="5968712"/>
                  <a:pt x="216580" y="5958852"/>
                </a:cubicBezTo>
                <a:lnTo>
                  <a:pt x="197288" y="5864823"/>
                </a:lnTo>
                <a:cubicBezTo>
                  <a:pt x="207746" y="5851314"/>
                  <a:pt x="213298" y="5840665"/>
                  <a:pt x="220425" y="5833545"/>
                </a:cubicBezTo>
                <a:cubicBezTo>
                  <a:pt x="203846" y="5819485"/>
                  <a:pt x="194214" y="5811754"/>
                  <a:pt x="179210" y="5801224"/>
                </a:cubicBezTo>
                <a:cubicBezTo>
                  <a:pt x="164644" y="5717785"/>
                  <a:pt x="152763" y="5635747"/>
                  <a:pt x="139307" y="5550178"/>
                </a:cubicBezTo>
                <a:cubicBezTo>
                  <a:pt x="140133" y="5528939"/>
                  <a:pt x="139383" y="5504170"/>
                  <a:pt x="134838" y="5480130"/>
                </a:cubicBezTo>
                <a:cubicBezTo>
                  <a:pt x="135949" y="5478000"/>
                  <a:pt x="138634" y="5479400"/>
                  <a:pt x="138634" y="5479400"/>
                </a:cubicBezTo>
                <a:cubicBezTo>
                  <a:pt x="182535" y="5513121"/>
                  <a:pt x="145608" y="5564298"/>
                  <a:pt x="204048" y="5602890"/>
                </a:cubicBezTo>
                <a:cubicBezTo>
                  <a:pt x="203763" y="5583781"/>
                  <a:pt x="207740" y="5569601"/>
                  <a:pt x="204124" y="5556881"/>
                </a:cubicBezTo>
                <a:cubicBezTo>
                  <a:pt x="194852" y="5522251"/>
                  <a:pt x="200765" y="5484703"/>
                  <a:pt x="169828" y="5452322"/>
                </a:cubicBezTo>
                <a:lnTo>
                  <a:pt x="142222" y="5413552"/>
                </a:lnTo>
                <a:lnTo>
                  <a:pt x="124998" y="5407281"/>
                </a:lnTo>
                <a:cubicBezTo>
                  <a:pt x="125643" y="5399492"/>
                  <a:pt x="123602" y="5390302"/>
                  <a:pt x="124249" y="5382512"/>
                </a:cubicBezTo>
                <a:cubicBezTo>
                  <a:pt x="117274" y="5297613"/>
                  <a:pt x="114096" y="5211986"/>
                  <a:pt x="107121" y="5127087"/>
                </a:cubicBezTo>
                <a:lnTo>
                  <a:pt x="119155" y="5117108"/>
                </a:lnTo>
                <a:lnTo>
                  <a:pt x="108412" y="5111508"/>
                </a:lnTo>
                <a:cubicBezTo>
                  <a:pt x="102472" y="5070489"/>
                  <a:pt x="100327" y="5028740"/>
                  <a:pt x="95497" y="4985590"/>
                </a:cubicBezTo>
                <a:cubicBezTo>
                  <a:pt x="92243" y="4945971"/>
                  <a:pt x="69543" y="4904341"/>
                  <a:pt x="53971" y="4855592"/>
                </a:cubicBezTo>
                <a:lnTo>
                  <a:pt x="89502" y="4787435"/>
                </a:lnTo>
                <a:cubicBezTo>
                  <a:pt x="37905" y="4722615"/>
                  <a:pt x="37232" y="4651836"/>
                  <a:pt x="37024" y="4586718"/>
                </a:cubicBezTo>
                <a:cubicBezTo>
                  <a:pt x="36170" y="4529389"/>
                  <a:pt x="3554" y="4460919"/>
                  <a:pt x="49647" y="4411813"/>
                </a:cubicBezTo>
                <a:cubicBezTo>
                  <a:pt x="42028" y="4334704"/>
                  <a:pt x="32832" y="4254066"/>
                  <a:pt x="23638" y="4173427"/>
                </a:cubicBezTo>
                <a:cubicBezTo>
                  <a:pt x="19918" y="4128148"/>
                  <a:pt x="17309" y="4080740"/>
                  <a:pt x="16275" y="4036860"/>
                </a:cubicBezTo>
                <a:cubicBezTo>
                  <a:pt x="10696" y="3968942"/>
                  <a:pt x="-10533" y="3898283"/>
                  <a:pt x="6483" y="3839435"/>
                </a:cubicBezTo>
                <a:cubicBezTo>
                  <a:pt x="24610" y="3778457"/>
                  <a:pt x="-7362" y="3702198"/>
                  <a:pt x="31785" y="3646761"/>
                </a:cubicBezTo>
                <a:cubicBezTo>
                  <a:pt x="35117" y="3640372"/>
                  <a:pt x="21868" y="3619921"/>
                  <a:pt x="13992" y="3602271"/>
                </a:cubicBezTo>
                <a:lnTo>
                  <a:pt x="180546" y="3282787"/>
                </a:lnTo>
                <a:cubicBezTo>
                  <a:pt x="172204" y="3259477"/>
                  <a:pt x="165437" y="3239697"/>
                  <a:pt x="151260" y="3207927"/>
                </a:cubicBezTo>
                <a:cubicBezTo>
                  <a:pt x="186715" y="3185780"/>
                  <a:pt x="223280" y="3161502"/>
                  <a:pt x="273454" y="3130775"/>
                </a:cubicBezTo>
                <a:cubicBezTo>
                  <a:pt x="286417" y="3132115"/>
                  <a:pt x="316606" y="3139727"/>
                  <a:pt x="353275" y="3148008"/>
                </a:cubicBezTo>
                <a:cubicBezTo>
                  <a:pt x="363733" y="3134499"/>
                  <a:pt x="376877" y="3122390"/>
                  <a:pt x="392241" y="3106021"/>
                </a:cubicBezTo>
                <a:lnTo>
                  <a:pt x="480660" y="3087105"/>
                </a:lnTo>
                <a:lnTo>
                  <a:pt x="706256" y="3204713"/>
                </a:lnTo>
                <a:cubicBezTo>
                  <a:pt x="725985" y="3225833"/>
                  <a:pt x="716276" y="3264112"/>
                  <a:pt x="757207" y="3277323"/>
                </a:cubicBezTo>
                <a:cubicBezTo>
                  <a:pt x="741482" y="3320592"/>
                  <a:pt x="795015" y="3362043"/>
                  <a:pt x="792898" y="3398862"/>
                </a:cubicBezTo>
                <a:cubicBezTo>
                  <a:pt x="787915" y="3447731"/>
                  <a:pt x="794320" y="3494410"/>
                  <a:pt x="820816" y="3535310"/>
                </a:cubicBezTo>
                <a:cubicBezTo>
                  <a:pt x="845452" y="3553570"/>
                  <a:pt x="862031" y="3567631"/>
                  <a:pt x="879721" y="3579561"/>
                </a:cubicBezTo>
                <a:cubicBezTo>
                  <a:pt x="877139" y="3610720"/>
                  <a:pt x="874092" y="3636220"/>
                  <a:pt x="870581" y="3656059"/>
                </a:cubicBezTo>
                <a:cubicBezTo>
                  <a:pt x="893641" y="3670790"/>
                  <a:pt x="909756" y="3679190"/>
                  <a:pt x="928555" y="3688991"/>
                </a:cubicBezTo>
                <a:cubicBezTo>
                  <a:pt x="926153" y="3706700"/>
                  <a:pt x="925328" y="3727940"/>
                  <a:pt x="924037" y="3743519"/>
                </a:cubicBezTo>
                <a:cubicBezTo>
                  <a:pt x="974912" y="3862139"/>
                  <a:pt x="1028473" y="3982158"/>
                  <a:pt x="1076843" y="4085928"/>
                </a:cubicBezTo>
                <a:cubicBezTo>
                  <a:pt x="1069354" y="4119947"/>
                  <a:pt x="1065843" y="4139786"/>
                  <a:pt x="1062796" y="4165285"/>
                </a:cubicBezTo>
                <a:cubicBezTo>
                  <a:pt x="1130146" y="4265405"/>
                  <a:pt x="1139910" y="4384263"/>
                  <a:pt x="1226704" y="4486395"/>
                </a:cubicBezTo>
                <a:cubicBezTo>
                  <a:pt x="1218932" y="4501304"/>
                  <a:pt x="1203568" y="4517673"/>
                  <a:pt x="1204963" y="4534652"/>
                </a:cubicBezTo>
                <a:cubicBezTo>
                  <a:pt x="1204782" y="4548102"/>
                  <a:pt x="1222936" y="4565692"/>
                  <a:pt x="1235255" y="4574823"/>
                </a:cubicBezTo>
                <a:cubicBezTo>
                  <a:pt x="1231098" y="4602452"/>
                  <a:pt x="1211291" y="4627340"/>
                  <a:pt x="1264901" y="4622783"/>
                </a:cubicBezTo>
                <a:cubicBezTo>
                  <a:pt x="1257490" y="4610793"/>
                  <a:pt x="1248502" y="4595273"/>
                  <a:pt x="1235255" y="4574823"/>
                </a:cubicBezTo>
                <a:cubicBezTo>
                  <a:pt x="1243492" y="4565573"/>
                  <a:pt x="1258856" y="4549205"/>
                  <a:pt x="1257462" y="4532225"/>
                </a:cubicBezTo>
                <a:cubicBezTo>
                  <a:pt x="1257642" y="4518775"/>
                  <a:pt x="1239487" y="4501185"/>
                  <a:pt x="1226704" y="4486395"/>
                </a:cubicBezTo>
                <a:lnTo>
                  <a:pt x="1253353" y="4435277"/>
                </a:lnTo>
                <a:cubicBezTo>
                  <a:pt x="1235456" y="4358228"/>
                  <a:pt x="1161264" y="4284336"/>
                  <a:pt x="1192069" y="4205590"/>
                </a:cubicBezTo>
                <a:cubicBezTo>
                  <a:pt x="1156302" y="4130060"/>
                  <a:pt x="1121645" y="4052401"/>
                  <a:pt x="1085877" y="3976871"/>
                </a:cubicBezTo>
                <a:lnTo>
                  <a:pt x="1114747" y="3921494"/>
                </a:lnTo>
                <a:cubicBezTo>
                  <a:pt x="1130861" y="3929894"/>
                  <a:pt x="1146975" y="3938295"/>
                  <a:pt x="1159939" y="3939635"/>
                </a:cubicBezTo>
                <a:cubicBezTo>
                  <a:pt x="1155781" y="3967264"/>
                  <a:pt x="1138661" y="3993553"/>
                  <a:pt x="1192270" y="3988995"/>
                </a:cubicBezTo>
                <a:cubicBezTo>
                  <a:pt x="1183283" y="3973475"/>
                  <a:pt x="1176982" y="3959355"/>
                  <a:pt x="1159939" y="3939635"/>
                </a:cubicBezTo>
                <a:cubicBezTo>
                  <a:pt x="1175303" y="3923266"/>
                  <a:pt x="1165851" y="3902087"/>
                  <a:pt x="1133623" y="3885285"/>
                </a:cubicBezTo>
                <a:cubicBezTo>
                  <a:pt x="1139175" y="3874636"/>
                  <a:pt x="1152319" y="3862527"/>
                  <a:pt x="1151389" y="3851207"/>
                </a:cubicBezTo>
                <a:cubicBezTo>
                  <a:pt x="1144775" y="3739410"/>
                  <a:pt x="1145754" y="3626152"/>
                  <a:pt x="1121271" y="3515874"/>
                </a:cubicBezTo>
                <a:cubicBezTo>
                  <a:pt x="1106059" y="3440225"/>
                  <a:pt x="1082145" y="3368166"/>
                  <a:pt x="1095546" y="3296598"/>
                </a:cubicBezTo>
                <a:cubicBezTo>
                  <a:pt x="1055157" y="3243038"/>
                  <a:pt x="1104582" y="3187541"/>
                  <a:pt x="1060396" y="3134711"/>
                </a:cubicBezTo>
                <a:cubicBezTo>
                  <a:pt x="1050299" y="3121321"/>
                  <a:pt x="1043997" y="3107201"/>
                  <a:pt x="1041492" y="3092351"/>
                </a:cubicBezTo>
                <a:cubicBezTo>
                  <a:pt x="1032117" y="3025162"/>
                  <a:pt x="1060521" y="2964125"/>
                  <a:pt x="1021423" y="2894985"/>
                </a:cubicBezTo>
                <a:cubicBezTo>
                  <a:pt x="989271" y="2832175"/>
                  <a:pt x="990638" y="2770587"/>
                  <a:pt x="998952" y="2715328"/>
                </a:cubicBezTo>
                <a:cubicBezTo>
                  <a:pt x="1005691" y="2656540"/>
                  <a:pt x="941415" y="2609488"/>
                  <a:pt x="958432" y="2550641"/>
                </a:cubicBezTo>
                <a:cubicBezTo>
                  <a:pt x="971936" y="2511632"/>
                  <a:pt x="966177" y="2457163"/>
                  <a:pt x="947272" y="2414804"/>
                </a:cubicBezTo>
                <a:cubicBezTo>
                  <a:pt x="898903" y="2311034"/>
                  <a:pt x="915351" y="2213967"/>
                  <a:pt x="905871" y="2114219"/>
                </a:cubicBezTo>
                <a:cubicBezTo>
                  <a:pt x="901506" y="2076730"/>
                  <a:pt x="866953" y="2031630"/>
                  <a:pt x="901478" y="1998162"/>
                </a:cubicBezTo>
                <a:cubicBezTo>
                  <a:pt x="904809" y="1991772"/>
                  <a:pt x="888875" y="1969922"/>
                  <a:pt x="882574" y="1955802"/>
                </a:cubicBezTo>
                <a:cubicBezTo>
                  <a:pt x="850964" y="1852643"/>
                  <a:pt x="847501" y="1747906"/>
                  <a:pt x="868106" y="1623210"/>
                </a:cubicBezTo>
                <a:cubicBezTo>
                  <a:pt x="871617" y="1603370"/>
                  <a:pt x="855683" y="1581520"/>
                  <a:pt x="848452" y="1556080"/>
                </a:cubicBezTo>
                <a:lnTo>
                  <a:pt x="996130" y="1272804"/>
                </a:lnTo>
                <a:cubicBezTo>
                  <a:pt x="986677" y="1251625"/>
                  <a:pt x="977226" y="1230444"/>
                  <a:pt x="968884" y="1207135"/>
                </a:cubicBezTo>
                <a:lnTo>
                  <a:pt x="1027733" y="1094250"/>
                </a:lnTo>
                <a:cubicBezTo>
                  <a:pt x="1075325" y="1094683"/>
                  <a:pt x="1126714" y="1094385"/>
                  <a:pt x="1194862" y="1094698"/>
                </a:cubicBezTo>
                <a:cubicBezTo>
                  <a:pt x="1231428" y="1070420"/>
                  <a:pt x="1278915" y="1038293"/>
                  <a:pt x="1329090" y="1007566"/>
                </a:cubicBezTo>
                <a:lnTo>
                  <a:pt x="1560057" y="1127974"/>
                </a:lnTo>
                <a:cubicBezTo>
                  <a:pt x="1567934" y="1145623"/>
                  <a:pt x="1577385" y="1166803"/>
                  <a:pt x="1586837" y="1187983"/>
                </a:cubicBezTo>
                <a:lnTo>
                  <a:pt x="1653979" y="1222986"/>
                </a:lnTo>
                <a:cubicBezTo>
                  <a:pt x="1641765" y="1246414"/>
                  <a:pt x="1651217" y="1267594"/>
                  <a:pt x="1680759" y="1282995"/>
                </a:cubicBezTo>
                <a:cubicBezTo>
                  <a:pt x="1684840" y="1301375"/>
                  <a:pt x="1684014" y="1322615"/>
                  <a:pt x="1690780" y="1342394"/>
                </a:cubicBezTo>
                <a:cubicBezTo>
                  <a:pt x="1780573" y="1543604"/>
                  <a:pt x="1870365" y="1744812"/>
                  <a:pt x="1962843" y="1947422"/>
                </a:cubicBezTo>
                <a:cubicBezTo>
                  <a:pt x="1970720" y="1965071"/>
                  <a:pt x="1988875" y="1982662"/>
                  <a:pt x="2003232" y="2000982"/>
                </a:cubicBezTo>
                <a:cubicBezTo>
                  <a:pt x="1999076" y="2028611"/>
                  <a:pt x="1950193" y="2043758"/>
                  <a:pt x="1994558" y="2083140"/>
                </a:cubicBezTo>
                <a:cubicBezTo>
                  <a:pt x="2037785" y="2046082"/>
                  <a:pt x="2037785" y="2046082"/>
                  <a:pt x="2003232" y="2000982"/>
                </a:cubicBezTo>
                <a:lnTo>
                  <a:pt x="2029881" y="1949865"/>
                </a:lnTo>
                <a:cubicBezTo>
                  <a:pt x="2011984" y="1872816"/>
                  <a:pt x="1948534" y="1804525"/>
                  <a:pt x="1961004" y="1721637"/>
                </a:cubicBezTo>
                <a:cubicBezTo>
                  <a:pt x="1968028" y="1681959"/>
                  <a:pt x="1935411" y="1613489"/>
                  <a:pt x="1896882" y="1582567"/>
                </a:cubicBezTo>
                <a:cubicBezTo>
                  <a:pt x="1850296" y="1547447"/>
                  <a:pt x="1838338" y="1511417"/>
                  <a:pt x="1821010" y="1472587"/>
                </a:cubicBezTo>
                <a:cubicBezTo>
                  <a:pt x="1801641" y="1424567"/>
                  <a:pt x="1759497" y="1380927"/>
                  <a:pt x="1772072" y="1330598"/>
                </a:cubicBezTo>
                <a:lnTo>
                  <a:pt x="1831156" y="1361400"/>
                </a:lnTo>
                <a:cubicBezTo>
                  <a:pt x="1854037" y="1389580"/>
                  <a:pt x="1872655" y="1412831"/>
                  <a:pt x="1890810" y="1430421"/>
                </a:cubicBezTo>
                <a:cubicBezTo>
                  <a:pt x="1886653" y="1458050"/>
                  <a:pt x="1869533" y="1484339"/>
                  <a:pt x="1919346" y="1480511"/>
                </a:cubicBezTo>
                <a:cubicBezTo>
                  <a:pt x="1913045" y="1466391"/>
                  <a:pt x="1904058" y="1450871"/>
                  <a:pt x="1890810" y="1430421"/>
                </a:cubicBezTo>
                <a:cubicBezTo>
                  <a:pt x="1939409" y="1396164"/>
                  <a:pt x="1889387" y="1334874"/>
                  <a:pt x="1905759" y="1283816"/>
                </a:cubicBezTo>
                <a:cubicBezTo>
                  <a:pt x="1915932" y="1251197"/>
                  <a:pt x="1859894" y="1194896"/>
                  <a:pt x="1867382" y="1160877"/>
                </a:cubicBezTo>
                <a:cubicBezTo>
                  <a:pt x="1874870" y="1126858"/>
                  <a:pt x="1850415" y="1095148"/>
                  <a:pt x="1854106" y="1061859"/>
                </a:cubicBezTo>
                <a:cubicBezTo>
                  <a:pt x="1857333" y="1022910"/>
                  <a:pt x="1860560" y="983961"/>
                  <a:pt x="1856195" y="946472"/>
                </a:cubicBezTo>
                <a:cubicBezTo>
                  <a:pt x="1850436" y="892003"/>
                  <a:pt x="1840880" y="838264"/>
                  <a:pt x="1830859" y="778865"/>
                </a:cubicBezTo>
                <a:lnTo>
                  <a:pt x="1958549" y="533927"/>
                </a:lnTo>
                <a:cubicBezTo>
                  <a:pt x="1949098" y="512747"/>
                  <a:pt x="1939646" y="491567"/>
                  <a:pt x="1932880" y="471787"/>
                </a:cubicBezTo>
                <a:cubicBezTo>
                  <a:pt x="1969522" y="401500"/>
                  <a:pt x="2007274" y="329084"/>
                  <a:pt x="2045026" y="256668"/>
                </a:cubicBezTo>
                <a:cubicBezTo>
                  <a:pt x="2106511" y="269760"/>
                  <a:pt x="2168643" y="275063"/>
                  <a:pt x="2223078" y="249266"/>
                </a:cubicBezTo>
                <a:lnTo>
                  <a:pt x="2258609" y="181109"/>
                </a:lnTo>
                <a:cubicBezTo>
                  <a:pt x="2298609" y="183001"/>
                  <a:pt x="2328228" y="152393"/>
                  <a:pt x="2388423" y="181065"/>
                </a:cubicBezTo>
                <a:cubicBezTo>
                  <a:pt x="2397410" y="196585"/>
                  <a:pt x="2411123" y="222695"/>
                  <a:pt x="2427521" y="250205"/>
                </a:cubicBezTo>
                <a:lnTo>
                  <a:pt x="2650431" y="366412"/>
                </a:lnTo>
                <a:cubicBezTo>
                  <a:pt x="2673208" y="362034"/>
                  <a:pt x="2695984" y="357655"/>
                  <a:pt x="2717649" y="355406"/>
                </a:cubicBezTo>
                <a:cubicBezTo>
                  <a:pt x="2836207" y="468678"/>
                  <a:pt x="2836207" y="468678"/>
                  <a:pt x="2863556" y="566907"/>
                </a:cubicBezTo>
                <a:lnTo>
                  <a:pt x="2796415" y="531905"/>
                </a:lnTo>
                <a:cubicBezTo>
                  <a:pt x="2785852" y="512855"/>
                  <a:pt x="2776400" y="491675"/>
                  <a:pt x="2765373" y="466965"/>
                </a:cubicBezTo>
                <a:cubicBezTo>
                  <a:pt x="2744353" y="461424"/>
                  <a:pt x="2723333" y="455884"/>
                  <a:pt x="2696941" y="447543"/>
                </a:cubicBezTo>
                <a:cubicBezTo>
                  <a:pt x="2711508" y="530981"/>
                  <a:pt x="2758198" y="598662"/>
                  <a:pt x="2814700" y="660623"/>
                </a:cubicBezTo>
                <a:cubicBezTo>
                  <a:pt x="2811834" y="672672"/>
                  <a:pt x="2805173" y="685452"/>
                  <a:pt x="2797400" y="700361"/>
                </a:cubicBezTo>
                <a:cubicBezTo>
                  <a:pt x="2812868" y="716551"/>
                  <a:pt x="2829447" y="730611"/>
                  <a:pt x="2871127" y="768592"/>
                </a:cubicBezTo>
                <a:cubicBezTo>
                  <a:pt x="2883084" y="804622"/>
                  <a:pt x="2904958" y="867492"/>
                  <a:pt x="2922106" y="919771"/>
                </a:cubicBezTo>
                <a:cubicBezTo>
                  <a:pt x="2954334" y="936572"/>
                  <a:pt x="2969337" y="947102"/>
                  <a:pt x="2988137" y="956903"/>
                </a:cubicBezTo>
                <a:cubicBezTo>
                  <a:pt x="2986201" y="980273"/>
                  <a:pt x="2985840" y="1007172"/>
                  <a:pt x="2982793" y="1032671"/>
                </a:cubicBezTo>
                <a:cubicBezTo>
                  <a:pt x="3006319" y="1053062"/>
                  <a:pt x="3029844" y="1073452"/>
                  <a:pt x="3047999" y="1091043"/>
                </a:cubicBezTo>
                <a:cubicBezTo>
                  <a:pt x="3042266" y="1115142"/>
                  <a:pt x="3036070" y="1133581"/>
                  <a:pt x="3037645" y="1137111"/>
                </a:cubicBezTo>
                <a:cubicBezTo>
                  <a:pt x="3087409" y="1257860"/>
                  <a:pt x="3134669" y="1363760"/>
                  <a:pt x="3177667" y="1464729"/>
                </a:cubicBezTo>
                <a:cubicBezTo>
                  <a:pt x="3195356" y="1476660"/>
                  <a:pt x="3208784" y="1483660"/>
                  <a:pt x="3230270" y="1494861"/>
                </a:cubicBezTo>
                <a:cubicBezTo>
                  <a:pt x="3227223" y="1520360"/>
                  <a:pt x="3225287" y="1543729"/>
                  <a:pt x="3224926" y="1570629"/>
                </a:cubicBezTo>
                <a:cubicBezTo>
                  <a:pt x="3245766" y="1589619"/>
                  <a:pt x="3268181" y="1612140"/>
                  <a:pt x="3286335" y="1629730"/>
                </a:cubicBezTo>
                <a:cubicBezTo>
                  <a:pt x="3280603" y="1653829"/>
                  <a:pt x="3278202" y="1671539"/>
                  <a:pt x="3273115" y="1687848"/>
                </a:cubicBezTo>
                <a:cubicBezTo>
                  <a:pt x="3296641" y="1708239"/>
                  <a:pt x="3313220" y="1722299"/>
                  <a:pt x="3325538" y="1731429"/>
                </a:cubicBezTo>
                <a:cubicBezTo>
                  <a:pt x="3381215" y="1814630"/>
                  <a:pt x="3387544" y="1907318"/>
                  <a:pt x="3459050" y="1979809"/>
                </a:cubicBezTo>
                <a:cubicBezTo>
                  <a:pt x="3447947" y="2001108"/>
                  <a:pt x="3439529" y="2023807"/>
                  <a:pt x="3427780" y="2052896"/>
                </a:cubicBezTo>
                <a:cubicBezTo>
                  <a:pt x="3460008" y="2069697"/>
                  <a:pt x="3485289" y="2080168"/>
                  <a:pt x="3515942" y="2093439"/>
                </a:cubicBezTo>
                <a:cubicBezTo>
                  <a:pt x="3507961" y="2043230"/>
                  <a:pt x="3499801" y="2006470"/>
                  <a:pt x="3459050" y="1979809"/>
                </a:cubicBezTo>
                <a:cubicBezTo>
                  <a:pt x="3469044" y="1960640"/>
                  <a:pt x="3477926" y="1943601"/>
                  <a:pt x="3487920" y="1924432"/>
                </a:cubicBezTo>
                <a:cubicBezTo>
                  <a:pt x="3442701" y="1827722"/>
                  <a:pt x="3398592" y="1728882"/>
                  <a:pt x="3357169" y="1631443"/>
                </a:cubicBezTo>
                <a:cubicBezTo>
                  <a:pt x="3360035" y="1619394"/>
                  <a:pt x="3366697" y="1606614"/>
                  <a:pt x="3374005" y="1586045"/>
                </a:cubicBezTo>
                <a:cubicBezTo>
                  <a:pt x="3349084" y="1548675"/>
                  <a:pt x="3321013" y="1504245"/>
                  <a:pt x="3291832" y="1461944"/>
                </a:cubicBezTo>
                <a:cubicBezTo>
                  <a:pt x="3290721" y="1464074"/>
                  <a:pt x="3286925" y="1464804"/>
                  <a:pt x="3283129" y="1465534"/>
                </a:cubicBezTo>
                <a:cubicBezTo>
                  <a:pt x="3225308" y="1340585"/>
                  <a:pt x="3171283" y="1214905"/>
                  <a:pt x="3114571" y="1087826"/>
                </a:cubicBezTo>
                <a:lnTo>
                  <a:pt x="3142330" y="1034578"/>
                </a:lnTo>
                <a:cubicBezTo>
                  <a:pt x="3192712" y="1068970"/>
                  <a:pt x="3191990" y="1122768"/>
                  <a:pt x="3217376" y="1165798"/>
                </a:cubicBezTo>
                <a:cubicBezTo>
                  <a:pt x="3245447" y="1210228"/>
                  <a:pt x="3242040" y="1262627"/>
                  <a:pt x="3295753" y="1290629"/>
                </a:cubicBezTo>
                <a:cubicBezTo>
                  <a:pt x="3288910" y="1316858"/>
                  <a:pt x="3271790" y="1343147"/>
                  <a:pt x="3324289" y="1340719"/>
                </a:cubicBezTo>
                <a:cubicBezTo>
                  <a:pt x="3315302" y="1325199"/>
                  <a:pt x="3309001" y="1311079"/>
                  <a:pt x="3295753" y="1290629"/>
                </a:cubicBezTo>
                <a:cubicBezTo>
                  <a:pt x="3305101" y="1279250"/>
                  <a:pt x="3313984" y="1262211"/>
                  <a:pt x="3325087" y="1240912"/>
                </a:cubicBezTo>
                <a:cubicBezTo>
                  <a:pt x="3253296" y="1149311"/>
                  <a:pt x="3302151" y="1055595"/>
                  <a:pt x="3264989" y="963086"/>
                </a:cubicBezTo>
                <a:cubicBezTo>
                  <a:pt x="3223566" y="865646"/>
                  <a:pt x="3243164" y="775639"/>
                  <a:pt x="3214240" y="673881"/>
                </a:cubicBezTo>
                <a:lnTo>
                  <a:pt x="3321944" y="467281"/>
                </a:lnTo>
                <a:cubicBezTo>
                  <a:pt x="3315178" y="447501"/>
                  <a:pt x="3305726" y="426321"/>
                  <a:pt x="3297385" y="403011"/>
                </a:cubicBezTo>
                <a:cubicBezTo>
                  <a:pt x="3321812" y="356153"/>
                  <a:pt x="3346240" y="309296"/>
                  <a:pt x="3370668" y="262438"/>
                </a:cubicBezTo>
                <a:cubicBezTo>
                  <a:pt x="3362327" y="239128"/>
                  <a:pt x="3355560" y="219348"/>
                  <a:pt x="3346109" y="198169"/>
                </a:cubicBezTo>
                <a:cubicBezTo>
                  <a:pt x="3363874" y="164090"/>
                  <a:pt x="3382751" y="127882"/>
                  <a:pt x="3401627" y="91674"/>
                </a:cubicBezTo>
                <a:cubicBezTo>
                  <a:pt x="3464223" y="102636"/>
                  <a:pt x="3526819" y="113599"/>
                  <a:pt x="3583475" y="83542"/>
                </a:cubicBezTo>
                <a:lnTo>
                  <a:pt x="3616785" y="19645"/>
                </a:lnTo>
                <a:cubicBezTo>
                  <a:pt x="3648264" y="11677"/>
                  <a:pt x="3678632" y="5838"/>
                  <a:pt x="3709000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91713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127827" y="970575"/>
            <a:ext cx="8537122" cy="8575811"/>
          </a:xfrm>
          <a:custGeom>
            <a:avLst/>
            <a:gdLst>
              <a:gd name="connsiteX0" fmla="*/ 5663776 w 8537122"/>
              <a:gd name="connsiteY0" fmla="*/ 8139354 h 8575811"/>
              <a:gd name="connsiteX1" fmla="*/ 5666793 w 8537122"/>
              <a:gd name="connsiteY1" fmla="*/ 8156338 h 8575811"/>
              <a:gd name="connsiteX2" fmla="*/ 5668167 w 8537122"/>
              <a:gd name="connsiteY2" fmla="*/ 8141264 h 8575811"/>
              <a:gd name="connsiteX3" fmla="*/ 5663776 w 8537122"/>
              <a:gd name="connsiteY3" fmla="*/ 8139354 h 8575811"/>
              <a:gd name="connsiteX4" fmla="*/ 7157314 w 8537122"/>
              <a:gd name="connsiteY4" fmla="*/ 8120421 h 8575811"/>
              <a:gd name="connsiteX5" fmla="*/ 7161019 w 8537122"/>
              <a:gd name="connsiteY5" fmla="*/ 8129868 h 8575811"/>
              <a:gd name="connsiteX6" fmla="*/ 7156487 w 8537122"/>
              <a:gd name="connsiteY6" fmla="*/ 8146179 h 8575811"/>
              <a:gd name="connsiteX7" fmla="*/ 7152094 w 8537122"/>
              <a:gd name="connsiteY7" fmla="*/ 8144268 h 8575811"/>
              <a:gd name="connsiteX8" fmla="*/ 7140152 w 8537122"/>
              <a:gd name="connsiteY8" fmla="*/ 8141685 h 8575811"/>
              <a:gd name="connsiteX9" fmla="*/ 7135212 w 8537122"/>
              <a:gd name="connsiteY9" fmla="*/ 8129089 h 8575811"/>
              <a:gd name="connsiteX10" fmla="*/ 7138369 w 8537122"/>
              <a:gd name="connsiteY10" fmla="*/ 8127850 h 8575811"/>
              <a:gd name="connsiteX11" fmla="*/ 7154156 w 8537122"/>
              <a:gd name="connsiteY11" fmla="*/ 8121659 h 8575811"/>
              <a:gd name="connsiteX12" fmla="*/ 7157314 w 8537122"/>
              <a:gd name="connsiteY12" fmla="*/ 8120421 h 8575811"/>
              <a:gd name="connsiteX13" fmla="*/ 7124644 w 8537122"/>
              <a:gd name="connsiteY13" fmla="*/ 8111433 h 8575811"/>
              <a:gd name="connsiteX14" fmla="*/ 7125879 w 8537122"/>
              <a:gd name="connsiteY14" fmla="*/ 8114582 h 8575811"/>
              <a:gd name="connsiteX15" fmla="*/ 7120800 w 8537122"/>
              <a:gd name="connsiteY15" fmla="*/ 8120208 h 8575811"/>
              <a:gd name="connsiteX16" fmla="*/ 7116407 w 8537122"/>
              <a:gd name="connsiteY16" fmla="*/ 8118297 h 8575811"/>
              <a:gd name="connsiteX17" fmla="*/ 7116923 w 8537122"/>
              <a:gd name="connsiteY17" fmla="*/ 8112645 h 8575811"/>
              <a:gd name="connsiteX18" fmla="*/ 7118330 w 8537122"/>
              <a:gd name="connsiteY18" fmla="*/ 8113910 h 8575811"/>
              <a:gd name="connsiteX19" fmla="*/ 7124644 w 8537122"/>
              <a:gd name="connsiteY19" fmla="*/ 8111433 h 8575811"/>
              <a:gd name="connsiteX20" fmla="*/ 7117094 w 8537122"/>
              <a:gd name="connsiteY20" fmla="*/ 8110760 h 8575811"/>
              <a:gd name="connsiteX21" fmla="*/ 7116923 w 8537122"/>
              <a:gd name="connsiteY21" fmla="*/ 8112645 h 8575811"/>
              <a:gd name="connsiteX22" fmla="*/ 7114952 w 8537122"/>
              <a:gd name="connsiteY22" fmla="*/ 8110873 h 8575811"/>
              <a:gd name="connsiteX23" fmla="*/ 4973343 w 8537122"/>
              <a:gd name="connsiteY23" fmla="*/ 7781556 h 8575811"/>
              <a:gd name="connsiteX24" fmla="*/ 4980205 w 8537122"/>
              <a:gd name="connsiteY24" fmla="*/ 7789765 h 8575811"/>
              <a:gd name="connsiteX25" fmla="*/ 4977048 w 8537122"/>
              <a:gd name="connsiteY25" fmla="*/ 7791003 h 8575811"/>
              <a:gd name="connsiteX26" fmla="*/ 4973890 w 8537122"/>
              <a:gd name="connsiteY26" fmla="*/ 7792241 h 8575811"/>
              <a:gd name="connsiteX27" fmla="*/ 4969498 w 8537122"/>
              <a:gd name="connsiteY27" fmla="*/ 7790331 h 8575811"/>
              <a:gd name="connsiteX28" fmla="*/ 4973343 w 8537122"/>
              <a:gd name="connsiteY28" fmla="*/ 7781556 h 8575811"/>
              <a:gd name="connsiteX29" fmla="*/ 5002308 w 8537122"/>
              <a:gd name="connsiteY29" fmla="*/ 7781097 h 8575811"/>
              <a:gd name="connsiteX30" fmla="*/ 5000385 w 8537122"/>
              <a:gd name="connsiteY30" fmla="*/ 7785484 h 8575811"/>
              <a:gd name="connsiteX31" fmla="*/ 4984598 w 8537122"/>
              <a:gd name="connsiteY31" fmla="*/ 7791676 h 8575811"/>
              <a:gd name="connsiteX32" fmla="*/ 4980205 w 8537122"/>
              <a:gd name="connsiteY32" fmla="*/ 7789765 h 8575811"/>
              <a:gd name="connsiteX33" fmla="*/ 4995993 w 8537122"/>
              <a:gd name="connsiteY33" fmla="*/ 7783573 h 8575811"/>
              <a:gd name="connsiteX34" fmla="*/ 5002308 w 8537122"/>
              <a:gd name="connsiteY34" fmla="*/ 7781097 h 8575811"/>
              <a:gd name="connsiteX35" fmla="*/ 4844319 w 8537122"/>
              <a:gd name="connsiteY35" fmla="*/ 7694089 h 8575811"/>
              <a:gd name="connsiteX36" fmla="*/ 4852416 w 8537122"/>
              <a:gd name="connsiteY36" fmla="*/ 7705447 h 8575811"/>
              <a:gd name="connsiteX37" fmla="*/ 4863671 w 8537122"/>
              <a:gd name="connsiteY37" fmla="*/ 7715566 h 8575811"/>
              <a:gd name="connsiteX38" fmla="*/ 4870534 w 8537122"/>
              <a:gd name="connsiteY38" fmla="*/ 7723775 h 8575811"/>
              <a:gd name="connsiteX39" fmla="*/ 4881381 w 8537122"/>
              <a:gd name="connsiteY39" fmla="*/ 7704988 h 8575811"/>
              <a:gd name="connsiteX40" fmla="*/ 4844319 w 8537122"/>
              <a:gd name="connsiteY40" fmla="*/ 7694089 h 8575811"/>
              <a:gd name="connsiteX41" fmla="*/ 3811961 w 8537122"/>
              <a:gd name="connsiteY41" fmla="*/ 7179719 h 8575811"/>
              <a:gd name="connsiteX42" fmla="*/ 3813694 w 8537122"/>
              <a:gd name="connsiteY42" fmla="*/ 7180786 h 8575811"/>
              <a:gd name="connsiteX43" fmla="*/ 3813197 w 8537122"/>
              <a:gd name="connsiteY43" fmla="*/ 7182868 h 8575811"/>
              <a:gd name="connsiteX44" fmla="*/ 3811961 w 8537122"/>
              <a:gd name="connsiteY44" fmla="*/ 7179719 h 8575811"/>
              <a:gd name="connsiteX45" fmla="*/ 7316483 w 8537122"/>
              <a:gd name="connsiteY45" fmla="*/ 6742719 h 8575811"/>
              <a:gd name="connsiteX46" fmla="*/ 7307557 w 8537122"/>
              <a:gd name="connsiteY46" fmla="*/ 6757119 h 8575811"/>
              <a:gd name="connsiteX47" fmla="*/ 7322657 w 8537122"/>
              <a:gd name="connsiteY47" fmla="*/ 6758463 h 8575811"/>
              <a:gd name="connsiteX48" fmla="*/ 7316483 w 8537122"/>
              <a:gd name="connsiteY48" fmla="*/ 6742719 h 8575811"/>
              <a:gd name="connsiteX49" fmla="*/ 3325413 w 8537122"/>
              <a:gd name="connsiteY49" fmla="*/ 5688285 h 8575811"/>
              <a:gd name="connsiteX50" fmla="*/ 3332963 w 8537122"/>
              <a:gd name="connsiteY50" fmla="*/ 5688958 h 8575811"/>
              <a:gd name="connsiteX51" fmla="*/ 3337355 w 8537122"/>
              <a:gd name="connsiteY51" fmla="*/ 5690868 h 8575811"/>
              <a:gd name="connsiteX52" fmla="*/ 3348062 w 8537122"/>
              <a:gd name="connsiteY52" fmla="*/ 5690302 h 8575811"/>
              <a:gd name="connsiteX53" fmla="*/ 3350533 w 8537122"/>
              <a:gd name="connsiteY53" fmla="*/ 5696600 h 8575811"/>
              <a:gd name="connsiteX54" fmla="*/ 3345453 w 8537122"/>
              <a:gd name="connsiteY54" fmla="*/ 5702226 h 8575811"/>
              <a:gd name="connsiteX55" fmla="*/ 3332823 w 8537122"/>
              <a:gd name="connsiteY55" fmla="*/ 5707179 h 8575811"/>
              <a:gd name="connsiteX56" fmla="*/ 3325413 w 8537122"/>
              <a:gd name="connsiteY56" fmla="*/ 5688285 h 8575811"/>
              <a:gd name="connsiteX57" fmla="*/ 2749465 w 8537122"/>
              <a:gd name="connsiteY57" fmla="*/ 5343722 h 8575811"/>
              <a:gd name="connsiteX58" fmla="*/ 2752482 w 8537122"/>
              <a:gd name="connsiteY58" fmla="*/ 5360706 h 8575811"/>
              <a:gd name="connsiteX59" fmla="*/ 2757014 w 8537122"/>
              <a:gd name="connsiteY59" fmla="*/ 5344395 h 8575811"/>
              <a:gd name="connsiteX60" fmla="*/ 2749465 w 8537122"/>
              <a:gd name="connsiteY60" fmla="*/ 5343722 h 8575811"/>
              <a:gd name="connsiteX61" fmla="*/ 6968761 w 8537122"/>
              <a:gd name="connsiteY61" fmla="*/ 4964304 h 8575811"/>
              <a:gd name="connsiteX62" fmla="*/ 6967385 w 8537122"/>
              <a:gd name="connsiteY62" fmla="*/ 4979377 h 8575811"/>
              <a:gd name="connsiteX63" fmla="*/ 6972326 w 8537122"/>
              <a:gd name="connsiteY63" fmla="*/ 4991973 h 8575811"/>
              <a:gd name="connsiteX64" fmla="*/ 6978093 w 8537122"/>
              <a:gd name="connsiteY64" fmla="*/ 4978811 h 8575811"/>
              <a:gd name="connsiteX65" fmla="*/ 6968761 w 8537122"/>
              <a:gd name="connsiteY65" fmla="*/ 4964304 h 8575811"/>
              <a:gd name="connsiteX66" fmla="*/ 1767359 w 8537122"/>
              <a:gd name="connsiteY66" fmla="*/ 4762410 h 8575811"/>
              <a:gd name="connsiteX67" fmla="*/ 1756652 w 8537122"/>
              <a:gd name="connsiteY67" fmla="*/ 4762976 h 8575811"/>
              <a:gd name="connsiteX68" fmla="*/ 1754590 w 8537122"/>
              <a:gd name="connsiteY68" fmla="*/ 4785585 h 8575811"/>
              <a:gd name="connsiteX69" fmla="*/ 1767359 w 8537122"/>
              <a:gd name="connsiteY69" fmla="*/ 4762410 h 8575811"/>
              <a:gd name="connsiteX70" fmla="*/ 396727 w 8537122"/>
              <a:gd name="connsiteY70" fmla="*/ 2633055 h 8575811"/>
              <a:gd name="connsiteX71" fmla="*/ 394762 w 8537122"/>
              <a:gd name="connsiteY71" fmla="*/ 2634435 h 8575811"/>
              <a:gd name="connsiteX72" fmla="*/ 393570 w 8537122"/>
              <a:gd name="connsiteY72" fmla="*/ 2634294 h 8575811"/>
              <a:gd name="connsiteX73" fmla="*/ 1298768 w 8537122"/>
              <a:gd name="connsiteY73" fmla="*/ 687876 h 8575811"/>
              <a:gd name="connsiteX74" fmla="*/ 1288468 w 8537122"/>
              <a:gd name="connsiteY74" fmla="*/ 717349 h 8575811"/>
              <a:gd name="connsiteX75" fmla="*/ 1298768 w 8537122"/>
              <a:gd name="connsiteY75" fmla="*/ 687876 h 8575811"/>
              <a:gd name="connsiteX76" fmla="*/ 1442088 w 8537122"/>
              <a:gd name="connsiteY76" fmla="*/ 428 h 8575811"/>
              <a:gd name="connsiteX77" fmla="*/ 1491602 w 8537122"/>
              <a:gd name="connsiteY77" fmla="*/ 9111 h 8575811"/>
              <a:gd name="connsiteX78" fmla="*/ 1494760 w 8537122"/>
              <a:gd name="connsiteY78" fmla="*/ 7873 h 8575811"/>
              <a:gd name="connsiteX79" fmla="*/ 1664015 w 8537122"/>
              <a:gd name="connsiteY79" fmla="*/ 21428 h 8575811"/>
              <a:gd name="connsiteX80" fmla="*/ 1667720 w 8537122"/>
              <a:gd name="connsiteY80" fmla="*/ 30875 h 8575811"/>
              <a:gd name="connsiteX81" fmla="*/ 1697920 w 8537122"/>
              <a:gd name="connsiteY81" fmla="*/ 33565 h 8575811"/>
              <a:gd name="connsiteX82" fmla="*/ 1715630 w 8537122"/>
              <a:gd name="connsiteY82" fmla="*/ 22986 h 8575811"/>
              <a:gd name="connsiteX83" fmla="*/ 1755850 w 8537122"/>
              <a:gd name="connsiteY83" fmla="*/ 32646 h 8575811"/>
              <a:gd name="connsiteX84" fmla="*/ 1823799 w 8537122"/>
              <a:gd name="connsiteY84" fmla="*/ 38698 h 8575811"/>
              <a:gd name="connsiteX85" fmla="*/ 1847684 w 8537122"/>
              <a:gd name="connsiteY85" fmla="*/ 43864 h 8575811"/>
              <a:gd name="connsiteX86" fmla="*/ 1898611 w 8537122"/>
              <a:gd name="connsiteY86" fmla="*/ 52959 h 8575811"/>
              <a:gd name="connsiteX87" fmla="*/ 1908084 w 8537122"/>
              <a:gd name="connsiteY87" fmla="*/ 49244 h 8575811"/>
              <a:gd name="connsiteX88" fmla="*/ 1917556 w 8537122"/>
              <a:gd name="connsiteY88" fmla="*/ 45529 h 8575811"/>
              <a:gd name="connsiteX89" fmla="*/ 1922496 w 8537122"/>
              <a:gd name="connsiteY89" fmla="*/ 58125 h 8575811"/>
              <a:gd name="connsiteX90" fmla="*/ 1942536 w 8537122"/>
              <a:gd name="connsiteY90" fmla="*/ 72066 h 8575811"/>
              <a:gd name="connsiteX91" fmla="*/ 1952008 w 8537122"/>
              <a:gd name="connsiteY91" fmla="*/ 68351 h 8575811"/>
              <a:gd name="connsiteX92" fmla="*/ 2148854 w 8537122"/>
              <a:gd name="connsiteY92" fmla="*/ 96519 h 8575811"/>
              <a:gd name="connsiteX93" fmla="*/ 2166424 w 8537122"/>
              <a:gd name="connsiteY93" fmla="*/ 104162 h 8575811"/>
              <a:gd name="connsiteX94" fmla="*/ 2212959 w 8537122"/>
              <a:gd name="connsiteY94" fmla="*/ 111346 h 8575811"/>
              <a:gd name="connsiteX95" fmla="*/ 2229294 w 8537122"/>
              <a:gd name="connsiteY95" fmla="*/ 115839 h 8575811"/>
              <a:gd name="connsiteX96" fmla="*/ 2232451 w 8537122"/>
              <a:gd name="connsiteY96" fmla="*/ 114601 h 8575811"/>
              <a:gd name="connsiteX97" fmla="*/ 2260181 w 8537122"/>
              <a:gd name="connsiteY97" fmla="*/ 110993 h 8575811"/>
              <a:gd name="connsiteX98" fmla="*/ 2262651 w 8537122"/>
              <a:gd name="connsiteY98" fmla="*/ 117291 h 8575811"/>
              <a:gd name="connsiteX99" fmla="*/ 2404038 w 8537122"/>
              <a:gd name="connsiteY99" fmla="*/ 152676 h 8575811"/>
              <a:gd name="connsiteX100" fmla="*/ 2768485 w 8537122"/>
              <a:gd name="connsiteY100" fmla="*/ 245915 h 8575811"/>
              <a:gd name="connsiteX101" fmla="*/ 2835747 w 8537122"/>
              <a:gd name="connsiteY101" fmla="*/ 259503 h 8575811"/>
              <a:gd name="connsiteX102" fmla="*/ 2866494 w 8537122"/>
              <a:gd name="connsiteY102" fmla="*/ 272878 h 8575811"/>
              <a:gd name="connsiteX103" fmla="*/ 2949404 w 8537122"/>
              <a:gd name="connsiteY103" fmla="*/ 298497 h 8575811"/>
              <a:gd name="connsiteX104" fmla="*/ 3013508 w 8537122"/>
              <a:gd name="connsiteY104" fmla="*/ 313323 h 8575811"/>
              <a:gd name="connsiteX105" fmla="*/ 3127165 w 8537122"/>
              <a:gd name="connsiteY105" fmla="*/ 352316 h 8575811"/>
              <a:gd name="connsiteX106" fmla="*/ 3143500 w 8537122"/>
              <a:gd name="connsiteY106" fmla="*/ 356810 h 8575811"/>
              <a:gd name="connsiteX107" fmla="*/ 3146657 w 8537122"/>
              <a:gd name="connsiteY107" fmla="*/ 355572 h 8575811"/>
              <a:gd name="connsiteX108" fmla="*/ 3267863 w 8537122"/>
              <a:gd name="connsiteY108" fmla="*/ 395238 h 8575811"/>
              <a:gd name="connsiteX109" fmla="*/ 3313711 w 8537122"/>
              <a:gd name="connsiteY109" fmla="*/ 409958 h 8575811"/>
              <a:gd name="connsiteX110" fmla="*/ 3465664 w 8537122"/>
              <a:gd name="connsiteY110" fmla="*/ 462999 h 8575811"/>
              <a:gd name="connsiteX111" fmla="*/ 3483235 w 8537122"/>
              <a:gd name="connsiteY111" fmla="*/ 470642 h 8575811"/>
              <a:gd name="connsiteX112" fmla="*/ 3582479 w 8537122"/>
              <a:gd name="connsiteY112" fmla="*/ 500754 h 8575811"/>
              <a:gd name="connsiteX113" fmla="*/ 3620776 w 8537122"/>
              <a:gd name="connsiteY113" fmla="*/ 514801 h 8575811"/>
              <a:gd name="connsiteX114" fmla="*/ 3711783 w 8537122"/>
              <a:gd name="connsiteY114" fmla="*/ 551777 h 8575811"/>
              <a:gd name="connsiteX115" fmla="*/ 3754473 w 8537122"/>
              <a:gd name="connsiteY115" fmla="*/ 567736 h 8575811"/>
              <a:gd name="connsiteX116" fmla="*/ 3783985 w 8537122"/>
              <a:gd name="connsiteY116" fmla="*/ 577962 h 8575811"/>
              <a:gd name="connsiteX117" fmla="*/ 3791535 w 8537122"/>
              <a:gd name="connsiteY117" fmla="*/ 578634 h 8575811"/>
              <a:gd name="connsiteX118" fmla="*/ 3809104 w 8537122"/>
              <a:gd name="connsiteY118" fmla="*/ 586277 h 8575811"/>
              <a:gd name="connsiteX119" fmla="*/ 3825439 w 8537122"/>
              <a:gd name="connsiteY119" fmla="*/ 590771 h 8575811"/>
              <a:gd name="connsiteX120" fmla="*/ 3862502 w 8537122"/>
              <a:gd name="connsiteY120" fmla="*/ 601669 h 8575811"/>
              <a:gd name="connsiteX121" fmla="*/ 3876914 w 8537122"/>
              <a:gd name="connsiteY121" fmla="*/ 610550 h 8575811"/>
              <a:gd name="connsiteX122" fmla="*/ 3893249 w 8537122"/>
              <a:gd name="connsiteY122" fmla="*/ 615044 h 8575811"/>
              <a:gd name="connsiteX123" fmla="*/ 3950351 w 8537122"/>
              <a:gd name="connsiteY123" fmla="*/ 639884 h 8575811"/>
              <a:gd name="connsiteX124" fmla="*/ 4052066 w 8537122"/>
              <a:gd name="connsiteY124" fmla="*/ 676294 h 8575811"/>
              <a:gd name="connsiteX125" fmla="*/ 4209647 w 8537122"/>
              <a:gd name="connsiteY125" fmla="*/ 734395 h 8575811"/>
              <a:gd name="connsiteX126" fmla="*/ 4227216 w 8537122"/>
              <a:gd name="connsiteY126" fmla="*/ 742037 h 8575811"/>
              <a:gd name="connsiteX127" fmla="*/ 4225294 w 8537122"/>
              <a:gd name="connsiteY127" fmla="*/ 746425 h 8575811"/>
              <a:gd name="connsiteX128" fmla="*/ 4229687 w 8537122"/>
              <a:gd name="connsiteY128" fmla="*/ 748335 h 8575811"/>
              <a:gd name="connsiteX129" fmla="*/ 4269906 w 8537122"/>
              <a:gd name="connsiteY129" fmla="*/ 757996 h 8575811"/>
              <a:gd name="connsiteX130" fmla="*/ 4284318 w 8537122"/>
              <a:gd name="connsiteY130" fmla="*/ 766877 h 8575811"/>
              <a:gd name="connsiteX131" fmla="*/ 4297496 w 8537122"/>
              <a:gd name="connsiteY131" fmla="*/ 772609 h 8575811"/>
              <a:gd name="connsiteX132" fmla="*/ 4425565 w 8537122"/>
              <a:gd name="connsiteY132" fmla="*/ 820484 h 8575811"/>
              <a:gd name="connsiteX133" fmla="*/ 4456312 w 8537122"/>
              <a:gd name="connsiteY133" fmla="*/ 833859 h 8575811"/>
              <a:gd name="connsiteX134" fmla="*/ 4500237 w 8537122"/>
              <a:gd name="connsiteY134" fmla="*/ 852966 h 8575811"/>
              <a:gd name="connsiteX135" fmla="*/ 4516572 w 8537122"/>
              <a:gd name="connsiteY135" fmla="*/ 857460 h 8575811"/>
              <a:gd name="connsiteX136" fmla="*/ 4576831 w 8537122"/>
              <a:gd name="connsiteY136" fmla="*/ 881061 h 8575811"/>
              <a:gd name="connsiteX137" fmla="*/ 4591243 w 8537122"/>
              <a:gd name="connsiteY137" fmla="*/ 889942 h 8575811"/>
              <a:gd name="connsiteX138" fmla="*/ 4659054 w 8537122"/>
              <a:gd name="connsiteY138" fmla="*/ 914216 h 8575811"/>
              <a:gd name="connsiteX139" fmla="*/ 4719313 w 8537122"/>
              <a:gd name="connsiteY139" fmla="*/ 937817 h 8575811"/>
              <a:gd name="connsiteX140" fmla="*/ 4732490 w 8537122"/>
              <a:gd name="connsiteY140" fmla="*/ 943549 h 8575811"/>
              <a:gd name="connsiteX141" fmla="*/ 4748825 w 8537122"/>
              <a:gd name="connsiteY141" fmla="*/ 948043 h 8575811"/>
              <a:gd name="connsiteX142" fmla="*/ 4763238 w 8537122"/>
              <a:gd name="connsiteY142" fmla="*/ 956924 h 8575811"/>
              <a:gd name="connsiteX143" fmla="*/ 4766395 w 8537122"/>
              <a:gd name="connsiteY143" fmla="*/ 955686 h 8575811"/>
              <a:gd name="connsiteX144" fmla="*/ 4793985 w 8537122"/>
              <a:gd name="connsiteY144" fmla="*/ 970299 h 8575811"/>
              <a:gd name="connsiteX145" fmla="*/ 4827202 w 8537122"/>
              <a:gd name="connsiteY145" fmla="*/ 989972 h 8575811"/>
              <a:gd name="connsiteX146" fmla="*/ 4839832 w 8537122"/>
              <a:gd name="connsiteY146" fmla="*/ 985019 h 8575811"/>
              <a:gd name="connsiteX147" fmla="*/ 4856167 w 8537122"/>
              <a:gd name="connsiteY147" fmla="*/ 989513 h 8575811"/>
              <a:gd name="connsiteX148" fmla="*/ 4867421 w 8537122"/>
              <a:gd name="connsiteY148" fmla="*/ 999632 h 8575811"/>
              <a:gd name="connsiteX149" fmla="*/ 4878129 w 8537122"/>
              <a:gd name="connsiteY149" fmla="*/ 999066 h 8575811"/>
              <a:gd name="connsiteX150" fmla="*/ 4901874 w 8537122"/>
              <a:gd name="connsiteY150" fmla="*/ 1022455 h 8575811"/>
              <a:gd name="connsiteX151" fmla="*/ 4906267 w 8537122"/>
              <a:gd name="connsiteY151" fmla="*/ 1024365 h 8575811"/>
              <a:gd name="connsiteX152" fmla="*/ 4938936 w 8537122"/>
              <a:gd name="connsiteY152" fmla="*/ 1033353 h 8575811"/>
              <a:gd name="connsiteX153" fmla="*/ 4954036 w 8537122"/>
              <a:gd name="connsiteY153" fmla="*/ 1034698 h 8575811"/>
              <a:gd name="connsiteX154" fmla="*/ 4955271 w 8537122"/>
              <a:gd name="connsiteY154" fmla="*/ 1037847 h 8575811"/>
              <a:gd name="connsiteX155" fmla="*/ 4972841 w 8537122"/>
              <a:gd name="connsiteY155" fmla="*/ 1045490 h 8575811"/>
              <a:gd name="connsiteX156" fmla="*/ 4976546 w 8537122"/>
              <a:gd name="connsiteY156" fmla="*/ 1054937 h 8575811"/>
              <a:gd name="connsiteX157" fmla="*/ 4986018 w 8537122"/>
              <a:gd name="connsiteY157" fmla="*/ 1051222 h 8575811"/>
              <a:gd name="connsiteX158" fmla="*/ 4989723 w 8537122"/>
              <a:gd name="connsiteY158" fmla="*/ 1060669 h 8575811"/>
              <a:gd name="connsiteX159" fmla="*/ 5002901 w 8537122"/>
              <a:gd name="connsiteY159" fmla="*/ 1066401 h 8575811"/>
              <a:gd name="connsiteX160" fmla="*/ 5026785 w 8537122"/>
              <a:gd name="connsiteY160" fmla="*/ 1071567 h 8575811"/>
              <a:gd name="connsiteX161" fmla="*/ 5036805 w 8537122"/>
              <a:gd name="connsiteY161" fmla="*/ 1078538 h 8575811"/>
              <a:gd name="connsiteX162" fmla="*/ 5081418 w 8537122"/>
              <a:gd name="connsiteY162" fmla="*/ 1090109 h 8575811"/>
              <a:gd name="connsiteX163" fmla="*/ 5112165 w 8537122"/>
              <a:gd name="connsiteY163" fmla="*/ 1103484 h 8575811"/>
              <a:gd name="connsiteX164" fmla="*/ 5159247 w 8537122"/>
              <a:gd name="connsiteY164" fmla="*/ 1121352 h 8575811"/>
              <a:gd name="connsiteX165" fmla="*/ 5172425 w 8537122"/>
              <a:gd name="connsiteY165" fmla="*/ 1127085 h 8575811"/>
              <a:gd name="connsiteX166" fmla="*/ 5203172 w 8537122"/>
              <a:gd name="connsiteY166" fmla="*/ 1140460 h 8575811"/>
              <a:gd name="connsiteX167" fmla="*/ 5223212 w 8537122"/>
              <a:gd name="connsiteY167" fmla="*/ 1154401 h 8575811"/>
              <a:gd name="connsiteX168" fmla="*/ 5260274 w 8537122"/>
              <a:gd name="connsiteY168" fmla="*/ 1165299 h 8575811"/>
              <a:gd name="connsiteX169" fmla="*/ 5304198 w 8537122"/>
              <a:gd name="connsiteY169" fmla="*/ 1184407 h 8575811"/>
              <a:gd name="connsiteX170" fmla="*/ 5378871 w 8537122"/>
              <a:gd name="connsiteY170" fmla="*/ 1216889 h 8575811"/>
              <a:gd name="connsiteX171" fmla="*/ 5395206 w 8537122"/>
              <a:gd name="connsiteY171" fmla="*/ 1221383 h 8575811"/>
              <a:gd name="connsiteX172" fmla="*/ 5413322 w 8537122"/>
              <a:gd name="connsiteY172" fmla="*/ 1239711 h 8575811"/>
              <a:gd name="connsiteX173" fmla="*/ 5481132 w 8537122"/>
              <a:gd name="connsiteY173" fmla="*/ 1263984 h 8575811"/>
              <a:gd name="connsiteX174" fmla="*/ 5525056 w 8537122"/>
              <a:gd name="connsiteY174" fmla="*/ 1283092 h 8575811"/>
              <a:gd name="connsiteX175" fmla="*/ 5557727 w 8537122"/>
              <a:gd name="connsiteY175" fmla="*/ 1292080 h 8575811"/>
              <a:gd name="connsiteX176" fmla="*/ 5555804 w 8537122"/>
              <a:gd name="connsiteY176" fmla="*/ 1296467 h 8575811"/>
              <a:gd name="connsiteX177" fmla="*/ 5592178 w 8537122"/>
              <a:gd name="connsiteY177" fmla="*/ 1314902 h 8575811"/>
              <a:gd name="connsiteX178" fmla="*/ 5747838 w 8537122"/>
              <a:gd name="connsiteY178" fmla="*/ 1377390 h 8575811"/>
              <a:gd name="connsiteX179" fmla="*/ 5762250 w 8537122"/>
              <a:gd name="connsiteY179" fmla="*/ 1386271 h 8575811"/>
              <a:gd name="connsiteX180" fmla="*/ 5784212 w 8537122"/>
              <a:gd name="connsiteY180" fmla="*/ 1395824 h 8575811"/>
              <a:gd name="connsiteX181" fmla="*/ 5785447 w 8537122"/>
              <a:gd name="connsiteY181" fmla="*/ 1398973 h 8575811"/>
              <a:gd name="connsiteX182" fmla="*/ 5838844 w 8537122"/>
              <a:gd name="connsiteY182" fmla="*/ 1414366 h 8575811"/>
              <a:gd name="connsiteX183" fmla="*/ 5931634 w 8537122"/>
              <a:gd name="connsiteY183" fmla="*/ 1465176 h 8575811"/>
              <a:gd name="connsiteX184" fmla="*/ 5944811 w 8537122"/>
              <a:gd name="connsiteY184" fmla="*/ 1470908 h 8575811"/>
              <a:gd name="connsiteX185" fmla="*/ 5961146 w 8537122"/>
              <a:gd name="connsiteY185" fmla="*/ 1475402 h 8575811"/>
              <a:gd name="connsiteX186" fmla="*/ 6019483 w 8537122"/>
              <a:gd name="connsiteY186" fmla="*/ 1503391 h 8575811"/>
              <a:gd name="connsiteX187" fmla="*/ 6063407 w 8537122"/>
              <a:gd name="connsiteY187" fmla="*/ 1522498 h 8575811"/>
              <a:gd name="connsiteX188" fmla="*/ 6097860 w 8537122"/>
              <a:gd name="connsiteY188" fmla="*/ 1545320 h 8575811"/>
              <a:gd name="connsiteX189" fmla="*/ 6112272 w 8537122"/>
              <a:gd name="connsiteY189" fmla="*/ 1554201 h 8575811"/>
              <a:gd name="connsiteX190" fmla="*/ 6111037 w 8537122"/>
              <a:gd name="connsiteY190" fmla="*/ 1551052 h 8575811"/>
              <a:gd name="connsiteX191" fmla="*/ 6247204 w 8537122"/>
              <a:gd name="connsiteY191" fmla="*/ 1610285 h 8575811"/>
              <a:gd name="connsiteX192" fmla="*/ 6287971 w 8537122"/>
              <a:gd name="connsiteY192" fmla="*/ 1630630 h 8575811"/>
              <a:gd name="connsiteX193" fmla="*/ 6305541 w 8537122"/>
              <a:gd name="connsiteY193" fmla="*/ 1638273 h 8575811"/>
              <a:gd name="connsiteX194" fmla="*/ 6351935 w 8537122"/>
              <a:gd name="connsiteY194" fmla="*/ 1663678 h 8575811"/>
              <a:gd name="connsiteX195" fmla="*/ 6355093 w 8537122"/>
              <a:gd name="connsiteY195" fmla="*/ 1662440 h 8575811"/>
              <a:gd name="connsiteX196" fmla="*/ 6417135 w 8537122"/>
              <a:gd name="connsiteY196" fmla="*/ 1699876 h 8575811"/>
              <a:gd name="connsiteX197" fmla="*/ 6424685 w 8537122"/>
              <a:gd name="connsiteY197" fmla="*/ 1700548 h 8575811"/>
              <a:gd name="connsiteX198" fmla="*/ 6427842 w 8537122"/>
              <a:gd name="connsiteY198" fmla="*/ 1699310 h 8575811"/>
              <a:gd name="connsiteX199" fmla="*/ 6433470 w 8537122"/>
              <a:gd name="connsiteY199" fmla="*/ 1704369 h 8575811"/>
              <a:gd name="connsiteX200" fmla="*/ 6441020 w 8537122"/>
              <a:gd name="connsiteY200" fmla="*/ 1705042 h 8575811"/>
              <a:gd name="connsiteX201" fmla="*/ 6442255 w 8537122"/>
              <a:gd name="connsiteY201" fmla="*/ 1708191 h 8575811"/>
              <a:gd name="connsiteX202" fmla="*/ 6444725 w 8537122"/>
              <a:gd name="connsiteY202" fmla="*/ 1714489 h 8575811"/>
              <a:gd name="connsiteX203" fmla="*/ 6455432 w 8537122"/>
              <a:gd name="connsiteY203" fmla="*/ 1713923 h 8575811"/>
              <a:gd name="connsiteX204" fmla="*/ 6471767 w 8537122"/>
              <a:gd name="connsiteY204" fmla="*/ 1718417 h 8575811"/>
              <a:gd name="connsiteX205" fmla="*/ 6504984 w 8537122"/>
              <a:gd name="connsiteY205" fmla="*/ 1738090 h 8575811"/>
              <a:gd name="connsiteX206" fmla="*/ 6577734 w 8537122"/>
              <a:gd name="connsiteY206" fmla="*/ 1774959 h 8575811"/>
              <a:gd name="connsiteX207" fmla="*/ 6621658 w 8537122"/>
              <a:gd name="connsiteY207" fmla="*/ 1794067 h 8575811"/>
              <a:gd name="connsiteX208" fmla="*/ 6658033 w 8537122"/>
              <a:gd name="connsiteY208" fmla="*/ 1812502 h 8575811"/>
              <a:gd name="connsiteX209" fmla="*/ 6672445 w 8537122"/>
              <a:gd name="connsiteY209" fmla="*/ 1821383 h 8575811"/>
              <a:gd name="connsiteX210" fmla="*/ 6685623 w 8537122"/>
              <a:gd name="connsiteY210" fmla="*/ 1827115 h 8575811"/>
              <a:gd name="connsiteX211" fmla="*/ 6705663 w 8537122"/>
              <a:gd name="connsiteY211" fmla="*/ 1841056 h 8575811"/>
              <a:gd name="connsiteX212" fmla="*/ 6713213 w 8537122"/>
              <a:gd name="connsiteY212" fmla="*/ 1841728 h 8575811"/>
              <a:gd name="connsiteX213" fmla="*/ 6721998 w 8537122"/>
              <a:gd name="connsiteY213" fmla="*/ 1845550 h 8575811"/>
              <a:gd name="connsiteX214" fmla="*/ 6747117 w 8537122"/>
              <a:gd name="connsiteY214" fmla="*/ 1853865 h 8575811"/>
              <a:gd name="connsiteX215" fmla="*/ 6753980 w 8537122"/>
              <a:gd name="connsiteY215" fmla="*/ 1862074 h 8575811"/>
              <a:gd name="connsiteX216" fmla="*/ 6791043 w 8537122"/>
              <a:gd name="connsiteY216" fmla="*/ 1872972 h 8575811"/>
              <a:gd name="connsiteX217" fmla="*/ 6801750 w 8537122"/>
              <a:gd name="connsiteY217" fmla="*/ 1872406 h 8575811"/>
              <a:gd name="connsiteX218" fmla="*/ 6807377 w 8537122"/>
              <a:gd name="connsiteY218" fmla="*/ 1877466 h 8575811"/>
              <a:gd name="connsiteX219" fmla="*/ 6809847 w 8537122"/>
              <a:gd name="connsiteY219" fmla="*/ 1883764 h 8575811"/>
              <a:gd name="connsiteX220" fmla="*/ 6818632 w 8537122"/>
              <a:gd name="connsiteY220" fmla="*/ 1887586 h 8575811"/>
              <a:gd name="connsiteX221" fmla="*/ 6819867 w 8537122"/>
              <a:gd name="connsiteY221" fmla="*/ 1890735 h 8575811"/>
              <a:gd name="connsiteX222" fmla="*/ 6825494 w 8537122"/>
              <a:gd name="connsiteY222" fmla="*/ 1895794 h 8575811"/>
              <a:gd name="connsiteX223" fmla="*/ 6834967 w 8537122"/>
              <a:gd name="connsiteY223" fmla="*/ 1892080 h 8575811"/>
              <a:gd name="connsiteX224" fmla="*/ 6897009 w 8537122"/>
              <a:gd name="connsiteY224" fmla="*/ 1929515 h 8575811"/>
              <a:gd name="connsiteX225" fmla="*/ 6913344 w 8537122"/>
              <a:gd name="connsiteY225" fmla="*/ 1934009 h 8575811"/>
              <a:gd name="connsiteX226" fmla="*/ 6926521 w 8537122"/>
              <a:gd name="connsiteY226" fmla="*/ 1939741 h 8575811"/>
              <a:gd name="connsiteX227" fmla="*/ 6940933 w 8537122"/>
              <a:gd name="connsiteY227" fmla="*/ 1948622 h 8575811"/>
              <a:gd name="connsiteX228" fmla="*/ 6957268 w 8537122"/>
              <a:gd name="connsiteY228" fmla="*/ 1953116 h 8575811"/>
              <a:gd name="connsiteX229" fmla="*/ 6971681 w 8537122"/>
              <a:gd name="connsiteY229" fmla="*/ 1961997 h 8575811"/>
              <a:gd name="connsiteX230" fmla="*/ 7022468 w 8537122"/>
              <a:gd name="connsiteY230" fmla="*/ 1989313 h 8575811"/>
              <a:gd name="connsiteX231" fmla="*/ 7033723 w 8537122"/>
              <a:gd name="connsiteY231" fmla="*/ 1999433 h 8575811"/>
              <a:gd name="connsiteX232" fmla="*/ 7050058 w 8537122"/>
              <a:gd name="connsiteY232" fmla="*/ 2003927 h 8575811"/>
              <a:gd name="connsiteX233" fmla="*/ 7061313 w 8537122"/>
              <a:gd name="connsiteY233" fmla="*/ 2014046 h 8575811"/>
              <a:gd name="connsiteX234" fmla="*/ 7068175 w 8537122"/>
              <a:gd name="connsiteY234" fmla="*/ 2022255 h 8575811"/>
              <a:gd name="connsiteX235" fmla="*/ 7074490 w 8537122"/>
              <a:gd name="connsiteY235" fmla="*/ 2019778 h 8575811"/>
              <a:gd name="connsiteX236" fmla="*/ 7077648 w 8537122"/>
              <a:gd name="connsiteY236" fmla="*/ 2018540 h 8575811"/>
              <a:gd name="connsiteX237" fmla="*/ 7090825 w 8537122"/>
              <a:gd name="connsiteY237" fmla="*/ 2024272 h 8575811"/>
              <a:gd name="connsiteX238" fmla="*/ 7096452 w 8537122"/>
              <a:gd name="connsiteY238" fmla="*/ 2029332 h 8575811"/>
              <a:gd name="connsiteX239" fmla="*/ 7103315 w 8537122"/>
              <a:gd name="connsiteY239" fmla="*/ 2037541 h 8575811"/>
              <a:gd name="connsiteX240" fmla="*/ 7104550 w 8537122"/>
              <a:gd name="connsiteY240" fmla="*/ 2040690 h 8575811"/>
              <a:gd name="connsiteX241" fmla="*/ 7144629 w 8537122"/>
              <a:gd name="connsiteY241" fmla="*/ 2068571 h 8575811"/>
              <a:gd name="connsiteX242" fmla="*/ 7196244 w 8537122"/>
              <a:gd name="connsiteY242" fmla="*/ 2070129 h 8575811"/>
              <a:gd name="connsiteX243" fmla="*/ 7227539 w 8537122"/>
              <a:gd name="connsiteY243" fmla="*/ 2094190 h 8575811"/>
              <a:gd name="connsiteX244" fmla="*/ 7247579 w 8537122"/>
              <a:gd name="connsiteY244" fmla="*/ 2108131 h 8575811"/>
              <a:gd name="connsiteX245" fmla="*/ 7278326 w 8537122"/>
              <a:gd name="connsiteY245" fmla="*/ 2121506 h 8575811"/>
              <a:gd name="connsiteX246" fmla="*/ 7292738 w 8537122"/>
              <a:gd name="connsiteY246" fmla="*/ 2130387 h 8575811"/>
              <a:gd name="connsiteX247" fmla="*/ 7309073 w 8537122"/>
              <a:gd name="connsiteY247" fmla="*/ 2134881 h 8575811"/>
              <a:gd name="connsiteX248" fmla="*/ 7325955 w 8537122"/>
              <a:gd name="connsiteY248" fmla="*/ 2150060 h 8575811"/>
              <a:gd name="connsiteX249" fmla="*/ 7340368 w 8537122"/>
              <a:gd name="connsiteY249" fmla="*/ 2158941 h 8575811"/>
              <a:gd name="connsiteX250" fmla="*/ 7356703 w 8537122"/>
              <a:gd name="connsiteY250" fmla="*/ 2163436 h 8575811"/>
              <a:gd name="connsiteX251" fmla="*/ 7401862 w 8537122"/>
              <a:gd name="connsiteY251" fmla="*/ 2185691 h 8575811"/>
              <a:gd name="connsiteX252" fmla="*/ 7411195 w 8537122"/>
              <a:gd name="connsiteY252" fmla="*/ 2200199 h 8575811"/>
              <a:gd name="connsiteX253" fmla="*/ 7418745 w 8537122"/>
              <a:gd name="connsiteY253" fmla="*/ 2200871 h 8575811"/>
              <a:gd name="connsiteX254" fmla="*/ 7421902 w 8537122"/>
              <a:gd name="connsiteY254" fmla="*/ 2199633 h 8575811"/>
              <a:gd name="connsiteX255" fmla="*/ 7435079 w 8537122"/>
              <a:gd name="connsiteY255" fmla="*/ 2205365 h 8575811"/>
              <a:gd name="connsiteX256" fmla="*/ 7438784 w 8537122"/>
              <a:gd name="connsiteY256" fmla="*/ 2214812 h 8575811"/>
              <a:gd name="connsiteX257" fmla="*/ 7448804 w 8537122"/>
              <a:gd name="connsiteY257" fmla="*/ 2221783 h 8575811"/>
              <a:gd name="connsiteX258" fmla="*/ 7456354 w 8537122"/>
              <a:gd name="connsiteY258" fmla="*/ 2222455 h 8575811"/>
              <a:gd name="connsiteX259" fmla="*/ 7457589 w 8537122"/>
              <a:gd name="connsiteY259" fmla="*/ 2225604 h 8575811"/>
              <a:gd name="connsiteX260" fmla="*/ 7458824 w 8537122"/>
              <a:gd name="connsiteY260" fmla="*/ 2228753 h 8575811"/>
              <a:gd name="connsiteX261" fmla="*/ 7460059 w 8537122"/>
              <a:gd name="connsiteY261" fmla="*/ 2231902 h 8575811"/>
              <a:gd name="connsiteX262" fmla="*/ 7473237 w 8537122"/>
              <a:gd name="connsiteY262" fmla="*/ 2237634 h 8575811"/>
              <a:gd name="connsiteX263" fmla="*/ 7476394 w 8537122"/>
              <a:gd name="connsiteY263" fmla="*/ 2236396 h 8575811"/>
              <a:gd name="connsiteX264" fmla="*/ 7493964 w 8537122"/>
              <a:gd name="connsiteY264" fmla="*/ 2244038 h 8575811"/>
              <a:gd name="connsiteX265" fmla="*/ 7499044 w 8537122"/>
              <a:gd name="connsiteY265" fmla="*/ 2238413 h 8575811"/>
              <a:gd name="connsiteX266" fmla="*/ 7513456 w 8537122"/>
              <a:gd name="connsiteY266" fmla="*/ 2247294 h 8575811"/>
              <a:gd name="connsiteX267" fmla="*/ 7527869 w 8537122"/>
              <a:gd name="connsiteY267" fmla="*/ 2256175 h 8575811"/>
              <a:gd name="connsiteX268" fmla="*/ 7544204 w 8537122"/>
              <a:gd name="connsiteY268" fmla="*/ 2260669 h 8575811"/>
              <a:gd name="connsiteX269" fmla="*/ 7545439 w 8537122"/>
              <a:gd name="connsiteY269" fmla="*/ 2263818 h 8575811"/>
              <a:gd name="connsiteX270" fmla="*/ 7555459 w 8537122"/>
              <a:gd name="connsiteY270" fmla="*/ 2270789 h 8575811"/>
              <a:gd name="connsiteX271" fmla="*/ 7563556 w 8537122"/>
              <a:gd name="connsiteY271" fmla="*/ 2282147 h 8575811"/>
              <a:gd name="connsiteX272" fmla="*/ 7569183 w 8537122"/>
              <a:gd name="connsiteY272" fmla="*/ 2287206 h 8575811"/>
              <a:gd name="connsiteX273" fmla="*/ 7586206 w 8537122"/>
              <a:gd name="connsiteY273" fmla="*/ 2284164 h 8575811"/>
              <a:gd name="connsiteX274" fmla="*/ 7605011 w 8537122"/>
              <a:gd name="connsiteY274" fmla="*/ 2294956 h 8575811"/>
              <a:gd name="connsiteX275" fmla="*/ 7609403 w 8537122"/>
              <a:gd name="connsiteY275" fmla="*/ 2296867 h 8575811"/>
              <a:gd name="connsiteX276" fmla="*/ 7622581 w 8537122"/>
              <a:gd name="connsiteY276" fmla="*/ 2302598 h 8575811"/>
              <a:gd name="connsiteX277" fmla="*/ 7636993 w 8537122"/>
              <a:gd name="connsiteY277" fmla="*/ 2311480 h 8575811"/>
              <a:gd name="connsiteX278" fmla="*/ 7671993 w 8537122"/>
              <a:gd name="connsiteY278" fmla="*/ 2344987 h 8575811"/>
              <a:gd name="connsiteX279" fmla="*/ 7700270 w 8537122"/>
              <a:gd name="connsiteY279" fmla="*/ 2352065 h 8575811"/>
              <a:gd name="connsiteX280" fmla="*/ 7713447 w 8537122"/>
              <a:gd name="connsiteY280" fmla="*/ 2357796 h 8575811"/>
              <a:gd name="connsiteX281" fmla="*/ 7763000 w 8537122"/>
              <a:gd name="connsiteY281" fmla="*/ 2381964 h 8575811"/>
              <a:gd name="connsiteX282" fmla="*/ 7808159 w 8537122"/>
              <a:gd name="connsiteY282" fmla="*/ 2404220 h 8575811"/>
              <a:gd name="connsiteX283" fmla="*/ 7822572 w 8537122"/>
              <a:gd name="connsiteY283" fmla="*/ 2413101 h 8575811"/>
              <a:gd name="connsiteX284" fmla="*/ 7839454 w 8537122"/>
              <a:gd name="connsiteY284" fmla="*/ 2428280 h 8575811"/>
              <a:gd name="connsiteX285" fmla="*/ 7855789 w 8537122"/>
              <a:gd name="connsiteY285" fmla="*/ 2432774 h 8575811"/>
              <a:gd name="connsiteX286" fmla="*/ 7868966 w 8537122"/>
              <a:gd name="connsiteY286" fmla="*/ 2438506 h 8575811"/>
              <a:gd name="connsiteX287" fmla="*/ 7886536 w 8537122"/>
              <a:gd name="connsiteY287" fmla="*/ 2446149 h 8575811"/>
              <a:gd name="connsiteX288" fmla="*/ 7897791 w 8537122"/>
              <a:gd name="connsiteY288" fmla="*/ 2456268 h 8575811"/>
              <a:gd name="connsiteX289" fmla="*/ 7915361 w 8537122"/>
              <a:gd name="connsiteY289" fmla="*/ 2463911 h 8575811"/>
              <a:gd name="connsiteX290" fmla="*/ 7916596 w 8537122"/>
              <a:gd name="connsiteY290" fmla="*/ 2467060 h 8575811"/>
              <a:gd name="connsiteX291" fmla="*/ 7920988 w 8537122"/>
              <a:gd name="connsiteY291" fmla="*/ 2468971 h 8575811"/>
              <a:gd name="connsiteX292" fmla="*/ 7934166 w 8537122"/>
              <a:gd name="connsiteY292" fmla="*/ 2474703 h 8575811"/>
              <a:gd name="connsiteX293" fmla="*/ 7948578 w 8537122"/>
              <a:gd name="connsiteY293" fmla="*/ 2483584 h 8575811"/>
              <a:gd name="connsiteX294" fmla="*/ 7983030 w 8537122"/>
              <a:gd name="connsiteY294" fmla="*/ 2506407 h 8575811"/>
              <a:gd name="connsiteX295" fmla="*/ 7996208 w 8537122"/>
              <a:gd name="connsiteY295" fmla="*/ 2512139 h 8575811"/>
              <a:gd name="connsiteX296" fmla="*/ 8016248 w 8537122"/>
              <a:gd name="connsiteY296" fmla="*/ 2526080 h 8575811"/>
              <a:gd name="connsiteX297" fmla="*/ 8043837 w 8537122"/>
              <a:gd name="connsiteY297" fmla="*/ 2540693 h 8575811"/>
              <a:gd name="connsiteX298" fmla="*/ 8060172 w 8537122"/>
              <a:gd name="connsiteY298" fmla="*/ 2545187 h 8575811"/>
              <a:gd name="connsiteX299" fmla="*/ 8061407 w 8537122"/>
              <a:gd name="connsiteY299" fmla="*/ 2548336 h 8575811"/>
              <a:gd name="connsiteX300" fmla="*/ 8088997 w 8537122"/>
              <a:gd name="connsiteY300" fmla="*/ 2562949 h 8575811"/>
              <a:gd name="connsiteX301" fmla="*/ 8103409 w 8537122"/>
              <a:gd name="connsiteY301" fmla="*/ 2571831 h 8575811"/>
              <a:gd name="connsiteX302" fmla="*/ 8139784 w 8537122"/>
              <a:gd name="connsiteY302" fmla="*/ 2590265 h 8575811"/>
              <a:gd name="connsiteX303" fmla="*/ 8152962 w 8537122"/>
              <a:gd name="connsiteY303" fmla="*/ 2595998 h 8575811"/>
              <a:gd name="connsiteX304" fmla="*/ 8167374 w 8537122"/>
              <a:gd name="connsiteY304" fmla="*/ 2604879 h 8575811"/>
              <a:gd name="connsiteX305" fmla="*/ 8183021 w 8537122"/>
              <a:gd name="connsiteY305" fmla="*/ 2616909 h 8575811"/>
              <a:gd name="connsiteX306" fmla="*/ 8184256 w 8537122"/>
              <a:gd name="connsiteY306" fmla="*/ 2620058 h 8575811"/>
              <a:gd name="connsiteX307" fmla="*/ 8187414 w 8537122"/>
              <a:gd name="connsiteY307" fmla="*/ 2618820 h 8575811"/>
              <a:gd name="connsiteX308" fmla="*/ 8201826 w 8537122"/>
              <a:gd name="connsiteY308" fmla="*/ 2627701 h 8575811"/>
              <a:gd name="connsiteX309" fmla="*/ 8245751 w 8537122"/>
              <a:gd name="connsiteY309" fmla="*/ 2646808 h 8575811"/>
              <a:gd name="connsiteX310" fmla="*/ 8260163 w 8537122"/>
              <a:gd name="connsiteY310" fmla="*/ 2655689 h 8575811"/>
              <a:gd name="connsiteX311" fmla="*/ 8274576 w 8537122"/>
              <a:gd name="connsiteY311" fmla="*/ 2664571 h 8575811"/>
              <a:gd name="connsiteX312" fmla="*/ 8283361 w 8537122"/>
              <a:gd name="connsiteY312" fmla="*/ 2668392 h 8575811"/>
              <a:gd name="connsiteX313" fmla="*/ 8293381 w 8537122"/>
              <a:gd name="connsiteY313" fmla="*/ 2675363 h 8575811"/>
              <a:gd name="connsiteX314" fmla="*/ 8324128 w 8537122"/>
              <a:gd name="connsiteY314" fmla="*/ 2688738 h 8575811"/>
              <a:gd name="connsiteX315" fmla="*/ 8338540 w 8537122"/>
              <a:gd name="connsiteY315" fmla="*/ 2697619 h 8575811"/>
              <a:gd name="connsiteX316" fmla="*/ 8371757 w 8537122"/>
              <a:gd name="connsiteY316" fmla="*/ 2717292 h 8575811"/>
              <a:gd name="connsiteX317" fmla="*/ 8374915 w 8537122"/>
              <a:gd name="connsiteY317" fmla="*/ 2716053 h 8575811"/>
              <a:gd name="connsiteX318" fmla="*/ 8388092 w 8537122"/>
              <a:gd name="connsiteY318" fmla="*/ 2721786 h 8575811"/>
              <a:gd name="connsiteX319" fmla="*/ 8430094 w 8537122"/>
              <a:gd name="connsiteY319" fmla="*/ 2745280 h 8575811"/>
              <a:gd name="connsiteX320" fmla="*/ 8444507 w 8537122"/>
              <a:gd name="connsiteY320" fmla="*/ 2754162 h 8575811"/>
              <a:gd name="connsiteX321" fmla="*/ 8457684 w 8537122"/>
              <a:gd name="connsiteY321" fmla="*/ 2759894 h 8575811"/>
              <a:gd name="connsiteX322" fmla="*/ 8479647 w 8537122"/>
              <a:gd name="connsiteY322" fmla="*/ 2769447 h 8575811"/>
              <a:gd name="connsiteX323" fmla="*/ 8488431 w 8537122"/>
              <a:gd name="connsiteY323" fmla="*/ 2773268 h 8575811"/>
              <a:gd name="connsiteX324" fmla="*/ 8504766 w 8537122"/>
              <a:gd name="connsiteY324" fmla="*/ 2777763 h 8575811"/>
              <a:gd name="connsiteX325" fmla="*/ 8522884 w 8537122"/>
              <a:gd name="connsiteY325" fmla="*/ 2796091 h 8575811"/>
              <a:gd name="connsiteX326" fmla="*/ 8508879 w 8537122"/>
              <a:gd name="connsiteY326" fmla="*/ 2816117 h 8575811"/>
              <a:gd name="connsiteX327" fmla="*/ 8485541 w 8537122"/>
              <a:gd name="connsiteY327" fmla="*/ 2821636 h 8575811"/>
              <a:gd name="connsiteX328" fmla="*/ 8476757 w 8537122"/>
              <a:gd name="connsiteY328" fmla="*/ 2817814 h 8575811"/>
              <a:gd name="connsiteX329" fmla="*/ 8485541 w 8537122"/>
              <a:gd name="connsiteY329" fmla="*/ 2821636 h 8575811"/>
              <a:gd name="connsiteX330" fmla="*/ 8519434 w 8537122"/>
              <a:gd name="connsiteY330" fmla="*/ 2917345 h 8575811"/>
              <a:gd name="connsiteX331" fmla="*/ 8516276 w 8537122"/>
              <a:gd name="connsiteY331" fmla="*/ 2918583 h 8575811"/>
              <a:gd name="connsiteX332" fmla="*/ 8498706 w 8537122"/>
              <a:gd name="connsiteY332" fmla="*/ 2910940 h 8575811"/>
              <a:gd name="connsiteX333" fmla="*/ 8444214 w 8537122"/>
              <a:gd name="connsiteY333" fmla="*/ 2874177 h 8575811"/>
              <a:gd name="connsiteX334" fmla="*/ 8463834 w 8537122"/>
              <a:gd name="connsiteY334" fmla="*/ 2942784 h 8575811"/>
              <a:gd name="connsiteX335" fmla="*/ 8484154 w 8537122"/>
              <a:gd name="connsiteY335" fmla="*/ 2920281 h 8575811"/>
              <a:gd name="connsiteX336" fmla="*/ 8500489 w 8537122"/>
              <a:gd name="connsiteY336" fmla="*/ 2924775 h 8575811"/>
              <a:gd name="connsiteX337" fmla="*/ 8507351 w 8537122"/>
              <a:gd name="connsiteY337" fmla="*/ 2932983 h 8575811"/>
              <a:gd name="connsiteX338" fmla="*/ 8516264 w 8537122"/>
              <a:gd name="connsiteY338" fmla="*/ 3002156 h 8575811"/>
              <a:gd name="connsiteX339" fmla="*/ 8527239 w 8537122"/>
              <a:gd name="connsiteY339" fmla="*/ 3048719 h 8575811"/>
              <a:gd name="connsiteX340" fmla="*/ 8520644 w 8537122"/>
              <a:gd name="connsiteY340" fmla="*/ 3087639 h 8575811"/>
              <a:gd name="connsiteX341" fmla="*/ 8449397 w 8537122"/>
              <a:gd name="connsiteY341" fmla="*/ 3101047 h 8575811"/>
              <a:gd name="connsiteX342" fmla="*/ 8436219 w 8537122"/>
              <a:gd name="connsiteY342" fmla="*/ 3095315 h 8575811"/>
              <a:gd name="connsiteX343" fmla="*/ 8433062 w 8537122"/>
              <a:gd name="connsiteY343" fmla="*/ 3096553 h 8575811"/>
              <a:gd name="connsiteX344" fmla="*/ 8397235 w 8537122"/>
              <a:gd name="connsiteY344" fmla="*/ 3088804 h 8575811"/>
              <a:gd name="connsiteX345" fmla="*/ 8382822 w 8537122"/>
              <a:gd name="connsiteY345" fmla="*/ 3079923 h 8575811"/>
              <a:gd name="connsiteX346" fmla="*/ 8325720 w 8537122"/>
              <a:gd name="connsiteY346" fmla="*/ 3055083 h 8575811"/>
              <a:gd name="connsiteX347" fmla="*/ 8298678 w 8537122"/>
              <a:gd name="connsiteY347" fmla="*/ 3051155 h 8575811"/>
              <a:gd name="connsiteX348" fmla="*/ 8211376 w 8537122"/>
              <a:gd name="connsiteY348" fmla="*/ 3023626 h 8575811"/>
              <a:gd name="connsiteX349" fmla="*/ 8100877 w 8537122"/>
              <a:gd name="connsiteY349" fmla="*/ 2983394 h 8575811"/>
              <a:gd name="connsiteX350" fmla="*/ 8019343 w 8537122"/>
              <a:gd name="connsiteY350" fmla="*/ 2942703 h 8575811"/>
              <a:gd name="connsiteX351" fmla="*/ 8037052 w 8537122"/>
              <a:gd name="connsiteY351" fmla="*/ 2932124 h 8575811"/>
              <a:gd name="connsiteX352" fmla="*/ 8033347 w 8537122"/>
              <a:gd name="connsiteY352" fmla="*/ 2922677 h 8575811"/>
              <a:gd name="connsiteX353" fmla="*/ 8019343 w 8537122"/>
              <a:gd name="connsiteY353" fmla="*/ 2942703 h 8575811"/>
              <a:gd name="connsiteX354" fmla="*/ 8008635 w 8537122"/>
              <a:gd name="connsiteY354" fmla="*/ 2943269 h 8575811"/>
              <a:gd name="connsiteX355" fmla="*/ 7936433 w 8537122"/>
              <a:gd name="connsiteY355" fmla="*/ 2917085 h 8575811"/>
              <a:gd name="connsiteX356" fmla="*/ 7911313 w 8537122"/>
              <a:gd name="connsiteY356" fmla="*/ 2908769 h 8575811"/>
              <a:gd name="connsiteX357" fmla="*/ 7814131 w 8537122"/>
              <a:gd name="connsiteY357" fmla="*/ 2856048 h 8575811"/>
              <a:gd name="connsiteX358" fmla="*/ 7776382 w 8537122"/>
              <a:gd name="connsiteY358" fmla="*/ 2852686 h 8575811"/>
              <a:gd name="connsiteX359" fmla="*/ 7732457 w 8537122"/>
              <a:gd name="connsiteY359" fmla="*/ 2833579 h 8575811"/>
              <a:gd name="connsiteX360" fmla="*/ 7718045 w 8537122"/>
              <a:gd name="connsiteY360" fmla="*/ 2824698 h 8575811"/>
              <a:gd name="connsiteX361" fmla="*/ 7701710 w 8537122"/>
              <a:gd name="connsiteY361" fmla="*/ 2820204 h 8575811"/>
              <a:gd name="connsiteX362" fmla="*/ 7657238 w 8537122"/>
              <a:gd name="connsiteY362" fmla="*/ 2790411 h 8575811"/>
              <a:gd name="connsiteX363" fmla="*/ 7562526 w 8537122"/>
              <a:gd name="connsiteY363" fmla="*/ 2743988 h 8575811"/>
              <a:gd name="connsiteX364" fmla="*/ 7496499 w 8537122"/>
              <a:gd name="connsiteY364" fmla="*/ 2733549 h 8575811"/>
              <a:gd name="connsiteX365" fmla="*/ 7425532 w 8537122"/>
              <a:gd name="connsiteY365" fmla="*/ 2710514 h 8575811"/>
              <a:gd name="connsiteX366" fmla="*/ 7337683 w 8537122"/>
              <a:gd name="connsiteY366" fmla="*/ 2672299 h 8575811"/>
              <a:gd name="connsiteX367" fmla="*/ 7321348 w 8537122"/>
              <a:gd name="connsiteY367" fmla="*/ 2667806 h 8575811"/>
              <a:gd name="connsiteX368" fmla="*/ 7279893 w 8537122"/>
              <a:gd name="connsiteY368" fmla="*/ 2654996 h 8575811"/>
              <a:gd name="connsiteX369" fmla="*/ 7277283 w 8537122"/>
              <a:gd name="connsiteY369" fmla="*/ 2666920 h 8575811"/>
              <a:gd name="connsiteX370" fmla="*/ 7321895 w 8537122"/>
              <a:gd name="connsiteY370" fmla="*/ 2678491 h 8575811"/>
              <a:gd name="connsiteX371" fmla="*/ 7328210 w 8537122"/>
              <a:gd name="connsiteY371" fmla="*/ 2676014 h 8575811"/>
              <a:gd name="connsiteX372" fmla="*/ 7343858 w 8537122"/>
              <a:gd name="connsiteY372" fmla="*/ 2688045 h 8575811"/>
              <a:gd name="connsiteX373" fmla="*/ 7430472 w 8537122"/>
              <a:gd name="connsiteY373" fmla="*/ 2723110 h 8575811"/>
              <a:gd name="connsiteX374" fmla="*/ 7501986 w 8537122"/>
              <a:gd name="connsiteY374" fmla="*/ 2756831 h 8575811"/>
              <a:gd name="connsiteX375" fmla="*/ 7543989 w 8537122"/>
              <a:gd name="connsiteY375" fmla="*/ 2780325 h 8575811"/>
              <a:gd name="connsiteX376" fmla="*/ 7606171 w 8537122"/>
              <a:gd name="connsiteY376" fmla="*/ 2799539 h 8575811"/>
              <a:gd name="connsiteX377" fmla="*/ 7668213 w 8537122"/>
              <a:gd name="connsiteY377" fmla="*/ 2836974 h 8575811"/>
              <a:gd name="connsiteX378" fmla="*/ 7718452 w 8537122"/>
              <a:gd name="connsiteY378" fmla="*/ 2853605 h 8575811"/>
              <a:gd name="connsiteX379" fmla="*/ 7728472 w 8537122"/>
              <a:gd name="connsiteY379" fmla="*/ 2860575 h 8575811"/>
              <a:gd name="connsiteX380" fmla="*/ 7745495 w 8537122"/>
              <a:gd name="connsiteY380" fmla="*/ 2857533 h 8575811"/>
              <a:gd name="connsiteX381" fmla="*/ 7748652 w 8537122"/>
              <a:gd name="connsiteY381" fmla="*/ 2856295 h 8575811"/>
              <a:gd name="connsiteX382" fmla="*/ 7747417 w 8537122"/>
              <a:gd name="connsiteY382" fmla="*/ 2853146 h 8575811"/>
              <a:gd name="connsiteX383" fmla="*/ 7762377 w 8537122"/>
              <a:gd name="connsiteY383" fmla="*/ 2872712 h 8575811"/>
              <a:gd name="connsiteX384" fmla="*/ 7813851 w 8537122"/>
              <a:gd name="connsiteY384" fmla="*/ 2892492 h 8575811"/>
              <a:gd name="connsiteX385" fmla="*/ 7997648 w 8537122"/>
              <a:gd name="connsiteY385" fmla="*/ 2980279 h 8575811"/>
              <a:gd name="connsiteX386" fmla="*/ 8101144 w 8537122"/>
              <a:gd name="connsiteY386" fmla="*/ 3030523 h 8575811"/>
              <a:gd name="connsiteX387" fmla="*/ 8121184 w 8537122"/>
              <a:gd name="connsiteY387" fmla="*/ 3044464 h 8575811"/>
              <a:gd name="connsiteX388" fmla="*/ 8128734 w 8537122"/>
              <a:gd name="connsiteY388" fmla="*/ 3045137 h 8575811"/>
              <a:gd name="connsiteX389" fmla="*/ 8151932 w 8537122"/>
              <a:gd name="connsiteY389" fmla="*/ 3057839 h 8575811"/>
              <a:gd name="connsiteX390" fmla="*/ 8156324 w 8537122"/>
              <a:gd name="connsiteY390" fmla="*/ 3059750 h 8575811"/>
              <a:gd name="connsiteX391" fmla="*/ 8162639 w 8537122"/>
              <a:gd name="connsiteY391" fmla="*/ 3057274 h 8575811"/>
              <a:gd name="connsiteX392" fmla="*/ 8165109 w 8537122"/>
              <a:gd name="connsiteY392" fmla="*/ 3063572 h 8575811"/>
              <a:gd name="connsiteX393" fmla="*/ 8166344 w 8537122"/>
              <a:gd name="connsiteY393" fmla="*/ 3066721 h 8575811"/>
              <a:gd name="connsiteX394" fmla="*/ 8167579 w 8537122"/>
              <a:gd name="connsiteY394" fmla="*/ 3069870 h 8575811"/>
              <a:gd name="connsiteX395" fmla="*/ 8170736 w 8537122"/>
              <a:gd name="connsiteY395" fmla="*/ 3068631 h 8575811"/>
              <a:gd name="connsiteX396" fmla="*/ 8178286 w 8537122"/>
              <a:gd name="connsiteY396" fmla="*/ 3069303 h 8575811"/>
              <a:gd name="connsiteX397" fmla="*/ 8183914 w 8537122"/>
              <a:gd name="connsiteY397" fmla="*/ 3074363 h 8575811"/>
              <a:gd name="connsiteX398" fmla="*/ 8181991 w 8537122"/>
              <a:gd name="connsiteY398" fmla="*/ 3078750 h 8575811"/>
              <a:gd name="connsiteX399" fmla="*/ 8184461 w 8537122"/>
              <a:gd name="connsiteY399" fmla="*/ 3085049 h 8575811"/>
              <a:gd name="connsiteX400" fmla="*/ 8188854 w 8537122"/>
              <a:gd name="connsiteY400" fmla="*/ 3086960 h 8575811"/>
              <a:gd name="connsiteX401" fmla="*/ 8190089 w 8537122"/>
              <a:gd name="connsiteY401" fmla="*/ 3090109 h 8575811"/>
              <a:gd name="connsiteX402" fmla="*/ 8200109 w 8537122"/>
              <a:gd name="connsiteY402" fmla="*/ 3097079 h 8575811"/>
              <a:gd name="connsiteX403" fmla="*/ 8199969 w 8537122"/>
              <a:gd name="connsiteY403" fmla="*/ 3115301 h 8575811"/>
              <a:gd name="connsiteX404" fmla="*/ 8201204 w 8537122"/>
              <a:gd name="connsiteY404" fmla="*/ 3118450 h 8575811"/>
              <a:gd name="connsiteX405" fmla="*/ 8200516 w 8537122"/>
              <a:gd name="connsiteY405" fmla="*/ 3125986 h 8575811"/>
              <a:gd name="connsiteX406" fmla="*/ 8201751 w 8537122"/>
              <a:gd name="connsiteY406" fmla="*/ 3129135 h 8575811"/>
              <a:gd name="connsiteX407" fmla="*/ 8191044 w 8537122"/>
              <a:gd name="connsiteY407" fmla="*/ 3129701 h 8575811"/>
              <a:gd name="connsiteX408" fmla="*/ 8189809 w 8537122"/>
              <a:gd name="connsiteY408" fmla="*/ 3126552 h 8575811"/>
              <a:gd name="connsiteX409" fmla="*/ 8184181 w 8537122"/>
              <a:gd name="connsiteY409" fmla="*/ 3121492 h 8575811"/>
              <a:gd name="connsiteX410" fmla="*/ 8177866 w 8537122"/>
              <a:gd name="connsiteY410" fmla="*/ 3123969 h 8575811"/>
              <a:gd name="connsiteX411" fmla="*/ 8164689 w 8537122"/>
              <a:gd name="connsiteY411" fmla="*/ 3118236 h 8575811"/>
              <a:gd name="connsiteX412" fmla="*/ 8125704 w 8537122"/>
              <a:gd name="connsiteY412" fmla="*/ 3111726 h 8575811"/>
              <a:gd name="connsiteX413" fmla="*/ 8126939 w 8537122"/>
              <a:gd name="connsiteY413" fmla="*/ 3114875 h 8575811"/>
              <a:gd name="connsiteX414" fmla="*/ 8123782 w 8537122"/>
              <a:gd name="connsiteY414" fmla="*/ 3116113 h 8575811"/>
              <a:gd name="connsiteX415" fmla="*/ 8125017 w 8537122"/>
              <a:gd name="connsiteY415" fmla="*/ 3119262 h 8575811"/>
              <a:gd name="connsiteX416" fmla="*/ 8129409 w 8537122"/>
              <a:gd name="connsiteY416" fmla="*/ 3121173 h 8575811"/>
              <a:gd name="connsiteX417" fmla="*/ 8131879 w 8537122"/>
              <a:gd name="connsiteY417" fmla="*/ 3127471 h 8575811"/>
              <a:gd name="connsiteX418" fmla="*/ 8142587 w 8537122"/>
              <a:gd name="connsiteY418" fmla="*/ 3126905 h 8575811"/>
              <a:gd name="connsiteX419" fmla="*/ 8146292 w 8537122"/>
              <a:gd name="connsiteY419" fmla="*/ 3136352 h 8575811"/>
              <a:gd name="connsiteX420" fmla="*/ 8183354 w 8537122"/>
              <a:gd name="connsiteY420" fmla="*/ 3147250 h 8575811"/>
              <a:gd name="connsiteX421" fmla="*/ 8200771 w 8537122"/>
              <a:gd name="connsiteY421" fmla="*/ 3256687 h 8575811"/>
              <a:gd name="connsiteX422" fmla="*/ 8135432 w 8537122"/>
              <a:gd name="connsiteY422" fmla="*/ 3238712 h 8575811"/>
              <a:gd name="connsiteX423" fmla="*/ 8094665 w 8537122"/>
              <a:gd name="connsiteY423" fmla="*/ 3218366 h 8575811"/>
              <a:gd name="connsiteX424" fmla="*/ 8117722 w 8537122"/>
              <a:gd name="connsiteY424" fmla="*/ 3249291 h 8575811"/>
              <a:gd name="connsiteX425" fmla="*/ 8165211 w 8537122"/>
              <a:gd name="connsiteY425" fmla="*/ 3296067 h 8575811"/>
              <a:gd name="connsiteX426" fmla="*/ 8189364 w 8537122"/>
              <a:gd name="connsiteY426" fmla="*/ 3348362 h 8575811"/>
              <a:gd name="connsiteX427" fmla="*/ 8188944 w 8537122"/>
              <a:gd name="connsiteY427" fmla="*/ 3403027 h 8575811"/>
              <a:gd name="connsiteX428" fmla="*/ 8188664 w 8537122"/>
              <a:gd name="connsiteY428" fmla="*/ 3439470 h 8575811"/>
              <a:gd name="connsiteX429" fmla="*/ 8152289 w 8537122"/>
              <a:gd name="connsiteY429" fmla="*/ 3421036 h 8575811"/>
              <a:gd name="connsiteX430" fmla="*/ 8192369 w 8537122"/>
              <a:gd name="connsiteY430" fmla="*/ 3448918 h 8575811"/>
              <a:gd name="connsiteX431" fmla="*/ 8224211 w 8537122"/>
              <a:gd name="connsiteY431" fmla="*/ 3483664 h 8575811"/>
              <a:gd name="connsiteX432" fmla="*/ 8172316 w 8537122"/>
              <a:gd name="connsiteY432" fmla="*/ 3518549 h 8575811"/>
              <a:gd name="connsiteX433" fmla="*/ 8150214 w 8537122"/>
              <a:gd name="connsiteY433" fmla="*/ 3527217 h 8575811"/>
              <a:gd name="connsiteX434" fmla="*/ 8136349 w 8537122"/>
              <a:gd name="connsiteY434" fmla="*/ 3529022 h 8575811"/>
              <a:gd name="connsiteX435" fmla="*/ 8133192 w 8537122"/>
              <a:gd name="connsiteY435" fmla="*/ 3530260 h 8575811"/>
              <a:gd name="connsiteX436" fmla="*/ 8108759 w 8537122"/>
              <a:gd name="connsiteY436" fmla="*/ 3514408 h 8575811"/>
              <a:gd name="connsiteX437" fmla="*/ 8086109 w 8537122"/>
              <a:gd name="connsiteY437" fmla="*/ 3512391 h 8575811"/>
              <a:gd name="connsiteX438" fmla="*/ 8042185 w 8537122"/>
              <a:gd name="connsiteY438" fmla="*/ 3493283 h 8575811"/>
              <a:gd name="connsiteX439" fmla="*/ 8011438 w 8537122"/>
              <a:gd name="connsiteY439" fmla="*/ 3479909 h 8575811"/>
              <a:gd name="connsiteX440" fmla="*/ 7946646 w 8537122"/>
              <a:gd name="connsiteY440" fmla="*/ 3472618 h 8575811"/>
              <a:gd name="connsiteX441" fmla="*/ 7949115 w 8537122"/>
              <a:gd name="connsiteY441" fmla="*/ 3478916 h 8575811"/>
              <a:gd name="connsiteX442" fmla="*/ 7946913 w 8537122"/>
              <a:gd name="connsiteY442" fmla="*/ 3519747 h 8575811"/>
              <a:gd name="connsiteX443" fmla="*/ 7941833 w 8537122"/>
              <a:gd name="connsiteY443" fmla="*/ 3525373 h 8575811"/>
              <a:gd name="connsiteX444" fmla="*/ 7943068 w 8537122"/>
              <a:gd name="connsiteY444" fmla="*/ 3528522 h 8575811"/>
              <a:gd name="connsiteX445" fmla="*/ 7944303 w 8537122"/>
              <a:gd name="connsiteY445" fmla="*/ 3531671 h 8575811"/>
              <a:gd name="connsiteX446" fmla="*/ 7951165 w 8537122"/>
              <a:gd name="connsiteY446" fmla="*/ 3539880 h 8575811"/>
              <a:gd name="connsiteX447" fmla="*/ 7974770 w 8537122"/>
              <a:gd name="connsiteY447" fmla="*/ 3581490 h 8575811"/>
              <a:gd name="connsiteX448" fmla="*/ 7973663 w 8537122"/>
              <a:gd name="connsiteY448" fmla="*/ 3643691 h 8575811"/>
              <a:gd name="connsiteX449" fmla="*/ 7977368 w 8537122"/>
              <a:gd name="connsiteY449" fmla="*/ 3653138 h 8575811"/>
              <a:gd name="connsiteX450" fmla="*/ 7972835 w 8537122"/>
              <a:gd name="connsiteY450" fmla="*/ 3669449 h 8575811"/>
              <a:gd name="connsiteX451" fmla="*/ 7967755 w 8537122"/>
              <a:gd name="connsiteY451" fmla="*/ 3675075 h 8575811"/>
              <a:gd name="connsiteX452" fmla="*/ 7964598 w 8537122"/>
              <a:gd name="connsiteY452" fmla="*/ 3676313 h 8575811"/>
              <a:gd name="connsiteX453" fmla="*/ 7968430 w 8537122"/>
              <a:gd name="connsiteY453" fmla="*/ 3751111 h 8575811"/>
              <a:gd name="connsiteX454" fmla="*/ 7990520 w 8537122"/>
              <a:gd name="connsiteY454" fmla="*/ 3826015 h 8575811"/>
              <a:gd name="connsiteX455" fmla="*/ 7997930 w 8537122"/>
              <a:gd name="connsiteY455" fmla="*/ 3844909 h 8575811"/>
              <a:gd name="connsiteX456" fmla="*/ 8068070 w 8537122"/>
              <a:gd name="connsiteY456" fmla="*/ 3893703 h 8575811"/>
              <a:gd name="connsiteX457" fmla="*/ 8122562 w 8537122"/>
              <a:gd name="connsiteY457" fmla="*/ 3930465 h 8575811"/>
              <a:gd name="connsiteX458" fmla="*/ 8135739 w 8537122"/>
              <a:gd name="connsiteY458" fmla="*/ 3936198 h 8575811"/>
              <a:gd name="connsiteX459" fmla="*/ 8157014 w 8537122"/>
              <a:gd name="connsiteY459" fmla="*/ 3953288 h 8575811"/>
              <a:gd name="connsiteX460" fmla="*/ 8181994 w 8537122"/>
              <a:gd name="connsiteY460" fmla="*/ 3979825 h 8575811"/>
              <a:gd name="connsiteX461" fmla="*/ 8227701 w 8537122"/>
              <a:gd name="connsiteY461" fmla="*/ 4012766 h 8575811"/>
              <a:gd name="connsiteX462" fmla="*/ 8234563 w 8537122"/>
              <a:gd name="connsiteY462" fmla="*/ 4020975 h 8575811"/>
              <a:gd name="connsiteX463" fmla="*/ 8240738 w 8537122"/>
              <a:gd name="connsiteY463" fmla="*/ 4036721 h 8575811"/>
              <a:gd name="connsiteX464" fmla="*/ 8248288 w 8537122"/>
              <a:gd name="connsiteY464" fmla="*/ 4037393 h 8575811"/>
              <a:gd name="connsiteX465" fmla="*/ 8268328 w 8537122"/>
              <a:gd name="connsiteY465" fmla="*/ 4051334 h 8575811"/>
              <a:gd name="connsiteX466" fmla="*/ 8269563 w 8537122"/>
              <a:gd name="connsiteY466" fmla="*/ 4054483 h 8575811"/>
              <a:gd name="connsiteX467" fmla="*/ 8275878 w 8537122"/>
              <a:gd name="connsiteY467" fmla="*/ 4052006 h 8575811"/>
              <a:gd name="connsiteX468" fmla="*/ 8283428 w 8537122"/>
              <a:gd name="connsiteY468" fmla="*/ 4052678 h 8575811"/>
              <a:gd name="connsiteX469" fmla="*/ 8285898 w 8537122"/>
              <a:gd name="connsiteY469" fmla="*/ 4058977 h 8575811"/>
              <a:gd name="connsiteX470" fmla="*/ 8280818 w 8537122"/>
              <a:gd name="connsiteY470" fmla="*/ 4064602 h 8575811"/>
              <a:gd name="connsiteX471" fmla="*/ 8277661 w 8537122"/>
              <a:gd name="connsiteY471" fmla="*/ 4065841 h 8575811"/>
              <a:gd name="connsiteX472" fmla="*/ 8280131 w 8537122"/>
              <a:gd name="connsiteY472" fmla="*/ 4072139 h 8575811"/>
              <a:gd name="connsiteX473" fmla="*/ 8278208 w 8537122"/>
              <a:gd name="connsiteY473" fmla="*/ 4076526 h 8575811"/>
              <a:gd name="connsiteX474" fmla="*/ 8279443 w 8537122"/>
              <a:gd name="connsiteY474" fmla="*/ 4079675 h 8575811"/>
              <a:gd name="connsiteX475" fmla="*/ 8281913 w 8537122"/>
              <a:gd name="connsiteY475" fmla="*/ 4085973 h 8575811"/>
              <a:gd name="connsiteX476" fmla="*/ 8273676 w 8537122"/>
              <a:gd name="connsiteY476" fmla="*/ 4092837 h 8575811"/>
              <a:gd name="connsiteX477" fmla="*/ 8267361 w 8537122"/>
              <a:gd name="connsiteY477" fmla="*/ 4095314 h 8575811"/>
              <a:gd name="connsiteX478" fmla="*/ 8262968 w 8537122"/>
              <a:gd name="connsiteY478" fmla="*/ 4093403 h 8575811"/>
              <a:gd name="connsiteX479" fmla="*/ 8262281 w 8537122"/>
              <a:gd name="connsiteY479" fmla="*/ 4100939 h 8575811"/>
              <a:gd name="connsiteX480" fmla="*/ 8260358 w 8537122"/>
              <a:gd name="connsiteY480" fmla="*/ 4105326 h 8575811"/>
              <a:gd name="connsiteX481" fmla="*/ 8248416 w 8537122"/>
              <a:gd name="connsiteY481" fmla="*/ 4102743 h 8575811"/>
              <a:gd name="connsiteX482" fmla="*/ 8238803 w 8537122"/>
              <a:gd name="connsiteY482" fmla="*/ 4124680 h 8575811"/>
              <a:gd name="connsiteX483" fmla="*/ 8253216 w 8537122"/>
              <a:gd name="connsiteY483" fmla="*/ 4133561 h 8575811"/>
              <a:gd name="connsiteX484" fmla="*/ 8258156 w 8537122"/>
              <a:gd name="connsiteY484" fmla="*/ 4146157 h 8575811"/>
              <a:gd name="connsiteX485" fmla="*/ 8265566 w 8537122"/>
              <a:gd name="connsiteY485" fmla="*/ 4165052 h 8575811"/>
              <a:gd name="connsiteX486" fmla="*/ 8266521 w 8537122"/>
              <a:gd name="connsiteY486" fmla="*/ 4204644 h 8575811"/>
              <a:gd name="connsiteX487" fmla="*/ 8273931 w 8537122"/>
              <a:gd name="connsiteY487" fmla="*/ 4223538 h 8575811"/>
              <a:gd name="connsiteX488" fmla="*/ 8268851 w 8537122"/>
              <a:gd name="connsiteY488" fmla="*/ 4229164 h 8575811"/>
              <a:gd name="connsiteX489" fmla="*/ 8227663 w 8537122"/>
              <a:gd name="connsiteY489" fmla="*/ 4263483 h 8575811"/>
              <a:gd name="connsiteX490" fmla="*/ 8223131 w 8537122"/>
              <a:gd name="connsiteY490" fmla="*/ 4279795 h 8575811"/>
              <a:gd name="connsiteX491" fmla="*/ 8255941 w 8537122"/>
              <a:gd name="connsiteY491" fmla="*/ 4270561 h 8575811"/>
              <a:gd name="connsiteX492" fmla="*/ 8270761 w 8537122"/>
              <a:gd name="connsiteY492" fmla="*/ 4308349 h 8575811"/>
              <a:gd name="connsiteX493" fmla="*/ 8262243 w 8537122"/>
              <a:gd name="connsiteY493" fmla="*/ 4351656 h 8575811"/>
              <a:gd name="connsiteX494" fmla="*/ 8268418 w 8537122"/>
              <a:gd name="connsiteY494" fmla="*/ 4367401 h 8575811"/>
              <a:gd name="connsiteX495" fmla="*/ 8280768 w 8537122"/>
              <a:gd name="connsiteY495" fmla="*/ 4398892 h 8575811"/>
              <a:gd name="connsiteX496" fmla="*/ 8275548 w 8537122"/>
              <a:gd name="connsiteY496" fmla="*/ 4422739 h 8575811"/>
              <a:gd name="connsiteX497" fmla="*/ 8293245 w 8537122"/>
              <a:gd name="connsiteY497" fmla="*/ 4495733 h 8575811"/>
              <a:gd name="connsiteX498" fmla="*/ 8210604 w 8537122"/>
              <a:gd name="connsiteY498" fmla="*/ 4517243 h 8575811"/>
              <a:gd name="connsiteX499" fmla="*/ 8189049 w 8537122"/>
              <a:gd name="connsiteY499" fmla="*/ 4536597 h 8575811"/>
              <a:gd name="connsiteX500" fmla="*/ 8182734 w 8537122"/>
              <a:gd name="connsiteY500" fmla="*/ 4539073 h 8575811"/>
              <a:gd name="connsiteX501" fmla="*/ 8139357 w 8537122"/>
              <a:gd name="connsiteY501" fmla="*/ 4530652 h 8575811"/>
              <a:gd name="connsiteX502" fmla="*/ 8092822 w 8537122"/>
              <a:gd name="connsiteY502" fmla="*/ 4523468 h 8575811"/>
              <a:gd name="connsiteX503" fmla="*/ 8050680 w 8537122"/>
              <a:gd name="connsiteY503" fmla="*/ 4518195 h 8575811"/>
              <a:gd name="connsiteX504" fmla="*/ 7983418 w 8537122"/>
              <a:gd name="connsiteY504" fmla="*/ 4504607 h 8575811"/>
              <a:gd name="connsiteX505" fmla="*/ 7904213 w 8537122"/>
              <a:gd name="connsiteY505" fmla="*/ 4488436 h 8575811"/>
              <a:gd name="connsiteX506" fmla="*/ 7885408 w 8537122"/>
              <a:gd name="connsiteY506" fmla="*/ 4477644 h 8575811"/>
              <a:gd name="connsiteX507" fmla="*/ 7874701 w 8537122"/>
              <a:gd name="connsiteY507" fmla="*/ 4478210 h 8575811"/>
              <a:gd name="connsiteX508" fmla="*/ 7858366 w 8537122"/>
              <a:gd name="connsiteY508" fmla="*/ 4473716 h 8575811"/>
              <a:gd name="connsiteX509" fmla="*/ 7843954 w 8537122"/>
              <a:gd name="connsiteY509" fmla="*/ 4464835 h 8575811"/>
              <a:gd name="connsiteX510" fmla="*/ 7820069 w 8537122"/>
              <a:gd name="connsiteY510" fmla="*/ 4459668 h 8575811"/>
              <a:gd name="connsiteX511" fmla="*/ 7803734 w 8537122"/>
              <a:gd name="connsiteY511" fmla="*/ 4455174 h 8575811"/>
              <a:gd name="connsiteX512" fmla="*/ 7790557 w 8537122"/>
              <a:gd name="connsiteY512" fmla="*/ 4449442 h 8575811"/>
              <a:gd name="connsiteX513" fmla="*/ 7750337 w 8537122"/>
              <a:gd name="connsiteY513" fmla="*/ 4439782 h 8575811"/>
              <a:gd name="connsiteX514" fmla="*/ 7726452 w 8537122"/>
              <a:gd name="connsiteY514" fmla="*/ 4434616 h 8575811"/>
              <a:gd name="connsiteX515" fmla="*/ 7719590 w 8537122"/>
              <a:gd name="connsiteY515" fmla="*/ 4426407 h 8575811"/>
              <a:gd name="connsiteX516" fmla="*/ 7600306 w 8537122"/>
              <a:gd name="connsiteY516" fmla="*/ 4382354 h 8575811"/>
              <a:gd name="connsiteX517" fmla="*/ 7578891 w 8537122"/>
              <a:gd name="connsiteY517" fmla="*/ 4383486 h 8575811"/>
              <a:gd name="connsiteX518" fmla="*/ 7540594 w 8537122"/>
              <a:gd name="connsiteY518" fmla="*/ 4369438 h 8575811"/>
              <a:gd name="connsiteX519" fmla="*/ 7408132 w 8537122"/>
              <a:gd name="connsiteY519" fmla="*/ 4319653 h 8575811"/>
              <a:gd name="connsiteX520" fmla="*/ 7326458 w 8537122"/>
              <a:gd name="connsiteY520" fmla="*/ 4297184 h 8575811"/>
              <a:gd name="connsiteX521" fmla="*/ 7370242 w 8537122"/>
              <a:gd name="connsiteY521" fmla="*/ 4334513 h 8575811"/>
              <a:gd name="connsiteX522" fmla="*/ 7462344 w 8537122"/>
              <a:gd name="connsiteY522" fmla="*/ 4392860 h 8575811"/>
              <a:gd name="connsiteX523" fmla="*/ 7471129 w 8537122"/>
              <a:gd name="connsiteY523" fmla="*/ 4396681 h 8575811"/>
              <a:gd name="connsiteX524" fmla="*/ 7494874 w 8537122"/>
              <a:gd name="connsiteY524" fmla="*/ 4420069 h 8575811"/>
              <a:gd name="connsiteX525" fmla="*/ 7505581 w 8537122"/>
              <a:gd name="connsiteY525" fmla="*/ 4419503 h 8575811"/>
              <a:gd name="connsiteX526" fmla="*/ 7511209 w 8537122"/>
              <a:gd name="connsiteY526" fmla="*/ 4424563 h 8575811"/>
              <a:gd name="connsiteX527" fmla="*/ 7507911 w 8537122"/>
              <a:gd name="connsiteY527" fmla="*/ 4444023 h 8575811"/>
              <a:gd name="connsiteX528" fmla="*/ 7507224 w 8537122"/>
              <a:gd name="connsiteY528" fmla="*/ 4451559 h 8575811"/>
              <a:gd name="connsiteX529" fmla="*/ 7485121 w 8537122"/>
              <a:gd name="connsiteY529" fmla="*/ 4460227 h 8575811"/>
              <a:gd name="connsiteX530" fmla="*/ 7469882 w 8537122"/>
              <a:gd name="connsiteY530" fmla="*/ 4477104 h 8575811"/>
              <a:gd name="connsiteX531" fmla="*/ 7473587 w 8537122"/>
              <a:gd name="connsiteY531" fmla="*/ 4486551 h 8575811"/>
              <a:gd name="connsiteX532" fmla="*/ 7483606 w 8537122"/>
              <a:gd name="connsiteY532" fmla="*/ 4493522 h 8575811"/>
              <a:gd name="connsiteX533" fmla="*/ 7492799 w 8537122"/>
              <a:gd name="connsiteY533" fmla="*/ 4526250 h 8575811"/>
              <a:gd name="connsiteX534" fmla="*/ 7490876 w 8537122"/>
              <a:gd name="connsiteY534" fmla="*/ 4530638 h 8575811"/>
              <a:gd name="connsiteX535" fmla="*/ 7502399 w 8537122"/>
              <a:gd name="connsiteY535" fmla="*/ 4587886 h 8575811"/>
              <a:gd name="connsiteX536" fmla="*/ 7501711 w 8537122"/>
              <a:gd name="connsiteY536" fmla="*/ 4595422 h 8575811"/>
              <a:gd name="connsiteX537" fmla="*/ 7476999 w 8537122"/>
              <a:gd name="connsiteY537" fmla="*/ 4616014 h 8575811"/>
              <a:gd name="connsiteX538" fmla="*/ 7475077 w 8537122"/>
              <a:gd name="connsiteY538" fmla="*/ 4620402 h 8575811"/>
              <a:gd name="connsiteX539" fmla="*/ 7473154 w 8537122"/>
              <a:gd name="connsiteY539" fmla="*/ 4624789 h 8575811"/>
              <a:gd name="connsiteX540" fmla="*/ 7472466 w 8537122"/>
              <a:gd name="connsiteY540" fmla="*/ 4632325 h 8575811"/>
              <a:gd name="connsiteX541" fmla="*/ 7473701 w 8537122"/>
              <a:gd name="connsiteY541" fmla="*/ 4635474 h 8575811"/>
              <a:gd name="connsiteX542" fmla="*/ 7476719 w 8537122"/>
              <a:gd name="connsiteY542" fmla="*/ 4652458 h 8575811"/>
              <a:gd name="connsiteX543" fmla="*/ 7481111 w 8537122"/>
              <a:gd name="connsiteY543" fmla="*/ 4654369 h 8575811"/>
              <a:gd name="connsiteX544" fmla="*/ 7482894 w 8537122"/>
              <a:gd name="connsiteY544" fmla="*/ 4668203 h 8575811"/>
              <a:gd name="connsiteX545" fmla="*/ 7493601 w 8537122"/>
              <a:gd name="connsiteY545" fmla="*/ 4667637 h 8575811"/>
              <a:gd name="connsiteX546" fmla="*/ 7494416 w 8537122"/>
              <a:gd name="connsiteY546" fmla="*/ 4725451 h 8575811"/>
              <a:gd name="connsiteX547" fmla="*/ 7497434 w 8537122"/>
              <a:gd name="connsiteY547" fmla="*/ 4742435 h 8575811"/>
              <a:gd name="connsiteX548" fmla="*/ 7502781 w 8537122"/>
              <a:gd name="connsiteY548" fmla="*/ 4783938 h 8575811"/>
              <a:gd name="connsiteX549" fmla="*/ 7509644 w 8537122"/>
              <a:gd name="connsiteY549" fmla="*/ 4792147 h 8575811"/>
              <a:gd name="connsiteX550" fmla="*/ 7521994 w 8537122"/>
              <a:gd name="connsiteY550" fmla="*/ 4823637 h 8575811"/>
              <a:gd name="connsiteX551" fmla="*/ 7469819 w 8537122"/>
              <a:gd name="connsiteY551" fmla="*/ 4894966 h 8575811"/>
              <a:gd name="connsiteX552" fmla="*/ 7422457 w 8537122"/>
              <a:gd name="connsiteY552" fmla="*/ 4913541 h 8575811"/>
              <a:gd name="connsiteX553" fmla="*/ 7439059 w 8537122"/>
              <a:gd name="connsiteY553" fmla="*/ 4965163 h 8575811"/>
              <a:gd name="connsiteX554" fmla="*/ 7437124 w 8537122"/>
              <a:gd name="connsiteY554" fmla="*/ 5053123 h 8575811"/>
              <a:gd name="connsiteX555" fmla="*/ 7451257 w 8537122"/>
              <a:gd name="connsiteY555" fmla="*/ 5098448 h 8575811"/>
              <a:gd name="connsiteX556" fmla="*/ 7475001 w 8537122"/>
              <a:gd name="connsiteY556" fmla="*/ 5121836 h 8575811"/>
              <a:gd name="connsiteX557" fmla="*/ 7469234 w 8537122"/>
              <a:gd name="connsiteY557" fmla="*/ 5134998 h 8575811"/>
              <a:gd name="connsiteX558" fmla="*/ 7448914 w 8537122"/>
              <a:gd name="connsiteY558" fmla="*/ 5157500 h 8575811"/>
              <a:gd name="connsiteX559" fmla="*/ 7444522 w 8537122"/>
              <a:gd name="connsiteY559" fmla="*/ 5155589 h 8575811"/>
              <a:gd name="connsiteX560" fmla="*/ 7442599 w 8537122"/>
              <a:gd name="connsiteY560" fmla="*/ 5159977 h 8575811"/>
              <a:gd name="connsiteX561" fmla="*/ 7431892 w 8537122"/>
              <a:gd name="connsiteY561" fmla="*/ 5160543 h 8575811"/>
              <a:gd name="connsiteX562" fmla="*/ 7375745 w 8537122"/>
              <a:gd name="connsiteY562" fmla="*/ 5175296 h 8575811"/>
              <a:gd name="connsiteX563" fmla="*/ 7331820 w 8537122"/>
              <a:gd name="connsiteY563" fmla="*/ 5156189 h 8575811"/>
              <a:gd name="connsiteX564" fmla="*/ 7307935 w 8537122"/>
              <a:gd name="connsiteY564" fmla="*/ 5151022 h 8575811"/>
              <a:gd name="connsiteX565" fmla="*/ 7286660 w 8537122"/>
              <a:gd name="connsiteY565" fmla="*/ 5133932 h 8575811"/>
              <a:gd name="connsiteX566" fmla="*/ 7233264 w 8537122"/>
              <a:gd name="connsiteY566" fmla="*/ 5118540 h 8575811"/>
              <a:gd name="connsiteX567" fmla="*/ 7194826 w 8537122"/>
              <a:gd name="connsiteY567" fmla="*/ 5122714 h 8575811"/>
              <a:gd name="connsiteX568" fmla="*/ 7181649 w 8537122"/>
              <a:gd name="connsiteY568" fmla="*/ 5116982 h 8575811"/>
              <a:gd name="connsiteX569" fmla="*/ 7157765 w 8537122"/>
              <a:gd name="connsiteY569" fmla="*/ 5111816 h 8575811"/>
              <a:gd name="connsiteX570" fmla="*/ 7148432 w 8537122"/>
              <a:gd name="connsiteY570" fmla="*/ 5097309 h 8575811"/>
              <a:gd name="connsiteX571" fmla="*/ 7136489 w 8537122"/>
              <a:gd name="connsiteY571" fmla="*/ 5094726 h 8575811"/>
              <a:gd name="connsiteX572" fmla="*/ 7135254 w 8537122"/>
              <a:gd name="connsiteY572" fmla="*/ 5091577 h 8575811"/>
              <a:gd name="connsiteX573" fmla="*/ 7130862 w 8537122"/>
              <a:gd name="connsiteY573" fmla="*/ 5089666 h 8575811"/>
              <a:gd name="connsiteX574" fmla="*/ 7106977 w 8537122"/>
              <a:gd name="connsiteY574" fmla="*/ 5084500 h 8575811"/>
              <a:gd name="connsiteX575" fmla="*/ 7092565 w 8537122"/>
              <a:gd name="connsiteY575" fmla="*/ 5075619 h 8575811"/>
              <a:gd name="connsiteX576" fmla="*/ 7078152 w 8537122"/>
              <a:gd name="connsiteY576" fmla="*/ 5066737 h 8575811"/>
              <a:gd name="connsiteX577" fmla="*/ 7064975 w 8537122"/>
              <a:gd name="connsiteY577" fmla="*/ 5061005 h 8575811"/>
              <a:gd name="connsiteX578" fmla="*/ 7044935 w 8537122"/>
              <a:gd name="connsiteY578" fmla="*/ 5047064 h 8575811"/>
              <a:gd name="connsiteX579" fmla="*/ 7030522 w 8537122"/>
              <a:gd name="connsiteY579" fmla="*/ 5038183 h 8575811"/>
              <a:gd name="connsiteX580" fmla="*/ 6999775 w 8537122"/>
              <a:gd name="connsiteY580" fmla="*/ 5024808 h 8575811"/>
              <a:gd name="connsiteX581" fmla="*/ 6994148 w 8537122"/>
              <a:gd name="connsiteY581" fmla="*/ 5019748 h 8575811"/>
              <a:gd name="connsiteX582" fmla="*/ 6979735 w 8537122"/>
              <a:gd name="connsiteY582" fmla="*/ 5010867 h 8575811"/>
              <a:gd name="connsiteX583" fmla="*/ 6969168 w 8537122"/>
              <a:gd name="connsiteY583" fmla="*/ 4993212 h 8575811"/>
              <a:gd name="connsiteX584" fmla="*/ 6952146 w 8537122"/>
              <a:gd name="connsiteY584" fmla="*/ 4996254 h 8575811"/>
              <a:gd name="connsiteX585" fmla="*/ 6857434 w 8537122"/>
              <a:gd name="connsiteY585" fmla="*/ 4949831 h 8575811"/>
              <a:gd name="connsiteX586" fmla="*/ 6843161 w 8537122"/>
              <a:gd name="connsiteY586" fmla="*/ 4922728 h 8575811"/>
              <a:gd name="connsiteX587" fmla="*/ 6840972 w 8537122"/>
              <a:gd name="connsiteY587" fmla="*/ 4879986 h 8575811"/>
              <a:gd name="connsiteX588" fmla="*/ 6839737 w 8537122"/>
              <a:gd name="connsiteY588" fmla="*/ 4876837 h 8575811"/>
              <a:gd name="connsiteX589" fmla="*/ 6834109 w 8537122"/>
              <a:gd name="connsiteY589" fmla="*/ 4871777 h 8575811"/>
              <a:gd name="connsiteX590" fmla="*/ 6826011 w 8537122"/>
              <a:gd name="connsiteY590" fmla="*/ 4860419 h 8575811"/>
              <a:gd name="connsiteX591" fmla="*/ 6819696 w 8537122"/>
              <a:gd name="connsiteY591" fmla="*/ 4862896 h 8575811"/>
              <a:gd name="connsiteX592" fmla="*/ 6830952 w 8537122"/>
              <a:gd name="connsiteY592" fmla="*/ 4873016 h 8575811"/>
              <a:gd name="connsiteX593" fmla="*/ 6839737 w 8537122"/>
              <a:gd name="connsiteY593" fmla="*/ 4876837 h 8575811"/>
              <a:gd name="connsiteX594" fmla="*/ 6833422 w 8537122"/>
              <a:gd name="connsiteY594" fmla="*/ 4879314 h 8575811"/>
              <a:gd name="connsiteX595" fmla="*/ 6759297 w 8537122"/>
              <a:gd name="connsiteY595" fmla="*/ 4857517 h 8575811"/>
              <a:gd name="connsiteX596" fmla="*/ 6721687 w 8537122"/>
              <a:gd name="connsiteY596" fmla="*/ 4835933 h 8575811"/>
              <a:gd name="connsiteX597" fmla="*/ 6692036 w 8537122"/>
              <a:gd name="connsiteY597" fmla="*/ 4843929 h 8575811"/>
              <a:gd name="connsiteX598" fmla="*/ 6523199 w 8537122"/>
              <a:gd name="connsiteY598" fmla="*/ 4775709 h 8575811"/>
              <a:gd name="connsiteX599" fmla="*/ 6489574 w 8537122"/>
              <a:gd name="connsiteY599" fmla="*/ 4727128 h 8575811"/>
              <a:gd name="connsiteX600" fmla="*/ 6482572 w 8537122"/>
              <a:gd name="connsiteY600" fmla="*/ 4737141 h 8575811"/>
              <a:gd name="connsiteX601" fmla="*/ 6477492 w 8537122"/>
              <a:gd name="connsiteY601" fmla="*/ 4742767 h 8575811"/>
              <a:gd name="connsiteX602" fmla="*/ 6472412 w 8537122"/>
              <a:gd name="connsiteY602" fmla="*/ 4748393 h 8575811"/>
              <a:gd name="connsiteX603" fmla="*/ 6430957 w 8537122"/>
              <a:gd name="connsiteY603" fmla="*/ 4735583 h 8575811"/>
              <a:gd name="connsiteX604" fmla="*/ 6428487 w 8537122"/>
              <a:gd name="connsiteY604" fmla="*/ 4729285 h 8575811"/>
              <a:gd name="connsiteX605" fmla="*/ 6319363 w 8537122"/>
              <a:gd name="connsiteY605" fmla="*/ 4673981 h 8575811"/>
              <a:gd name="connsiteX606" fmla="*/ 6316206 w 8537122"/>
              <a:gd name="connsiteY606" fmla="*/ 4675219 h 8575811"/>
              <a:gd name="connsiteX607" fmla="*/ 6263496 w 8537122"/>
              <a:gd name="connsiteY607" fmla="*/ 4652290 h 8575811"/>
              <a:gd name="connsiteX608" fmla="*/ 6133645 w 8537122"/>
              <a:gd name="connsiteY608" fmla="*/ 4590582 h 8575811"/>
              <a:gd name="connsiteX609" fmla="*/ 5932279 w 8537122"/>
              <a:gd name="connsiteY609" fmla="*/ 4495152 h 8575811"/>
              <a:gd name="connsiteX610" fmla="*/ 5920336 w 8537122"/>
              <a:gd name="connsiteY610" fmla="*/ 4492569 h 8575811"/>
              <a:gd name="connsiteX611" fmla="*/ 5872019 w 8537122"/>
              <a:gd name="connsiteY611" fmla="*/ 4471551 h 8575811"/>
              <a:gd name="connsiteX612" fmla="*/ 5868314 w 8537122"/>
              <a:gd name="connsiteY612" fmla="*/ 4462104 h 8575811"/>
              <a:gd name="connsiteX613" fmla="*/ 5870236 w 8537122"/>
              <a:gd name="connsiteY613" fmla="*/ 4457717 h 8575811"/>
              <a:gd name="connsiteX614" fmla="*/ 5813682 w 8537122"/>
              <a:gd name="connsiteY614" fmla="*/ 4443562 h 8575811"/>
              <a:gd name="connsiteX615" fmla="*/ 5753423 w 8537122"/>
              <a:gd name="connsiteY615" fmla="*/ 4419961 h 8575811"/>
              <a:gd name="connsiteX616" fmla="*/ 5580881 w 8537122"/>
              <a:gd name="connsiteY616" fmla="*/ 4342294 h 8575811"/>
              <a:gd name="connsiteX617" fmla="*/ 5562076 w 8537122"/>
              <a:gd name="connsiteY617" fmla="*/ 4331502 h 8575811"/>
              <a:gd name="connsiteX618" fmla="*/ 5560154 w 8537122"/>
              <a:gd name="connsiteY618" fmla="*/ 4335889 h 8575811"/>
              <a:gd name="connsiteX619" fmla="*/ 5508679 w 8537122"/>
              <a:gd name="connsiteY619" fmla="*/ 4316110 h 8575811"/>
              <a:gd name="connsiteX620" fmla="*/ 5457892 w 8537122"/>
              <a:gd name="connsiteY620" fmla="*/ 4288794 h 8575811"/>
              <a:gd name="connsiteX621" fmla="*/ 5455970 w 8537122"/>
              <a:gd name="connsiteY621" fmla="*/ 4293181 h 8575811"/>
              <a:gd name="connsiteX622" fmla="*/ 5452812 w 8537122"/>
              <a:gd name="connsiteY622" fmla="*/ 4294420 h 8575811"/>
              <a:gd name="connsiteX623" fmla="*/ 5452124 w 8537122"/>
              <a:gd name="connsiteY623" fmla="*/ 4301956 h 8575811"/>
              <a:gd name="connsiteX624" fmla="*/ 5494127 w 8537122"/>
              <a:gd name="connsiteY624" fmla="*/ 4325451 h 8575811"/>
              <a:gd name="connsiteX625" fmla="*/ 5500989 w 8537122"/>
              <a:gd name="connsiteY625" fmla="*/ 4333659 h 8575811"/>
              <a:gd name="connsiteX626" fmla="*/ 5515402 w 8537122"/>
              <a:gd name="connsiteY626" fmla="*/ 4342540 h 8575811"/>
              <a:gd name="connsiteX627" fmla="*/ 5528579 w 8537122"/>
              <a:gd name="connsiteY627" fmla="*/ 4348272 h 8575811"/>
              <a:gd name="connsiteX628" fmla="*/ 5541757 w 8537122"/>
              <a:gd name="connsiteY628" fmla="*/ 4354005 h 8575811"/>
              <a:gd name="connsiteX629" fmla="*/ 5568658 w 8537122"/>
              <a:gd name="connsiteY629" fmla="*/ 4376154 h 8575811"/>
              <a:gd name="connsiteX630" fmla="*/ 5760960 w 8537122"/>
              <a:gd name="connsiteY630" fmla="*/ 4504206 h 8575811"/>
              <a:gd name="connsiteX631" fmla="*/ 5933221 w 8537122"/>
              <a:gd name="connsiteY631" fmla="*/ 4618317 h 8575811"/>
              <a:gd name="connsiteX632" fmla="*/ 6074735 w 8537122"/>
              <a:gd name="connsiteY632" fmla="*/ 4719052 h 8575811"/>
              <a:gd name="connsiteX633" fmla="*/ 6175482 w 8537122"/>
              <a:gd name="connsiteY633" fmla="*/ 4799443 h 8575811"/>
              <a:gd name="connsiteX634" fmla="*/ 6185361 w 8537122"/>
              <a:gd name="connsiteY634" fmla="*/ 4824635 h 8575811"/>
              <a:gd name="connsiteX635" fmla="*/ 6224346 w 8537122"/>
              <a:gd name="connsiteY635" fmla="*/ 4831146 h 8575811"/>
              <a:gd name="connsiteX636" fmla="*/ 6324545 w 8537122"/>
              <a:gd name="connsiteY636" fmla="*/ 4900851 h 8575811"/>
              <a:gd name="connsiteX637" fmla="*/ 6334566 w 8537122"/>
              <a:gd name="connsiteY637" fmla="*/ 4907821 h 8575811"/>
              <a:gd name="connsiteX638" fmla="*/ 6343898 w 8537122"/>
              <a:gd name="connsiteY638" fmla="*/ 4922328 h 8575811"/>
              <a:gd name="connsiteX639" fmla="*/ 6349526 w 8537122"/>
              <a:gd name="connsiteY639" fmla="*/ 4927388 h 8575811"/>
              <a:gd name="connsiteX640" fmla="*/ 6383977 w 8537122"/>
              <a:gd name="connsiteY640" fmla="*/ 4950210 h 8575811"/>
              <a:gd name="connsiteX641" fmla="*/ 6392762 w 8537122"/>
              <a:gd name="connsiteY641" fmla="*/ 4954031 h 8575811"/>
              <a:gd name="connsiteX642" fmla="*/ 6398390 w 8537122"/>
              <a:gd name="connsiteY642" fmla="*/ 4959091 h 8575811"/>
              <a:gd name="connsiteX643" fmla="*/ 6459197 w 8537122"/>
              <a:gd name="connsiteY643" fmla="*/ 4993377 h 8575811"/>
              <a:gd name="connsiteX644" fmla="*/ 6610043 w 8537122"/>
              <a:gd name="connsiteY644" fmla="*/ 5108620 h 8575811"/>
              <a:gd name="connsiteX645" fmla="*/ 6627613 w 8537122"/>
              <a:gd name="connsiteY645" fmla="*/ 5116263 h 8575811"/>
              <a:gd name="connsiteX646" fmla="*/ 6651358 w 8537122"/>
              <a:gd name="connsiteY646" fmla="*/ 5139651 h 8575811"/>
              <a:gd name="connsiteX647" fmla="*/ 6685811 w 8537122"/>
              <a:gd name="connsiteY647" fmla="*/ 5162473 h 8575811"/>
              <a:gd name="connsiteX648" fmla="*/ 6732752 w 8537122"/>
              <a:gd name="connsiteY648" fmla="*/ 5198564 h 8575811"/>
              <a:gd name="connsiteX649" fmla="*/ 6765970 w 8537122"/>
              <a:gd name="connsiteY649" fmla="*/ 5218237 h 8575811"/>
              <a:gd name="connsiteX650" fmla="*/ 6805362 w 8537122"/>
              <a:gd name="connsiteY650" fmla="*/ 5253655 h 8575811"/>
              <a:gd name="connsiteX651" fmla="*/ 6824715 w 8537122"/>
              <a:gd name="connsiteY651" fmla="*/ 5275132 h 8575811"/>
              <a:gd name="connsiteX652" fmla="*/ 6825950 w 8537122"/>
              <a:gd name="connsiteY652" fmla="*/ 5278281 h 8575811"/>
              <a:gd name="connsiteX653" fmla="*/ 6816884 w 8537122"/>
              <a:gd name="connsiteY653" fmla="*/ 5310903 h 8575811"/>
              <a:gd name="connsiteX654" fmla="*/ 6818119 w 8537122"/>
              <a:gd name="connsiteY654" fmla="*/ 5314052 h 8575811"/>
              <a:gd name="connsiteX655" fmla="*/ 6820590 w 8537122"/>
              <a:gd name="connsiteY655" fmla="*/ 5320350 h 8575811"/>
              <a:gd name="connsiteX656" fmla="*/ 6824295 w 8537122"/>
              <a:gd name="connsiteY656" fmla="*/ 5329798 h 8575811"/>
              <a:gd name="connsiteX657" fmla="*/ 6833767 w 8537122"/>
              <a:gd name="connsiteY657" fmla="*/ 5326083 h 8575811"/>
              <a:gd name="connsiteX658" fmla="*/ 6848179 w 8537122"/>
              <a:gd name="connsiteY658" fmla="*/ 5334964 h 8575811"/>
              <a:gd name="connsiteX659" fmla="*/ 6868219 w 8537122"/>
              <a:gd name="connsiteY659" fmla="*/ 5348905 h 8575811"/>
              <a:gd name="connsiteX660" fmla="*/ 6969793 w 8537122"/>
              <a:gd name="connsiteY660" fmla="*/ 5403536 h 8575811"/>
              <a:gd name="connsiteX661" fmla="*/ 7001228 w 8537122"/>
              <a:gd name="connsiteY661" fmla="*/ 5409376 h 8575811"/>
              <a:gd name="connsiteX662" fmla="*/ 7126547 w 8537122"/>
              <a:gd name="connsiteY662" fmla="*/ 5487396 h 8575811"/>
              <a:gd name="connsiteX663" fmla="*/ 7171707 w 8537122"/>
              <a:gd name="connsiteY663" fmla="*/ 5509652 h 8575811"/>
              <a:gd name="connsiteX664" fmla="*/ 7233201 w 8537122"/>
              <a:gd name="connsiteY664" fmla="*/ 5536402 h 8575811"/>
              <a:gd name="connsiteX665" fmla="*/ 7234436 w 8537122"/>
              <a:gd name="connsiteY665" fmla="*/ 5539551 h 8575811"/>
              <a:gd name="connsiteX666" fmla="*/ 7233201 w 8537122"/>
              <a:gd name="connsiteY666" fmla="*/ 5536402 h 8575811"/>
              <a:gd name="connsiteX667" fmla="*/ 7394895 w 8537122"/>
              <a:gd name="connsiteY667" fmla="*/ 5632857 h 8575811"/>
              <a:gd name="connsiteX668" fmla="*/ 7429347 w 8537122"/>
              <a:gd name="connsiteY668" fmla="*/ 5655679 h 8575811"/>
              <a:gd name="connsiteX669" fmla="*/ 7440602 w 8537122"/>
              <a:gd name="connsiteY669" fmla="*/ 5665798 h 8575811"/>
              <a:gd name="connsiteX670" fmla="*/ 7471756 w 8537122"/>
              <a:gd name="connsiteY670" fmla="*/ 5708080 h 8575811"/>
              <a:gd name="connsiteX671" fmla="*/ 7467224 w 8537122"/>
              <a:gd name="connsiteY671" fmla="*/ 5724392 h 8575811"/>
              <a:gd name="connsiteX672" fmla="*/ 7436604 w 8537122"/>
              <a:gd name="connsiteY672" fmla="*/ 5776367 h 8575811"/>
              <a:gd name="connsiteX673" fmla="*/ 7456364 w 8537122"/>
              <a:gd name="connsiteY673" fmla="*/ 5826752 h 8575811"/>
              <a:gd name="connsiteX674" fmla="*/ 7456224 w 8537122"/>
              <a:gd name="connsiteY674" fmla="*/ 5844973 h 8575811"/>
              <a:gd name="connsiteX675" fmla="*/ 7440297 w 8537122"/>
              <a:gd name="connsiteY675" fmla="*/ 5869387 h 8575811"/>
              <a:gd name="connsiteX676" fmla="*/ 7402687 w 8537122"/>
              <a:gd name="connsiteY676" fmla="*/ 5847803 h 8575811"/>
              <a:gd name="connsiteX677" fmla="*/ 7390057 w 8537122"/>
              <a:gd name="connsiteY677" fmla="*/ 5852756 h 8575811"/>
              <a:gd name="connsiteX678" fmla="*/ 7383055 w 8537122"/>
              <a:gd name="connsiteY678" fmla="*/ 5862769 h 8575811"/>
              <a:gd name="connsiteX679" fmla="*/ 7441252 w 8537122"/>
              <a:gd name="connsiteY679" fmla="*/ 5908979 h 8575811"/>
              <a:gd name="connsiteX680" fmla="*/ 7447007 w 8537122"/>
              <a:gd name="connsiteY680" fmla="*/ 5979389 h 8575811"/>
              <a:gd name="connsiteX681" fmla="*/ 7457434 w 8537122"/>
              <a:gd name="connsiteY681" fmla="*/ 6015267 h 8575811"/>
              <a:gd name="connsiteX682" fmla="*/ 7459904 w 8537122"/>
              <a:gd name="connsiteY682" fmla="*/ 6021565 h 8575811"/>
              <a:gd name="connsiteX683" fmla="*/ 7449604 w 8537122"/>
              <a:gd name="connsiteY683" fmla="*/ 6051038 h 8575811"/>
              <a:gd name="connsiteX684" fmla="*/ 7448917 w 8537122"/>
              <a:gd name="connsiteY684" fmla="*/ 6058575 h 8575811"/>
              <a:gd name="connsiteX685" fmla="*/ 7451387 w 8537122"/>
              <a:gd name="connsiteY685" fmla="*/ 6064873 h 8575811"/>
              <a:gd name="connsiteX686" fmla="*/ 7468129 w 8537122"/>
              <a:gd name="connsiteY686" fmla="*/ 6098274 h 8575811"/>
              <a:gd name="connsiteX687" fmla="*/ 7452202 w 8537122"/>
              <a:gd name="connsiteY687" fmla="*/ 6122687 h 8575811"/>
              <a:gd name="connsiteX688" fmla="*/ 7436414 w 8537122"/>
              <a:gd name="connsiteY688" fmla="*/ 6128878 h 8575811"/>
              <a:gd name="connsiteX689" fmla="*/ 7400447 w 8537122"/>
              <a:gd name="connsiteY689" fmla="*/ 6139351 h 8575811"/>
              <a:gd name="connsiteX690" fmla="*/ 7377797 w 8537122"/>
              <a:gd name="connsiteY690" fmla="*/ 6137333 h 8575811"/>
              <a:gd name="connsiteX691" fmla="*/ 7369012 w 8537122"/>
              <a:gd name="connsiteY691" fmla="*/ 6133512 h 8575811"/>
              <a:gd name="connsiteX692" fmla="*/ 7330715 w 8537122"/>
              <a:gd name="connsiteY692" fmla="*/ 6119464 h 8575811"/>
              <a:gd name="connsiteX693" fmla="*/ 7301203 w 8537122"/>
              <a:gd name="connsiteY693" fmla="*/ 6109239 h 8575811"/>
              <a:gd name="connsiteX694" fmla="*/ 7188921 w 8537122"/>
              <a:gd name="connsiteY694" fmla="*/ 6055172 h 8575811"/>
              <a:gd name="connsiteX695" fmla="*/ 7103402 w 8537122"/>
              <a:gd name="connsiteY695" fmla="*/ 6041477 h 8575811"/>
              <a:gd name="connsiteX696" fmla="*/ 7099009 w 8537122"/>
              <a:gd name="connsiteY696" fmla="*/ 6039567 h 8575811"/>
              <a:gd name="connsiteX697" fmla="*/ 7095852 w 8537122"/>
              <a:gd name="connsiteY697" fmla="*/ 6040805 h 8575811"/>
              <a:gd name="connsiteX698" fmla="*/ 7074578 w 8537122"/>
              <a:gd name="connsiteY698" fmla="*/ 6023715 h 8575811"/>
              <a:gd name="connsiteX699" fmla="*/ 7076500 w 8537122"/>
              <a:gd name="connsiteY699" fmla="*/ 6019328 h 8575811"/>
              <a:gd name="connsiteX700" fmla="*/ 7089818 w 8537122"/>
              <a:gd name="connsiteY700" fmla="*/ 6006839 h 8575811"/>
              <a:gd name="connsiteX701" fmla="*/ 7114937 w 8537122"/>
              <a:gd name="connsiteY701" fmla="*/ 6015154 h 8575811"/>
              <a:gd name="connsiteX702" fmla="*/ 7090505 w 8537122"/>
              <a:gd name="connsiteY702" fmla="*/ 5999302 h 8575811"/>
              <a:gd name="connsiteX703" fmla="*/ 7071700 w 8537122"/>
              <a:gd name="connsiteY703" fmla="*/ 5988510 h 8575811"/>
              <a:gd name="connsiteX704" fmla="*/ 7029698 w 8537122"/>
              <a:gd name="connsiteY704" fmla="*/ 5965015 h 8575811"/>
              <a:gd name="connsiteX705" fmla="*/ 7016380 w 8537122"/>
              <a:gd name="connsiteY705" fmla="*/ 5977505 h 8575811"/>
              <a:gd name="connsiteX706" fmla="*/ 7039578 w 8537122"/>
              <a:gd name="connsiteY706" fmla="*/ 5990208 h 8575811"/>
              <a:gd name="connsiteX707" fmla="*/ 7055912 w 8537122"/>
              <a:gd name="connsiteY707" fmla="*/ 5994702 h 8575811"/>
              <a:gd name="connsiteX708" fmla="*/ 7060305 w 8537122"/>
              <a:gd name="connsiteY708" fmla="*/ 5996612 h 8575811"/>
              <a:gd name="connsiteX709" fmla="*/ 7067715 w 8537122"/>
              <a:gd name="connsiteY709" fmla="*/ 6015507 h 8575811"/>
              <a:gd name="connsiteX710" fmla="*/ 7048770 w 8537122"/>
              <a:gd name="connsiteY710" fmla="*/ 6022936 h 8575811"/>
              <a:gd name="connsiteX711" fmla="*/ 7045613 w 8537122"/>
              <a:gd name="connsiteY711" fmla="*/ 6024175 h 8575811"/>
              <a:gd name="connsiteX712" fmla="*/ 7015553 w 8537122"/>
              <a:gd name="connsiteY712" fmla="*/ 6003263 h 8575811"/>
              <a:gd name="connsiteX713" fmla="*/ 7014318 w 8537122"/>
              <a:gd name="connsiteY713" fmla="*/ 6000114 h 8575811"/>
              <a:gd name="connsiteX714" fmla="*/ 6979865 w 8537122"/>
              <a:gd name="connsiteY714" fmla="*/ 5977292 h 8575811"/>
              <a:gd name="connsiteX715" fmla="*/ 6976708 w 8537122"/>
              <a:gd name="connsiteY715" fmla="*/ 5978530 h 8575811"/>
              <a:gd name="connsiteX716" fmla="*/ 6949666 w 8537122"/>
              <a:gd name="connsiteY716" fmla="*/ 5974602 h 8575811"/>
              <a:gd name="connsiteX717" fmla="*/ 6916448 w 8537122"/>
              <a:gd name="connsiteY717" fmla="*/ 5954929 h 8575811"/>
              <a:gd name="connsiteX718" fmla="*/ 6894486 w 8537122"/>
              <a:gd name="connsiteY718" fmla="*/ 5945376 h 8575811"/>
              <a:gd name="connsiteX719" fmla="*/ 6888859 w 8537122"/>
              <a:gd name="connsiteY719" fmla="*/ 5940316 h 8575811"/>
              <a:gd name="connsiteX720" fmla="*/ 6885701 w 8537122"/>
              <a:gd name="connsiteY720" fmla="*/ 5941554 h 8575811"/>
              <a:gd name="connsiteX721" fmla="*/ 6866209 w 8537122"/>
              <a:gd name="connsiteY721" fmla="*/ 5938298 h 8575811"/>
              <a:gd name="connsiteX722" fmla="*/ 6863739 w 8537122"/>
              <a:gd name="connsiteY722" fmla="*/ 5932001 h 8575811"/>
              <a:gd name="connsiteX723" fmla="*/ 6861269 w 8537122"/>
              <a:gd name="connsiteY723" fmla="*/ 5925703 h 8575811"/>
              <a:gd name="connsiteX724" fmla="*/ 6851797 w 8537122"/>
              <a:gd name="connsiteY724" fmla="*/ 5929418 h 8575811"/>
              <a:gd name="connsiteX725" fmla="*/ 6806637 w 8537122"/>
              <a:gd name="connsiteY725" fmla="*/ 5907161 h 8575811"/>
              <a:gd name="connsiteX726" fmla="*/ 6718927 w 8537122"/>
              <a:gd name="connsiteY726" fmla="*/ 5850725 h 8575811"/>
              <a:gd name="connsiteX727" fmla="*/ 6706985 w 8537122"/>
              <a:gd name="connsiteY727" fmla="*/ 5848142 h 8575811"/>
              <a:gd name="connsiteX728" fmla="*/ 6698200 w 8537122"/>
              <a:gd name="connsiteY728" fmla="*/ 5844321 h 8575811"/>
              <a:gd name="connsiteX729" fmla="*/ 6681585 w 8537122"/>
              <a:gd name="connsiteY729" fmla="*/ 5876270 h 8575811"/>
              <a:gd name="connsiteX730" fmla="*/ 6685291 w 8537122"/>
              <a:gd name="connsiteY730" fmla="*/ 5885717 h 8575811"/>
              <a:gd name="connsiteX731" fmla="*/ 6675818 w 8537122"/>
              <a:gd name="connsiteY731" fmla="*/ 5889432 h 8575811"/>
              <a:gd name="connsiteX732" fmla="*/ 6672661 w 8537122"/>
              <a:gd name="connsiteY732" fmla="*/ 5890670 h 8575811"/>
              <a:gd name="connsiteX733" fmla="*/ 6666346 w 8537122"/>
              <a:gd name="connsiteY733" fmla="*/ 5893147 h 8575811"/>
              <a:gd name="connsiteX734" fmla="*/ 6663188 w 8537122"/>
              <a:gd name="connsiteY734" fmla="*/ 5894385 h 8575811"/>
              <a:gd name="connsiteX735" fmla="*/ 6658796 w 8537122"/>
              <a:gd name="connsiteY735" fmla="*/ 5892474 h 8575811"/>
              <a:gd name="connsiteX736" fmla="*/ 6633128 w 8537122"/>
              <a:gd name="connsiteY736" fmla="*/ 5873474 h 8575811"/>
              <a:gd name="connsiteX737" fmla="*/ 6631893 w 8537122"/>
              <a:gd name="connsiteY737" fmla="*/ 5870325 h 8575811"/>
              <a:gd name="connsiteX738" fmla="*/ 6635738 w 8537122"/>
              <a:gd name="connsiteY738" fmla="*/ 5861550 h 8575811"/>
              <a:gd name="connsiteX739" fmla="*/ 6636426 w 8537122"/>
              <a:gd name="connsiteY739" fmla="*/ 5854014 h 8575811"/>
              <a:gd name="connsiteX740" fmla="*/ 6623248 w 8537122"/>
              <a:gd name="connsiteY740" fmla="*/ 5848282 h 8575811"/>
              <a:gd name="connsiteX741" fmla="*/ 6628736 w 8537122"/>
              <a:gd name="connsiteY741" fmla="*/ 5871563 h 8575811"/>
              <a:gd name="connsiteX742" fmla="*/ 6607728 w 8537122"/>
              <a:gd name="connsiteY742" fmla="*/ 5901602 h 8575811"/>
              <a:gd name="connsiteX743" fmla="*/ 6627081 w 8537122"/>
              <a:gd name="connsiteY743" fmla="*/ 5923079 h 8575811"/>
              <a:gd name="connsiteX744" fmla="*/ 6637788 w 8537122"/>
              <a:gd name="connsiteY744" fmla="*/ 5922513 h 8575811"/>
              <a:gd name="connsiteX745" fmla="*/ 6645338 w 8537122"/>
              <a:gd name="connsiteY745" fmla="*/ 5923186 h 8575811"/>
              <a:gd name="connsiteX746" fmla="*/ 6652888 w 8537122"/>
              <a:gd name="connsiteY746" fmla="*/ 5923858 h 8575811"/>
              <a:gd name="connsiteX747" fmla="*/ 6681433 w 8537122"/>
              <a:gd name="connsiteY747" fmla="*/ 5978064 h 8575811"/>
              <a:gd name="connsiteX748" fmla="*/ 6678136 w 8537122"/>
              <a:gd name="connsiteY748" fmla="*/ 5997524 h 8575811"/>
              <a:gd name="connsiteX749" fmla="*/ 6673056 w 8537122"/>
              <a:gd name="connsiteY749" fmla="*/ 6003150 h 8575811"/>
              <a:gd name="connsiteX750" fmla="*/ 6672368 w 8537122"/>
              <a:gd name="connsiteY750" fmla="*/ 6010686 h 8575811"/>
              <a:gd name="connsiteX751" fmla="*/ 6674838 w 8537122"/>
              <a:gd name="connsiteY751" fmla="*/ 6016984 h 8575811"/>
              <a:gd name="connsiteX752" fmla="*/ 6677308 w 8537122"/>
              <a:gd name="connsiteY752" fmla="*/ 6023282 h 8575811"/>
              <a:gd name="connsiteX753" fmla="*/ 6708055 w 8537122"/>
              <a:gd name="connsiteY753" fmla="*/ 6036657 h 8575811"/>
              <a:gd name="connsiteX754" fmla="*/ 6901731 w 8537122"/>
              <a:gd name="connsiteY754" fmla="*/ 6149636 h 8575811"/>
              <a:gd name="connsiteX755" fmla="*/ 7153057 w 8537122"/>
              <a:gd name="connsiteY755" fmla="*/ 6298140 h 8575811"/>
              <a:gd name="connsiteX756" fmla="*/ 7263963 w 8537122"/>
              <a:gd name="connsiteY756" fmla="*/ 6367279 h 8575811"/>
              <a:gd name="connsiteX757" fmla="*/ 7331492 w 8537122"/>
              <a:gd name="connsiteY757" fmla="*/ 6427996 h 8575811"/>
              <a:gd name="connsiteX758" fmla="*/ 7353035 w 8537122"/>
              <a:gd name="connsiteY758" fmla="*/ 6492214 h 8575811"/>
              <a:gd name="connsiteX759" fmla="*/ 7343830 w 8537122"/>
              <a:gd name="connsiteY759" fmla="*/ 6543058 h 8575811"/>
              <a:gd name="connsiteX760" fmla="*/ 7346847 w 8537122"/>
              <a:gd name="connsiteY760" fmla="*/ 6560042 h 8575811"/>
              <a:gd name="connsiteX761" fmla="*/ 7345332 w 8537122"/>
              <a:gd name="connsiteY761" fmla="*/ 6593336 h 8575811"/>
              <a:gd name="connsiteX762" fmla="*/ 7355352 w 8537122"/>
              <a:gd name="connsiteY762" fmla="*/ 6600307 h 8575811"/>
              <a:gd name="connsiteX763" fmla="*/ 7357822 w 8537122"/>
              <a:gd name="connsiteY763" fmla="*/ 6606605 h 8575811"/>
              <a:gd name="connsiteX764" fmla="*/ 7345052 w 8537122"/>
              <a:gd name="connsiteY764" fmla="*/ 6629780 h 8575811"/>
              <a:gd name="connsiteX765" fmla="*/ 7339832 w 8537122"/>
              <a:gd name="connsiteY765" fmla="*/ 6653627 h 8575811"/>
              <a:gd name="connsiteX766" fmla="*/ 7344772 w 8537122"/>
              <a:gd name="connsiteY766" fmla="*/ 6666223 h 8575811"/>
              <a:gd name="connsiteX767" fmla="*/ 7347370 w 8537122"/>
              <a:gd name="connsiteY767" fmla="*/ 6737872 h 8575811"/>
              <a:gd name="connsiteX768" fmla="*/ 7341602 w 8537122"/>
              <a:gd name="connsiteY768" fmla="*/ 6751034 h 8575811"/>
              <a:gd name="connsiteX769" fmla="*/ 7333365 w 8537122"/>
              <a:gd name="connsiteY769" fmla="*/ 6757898 h 8575811"/>
              <a:gd name="connsiteX770" fmla="*/ 7323893 w 8537122"/>
              <a:gd name="connsiteY770" fmla="*/ 6761613 h 8575811"/>
              <a:gd name="connsiteX771" fmla="*/ 7348592 w 8537122"/>
              <a:gd name="connsiteY771" fmla="*/ 6824594 h 8575811"/>
              <a:gd name="connsiteX772" fmla="*/ 7324975 w 8537122"/>
              <a:gd name="connsiteY772" fmla="*/ 6866556 h 8575811"/>
              <a:gd name="connsiteX773" fmla="*/ 7306030 w 8537122"/>
              <a:gd name="connsiteY773" fmla="*/ 6873986 h 8575811"/>
              <a:gd name="connsiteX774" fmla="*/ 7292853 w 8537122"/>
              <a:gd name="connsiteY774" fmla="*/ 6868254 h 8575811"/>
              <a:gd name="connsiteX775" fmla="*/ 7234516 w 8537122"/>
              <a:gd name="connsiteY775" fmla="*/ 6840265 h 8575811"/>
              <a:gd name="connsiteX776" fmla="*/ 7190592 w 8537122"/>
              <a:gd name="connsiteY776" fmla="*/ 6821158 h 8575811"/>
              <a:gd name="connsiteX777" fmla="*/ 7159844 w 8537122"/>
              <a:gd name="connsiteY777" fmla="*/ 6807783 h 8575811"/>
              <a:gd name="connsiteX778" fmla="*/ 7165332 w 8537122"/>
              <a:gd name="connsiteY778" fmla="*/ 6831064 h 8575811"/>
              <a:gd name="connsiteX779" fmla="*/ 7147622 w 8537122"/>
              <a:gd name="connsiteY779" fmla="*/ 6841644 h 8575811"/>
              <a:gd name="connsiteX780" fmla="*/ 7102462 w 8537122"/>
              <a:gd name="connsiteY780" fmla="*/ 6819387 h 8575811"/>
              <a:gd name="connsiteX781" fmla="*/ 7086127 w 8537122"/>
              <a:gd name="connsiteY781" fmla="*/ 6814893 h 8575811"/>
              <a:gd name="connsiteX782" fmla="*/ 7089833 w 8537122"/>
              <a:gd name="connsiteY782" fmla="*/ 6824341 h 8575811"/>
              <a:gd name="connsiteX783" fmla="*/ 7091067 w 8537122"/>
              <a:gd name="connsiteY783" fmla="*/ 6827489 h 8575811"/>
              <a:gd name="connsiteX784" fmla="*/ 7116047 w 8537122"/>
              <a:gd name="connsiteY784" fmla="*/ 6854027 h 8575811"/>
              <a:gd name="connsiteX785" fmla="*/ 7137869 w 8537122"/>
              <a:gd name="connsiteY785" fmla="*/ 6881802 h 8575811"/>
              <a:gd name="connsiteX786" fmla="*/ 7158864 w 8537122"/>
              <a:gd name="connsiteY786" fmla="*/ 6935335 h 8575811"/>
              <a:gd name="connsiteX787" fmla="*/ 7157349 w 8537122"/>
              <a:gd name="connsiteY787" fmla="*/ 6968630 h 8575811"/>
              <a:gd name="connsiteX788" fmla="*/ 7168464 w 8537122"/>
              <a:gd name="connsiteY788" fmla="*/ 6996971 h 8575811"/>
              <a:gd name="connsiteX789" fmla="*/ 7169699 w 8537122"/>
              <a:gd name="connsiteY789" fmla="*/ 7000119 h 8575811"/>
              <a:gd name="connsiteX790" fmla="*/ 7175594 w 8537122"/>
              <a:gd name="connsiteY790" fmla="*/ 7052309 h 8575811"/>
              <a:gd name="connsiteX791" fmla="*/ 7202636 w 8537122"/>
              <a:gd name="connsiteY791" fmla="*/ 7056237 h 8575811"/>
              <a:gd name="connsiteX792" fmla="*/ 7171469 w 8537122"/>
              <a:gd name="connsiteY792" fmla="*/ 7097527 h 8575811"/>
              <a:gd name="connsiteX793" fmla="*/ 7134954 w 8537122"/>
              <a:gd name="connsiteY793" fmla="*/ 7097314 h 8575811"/>
              <a:gd name="connsiteX794" fmla="*/ 7114087 w 8537122"/>
              <a:gd name="connsiteY794" fmla="*/ 7109130 h 8575811"/>
              <a:gd name="connsiteX795" fmla="*/ 7098300 w 8537122"/>
              <a:gd name="connsiteY795" fmla="*/ 7115322 h 8575811"/>
              <a:gd name="connsiteX796" fmla="*/ 7081965 w 8537122"/>
              <a:gd name="connsiteY796" fmla="*/ 7110829 h 8575811"/>
              <a:gd name="connsiteX797" fmla="*/ 6933309 w 8537122"/>
              <a:gd name="connsiteY797" fmla="*/ 7038327 h 8575811"/>
              <a:gd name="connsiteX798" fmla="*/ 6923148 w 8537122"/>
              <a:gd name="connsiteY798" fmla="*/ 7049578 h 8575811"/>
              <a:gd name="connsiteX799" fmla="*/ 6903656 w 8537122"/>
              <a:gd name="connsiteY799" fmla="*/ 7046323 h 8575811"/>
              <a:gd name="connsiteX800" fmla="*/ 6863984 w 8537122"/>
              <a:gd name="connsiteY800" fmla="*/ 7047349 h 8575811"/>
              <a:gd name="connsiteX801" fmla="*/ 6859592 w 8537122"/>
              <a:gd name="connsiteY801" fmla="*/ 7045438 h 8575811"/>
              <a:gd name="connsiteX802" fmla="*/ 6855199 w 8537122"/>
              <a:gd name="connsiteY802" fmla="*/ 7043527 h 8575811"/>
              <a:gd name="connsiteX803" fmla="*/ 6847649 w 8537122"/>
              <a:gd name="connsiteY803" fmla="*/ 7042854 h 8575811"/>
              <a:gd name="connsiteX804" fmla="*/ 6845179 w 8537122"/>
              <a:gd name="connsiteY804" fmla="*/ 7036556 h 8575811"/>
              <a:gd name="connsiteX805" fmla="*/ 6835159 w 8537122"/>
              <a:gd name="connsiteY805" fmla="*/ 7029586 h 8575811"/>
              <a:gd name="connsiteX806" fmla="*/ 6818137 w 8537122"/>
              <a:gd name="connsiteY806" fmla="*/ 7032629 h 8575811"/>
              <a:gd name="connsiteX807" fmla="*/ 6811275 w 8537122"/>
              <a:gd name="connsiteY807" fmla="*/ 7024420 h 8575811"/>
              <a:gd name="connsiteX808" fmla="*/ 6752937 w 8537122"/>
              <a:gd name="connsiteY808" fmla="*/ 6996432 h 8575811"/>
              <a:gd name="connsiteX809" fmla="*/ 6758704 w 8537122"/>
              <a:gd name="connsiteY809" fmla="*/ 6983269 h 8575811"/>
              <a:gd name="connsiteX810" fmla="*/ 6765020 w 8537122"/>
              <a:gd name="connsiteY810" fmla="*/ 6980793 h 8575811"/>
              <a:gd name="connsiteX811" fmla="*/ 6771335 w 8537122"/>
              <a:gd name="connsiteY811" fmla="*/ 6978316 h 8575811"/>
              <a:gd name="connsiteX812" fmla="*/ 6770100 w 8537122"/>
              <a:gd name="connsiteY812" fmla="*/ 6975167 h 8575811"/>
              <a:gd name="connsiteX813" fmla="*/ 6718905 w 8537122"/>
              <a:gd name="connsiteY813" fmla="*/ 6918944 h 8575811"/>
              <a:gd name="connsiteX814" fmla="*/ 6697490 w 8537122"/>
              <a:gd name="connsiteY814" fmla="*/ 6920076 h 8575811"/>
              <a:gd name="connsiteX815" fmla="*/ 6709981 w 8537122"/>
              <a:gd name="connsiteY815" fmla="*/ 6933344 h 8575811"/>
              <a:gd name="connsiteX816" fmla="*/ 6695976 w 8537122"/>
              <a:gd name="connsiteY816" fmla="*/ 6953370 h 8575811"/>
              <a:gd name="connsiteX817" fmla="*/ 6689661 w 8537122"/>
              <a:gd name="connsiteY817" fmla="*/ 6955847 h 8575811"/>
              <a:gd name="connsiteX818" fmla="*/ 6688973 w 8537122"/>
              <a:gd name="connsiteY818" fmla="*/ 6963383 h 8575811"/>
              <a:gd name="connsiteX819" fmla="*/ 6619381 w 8537122"/>
              <a:gd name="connsiteY819" fmla="*/ 6925275 h 8575811"/>
              <a:gd name="connsiteX820" fmla="*/ 6617051 w 8537122"/>
              <a:gd name="connsiteY820" fmla="*/ 6900755 h 8575811"/>
              <a:gd name="connsiteX821" fmla="*/ 6618286 w 8537122"/>
              <a:gd name="connsiteY821" fmla="*/ 6903904 h 8575811"/>
              <a:gd name="connsiteX822" fmla="*/ 6625148 w 8537122"/>
              <a:gd name="connsiteY822" fmla="*/ 6912113 h 8575811"/>
              <a:gd name="connsiteX823" fmla="*/ 6626383 w 8537122"/>
              <a:gd name="connsiteY823" fmla="*/ 6915262 h 8575811"/>
              <a:gd name="connsiteX824" fmla="*/ 6627619 w 8537122"/>
              <a:gd name="connsiteY824" fmla="*/ 6918411 h 8575811"/>
              <a:gd name="connsiteX825" fmla="*/ 6628853 w 8537122"/>
              <a:gd name="connsiteY825" fmla="*/ 6921560 h 8575811"/>
              <a:gd name="connsiteX826" fmla="*/ 6638326 w 8537122"/>
              <a:gd name="connsiteY826" fmla="*/ 6917845 h 8575811"/>
              <a:gd name="connsiteX827" fmla="*/ 6647798 w 8537122"/>
              <a:gd name="connsiteY827" fmla="*/ 6914130 h 8575811"/>
              <a:gd name="connsiteX828" fmla="*/ 6657818 w 8537122"/>
              <a:gd name="connsiteY828" fmla="*/ 6921101 h 8575811"/>
              <a:gd name="connsiteX829" fmla="*/ 6655348 w 8537122"/>
              <a:gd name="connsiteY829" fmla="*/ 6914803 h 8575811"/>
              <a:gd name="connsiteX830" fmla="*/ 6654113 w 8537122"/>
              <a:gd name="connsiteY830" fmla="*/ 6911654 h 8575811"/>
              <a:gd name="connsiteX831" fmla="*/ 6657271 w 8537122"/>
              <a:gd name="connsiteY831" fmla="*/ 6910415 h 8575811"/>
              <a:gd name="connsiteX832" fmla="*/ 6660427 w 8537122"/>
              <a:gd name="connsiteY832" fmla="*/ 6909177 h 8575811"/>
              <a:gd name="connsiteX833" fmla="*/ 6635448 w 8537122"/>
              <a:gd name="connsiteY833" fmla="*/ 6882640 h 8575811"/>
              <a:gd name="connsiteX834" fmla="*/ 6627211 w 8537122"/>
              <a:gd name="connsiteY834" fmla="*/ 6889504 h 8575811"/>
              <a:gd name="connsiteX835" fmla="*/ 6620895 w 8537122"/>
              <a:gd name="connsiteY835" fmla="*/ 6891981 h 8575811"/>
              <a:gd name="connsiteX836" fmla="*/ 6617739 w 8537122"/>
              <a:gd name="connsiteY836" fmla="*/ 6893219 h 8575811"/>
              <a:gd name="connsiteX837" fmla="*/ 6613345 w 8537122"/>
              <a:gd name="connsiteY837" fmla="*/ 6891308 h 8575811"/>
              <a:gd name="connsiteX838" fmla="*/ 6532767 w 8537122"/>
              <a:gd name="connsiteY838" fmla="*/ 6890210 h 8575811"/>
              <a:gd name="connsiteX839" fmla="*/ 6479509 w 8537122"/>
              <a:gd name="connsiteY839" fmla="*/ 6856596 h 8575811"/>
              <a:gd name="connsiteX840" fmla="*/ 6399898 w 8537122"/>
              <a:gd name="connsiteY840" fmla="*/ 6811517 h 8575811"/>
              <a:gd name="connsiteX841" fmla="*/ 6379310 w 8537122"/>
              <a:gd name="connsiteY841" fmla="*/ 6786891 h 8575811"/>
              <a:gd name="connsiteX842" fmla="*/ 6381232 w 8537122"/>
              <a:gd name="connsiteY842" fmla="*/ 6782503 h 8575811"/>
              <a:gd name="connsiteX843" fmla="*/ 6388235 w 8537122"/>
              <a:gd name="connsiteY843" fmla="*/ 6772491 h 8575811"/>
              <a:gd name="connsiteX844" fmla="*/ 6387687 w 8537122"/>
              <a:gd name="connsiteY844" fmla="*/ 6761805 h 8575811"/>
              <a:gd name="connsiteX845" fmla="*/ 6380137 w 8537122"/>
              <a:gd name="connsiteY845" fmla="*/ 6761133 h 8575811"/>
              <a:gd name="connsiteX846" fmla="*/ 6375058 w 8537122"/>
              <a:gd name="connsiteY846" fmla="*/ 6766759 h 8575811"/>
              <a:gd name="connsiteX847" fmla="*/ 6376840 w 8537122"/>
              <a:gd name="connsiteY847" fmla="*/ 6780593 h 8575811"/>
              <a:gd name="connsiteX848" fmla="*/ 6376153 w 8537122"/>
              <a:gd name="connsiteY848" fmla="*/ 6788129 h 8575811"/>
              <a:gd name="connsiteX849" fmla="*/ 6316580 w 8537122"/>
              <a:gd name="connsiteY849" fmla="*/ 6756992 h 8575811"/>
              <a:gd name="connsiteX850" fmla="*/ 6312188 w 8537122"/>
              <a:gd name="connsiteY850" fmla="*/ 6755081 h 8575811"/>
              <a:gd name="connsiteX851" fmla="*/ 6250146 w 8537122"/>
              <a:gd name="connsiteY851" fmla="*/ 6717646 h 8575811"/>
              <a:gd name="connsiteX852" fmla="*/ 6246988 w 8537122"/>
              <a:gd name="connsiteY852" fmla="*/ 6718884 h 8575811"/>
              <a:gd name="connsiteX853" fmla="*/ 6206221 w 8537122"/>
              <a:gd name="connsiteY853" fmla="*/ 6698538 h 8575811"/>
              <a:gd name="connsiteX854" fmla="*/ 6160374 w 8537122"/>
              <a:gd name="connsiteY854" fmla="*/ 6683818 h 8575811"/>
              <a:gd name="connsiteX855" fmla="*/ 6151589 w 8537122"/>
              <a:gd name="connsiteY855" fmla="*/ 6679997 h 8575811"/>
              <a:gd name="connsiteX856" fmla="*/ 6096550 w 8537122"/>
              <a:gd name="connsiteY856" fmla="*/ 6632549 h 8575811"/>
              <a:gd name="connsiteX857" fmla="*/ 6139927 w 8537122"/>
              <a:gd name="connsiteY857" fmla="*/ 6640970 h 8575811"/>
              <a:gd name="connsiteX858" fmla="*/ 6068552 w 8537122"/>
              <a:gd name="connsiteY858" fmla="*/ 6589028 h 8575811"/>
              <a:gd name="connsiteX859" fmla="*/ 6048512 w 8537122"/>
              <a:gd name="connsiteY859" fmla="*/ 6575087 h 8575811"/>
              <a:gd name="connsiteX860" fmla="*/ 6057158 w 8537122"/>
              <a:gd name="connsiteY860" fmla="*/ 6597130 h 8575811"/>
              <a:gd name="connsiteX861" fmla="*/ 6067177 w 8537122"/>
              <a:gd name="connsiteY861" fmla="*/ 6604101 h 8575811"/>
              <a:gd name="connsiteX862" fmla="*/ 6071570 w 8537122"/>
              <a:gd name="connsiteY862" fmla="*/ 6606012 h 8575811"/>
              <a:gd name="connsiteX863" fmla="*/ 6072805 w 8537122"/>
              <a:gd name="connsiteY863" fmla="*/ 6609161 h 8575811"/>
              <a:gd name="connsiteX864" fmla="*/ 6092157 w 8537122"/>
              <a:gd name="connsiteY864" fmla="*/ 6630638 h 8575811"/>
              <a:gd name="connsiteX865" fmla="*/ 6038760 w 8537122"/>
              <a:gd name="connsiteY865" fmla="*/ 6615246 h 8575811"/>
              <a:gd name="connsiteX866" fmla="*/ 5963541 w 8537122"/>
              <a:gd name="connsiteY866" fmla="*/ 6572078 h 8575811"/>
              <a:gd name="connsiteX867" fmla="*/ 5956678 w 8537122"/>
              <a:gd name="connsiteY867" fmla="*/ 6563869 h 8575811"/>
              <a:gd name="connsiteX868" fmla="*/ 5882007 w 8537122"/>
              <a:gd name="connsiteY868" fmla="*/ 6531387 h 8575811"/>
              <a:gd name="connsiteX869" fmla="*/ 5881051 w 8537122"/>
              <a:gd name="connsiteY869" fmla="*/ 6491794 h 8575811"/>
              <a:gd name="connsiteX870" fmla="*/ 5868422 w 8537122"/>
              <a:gd name="connsiteY870" fmla="*/ 6496748 h 8575811"/>
              <a:gd name="connsiteX871" fmla="*/ 5870892 w 8537122"/>
              <a:gd name="connsiteY871" fmla="*/ 6503046 h 8575811"/>
              <a:gd name="connsiteX872" fmla="*/ 5860184 w 8537122"/>
              <a:gd name="connsiteY872" fmla="*/ 6503611 h 8575811"/>
              <a:gd name="connsiteX873" fmla="*/ 5853869 w 8537122"/>
              <a:gd name="connsiteY873" fmla="*/ 6506088 h 8575811"/>
              <a:gd name="connsiteX874" fmla="*/ 5850711 w 8537122"/>
              <a:gd name="connsiteY874" fmla="*/ 6507326 h 8575811"/>
              <a:gd name="connsiteX875" fmla="*/ 5840004 w 8537122"/>
              <a:gd name="connsiteY875" fmla="*/ 6507892 h 8575811"/>
              <a:gd name="connsiteX876" fmla="*/ 5835064 w 8537122"/>
              <a:gd name="connsiteY876" fmla="*/ 6495296 h 8575811"/>
              <a:gd name="connsiteX877" fmla="*/ 5831359 w 8537122"/>
              <a:gd name="connsiteY877" fmla="*/ 6485849 h 8575811"/>
              <a:gd name="connsiteX878" fmla="*/ 5831499 w 8537122"/>
              <a:gd name="connsiteY878" fmla="*/ 6467627 h 8575811"/>
              <a:gd name="connsiteX879" fmla="*/ 5796080 w 8537122"/>
              <a:gd name="connsiteY879" fmla="*/ 6488785 h 8575811"/>
              <a:gd name="connsiteX880" fmla="*/ 5728410 w 8537122"/>
              <a:gd name="connsiteY880" fmla="*/ 6446290 h 8575811"/>
              <a:gd name="connsiteX881" fmla="*/ 5716468 w 8537122"/>
              <a:gd name="connsiteY881" fmla="*/ 6443706 h 8575811"/>
              <a:gd name="connsiteX882" fmla="*/ 5639326 w 8537122"/>
              <a:gd name="connsiteY882" fmla="*/ 6404926 h 8575811"/>
              <a:gd name="connsiteX883" fmla="*/ 5634933 w 8537122"/>
              <a:gd name="connsiteY883" fmla="*/ 6403016 h 8575811"/>
              <a:gd name="connsiteX884" fmla="*/ 5587991 w 8537122"/>
              <a:gd name="connsiteY884" fmla="*/ 6366925 h 8575811"/>
              <a:gd name="connsiteX885" fmla="*/ 5514147 w 8537122"/>
              <a:gd name="connsiteY885" fmla="*/ 6308685 h 8575811"/>
              <a:gd name="connsiteX886" fmla="*/ 5517304 w 8537122"/>
              <a:gd name="connsiteY886" fmla="*/ 6307446 h 8575811"/>
              <a:gd name="connsiteX887" fmla="*/ 5520462 w 8537122"/>
              <a:gd name="connsiteY887" fmla="*/ 6306208 h 8575811"/>
              <a:gd name="connsiteX888" fmla="*/ 5526777 w 8537122"/>
              <a:gd name="connsiteY888" fmla="*/ 6303731 h 8575811"/>
              <a:gd name="connsiteX889" fmla="*/ 5519914 w 8537122"/>
              <a:gd name="connsiteY889" fmla="*/ 6295523 h 8575811"/>
              <a:gd name="connsiteX890" fmla="*/ 5507285 w 8537122"/>
              <a:gd name="connsiteY890" fmla="*/ 6300476 h 8575811"/>
              <a:gd name="connsiteX891" fmla="*/ 5505361 w 8537122"/>
              <a:gd name="connsiteY891" fmla="*/ 6304863 h 8575811"/>
              <a:gd name="connsiteX892" fmla="*/ 5504674 w 8537122"/>
              <a:gd name="connsiteY892" fmla="*/ 6312399 h 8575811"/>
              <a:gd name="connsiteX893" fmla="*/ 5495202 w 8537122"/>
              <a:gd name="connsiteY893" fmla="*/ 6316114 h 8575811"/>
              <a:gd name="connsiteX894" fmla="*/ 5489574 w 8537122"/>
              <a:gd name="connsiteY894" fmla="*/ 6311055 h 8575811"/>
              <a:gd name="connsiteX895" fmla="*/ 5448120 w 8537122"/>
              <a:gd name="connsiteY895" fmla="*/ 6298245 h 8575811"/>
              <a:gd name="connsiteX896" fmla="*/ 5418060 w 8537122"/>
              <a:gd name="connsiteY896" fmla="*/ 6277334 h 8575811"/>
              <a:gd name="connsiteX897" fmla="*/ 5416825 w 8537122"/>
              <a:gd name="connsiteY897" fmla="*/ 6274185 h 8575811"/>
              <a:gd name="connsiteX898" fmla="*/ 5406118 w 8537122"/>
              <a:gd name="connsiteY898" fmla="*/ 6274751 h 8575811"/>
              <a:gd name="connsiteX899" fmla="*/ 5382372 w 8537122"/>
              <a:gd name="connsiteY899" fmla="*/ 6251363 h 8575811"/>
              <a:gd name="connsiteX900" fmla="*/ 5376745 w 8537122"/>
              <a:gd name="connsiteY900" fmla="*/ 6246303 h 8575811"/>
              <a:gd name="connsiteX901" fmla="*/ 5373587 w 8537122"/>
              <a:gd name="connsiteY901" fmla="*/ 6247541 h 8575811"/>
              <a:gd name="connsiteX902" fmla="*/ 5367960 w 8537122"/>
              <a:gd name="connsiteY902" fmla="*/ 6242482 h 8575811"/>
              <a:gd name="connsiteX903" fmla="*/ 5354783 w 8537122"/>
              <a:gd name="connsiteY903" fmla="*/ 6236749 h 8575811"/>
              <a:gd name="connsiteX904" fmla="*/ 5353548 w 8537122"/>
              <a:gd name="connsiteY904" fmla="*/ 6233600 h 8575811"/>
              <a:gd name="connsiteX905" fmla="*/ 5347233 w 8537122"/>
              <a:gd name="connsiteY905" fmla="*/ 6236077 h 8575811"/>
              <a:gd name="connsiteX906" fmla="*/ 5342840 w 8537122"/>
              <a:gd name="connsiteY906" fmla="*/ 6234166 h 8575811"/>
              <a:gd name="connsiteX907" fmla="*/ 5340371 w 8537122"/>
              <a:gd name="connsiteY907" fmla="*/ 6227868 h 8575811"/>
              <a:gd name="connsiteX908" fmla="*/ 5334743 w 8537122"/>
              <a:gd name="connsiteY908" fmla="*/ 6222808 h 8575811"/>
              <a:gd name="connsiteX909" fmla="*/ 5317173 w 8537122"/>
              <a:gd name="connsiteY909" fmla="*/ 6215166 h 8575811"/>
              <a:gd name="connsiteX910" fmla="*/ 5318408 w 8537122"/>
              <a:gd name="connsiteY910" fmla="*/ 6218315 h 8575811"/>
              <a:gd name="connsiteX911" fmla="*/ 5315250 w 8537122"/>
              <a:gd name="connsiteY911" fmla="*/ 6219553 h 8575811"/>
              <a:gd name="connsiteX912" fmla="*/ 5308248 w 8537122"/>
              <a:gd name="connsiteY912" fmla="*/ 6229566 h 8575811"/>
              <a:gd name="connsiteX913" fmla="*/ 5401038 w 8537122"/>
              <a:gd name="connsiteY913" fmla="*/ 6280376 h 8575811"/>
              <a:gd name="connsiteX914" fmla="*/ 5438647 w 8537122"/>
              <a:gd name="connsiteY914" fmla="*/ 6301960 h 8575811"/>
              <a:gd name="connsiteX915" fmla="*/ 5489982 w 8537122"/>
              <a:gd name="connsiteY915" fmla="*/ 6339962 h 8575811"/>
              <a:gd name="connsiteX916" fmla="*/ 5570828 w 8537122"/>
              <a:gd name="connsiteY916" fmla="*/ 6388189 h 8575811"/>
              <a:gd name="connsiteX917" fmla="*/ 5636576 w 8537122"/>
              <a:gd name="connsiteY917" fmla="*/ 6435072 h 8575811"/>
              <a:gd name="connsiteX918" fmla="*/ 5800740 w 8537122"/>
              <a:gd name="connsiteY918" fmla="*/ 6537825 h 8575811"/>
              <a:gd name="connsiteX919" fmla="*/ 5836974 w 8537122"/>
              <a:gd name="connsiteY919" fmla="*/ 6574481 h 8575811"/>
              <a:gd name="connsiteX920" fmla="*/ 5922214 w 8537122"/>
              <a:gd name="connsiteY920" fmla="*/ 6624619 h 8575811"/>
              <a:gd name="connsiteX921" fmla="*/ 5926606 w 8537122"/>
              <a:gd name="connsiteY921" fmla="*/ 6626530 h 8575811"/>
              <a:gd name="connsiteX922" fmla="*/ 5944176 w 8537122"/>
              <a:gd name="connsiteY922" fmla="*/ 6634173 h 8575811"/>
              <a:gd name="connsiteX923" fmla="*/ 5949804 w 8537122"/>
              <a:gd name="connsiteY923" fmla="*/ 6639233 h 8575811"/>
              <a:gd name="connsiteX924" fmla="*/ 6080610 w 8537122"/>
              <a:gd name="connsiteY924" fmla="*/ 6740534 h 8575811"/>
              <a:gd name="connsiteX925" fmla="*/ 6233518 w 8537122"/>
              <a:gd name="connsiteY925" fmla="*/ 6833167 h 8575811"/>
              <a:gd name="connsiteX926" fmla="*/ 6473309 w 8537122"/>
              <a:gd name="connsiteY926" fmla="*/ 7007995 h 8575811"/>
              <a:gd name="connsiteX927" fmla="*/ 6520939 w 8537122"/>
              <a:gd name="connsiteY927" fmla="*/ 7036550 h 8575811"/>
              <a:gd name="connsiteX928" fmla="*/ 6618668 w 8537122"/>
              <a:gd name="connsiteY928" fmla="*/ 7099956 h 8575811"/>
              <a:gd name="connsiteX929" fmla="*/ 6624844 w 8537122"/>
              <a:gd name="connsiteY929" fmla="*/ 7115702 h 8575811"/>
              <a:gd name="connsiteX930" fmla="*/ 6778299 w 8537122"/>
              <a:gd name="connsiteY930" fmla="*/ 7219020 h 8575811"/>
              <a:gd name="connsiteX931" fmla="*/ 6816457 w 8537122"/>
              <a:gd name="connsiteY931" fmla="*/ 7251289 h 8575811"/>
              <a:gd name="connsiteX932" fmla="*/ 6827712 w 8537122"/>
              <a:gd name="connsiteY932" fmla="*/ 7261409 h 8575811"/>
              <a:gd name="connsiteX933" fmla="*/ 6859554 w 8537122"/>
              <a:gd name="connsiteY933" fmla="*/ 7296154 h 8575811"/>
              <a:gd name="connsiteX934" fmla="*/ 6873966 w 8537122"/>
              <a:gd name="connsiteY934" fmla="*/ 7305035 h 8575811"/>
              <a:gd name="connsiteX935" fmla="*/ 6879594 w 8537122"/>
              <a:gd name="connsiteY935" fmla="*/ 7310096 h 8575811"/>
              <a:gd name="connsiteX936" fmla="*/ 6892771 w 8537122"/>
              <a:gd name="connsiteY936" fmla="*/ 7315828 h 8575811"/>
              <a:gd name="connsiteX937" fmla="*/ 6901556 w 8537122"/>
              <a:gd name="connsiteY937" fmla="*/ 7319649 h 8575811"/>
              <a:gd name="connsiteX938" fmla="*/ 6902792 w 8537122"/>
              <a:gd name="connsiteY938" fmla="*/ 7322798 h 8575811"/>
              <a:gd name="connsiteX939" fmla="*/ 6905261 w 8537122"/>
              <a:gd name="connsiteY939" fmla="*/ 7329096 h 8575811"/>
              <a:gd name="connsiteX940" fmla="*/ 6954126 w 8537122"/>
              <a:gd name="connsiteY940" fmla="*/ 7360799 h 8575811"/>
              <a:gd name="connsiteX941" fmla="*/ 6974166 w 8537122"/>
              <a:gd name="connsiteY941" fmla="*/ 7374741 h 8575811"/>
              <a:gd name="connsiteX942" fmla="*/ 6992282 w 8537122"/>
              <a:gd name="connsiteY942" fmla="*/ 7393069 h 8575811"/>
              <a:gd name="connsiteX943" fmla="*/ 7009853 w 8537122"/>
              <a:gd name="connsiteY943" fmla="*/ 7400712 h 8575811"/>
              <a:gd name="connsiteX944" fmla="*/ 7007931 w 8537122"/>
              <a:gd name="connsiteY944" fmla="*/ 7405099 h 8575811"/>
              <a:gd name="connsiteX945" fmla="*/ 7012323 w 8537122"/>
              <a:gd name="connsiteY945" fmla="*/ 7407010 h 8575811"/>
              <a:gd name="connsiteX946" fmla="*/ 7031675 w 8537122"/>
              <a:gd name="connsiteY946" fmla="*/ 7428487 h 8575811"/>
              <a:gd name="connsiteX947" fmla="*/ 7081087 w 8537122"/>
              <a:gd name="connsiteY947" fmla="*/ 7470875 h 8575811"/>
              <a:gd name="connsiteX948" fmla="*/ 7115947 w 8537122"/>
              <a:gd name="connsiteY948" fmla="*/ 7522605 h 8575811"/>
              <a:gd name="connsiteX949" fmla="*/ 7062410 w 8537122"/>
              <a:gd name="connsiteY949" fmla="*/ 7525434 h 8575811"/>
              <a:gd name="connsiteX950" fmla="*/ 7094252 w 8537122"/>
              <a:gd name="connsiteY950" fmla="*/ 7560180 h 8575811"/>
              <a:gd name="connsiteX951" fmla="*/ 7114292 w 8537122"/>
              <a:gd name="connsiteY951" fmla="*/ 7574121 h 8575811"/>
              <a:gd name="connsiteX952" fmla="*/ 7100287 w 8537122"/>
              <a:gd name="connsiteY952" fmla="*/ 7594147 h 8575811"/>
              <a:gd name="connsiteX953" fmla="*/ 7120467 w 8537122"/>
              <a:gd name="connsiteY953" fmla="*/ 7589866 h 8575811"/>
              <a:gd name="connsiteX954" fmla="*/ 7128705 w 8537122"/>
              <a:gd name="connsiteY954" fmla="*/ 7583003 h 8575811"/>
              <a:gd name="connsiteX955" fmla="*/ 7177569 w 8537122"/>
              <a:gd name="connsiteY955" fmla="*/ 7614706 h 8575811"/>
              <a:gd name="connsiteX956" fmla="*/ 7210786 w 8537122"/>
              <a:gd name="connsiteY956" fmla="*/ 7634379 h 8575811"/>
              <a:gd name="connsiteX957" fmla="*/ 7261573 w 8537122"/>
              <a:gd name="connsiteY957" fmla="*/ 7661695 h 8575811"/>
              <a:gd name="connsiteX958" fmla="*/ 7262808 w 8537122"/>
              <a:gd name="connsiteY958" fmla="*/ 7664844 h 8575811"/>
              <a:gd name="connsiteX959" fmla="*/ 7274063 w 8537122"/>
              <a:gd name="connsiteY959" fmla="*/ 7674964 h 8575811"/>
              <a:gd name="connsiteX960" fmla="*/ 7287240 w 8537122"/>
              <a:gd name="connsiteY960" fmla="*/ 7680695 h 8575811"/>
              <a:gd name="connsiteX961" fmla="*/ 7328555 w 8537122"/>
              <a:gd name="connsiteY961" fmla="*/ 7711726 h 8575811"/>
              <a:gd name="connsiteX962" fmla="*/ 7339810 w 8537122"/>
              <a:gd name="connsiteY962" fmla="*/ 7721845 h 8575811"/>
              <a:gd name="connsiteX963" fmla="*/ 7382220 w 8537122"/>
              <a:gd name="connsiteY963" fmla="*/ 7774248 h 8575811"/>
              <a:gd name="connsiteX964" fmla="*/ 7474461 w 8537122"/>
              <a:gd name="connsiteY964" fmla="*/ 7814373 h 8575811"/>
              <a:gd name="connsiteX965" fmla="*/ 7530188 w 8537122"/>
              <a:gd name="connsiteY965" fmla="*/ 7854285 h 8575811"/>
              <a:gd name="connsiteX966" fmla="*/ 7561483 w 8537122"/>
              <a:gd name="connsiteY966" fmla="*/ 7878346 h 8575811"/>
              <a:gd name="connsiteX967" fmla="*/ 7615975 w 8537122"/>
              <a:gd name="connsiteY967" fmla="*/ 7915108 h 8575811"/>
              <a:gd name="connsiteX968" fmla="*/ 7669780 w 8537122"/>
              <a:gd name="connsiteY968" fmla="*/ 7959408 h 8575811"/>
              <a:gd name="connsiteX969" fmla="*/ 7686662 w 8537122"/>
              <a:gd name="connsiteY969" fmla="*/ 7974587 h 8575811"/>
              <a:gd name="connsiteX970" fmla="*/ 7736074 w 8537122"/>
              <a:gd name="connsiteY970" fmla="*/ 8016975 h 8575811"/>
              <a:gd name="connsiteX971" fmla="*/ 7767229 w 8537122"/>
              <a:gd name="connsiteY971" fmla="*/ 8059258 h 8575811"/>
              <a:gd name="connsiteX972" fmla="*/ 7772857 w 8537122"/>
              <a:gd name="connsiteY972" fmla="*/ 8064318 h 8575811"/>
              <a:gd name="connsiteX973" fmla="*/ 7787129 w 8537122"/>
              <a:gd name="connsiteY973" fmla="*/ 8091420 h 8575811"/>
              <a:gd name="connsiteX974" fmla="*/ 7766262 w 8537122"/>
              <a:gd name="connsiteY974" fmla="*/ 8103238 h 8575811"/>
              <a:gd name="connsiteX975" fmla="*/ 7756929 w 8537122"/>
              <a:gd name="connsiteY975" fmla="*/ 8088731 h 8575811"/>
              <a:gd name="connsiteX976" fmla="*/ 7739907 w 8537122"/>
              <a:gd name="connsiteY976" fmla="*/ 8091774 h 8575811"/>
              <a:gd name="connsiteX977" fmla="*/ 7749927 w 8537122"/>
              <a:gd name="connsiteY977" fmla="*/ 8098744 h 8575811"/>
              <a:gd name="connsiteX978" fmla="*/ 7766262 w 8537122"/>
              <a:gd name="connsiteY978" fmla="*/ 8103238 h 8575811"/>
              <a:gd name="connsiteX979" fmla="*/ 7770234 w 8537122"/>
              <a:gd name="connsiteY979" fmla="*/ 8159814 h 8575811"/>
              <a:gd name="connsiteX980" fmla="*/ 7773939 w 8537122"/>
              <a:gd name="connsiteY980" fmla="*/ 8169261 h 8575811"/>
              <a:gd name="connsiteX981" fmla="*/ 7772564 w 8537122"/>
              <a:gd name="connsiteY981" fmla="*/ 8184333 h 8575811"/>
              <a:gd name="connsiteX982" fmla="*/ 7776269 w 8537122"/>
              <a:gd name="connsiteY982" fmla="*/ 8193781 h 8575811"/>
              <a:gd name="connsiteX983" fmla="*/ 7786976 w 8537122"/>
              <a:gd name="connsiteY983" fmla="*/ 8193214 h 8575811"/>
              <a:gd name="connsiteX984" fmla="*/ 7793151 w 8537122"/>
              <a:gd name="connsiteY984" fmla="*/ 8208960 h 8575811"/>
              <a:gd name="connsiteX985" fmla="*/ 7776677 w 8537122"/>
              <a:gd name="connsiteY985" fmla="*/ 8222688 h 8575811"/>
              <a:gd name="connsiteX986" fmla="*/ 7775989 w 8537122"/>
              <a:gd name="connsiteY986" fmla="*/ 8230224 h 8575811"/>
              <a:gd name="connsiteX987" fmla="*/ 7765829 w 8537122"/>
              <a:gd name="connsiteY987" fmla="*/ 8241475 h 8575811"/>
              <a:gd name="connsiteX988" fmla="*/ 7778586 w 8537122"/>
              <a:gd name="connsiteY988" fmla="*/ 8301873 h 8575811"/>
              <a:gd name="connsiteX989" fmla="*/ 7776664 w 8537122"/>
              <a:gd name="connsiteY989" fmla="*/ 8306260 h 8575811"/>
              <a:gd name="connsiteX990" fmla="*/ 7770349 w 8537122"/>
              <a:gd name="connsiteY990" fmla="*/ 8308737 h 8575811"/>
              <a:gd name="connsiteX991" fmla="*/ 7786404 w 8537122"/>
              <a:gd name="connsiteY991" fmla="*/ 8349674 h 8575811"/>
              <a:gd name="connsiteX992" fmla="*/ 7798474 w 8537122"/>
              <a:gd name="connsiteY992" fmla="*/ 8417607 h 8575811"/>
              <a:gd name="connsiteX993" fmla="*/ 7771292 w 8537122"/>
              <a:gd name="connsiteY993" fmla="*/ 8431902 h 8575811"/>
              <a:gd name="connsiteX994" fmla="*/ 7738482 w 8537122"/>
              <a:gd name="connsiteY994" fmla="*/ 8441135 h 8575811"/>
              <a:gd name="connsiteX995" fmla="*/ 7694557 w 8537122"/>
              <a:gd name="connsiteY995" fmla="*/ 8422028 h 8575811"/>
              <a:gd name="connsiteX996" fmla="*/ 7678222 w 8537122"/>
              <a:gd name="connsiteY996" fmla="*/ 8417534 h 8575811"/>
              <a:gd name="connsiteX997" fmla="*/ 7663810 w 8537122"/>
              <a:gd name="connsiteY997" fmla="*/ 8408653 h 8575811"/>
              <a:gd name="connsiteX998" fmla="*/ 7626200 w 8537122"/>
              <a:gd name="connsiteY998" fmla="*/ 8387070 h 8575811"/>
              <a:gd name="connsiteX999" fmla="*/ 7568271 w 8537122"/>
              <a:gd name="connsiteY999" fmla="*/ 8387989 h 8575811"/>
              <a:gd name="connsiteX1000" fmla="*/ 7553858 w 8537122"/>
              <a:gd name="connsiteY1000" fmla="*/ 8379107 h 8575811"/>
              <a:gd name="connsiteX1001" fmla="*/ 7546996 w 8537122"/>
              <a:gd name="connsiteY1001" fmla="*/ 8370898 h 8575811"/>
              <a:gd name="connsiteX1002" fmla="*/ 7560453 w 8537122"/>
              <a:gd name="connsiteY1002" fmla="*/ 8340187 h 8575811"/>
              <a:gd name="connsiteX1003" fmla="*/ 7537803 w 8537122"/>
              <a:gd name="connsiteY1003" fmla="*/ 8338169 h 8575811"/>
              <a:gd name="connsiteX1004" fmla="*/ 7530941 w 8537122"/>
              <a:gd name="connsiteY1004" fmla="*/ 8329961 h 8575811"/>
              <a:gd name="connsiteX1005" fmla="*/ 7525173 w 8537122"/>
              <a:gd name="connsiteY1005" fmla="*/ 8343122 h 8575811"/>
              <a:gd name="connsiteX1006" fmla="*/ 7517623 w 8537122"/>
              <a:gd name="connsiteY1006" fmla="*/ 8342451 h 8575811"/>
              <a:gd name="connsiteX1007" fmla="*/ 7515701 w 8537122"/>
              <a:gd name="connsiteY1007" fmla="*/ 8346837 h 8575811"/>
              <a:gd name="connsiteX1008" fmla="*/ 7506228 w 8537122"/>
              <a:gd name="connsiteY1008" fmla="*/ 8350552 h 8575811"/>
              <a:gd name="connsiteX1009" fmla="*/ 7491816 w 8537122"/>
              <a:gd name="connsiteY1009" fmla="*/ 8341671 h 8575811"/>
              <a:gd name="connsiteX1010" fmla="*/ 7471776 w 8537122"/>
              <a:gd name="connsiteY1010" fmla="*/ 8327730 h 8575811"/>
              <a:gd name="connsiteX1011" fmla="*/ 7458599 w 8537122"/>
              <a:gd name="connsiteY1011" fmla="*/ 8321998 h 8575811"/>
              <a:gd name="connsiteX1012" fmla="*/ 7451049 w 8537122"/>
              <a:gd name="connsiteY1012" fmla="*/ 8321326 h 8575811"/>
              <a:gd name="connsiteX1013" fmla="*/ 7408639 w 8537122"/>
              <a:gd name="connsiteY1013" fmla="*/ 8268925 h 8575811"/>
              <a:gd name="connsiteX1014" fmla="*/ 7406857 w 8537122"/>
              <a:gd name="connsiteY1014" fmla="*/ 8255090 h 8575811"/>
              <a:gd name="connsiteX1015" fmla="*/ 7379267 w 8537122"/>
              <a:gd name="connsiteY1015" fmla="*/ 8240477 h 8575811"/>
              <a:gd name="connsiteX1016" fmla="*/ 7319008 w 8537122"/>
              <a:gd name="connsiteY1016" fmla="*/ 8216876 h 8575811"/>
              <a:gd name="connsiteX1017" fmla="*/ 7312145 w 8537122"/>
              <a:gd name="connsiteY1017" fmla="*/ 8208667 h 8575811"/>
              <a:gd name="connsiteX1018" fmla="*/ 7313380 w 8537122"/>
              <a:gd name="connsiteY1018" fmla="*/ 8211816 h 8575811"/>
              <a:gd name="connsiteX1019" fmla="*/ 7319008 w 8537122"/>
              <a:gd name="connsiteY1019" fmla="*/ 8216876 h 8575811"/>
              <a:gd name="connsiteX1020" fmla="*/ 7318320 w 8537122"/>
              <a:gd name="connsiteY1020" fmla="*/ 8224412 h 8575811"/>
              <a:gd name="connsiteX1021" fmla="*/ 7316945 w 8537122"/>
              <a:gd name="connsiteY1021" fmla="*/ 8239484 h 8575811"/>
              <a:gd name="connsiteX1022" fmla="*/ 7312552 w 8537122"/>
              <a:gd name="connsiteY1022" fmla="*/ 8237573 h 8575811"/>
              <a:gd name="connsiteX1023" fmla="*/ 7302533 w 8537122"/>
              <a:gd name="connsiteY1023" fmla="*/ 8230603 h 8575811"/>
              <a:gd name="connsiteX1024" fmla="*/ 7278240 w 8537122"/>
              <a:gd name="connsiteY1024" fmla="*/ 8196530 h 8575811"/>
              <a:gd name="connsiteX1025" fmla="*/ 7277693 w 8537122"/>
              <a:gd name="connsiteY1025" fmla="*/ 8185845 h 8575811"/>
              <a:gd name="connsiteX1026" fmla="*/ 7228001 w 8537122"/>
              <a:gd name="connsiteY1026" fmla="*/ 8179899 h 8575811"/>
              <a:gd name="connsiteX1027" fmla="*/ 7217574 w 8537122"/>
              <a:gd name="connsiteY1027" fmla="*/ 8144022 h 8575811"/>
              <a:gd name="connsiteX1028" fmla="*/ 7157314 w 8537122"/>
              <a:gd name="connsiteY1028" fmla="*/ 8120421 h 8575811"/>
              <a:gd name="connsiteX1029" fmla="*/ 7149904 w 8537122"/>
              <a:gd name="connsiteY1029" fmla="*/ 8101527 h 8575811"/>
              <a:gd name="connsiteX1030" fmla="*/ 7148669 w 8537122"/>
              <a:gd name="connsiteY1030" fmla="*/ 8098377 h 8575811"/>
              <a:gd name="connsiteX1031" fmla="*/ 7145512 w 8537122"/>
              <a:gd name="connsiteY1031" fmla="*/ 8099615 h 8575811"/>
              <a:gd name="connsiteX1032" fmla="*/ 7124785 w 8537122"/>
              <a:gd name="connsiteY1032" fmla="*/ 8093211 h 8575811"/>
              <a:gd name="connsiteX1033" fmla="*/ 7103917 w 8537122"/>
              <a:gd name="connsiteY1033" fmla="*/ 8105029 h 8575811"/>
              <a:gd name="connsiteX1034" fmla="*/ 7112702 w 8537122"/>
              <a:gd name="connsiteY1034" fmla="*/ 8108850 h 8575811"/>
              <a:gd name="connsiteX1035" fmla="*/ 7114952 w 8537122"/>
              <a:gd name="connsiteY1035" fmla="*/ 8110873 h 8575811"/>
              <a:gd name="connsiteX1036" fmla="*/ 7106387 w 8537122"/>
              <a:gd name="connsiteY1036" fmla="*/ 8111327 h 8575811"/>
              <a:gd name="connsiteX1037" fmla="*/ 7100760 w 8537122"/>
              <a:gd name="connsiteY1037" fmla="*/ 8106267 h 8575811"/>
              <a:gd name="connsiteX1038" fmla="*/ 7079485 w 8537122"/>
              <a:gd name="connsiteY1038" fmla="*/ 8089177 h 8575811"/>
              <a:gd name="connsiteX1039" fmla="*/ 7045580 w 8537122"/>
              <a:gd name="connsiteY1039" fmla="*/ 8077040 h 8575811"/>
              <a:gd name="connsiteX1040" fmla="*/ 7029245 w 8537122"/>
              <a:gd name="connsiteY1040" fmla="*/ 8072546 h 8575811"/>
              <a:gd name="connsiteX1041" fmla="*/ 7014833 w 8537122"/>
              <a:gd name="connsiteY1041" fmla="*/ 8063665 h 8575811"/>
              <a:gd name="connsiteX1042" fmla="*/ 7001656 w 8537122"/>
              <a:gd name="connsiteY1042" fmla="*/ 8057933 h 8575811"/>
              <a:gd name="connsiteX1043" fmla="*/ 6984086 w 8537122"/>
              <a:gd name="connsiteY1043" fmla="*/ 8050290 h 8575811"/>
              <a:gd name="connsiteX1044" fmla="*/ 6978458 w 8537122"/>
              <a:gd name="connsiteY1044" fmla="*/ 8045230 h 8575811"/>
              <a:gd name="connsiteX1045" fmla="*/ 6970501 w 8537122"/>
              <a:gd name="connsiteY1045" fmla="*/ 8015651 h 8575811"/>
              <a:gd name="connsiteX1046" fmla="*/ 6889654 w 8537122"/>
              <a:gd name="connsiteY1046" fmla="*/ 7967423 h 8575811"/>
              <a:gd name="connsiteX1047" fmla="*/ 6870849 w 8537122"/>
              <a:gd name="connsiteY1047" fmla="*/ 7956631 h 8575811"/>
              <a:gd name="connsiteX1048" fmla="*/ 6859454 w 8537122"/>
              <a:gd name="connsiteY1048" fmla="*/ 7964734 h 8575811"/>
              <a:gd name="connsiteX1049" fmla="*/ 6867552 w 8537122"/>
              <a:gd name="connsiteY1049" fmla="*/ 7976091 h 8575811"/>
              <a:gd name="connsiteX1050" fmla="*/ 6874413 w 8537122"/>
              <a:gd name="connsiteY1050" fmla="*/ 7984300 h 8575811"/>
              <a:gd name="connsiteX1051" fmla="*/ 6871256 w 8537122"/>
              <a:gd name="connsiteY1051" fmla="*/ 7985538 h 8575811"/>
              <a:gd name="connsiteX1052" fmla="*/ 6868787 w 8537122"/>
              <a:gd name="connsiteY1052" fmla="*/ 7979240 h 8575811"/>
              <a:gd name="connsiteX1053" fmla="*/ 6858079 w 8537122"/>
              <a:gd name="connsiteY1053" fmla="*/ 7979806 h 8575811"/>
              <a:gd name="connsiteX1054" fmla="*/ 6843666 w 8537122"/>
              <a:gd name="connsiteY1054" fmla="*/ 7970925 h 8575811"/>
              <a:gd name="connsiteX1055" fmla="*/ 6792880 w 8537122"/>
              <a:gd name="connsiteY1055" fmla="*/ 7943609 h 8575811"/>
              <a:gd name="connsiteX1056" fmla="*/ 6793567 w 8537122"/>
              <a:gd name="connsiteY1056" fmla="*/ 7936072 h 8575811"/>
              <a:gd name="connsiteX1057" fmla="*/ 6792332 w 8537122"/>
              <a:gd name="connsiteY1057" fmla="*/ 7932924 h 8575811"/>
              <a:gd name="connsiteX1058" fmla="*/ 6804415 w 8537122"/>
              <a:gd name="connsiteY1058" fmla="*/ 7917285 h 8575811"/>
              <a:gd name="connsiteX1059" fmla="*/ 6792472 w 8537122"/>
              <a:gd name="connsiteY1059" fmla="*/ 7914702 h 8575811"/>
              <a:gd name="connsiteX1060" fmla="*/ 6792332 w 8537122"/>
              <a:gd name="connsiteY1060" fmla="*/ 7932924 h 8575811"/>
              <a:gd name="connsiteX1061" fmla="*/ 6707640 w 8537122"/>
              <a:gd name="connsiteY1061" fmla="*/ 7893471 h 8575811"/>
              <a:gd name="connsiteX1062" fmla="*/ 6502569 w 8537122"/>
              <a:gd name="connsiteY1062" fmla="*/ 7788594 h 8575811"/>
              <a:gd name="connsiteX1063" fmla="*/ 6499412 w 8537122"/>
              <a:gd name="connsiteY1063" fmla="*/ 7789833 h 8575811"/>
              <a:gd name="connsiteX1064" fmla="*/ 6478684 w 8537122"/>
              <a:gd name="connsiteY1064" fmla="*/ 7783427 h 8575811"/>
              <a:gd name="connsiteX1065" fmla="*/ 6473057 w 8537122"/>
              <a:gd name="connsiteY1065" fmla="*/ 7778368 h 8575811"/>
              <a:gd name="connsiteX1066" fmla="*/ 6383973 w 8537122"/>
              <a:gd name="connsiteY1066" fmla="*/ 7737004 h 8575811"/>
              <a:gd name="connsiteX1067" fmla="*/ 6368873 w 8537122"/>
              <a:gd name="connsiteY1067" fmla="*/ 7735660 h 8575811"/>
              <a:gd name="connsiteX1068" fmla="*/ 6351990 w 8537122"/>
              <a:gd name="connsiteY1068" fmla="*/ 7720481 h 8575811"/>
              <a:gd name="connsiteX1069" fmla="*/ 6347598 w 8537122"/>
              <a:gd name="connsiteY1069" fmla="*/ 7718569 h 8575811"/>
              <a:gd name="connsiteX1070" fmla="*/ 6320008 w 8537122"/>
              <a:gd name="connsiteY1070" fmla="*/ 7703956 h 8575811"/>
              <a:gd name="connsiteX1071" fmla="*/ 6306831 w 8537122"/>
              <a:gd name="connsiteY1071" fmla="*/ 7698224 h 8575811"/>
              <a:gd name="connsiteX1072" fmla="*/ 6278553 w 8537122"/>
              <a:gd name="connsiteY1072" fmla="*/ 7691147 h 8575811"/>
              <a:gd name="connsiteX1073" fmla="*/ 6272926 w 8537122"/>
              <a:gd name="connsiteY1073" fmla="*/ 7686087 h 8575811"/>
              <a:gd name="connsiteX1074" fmla="*/ 6015145 w 8537122"/>
              <a:gd name="connsiteY1074" fmla="*/ 7558282 h 8575811"/>
              <a:gd name="connsiteX1075" fmla="*/ 6010753 w 8537122"/>
              <a:gd name="connsiteY1075" fmla="*/ 7556372 h 8575811"/>
              <a:gd name="connsiteX1076" fmla="*/ 5978771 w 8537122"/>
              <a:gd name="connsiteY1076" fmla="*/ 7539847 h 8575811"/>
              <a:gd name="connsiteX1077" fmla="*/ 5973143 w 8537122"/>
              <a:gd name="connsiteY1077" fmla="*/ 7534787 h 8575811"/>
              <a:gd name="connsiteX1078" fmla="*/ 5858391 w 8537122"/>
              <a:gd name="connsiteY1078" fmla="*/ 7474423 h 8575811"/>
              <a:gd name="connsiteX1079" fmla="*/ 5746110 w 8537122"/>
              <a:gd name="connsiteY1079" fmla="*/ 7420357 h 8575811"/>
              <a:gd name="connsiteX1080" fmla="*/ 5738013 w 8537122"/>
              <a:gd name="connsiteY1080" fmla="*/ 7409000 h 8575811"/>
              <a:gd name="connsiteX1081" fmla="*/ 5721677 w 8537122"/>
              <a:gd name="connsiteY1081" fmla="*/ 7404506 h 8575811"/>
              <a:gd name="connsiteX1082" fmla="*/ 5717285 w 8537122"/>
              <a:gd name="connsiteY1082" fmla="*/ 7402595 h 8575811"/>
              <a:gd name="connsiteX1083" fmla="*/ 5670890 w 8537122"/>
              <a:gd name="connsiteY1083" fmla="*/ 7377190 h 8575811"/>
              <a:gd name="connsiteX1084" fmla="*/ 5665263 w 8537122"/>
              <a:gd name="connsiteY1084" fmla="*/ 7372130 h 8575811"/>
              <a:gd name="connsiteX1085" fmla="*/ 5662106 w 8537122"/>
              <a:gd name="connsiteY1085" fmla="*/ 7373368 h 8575811"/>
              <a:gd name="connsiteX1086" fmla="*/ 5658948 w 8537122"/>
              <a:gd name="connsiteY1086" fmla="*/ 7374607 h 8575811"/>
              <a:gd name="connsiteX1087" fmla="*/ 5651398 w 8537122"/>
              <a:gd name="connsiteY1087" fmla="*/ 7373935 h 8575811"/>
              <a:gd name="connsiteX1088" fmla="*/ 5643301 w 8537122"/>
              <a:gd name="connsiteY1088" fmla="*/ 7362576 h 8575811"/>
              <a:gd name="connsiteX1089" fmla="*/ 5642066 w 8537122"/>
              <a:gd name="connsiteY1089" fmla="*/ 7359428 h 8575811"/>
              <a:gd name="connsiteX1090" fmla="*/ 5640831 w 8537122"/>
              <a:gd name="connsiteY1090" fmla="*/ 7356278 h 8575811"/>
              <a:gd name="connsiteX1091" fmla="*/ 5642753 w 8537122"/>
              <a:gd name="connsiteY1091" fmla="*/ 7351891 h 8575811"/>
              <a:gd name="connsiteX1092" fmla="*/ 5638361 w 8537122"/>
              <a:gd name="connsiteY1092" fmla="*/ 7349980 h 8575811"/>
              <a:gd name="connsiteX1093" fmla="*/ 5601298 w 8537122"/>
              <a:gd name="connsiteY1093" fmla="*/ 7339081 h 8575811"/>
              <a:gd name="connsiteX1094" fmla="*/ 5559844 w 8537122"/>
              <a:gd name="connsiteY1094" fmla="*/ 7326273 h 8575811"/>
              <a:gd name="connsiteX1095" fmla="*/ 5592374 w 8537122"/>
              <a:gd name="connsiteY1095" fmla="*/ 7353482 h 8575811"/>
              <a:gd name="connsiteX1096" fmla="*/ 5626826 w 8537122"/>
              <a:gd name="connsiteY1096" fmla="*/ 7376304 h 8575811"/>
              <a:gd name="connsiteX1097" fmla="*/ 5655651 w 8537122"/>
              <a:gd name="connsiteY1097" fmla="*/ 7394067 h 8575811"/>
              <a:gd name="connsiteX1098" fmla="*/ 5661278 w 8537122"/>
              <a:gd name="connsiteY1098" fmla="*/ 7399127 h 8575811"/>
              <a:gd name="connsiteX1099" fmla="*/ 5675691 w 8537122"/>
              <a:gd name="connsiteY1099" fmla="*/ 7408008 h 8575811"/>
              <a:gd name="connsiteX1100" fmla="*/ 5763947 w 8537122"/>
              <a:gd name="connsiteY1100" fmla="*/ 7475129 h 8575811"/>
              <a:gd name="connsiteX1101" fmla="*/ 6031328 w 8537122"/>
              <a:gd name="connsiteY1101" fmla="*/ 7664570 h 8575811"/>
              <a:gd name="connsiteX1102" fmla="*/ 6199744 w 8537122"/>
              <a:gd name="connsiteY1102" fmla="*/ 7787456 h 8575811"/>
              <a:gd name="connsiteX1103" fmla="*/ 6427593 w 8537122"/>
              <a:gd name="connsiteY1103" fmla="*/ 7959700 h 8575811"/>
              <a:gd name="connsiteX1104" fmla="*/ 6607264 w 8537122"/>
              <a:gd name="connsiteY1104" fmla="*/ 8092705 h 8575811"/>
              <a:gd name="connsiteX1105" fmla="*/ 6647203 w 8537122"/>
              <a:gd name="connsiteY1105" fmla="*/ 8138808 h 8575811"/>
              <a:gd name="connsiteX1106" fmla="*/ 6654613 w 8537122"/>
              <a:gd name="connsiteY1106" fmla="*/ 8157702 h 8575811"/>
              <a:gd name="connsiteX1107" fmla="*/ 6648846 w 8537122"/>
              <a:gd name="connsiteY1107" fmla="*/ 8170865 h 8575811"/>
              <a:gd name="connsiteX1108" fmla="*/ 6634840 w 8537122"/>
              <a:gd name="connsiteY1108" fmla="*/ 8190890 h 8575811"/>
              <a:gd name="connsiteX1109" fmla="*/ 6640328 w 8537122"/>
              <a:gd name="connsiteY1109" fmla="*/ 8214172 h 8575811"/>
              <a:gd name="connsiteX1110" fmla="*/ 6628246 w 8537122"/>
              <a:gd name="connsiteY1110" fmla="*/ 8229810 h 8575811"/>
              <a:gd name="connsiteX1111" fmla="*/ 6642097 w 8537122"/>
              <a:gd name="connsiteY1111" fmla="*/ 8311578 h 8575811"/>
              <a:gd name="connsiteX1112" fmla="*/ 6643333 w 8537122"/>
              <a:gd name="connsiteY1112" fmla="*/ 8314728 h 8575811"/>
              <a:gd name="connsiteX1113" fmla="*/ 6644567 w 8537122"/>
              <a:gd name="connsiteY1113" fmla="*/ 8317876 h 8575811"/>
              <a:gd name="connsiteX1114" fmla="*/ 6642645 w 8537122"/>
              <a:gd name="connsiteY1114" fmla="*/ 8322264 h 8575811"/>
              <a:gd name="connsiteX1115" fmla="*/ 6641271 w 8537122"/>
              <a:gd name="connsiteY1115" fmla="*/ 8337337 h 8575811"/>
              <a:gd name="connsiteX1116" fmla="*/ 6643601 w 8537122"/>
              <a:gd name="connsiteY1116" fmla="*/ 8361857 h 8575811"/>
              <a:gd name="connsiteX1117" fmla="*/ 6645383 w 8537122"/>
              <a:gd name="connsiteY1117" fmla="*/ 8375691 h 8575811"/>
              <a:gd name="connsiteX1118" fmla="*/ 6643461 w 8537122"/>
              <a:gd name="connsiteY1118" fmla="*/ 8380079 h 8575811"/>
              <a:gd name="connsiteX1119" fmla="*/ 6639616 w 8537122"/>
              <a:gd name="connsiteY1119" fmla="*/ 8388853 h 8575811"/>
              <a:gd name="connsiteX1120" fmla="*/ 6655251 w 8537122"/>
              <a:gd name="connsiteY1120" fmla="*/ 8484456 h 8575811"/>
              <a:gd name="connsiteX1121" fmla="*/ 6614331 w 8537122"/>
              <a:gd name="connsiteY1121" fmla="*/ 8565905 h 8575811"/>
              <a:gd name="connsiteX1122" fmla="*/ 6589071 w 8537122"/>
              <a:gd name="connsiteY1122" fmla="*/ 8575811 h 8575811"/>
              <a:gd name="connsiteX1123" fmla="*/ 6552556 w 8537122"/>
              <a:gd name="connsiteY1123" fmla="*/ 8575597 h 8575811"/>
              <a:gd name="connsiteX1124" fmla="*/ 6482824 w 8537122"/>
              <a:gd name="connsiteY1124" fmla="*/ 8555711 h 8575811"/>
              <a:gd name="connsiteX1125" fmla="*/ 6468412 w 8537122"/>
              <a:gd name="connsiteY1125" fmla="*/ 8546830 h 8575811"/>
              <a:gd name="connsiteX1126" fmla="*/ 6408152 w 8537122"/>
              <a:gd name="connsiteY1126" fmla="*/ 8523229 h 8575811"/>
              <a:gd name="connsiteX1127" fmla="*/ 6384267 w 8537122"/>
              <a:gd name="connsiteY1127" fmla="*/ 8518063 h 8575811"/>
              <a:gd name="connsiteX1128" fmla="*/ 6312613 w 8537122"/>
              <a:gd name="connsiteY1128" fmla="*/ 8502564 h 8575811"/>
              <a:gd name="connsiteX1129" fmla="*/ 6275551 w 8537122"/>
              <a:gd name="connsiteY1129" fmla="*/ 8491666 h 8575811"/>
              <a:gd name="connsiteX1130" fmla="*/ 6244803 w 8537122"/>
              <a:gd name="connsiteY1130" fmla="*/ 8478291 h 8575811"/>
              <a:gd name="connsiteX1131" fmla="*/ 6214056 w 8537122"/>
              <a:gd name="connsiteY1131" fmla="*/ 8464915 h 8575811"/>
              <a:gd name="connsiteX1132" fmla="*/ 6195938 w 8537122"/>
              <a:gd name="connsiteY1132" fmla="*/ 8446587 h 8575811"/>
              <a:gd name="connsiteX1133" fmla="*/ 6185231 w 8537122"/>
              <a:gd name="connsiteY1133" fmla="*/ 8447153 h 8575811"/>
              <a:gd name="connsiteX1134" fmla="*/ 6170131 w 8537122"/>
              <a:gd name="connsiteY1134" fmla="*/ 8445808 h 8575811"/>
              <a:gd name="connsiteX1135" fmla="*/ 6164504 w 8537122"/>
              <a:gd name="connsiteY1135" fmla="*/ 8440749 h 8575811"/>
              <a:gd name="connsiteX1136" fmla="*/ 6156954 w 8537122"/>
              <a:gd name="connsiteY1136" fmla="*/ 8440076 h 8575811"/>
              <a:gd name="connsiteX1137" fmla="*/ 6150092 w 8537122"/>
              <a:gd name="connsiteY1137" fmla="*/ 8431868 h 8575811"/>
              <a:gd name="connsiteX1138" fmla="*/ 6146387 w 8537122"/>
              <a:gd name="connsiteY1138" fmla="*/ 8422420 h 8575811"/>
              <a:gd name="connsiteX1139" fmla="*/ 6075420 w 8537122"/>
              <a:gd name="connsiteY1139" fmla="*/ 8399385 h 8575811"/>
              <a:gd name="connsiteX1140" fmla="*/ 6061007 w 8537122"/>
              <a:gd name="connsiteY1140" fmla="*/ 8390504 h 8575811"/>
              <a:gd name="connsiteX1141" fmla="*/ 6050987 w 8537122"/>
              <a:gd name="connsiteY1141" fmla="*/ 8383534 h 8575811"/>
              <a:gd name="connsiteX1142" fmla="*/ 6003905 w 8537122"/>
              <a:gd name="connsiteY1142" fmla="*/ 8365664 h 8575811"/>
              <a:gd name="connsiteX1143" fmla="*/ 5964513 w 8537122"/>
              <a:gd name="connsiteY1143" fmla="*/ 8330247 h 8575811"/>
              <a:gd name="connsiteX1144" fmla="*/ 5958199 w 8537122"/>
              <a:gd name="connsiteY1144" fmla="*/ 8332723 h 8575811"/>
              <a:gd name="connsiteX1145" fmla="*/ 5955041 w 8537122"/>
              <a:gd name="connsiteY1145" fmla="*/ 8333961 h 8575811"/>
              <a:gd name="connsiteX1146" fmla="*/ 5941863 w 8537122"/>
              <a:gd name="connsiteY1146" fmla="*/ 8328229 h 8575811"/>
              <a:gd name="connsiteX1147" fmla="*/ 5935000 w 8537122"/>
              <a:gd name="connsiteY1147" fmla="*/ 8320020 h 8575811"/>
              <a:gd name="connsiteX1148" fmla="*/ 5917431 w 8537122"/>
              <a:gd name="connsiteY1148" fmla="*/ 8312377 h 8575811"/>
              <a:gd name="connsiteX1149" fmla="*/ 5911116 w 8537122"/>
              <a:gd name="connsiteY1149" fmla="*/ 8314854 h 8575811"/>
              <a:gd name="connsiteX1150" fmla="*/ 5908645 w 8537122"/>
              <a:gd name="connsiteY1150" fmla="*/ 8308556 h 8575811"/>
              <a:gd name="connsiteX1151" fmla="*/ 5904254 w 8537122"/>
              <a:gd name="connsiteY1151" fmla="*/ 8306645 h 8575811"/>
              <a:gd name="connsiteX1152" fmla="*/ 5896703 w 8537122"/>
              <a:gd name="connsiteY1152" fmla="*/ 8305972 h 8575811"/>
              <a:gd name="connsiteX1153" fmla="*/ 5891076 w 8537122"/>
              <a:gd name="connsiteY1153" fmla="*/ 8300913 h 8575811"/>
              <a:gd name="connsiteX1154" fmla="*/ 5883527 w 8537122"/>
              <a:gd name="connsiteY1154" fmla="*/ 8300241 h 8575811"/>
              <a:gd name="connsiteX1155" fmla="*/ 5881056 w 8537122"/>
              <a:gd name="connsiteY1155" fmla="*/ 8293942 h 8575811"/>
              <a:gd name="connsiteX1156" fmla="*/ 5869801 w 8537122"/>
              <a:gd name="connsiteY1156" fmla="*/ 8283823 h 8575811"/>
              <a:gd name="connsiteX1157" fmla="*/ 5863486 w 8537122"/>
              <a:gd name="connsiteY1157" fmla="*/ 8286299 h 8575811"/>
              <a:gd name="connsiteX1158" fmla="*/ 5845917 w 8537122"/>
              <a:gd name="connsiteY1158" fmla="*/ 8278657 h 8575811"/>
              <a:gd name="connsiteX1159" fmla="*/ 5832739 w 8537122"/>
              <a:gd name="connsiteY1159" fmla="*/ 8272925 h 8575811"/>
              <a:gd name="connsiteX1160" fmla="*/ 5821484 w 8537122"/>
              <a:gd name="connsiteY1160" fmla="*/ 8262805 h 8575811"/>
              <a:gd name="connsiteX1161" fmla="*/ 5785110 w 8537122"/>
              <a:gd name="connsiteY1161" fmla="*/ 8244371 h 8575811"/>
              <a:gd name="connsiteX1162" fmla="*/ 5770696 w 8537122"/>
              <a:gd name="connsiteY1162" fmla="*/ 8235489 h 8575811"/>
              <a:gd name="connsiteX1163" fmla="*/ 5741185 w 8537122"/>
              <a:gd name="connsiteY1163" fmla="*/ 8225263 h 8575811"/>
              <a:gd name="connsiteX1164" fmla="*/ 5738715 w 8537122"/>
              <a:gd name="connsiteY1164" fmla="*/ 8218965 h 8575811"/>
              <a:gd name="connsiteX1165" fmla="*/ 5737480 w 8537122"/>
              <a:gd name="connsiteY1165" fmla="*/ 8215816 h 8575811"/>
              <a:gd name="connsiteX1166" fmla="*/ 5736245 w 8537122"/>
              <a:gd name="connsiteY1166" fmla="*/ 8212667 h 8575811"/>
              <a:gd name="connsiteX1167" fmla="*/ 5710438 w 8537122"/>
              <a:gd name="connsiteY1167" fmla="*/ 8211888 h 8575811"/>
              <a:gd name="connsiteX1168" fmla="*/ 5699183 w 8537122"/>
              <a:gd name="connsiteY1168" fmla="*/ 8201768 h 8575811"/>
              <a:gd name="connsiteX1169" fmla="*/ 5677908 w 8537122"/>
              <a:gd name="connsiteY1169" fmla="*/ 8184678 h 8575811"/>
              <a:gd name="connsiteX1170" fmla="*/ 5663636 w 8537122"/>
              <a:gd name="connsiteY1170" fmla="*/ 8157576 h 8575811"/>
              <a:gd name="connsiteX1171" fmla="*/ 5619571 w 8537122"/>
              <a:gd name="connsiteY1171" fmla="*/ 8156690 h 8575811"/>
              <a:gd name="connsiteX1172" fmla="*/ 5575786 w 8537122"/>
              <a:gd name="connsiteY1172" fmla="*/ 8119361 h 8575811"/>
              <a:gd name="connsiteX1173" fmla="*/ 5594731 w 8537122"/>
              <a:gd name="connsiteY1173" fmla="*/ 8111931 h 8575811"/>
              <a:gd name="connsiteX1174" fmla="*/ 5597889 w 8537122"/>
              <a:gd name="connsiteY1174" fmla="*/ 8110693 h 8575811"/>
              <a:gd name="connsiteX1175" fmla="*/ 5606674 w 8537122"/>
              <a:gd name="connsiteY1175" fmla="*/ 8114515 h 8575811"/>
              <a:gd name="connsiteX1176" fmla="*/ 5608596 w 8537122"/>
              <a:gd name="connsiteY1176" fmla="*/ 8110127 h 8575811"/>
              <a:gd name="connsiteX1177" fmla="*/ 5597889 w 8537122"/>
              <a:gd name="connsiteY1177" fmla="*/ 8110693 h 8575811"/>
              <a:gd name="connsiteX1178" fmla="*/ 5596654 w 8537122"/>
              <a:gd name="connsiteY1178" fmla="*/ 8107544 h 8575811"/>
              <a:gd name="connsiteX1179" fmla="*/ 5594731 w 8537122"/>
              <a:gd name="connsiteY1179" fmla="*/ 8111931 h 8575811"/>
              <a:gd name="connsiteX1180" fmla="*/ 5579631 w 8537122"/>
              <a:gd name="connsiteY1180" fmla="*/ 8110587 h 8575811"/>
              <a:gd name="connsiteX1181" fmla="*/ 5576474 w 8537122"/>
              <a:gd name="connsiteY1181" fmla="*/ 8111825 h 8575811"/>
              <a:gd name="connsiteX1182" fmla="*/ 5573316 w 8537122"/>
              <a:gd name="connsiteY1182" fmla="*/ 8113063 h 8575811"/>
              <a:gd name="connsiteX1183" fmla="*/ 5570159 w 8537122"/>
              <a:gd name="connsiteY1183" fmla="*/ 8114302 h 8575811"/>
              <a:gd name="connsiteX1184" fmla="*/ 5555606 w 8537122"/>
              <a:gd name="connsiteY1184" fmla="*/ 8123642 h 8575811"/>
              <a:gd name="connsiteX1185" fmla="*/ 5507976 w 8537122"/>
              <a:gd name="connsiteY1185" fmla="*/ 8095087 h 8575811"/>
              <a:gd name="connsiteX1186" fmla="*/ 5486702 w 8537122"/>
              <a:gd name="connsiteY1186" fmla="*/ 8077997 h 8575811"/>
              <a:gd name="connsiteX1187" fmla="*/ 5473525 w 8537122"/>
              <a:gd name="connsiteY1187" fmla="*/ 8072265 h 8575811"/>
              <a:gd name="connsiteX1188" fmla="*/ 5410794 w 8537122"/>
              <a:gd name="connsiteY1188" fmla="*/ 8042367 h 8575811"/>
              <a:gd name="connsiteX1189" fmla="*/ 5412718 w 8537122"/>
              <a:gd name="connsiteY1189" fmla="*/ 8037979 h 8575811"/>
              <a:gd name="connsiteX1190" fmla="*/ 5408325 w 8537122"/>
              <a:gd name="connsiteY1190" fmla="*/ 8036069 h 8575811"/>
              <a:gd name="connsiteX1191" fmla="*/ 5404620 w 8537122"/>
              <a:gd name="connsiteY1191" fmla="*/ 8026621 h 8575811"/>
              <a:gd name="connsiteX1192" fmla="*/ 5397070 w 8537122"/>
              <a:gd name="connsiteY1192" fmla="*/ 8025948 h 8575811"/>
              <a:gd name="connsiteX1193" fmla="*/ 5393913 w 8537122"/>
              <a:gd name="connsiteY1193" fmla="*/ 8027186 h 8575811"/>
              <a:gd name="connsiteX1194" fmla="*/ 5364400 w 8537122"/>
              <a:gd name="connsiteY1194" fmla="*/ 8016961 h 8575811"/>
              <a:gd name="connsiteX1195" fmla="*/ 5351223 w 8537122"/>
              <a:gd name="connsiteY1195" fmla="*/ 8011229 h 8575811"/>
              <a:gd name="connsiteX1196" fmla="*/ 5347518 w 8537122"/>
              <a:gd name="connsiteY1196" fmla="*/ 8001782 h 8575811"/>
              <a:gd name="connsiteX1197" fmla="*/ 5346283 w 8537122"/>
              <a:gd name="connsiteY1197" fmla="*/ 7998632 h 8575811"/>
              <a:gd name="connsiteX1198" fmla="*/ 5341890 w 8537122"/>
              <a:gd name="connsiteY1198" fmla="*/ 7996722 h 8575811"/>
              <a:gd name="connsiteX1199" fmla="*/ 5342577 w 8537122"/>
              <a:gd name="connsiteY1199" fmla="*/ 7989186 h 8575811"/>
              <a:gd name="connsiteX1200" fmla="*/ 5313065 w 8537122"/>
              <a:gd name="connsiteY1200" fmla="*/ 7978960 h 8575811"/>
              <a:gd name="connsiteX1201" fmla="*/ 5302358 w 8537122"/>
              <a:gd name="connsiteY1201" fmla="*/ 7979525 h 8575811"/>
              <a:gd name="connsiteX1202" fmla="*/ 5286710 w 8537122"/>
              <a:gd name="connsiteY1202" fmla="*/ 7967495 h 8575811"/>
              <a:gd name="connsiteX1203" fmla="*/ 5265983 w 8537122"/>
              <a:gd name="connsiteY1203" fmla="*/ 7961090 h 8575811"/>
              <a:gd name="connsiteX1204" fmla="*/ 5258434 w 8537122"/>
              <a:gd name="connsiteY1204" fmla="*/ 7960418 h 8575811"/>
              <a:gd name="connsiteX1205" fmla="*/ 5240864 w 8537122"/>
              <a:gd name="connsiteY1205" fmla="*/ 7952776 h 8575811"/>
              <a:gd name="connsiteX1206" fmla="*/ 5230844 w 8537122"/>
              <a:gd name="connsiteY1206" fmla="*/ 7945805 h 8575811"/>
              <a:gd name="connsiteX1207" fmla="*/ 5229609 w 8537122"/>
              <a:gd name="connsiteY1207" fmla="*/ 7942656 h 8575811"/>
              <a:gd name="connsiteX1208" fmla="*/ 5205176 w 8537122"/>
              <a:gd name="connsiteY1208" fmla="*/ 7926805 h 8575811"/>
              <a:gd name="connsiteX1209" fmla="*/ 5194469 w 8537122"/>
              <a:gd name="connsiteY1209" fmla="*/ 7927370 h 8575811"/>
              <a:gd name="connsiteX1210" fmla="*/ 5193234 w 8537122"/>
              <a:gd name="connsiteY1210" fmla="*/ 7924221 h 8575811"/>
              <a:gd name="connsiteX1211" fmla="*/ 5189529 w 8537122"/>
              <a:gd name="connsiteY1211" fmla="*/ 7914774 h 8575811"/>
              <a:gd name="connsiteX1212" fmla="*/ 5186371 w 8537122"/>
              <a:gd name="connsiteY1212" fmla="*/ 7916012 h 8575811"/>
              <a:gd name="connsiteX1213" fmla="*/ 5178821 w 8537122"/>
              <a:gd name="connsiteY1213" fmla="*/ 7915339 h 8575811"/>
              <a:gd name="connsiteX1214" fmla="*/ 5164409 w 8537122"/>
              <a:gd name="connsiteY1214" fmla="*/ 7906458 h 8575811"/>
              <a:gd name="connsiteX1215" fmla="*/ 5152467 w 8537122"/>
              <a:gd name="connsiteY1215" fmla="*/ 7903875 h 8575811"/>
              <a:gd name="connsiteX1216" fmla="*/ 5129269 w 8537122"/>
              <a:gd name="connsiteY1216" fmla="*/ 7891173 h 8575811"/>
              <a:gd name="connsiteX1217" fmla="*/ 5114857 w 8537122"/>
              <a:gd name="connsiteY1217" fmla="*/ 7882292 h 8575811"/>
              <a:gd name="connsiteX1218" fmla="*/ 5101679 w 8537122"/>
              <a:gd name="connsiteY1218" fmla="*/ 7876559 h 8575811"/>
              <a:gd name="connsiteX1219" fmla="*/ 5093582 w 8537122"/>
              <a:gd name="connsiteY1219" fmla="*/ 7865202 h 8575811"/>
              <a:gd name="connsiteX1220" fmla="*/ 5087955 w 8537122"/>
              <a:gd name="connsiteY1220" fmla="*/ 7860142 h 8575811"/>
              <a:gd name="connsiteX1221" fmla="*/ 5100037 w 8537122"/>
              <a:gd name="connsiteY1221" fmla="*/ 7844503 h 8575811"/>
              <a:gd name="connsiteX1222" fmla="*/ 5103195 w 8537122"/>
              <a:gd name="connsiteY1222" fmla="*/ 7843265 h 8575811"/>
              <a:gd name="connsiteX1223" fmla="*/ 5111432 w 8537122"/>
              <a:gd name="connsiteY1223" fmla="*/ 7836401 h 8575811"/>
              <a:gd name="connsiteX1224" fmla="*/ 5090158 w 8537122"/>
              <a:gd name="connsiteY1224" fmla="*/ 7819311 h 8575811"/>
              <a:gd name="connsiteX1225" fmla="*/ 5033056 w 8537122"/>
              <a:gd name="connsiteY1225" fmla="*/ 7794472 h 8575811"/>
              <a:gd name="connsiteX1226" fmla="*/ 5015485 w 8537122"/>
              <a:gd name="connsiteY1226" fmla="*/ 7786829 h 8575811"/>
              <a:gd name="connsiteX1227" fmla="*/ 5002308 w 8537122"/>
              <a:gd name="connsiteY1227" fmla="*/ 7781097 h 8575811"/>
              <a:gd name="connsiteX1228" fmla="*/ 4915146 w 8537122"/>
              <a:gd name="connsiteY1228" fmla="*/ 7735346 h 8575811"/>
              <a:gd name="connsiteX1229" fmla="*/ 4923103 w 8537122"/>
              <a:gd name="connsiteY1229" fmla="*/ 7764925 h 8575811"/>
              <a:gd name="connsiteX1230" fmla="*/ 4912396 w 8537122"/>
              <a:gd name="connsiteY1230" fmla="*/ 7765492 h 8575811"/>
              <a:gd name="connsiteX1231" fmla="*/ 4881649 w 8537122"/>
              <a:gd name="connsiteY1231" fmla="*/ 7752116 h 8575811"/>
              <a:gd name="connsiteX1232" fmla="*/ 4871082 w 8537122"/>
              <a:gd name="connsiteY1232" fmla="*/ 7734461 h 8575811"/>
              <a:gd name="connsiteX1233" fmla="*/ 4863531 w 8537122"/>
              <a:gd name="connsiteY1233" fmla="*/ 7733788 h 8575811"/>
              <a:gd name="connsiteX1234" fmla="*/ 4835254 w 8537122"/>
              <a:gd name="connsiteY1234" fmla="*/ 7726711 h 8575811"/>
              <a:gd name="connsiteX1235" fmla="*/ 4834019 w 8537122"/>
              <a:gd name="connsiteY1235" fmla="*/ 7723562 h 8575811"/>
              <a:gd name="connsiteX1236" fmla="*/ 4828392 w 8537122"/>
              <a:gd name="connsiteY1236" fmla="*/ 7718502 h 8575811"/>
              <a:gd name="connsiteX1237" fmla="*/ 4827156 w 8537122"/>
              <a:gd name="connsiteY1237" fmla="*/ 7715353 h 8575811"/>
              <a:gd name="connsiteX1238" fmla="*/ 4829219 w 8537122"/>
              <a:gd name="connsiteY1238" fmla="*/ 7692744 h 8575811"/>
              <a:gd name="connsiteX1239" fmla="*/ 4831141 w 8537122"/>
              <a:gd name="connsiteY1239" fmla="*/ 7688356 h 8575811"/>
              <a:gd name="connsiteX1240" fmla="*/ 4792984 w 8537122"/>
              <a:gd name="connsiteY1240" fmla="*/ 7656087 h 8575811"/>
              <a:gd name="connsiteX1241" fmla="*/ 4769099 w 8537122"/>
              <a:gd name="connsiteY1241" fmla="*/ 7650921 h 8575811"/>
              <a:gd name="connsiteX1242" fmla="*/ 4762237 w 8537122"/>
              <a:gd name="connsiteY1242" fmla="*/ 7642712 h 8575811"/>
              <a:gd name="connsiteX1243" fmla="*/ 4755922 w 8537122"/>
              <a:gd name="connsiteY1243" fmla="*/ 7645189 h 8575811"/>
              <a:gd name="connsiteX1244" fmla="*/ 4746449 w 8537122"/>
              <a:gd name="connsiteY1244" fmla="*/ 7648904 h 8575811"/>
              <a:gd name="connsiteX1245" fmla="*/ 4762785 w 8537122"/>
              <a:gd name="connsiteY1245" fmla="*/ 7653398 h 8575811"/>
              <a:gd name="connsiteX1246" fmla="*/ 4765942 w 8537122"/>
              <a:gd name="connsiteY1246" fmla="*/ 7652159 h 8575811"/>
              <a:gd name="connsiteX1247" fmla="*/ 4768412 w 8537122"/>
              <a:gd name="connsiteY1247" fmla="*/ 7658457 h 8575811"/>
              <a:gd name="connsiteX1248" fmla="*/ 4774587 w 8537122"/>
              <a:gd name="connsiteY1248" fmla="*/ 7674203 h 8575811"/>
              <a:gd name="connsiteX1249" fmla="*/ 4765115 w 8537122"/>
              <a:gd name="connsiteY1249" fmla="*/ 7677918 h 8575811"/>
              <a:gd name="connsiteX1250" fmla="*/ 4763192 w 8537122"/>
              <a:gd name="connsiteY1250" fmla="*/ 7682305 h 8575811"/>
              <a:gd name="connsiteX1251" fmla="*/ 4755642 w 8537122"/>
              <a:gd name="connsiteY1251" fmla="*/ 7681633 h 8575811"/>
              <a:gd name="connsiteX1252" fmla="*/ 4752485 w 8537122"/>
              <a:gd name="connsiteY1252" fmla="*/ 7682871 h 8575811"/>
              <a:gd name="connsiteX1253" fmla="*/ 4741229 w 8537122"/>
              <a:gd name="connsiteY1253" fmla="*/ 7672752 h 8575811"/>
              <a:gd name="connsiteX1254" fmla="*/ 4731210 w 8537122"/>
              <a:gd name="connsiteY1254" fmla="*/ 7665781 h 8575811"/>
              <a:gd name="connsiteX1255" fmla="*/ 4723112 w 8537122"/>
              <a:gd name="connsiteY1255" fmla="*/ 7654423 h 8575811"/>
              <a:gd name="connsiteX1256" fmla="*/ 4720783 w 8537122"/>
              <a:gd name="connsiteY1256" fmla="*/ 7629903 h 8575811"/>
              <a:gd name="connsiteX1257" fmla="*/ 4718313 w 8537122"/>
              <a:gd name="connsiteY1257" fmla="*/ 7623605 h 8575811"/>
              <a:gd name="connsiteX1258" fmla="*/ 4690723 w 8537122"/>
              <a:gd name="connsiteY1258" fmla="*/ 7608992 h 8575811"/>
              <a:gd name="connsiteX1259" fmla="*/ 4685643 w 8537122"/>
              <a:gd name="connsiteY1259" fmla="*/ 7614618 h 8575811"/>
              <a:gd name="connsiteX1260" fmla="*/ 4669168 w 8537122"/>
              <a:gd name="connsiteY1260" fmla="*/ 7628345 h 8575811"/>
              <a:gd name="connsiteX1261" fmla="*/ 4662852 w 8537122"/>
              <a:gd name="connsiteY1261" fmla="*/ 7630822 h 8575811"/>
              <a:gd name="connsiteX1262" fmla="*/ 4646518 w 8537122"/>
              <a:gd name="connsiteY1262" fmla="*/ 7626328 h 8575811"/>
              <a:gd name="connsiteX1263" fmla="*/ 4641578 w 8537122"/>
              <a:gd name="connsiteY1263" fmla="*/ 7613732 h 8575811"/>
              <a:gd name="connsiteX1264" fmla="*/ 4636638 w 8537122"/>
              <a:gd name="connsiteY1264" fmla="*/ 7601136 h 8575811"/>
              <a:gd name="connsiteX1265" fmla="*/ 4634168 w 8537122"/>
              <a:gd name="connsiteY1265" fmla="*/ 7594838 h 8575811"/>
              <a:gd name="connsiteX1266" fmla="*/ 4649268 w 8537122"/>
              <a:gd name="connsiteY1266" fmla="*/ 7596183 h 8575811"/>
              <a:gd name="connsiteX1267" fmla="*/ 4652425 w 8537122"/>
              <a:gd name="connsiteY1267" fmla="*/ 7594944 h 8575811"/>
              <a:gd name="connsiteX1268" fmla="*/ 4649408 w 8537122"/>
              <a:gd name="connsiteY1268" fmla="*/ 7577961 h 8575811"/>
              <a:gd name="connsiteX1269" fmla="*/ 4634168 w 8537122"/>
              <a:gd name="connsiteY1269" fmla="*/ 7594838 h 8575811"/>
              <a:gd name="connsiteX1270" fmla="*/ 4585711 w 8537122"/>
              <a:gd name="connsiteY1270" fmla="*/ 7592042 h 8575811"/>
              <a:gd name="connsiteX1271" fmla="*/ 4583241 w 8537122"/>
              <a:gd name="connsiteY1271" fmla="*/ 7585744 h 8575811"/>
              <a:gd name="connsiteX1272" fmla="*/ 4578161 w 8537122"/>
              <a:gd name="connsiteY1272" fmla="*/ 7591369 h 8575811"/>
              <a:gd name="connsiteX1273" fmla="*/ 4571299 w 8537122"/>
              <a:gd name="connsiteY1273" fmla="*/ 7583160 h 8575811"/>
              <a:gd name="connsiteX1274" fmla="*/ 4564436 w 8537122"/>
              <a:gd name="connsiteY1274" fmla="*/ 7574952 h 8575811"/>
              <a:gd name="connsiteX1275" fmla="*/ 4529297 w 8537122"/>
              <a:gd name="connsiteY1275" fmla="*/ 7559666 h 8575811"/>
              <a:gd name="connsiteX1276" fmla="*/ 4526139 w 8537122"/>
              <a:gd name="connsiteY1276" fmla="*/ 7560905 h 8575811"/>
              <a:gd name="connsiteX1277" fmla="*/ 4520512 w 8537122"/>
              <a:gd name="connsiteY1277" fmla="*/ 7555844 h 8575811"/>
              <a:gd name="connsiteX1278" fmla="*/ 4502394 w 8537122"/>
              <a:gd name="connsiteY1278" fmla="*/ 7537516 h 8575811"/>
              <a:gd name="connsiteX1279" fmla="*/ 4504317 w 8537122"/>
              <a:gd name="connsiteY1279" fmla="*/ 7533129 h 8575811"/>
              <a:gd name="connsiteX1280" fmla="*/ 4511319 w 8537122"/>
              <a:gd name="connsiteY1280" fmla="*/ 7523116 h 8575811"/>
              <a:gd name="connsiteX1281" fmla="*/ 4516399 w 8537122"/>
              <a:gd name="connsiteY1281" fmla="*/ 7517490 h 8575811"/>
              <a:gd name="connsiteX1282" fmla="*/ 4488809 w 8537122"/>
              <a:gd name="connsiteY1282" fmla="*/ 7502877 h 8575811"/>
              <a:gd name="connsiteX1283" fmla="*/ 4492514 w 8537122"/>
              <a:gd name="connsiteY1283" fmla="*/ 7512324 h 8575811"/>
              <a:gd name="connsiteX1284" fmla="*/ 4502394 w 8537122"/>
              <a:gd name="connsiteY1284" fmla="*/ 7537516 h 8575811"/>
              <a:gd name="connsiteX1285" fmla="*/ 4494844 w 8537122"/>
              <a:gd name="connsiteY1285" fmla="*/ 7536844 h 8575811"/>
              <a:gd name="connsiteX1286" fmla="*/ 4491687 w 8537122"/>
              <a:gd name="connsiteY1286" fmla="*/ 7538082 h 8575811"/>
              <a:gd name="connsiteX1287" fmla="*/ 4475352 w 8537122"/>
              <a:gd name="connsiteY1287" fmla="*/ 7533588 h 8575811"/>
              <a:gd name="connsiteX1288" fmla="*/ 4472882 w 8537122"/>
              <a:gd name="connsiteY1288" fmla="*/ 7527290 h 8575811"/>
              <a:gd name="connsiteX1289" fmla="*/ 4454077 w 8537122"/>
              <a:gd name="connsiteY1289" fmla="*/ 7516498 h 8575811"/>
              <a:gd name="connsiteX1290" fmla="*/ 4447762 w 8537122"/>
              <a:gd name="connsiteY1290" fmla="*/ 7518975 h 8575811"/>
              <a:gd name="connsiteX1291" fmla="*/ 4445292 w 8537122"/>
              <a:gd name="connsiteY1291" fmla="*/ 7512677 h 8575811"/>
              <a:gd name="connsiteX1292" fmla="*/ 4444057 w 8537122"/>
              <a:gd name="connsiteY1292" fmla="*/ 7509528 h 8575811"/>
              <a:gd name="connsiteX1293" fmla="*/ 4440899 w 8537122"/>
              <a:gd name="connsiteY1293" fmla="*/ 7510766 h 8575811"/>
              <a:gd name="connsiteX1294" fmla="*/ 4434585 w 8537122"/>
              <a:gd name="connsiteY1294" fmla="*/ 7513243 h 8575811"/>
              <a:gd name="connsiteX1295" fmla="*/ 4416467 w 8537122"/>
              <a:gd name="connsiteY1295" fmla="*/ 7494914 h 8575811"/>
              <a:gd name="connsiteX1296" fmla="*/ 4405900 w 8537122"/>
              <a:gd name="connsiteY1296" fmla="*/ 7477259 h 8575811"/>
              <a:gd name="connsiteX1297" fmla="*/ 4393270 w 8537122"/>
              <a:gd name="connsiteY1297" fmla="*/ 7482212 h 8575811"/>
              <a:gd name="connsiteX1298" fmla="*/ 4382562 w 8537122"/>
              <a:gd name="connsiteY1298" fmla="*/ 7482778 h 8575811"/>
              <a:gd name="connsiteX1299" fmla="*/ 4369385 w 8537122"/>
              <a:gd name="connsiteY1299" fmla="*/ 7477045 h 8575811"/>
              <a:gd name="connsiteX1300" fmla="*/ 4355660 w 8537122"/>
              <a:gd name="connsiteY1300" fmla="*/ 7460628 h 8575811"/>
              <a:gd name="connsiteX1301" fmla="*/ 4340700 w 8537122"/>
              <a:gd name="connsiteY1301" fmla="*/ 7441061 h 8575811"/>
              <a:gd name="connsiteX1302" fmla="*/ 4323818 w 8537122"/>
              <a:gd name="connsiteY1302" fmla="*/ 7425882 h 8575811"/>
              <a:gd name="connsiteX1303" fmla="*/ 4307343 w 8537122"/>
              <a:gd name="connsiteY1303" fmla="*/ 7439610 h 8575811"/>
              <a:gd name="connsiteX1304" fmla="*/ 4291008 w 8537122"/>
              <a:gd name="connsiteY1304" fmla="*/ 7435116 h 8575811"/>
              <a:gd name="connsiteX1305" fmla="*/ 4279753 w 8537122"/>
              <a:gd name="connsiteY1305" fmla="*/ 7424996 h 8575811"/>
              <a:gd name="connsiteX1306" fmla="*/ 4254225 w 8537122"/>
              <a:gd name="connsiteY1306" fmla="*/ 7387774 h 8575811"/>
              <a:gd name="connsiteX1307" fmla="*/ 4215788 w 8537122"/>
              <a:gd name="connsiteY1307" fmla="*/ 7391949 h 8575811"/>
              <a:gd name="connsiteX1308" fmla="*/ 4187474 w 8537122"/>
              <a:gd name="connsiteY1308" fmla="*/ 7366777 h 8575811"/>
              <a:gd name="connsiteX1309" fmla="*/ 4186276 w 8537122"/>
              <a:gd name="connsiteY1309" fmla="*/ 7356359 h 8575811"/>
              <a:gd name="connsiteX1310" fmla="*/ 4187104 w 8537122"/>
              <a:gd name="connsiteY1310" fmla="*/ 7355964 h 8575811"/>
              <a:gd name="connsiteX1311" fmla="*/ 4185869 w 8537122"/>
              <a:gd name="connsiteY1311" fmla="*/ 7352815 h 8575811"/>
              <a:gd name="connsiteX1312" fmla="*/ 4186276 w 8537122"/>
              <a:gd name="connsiteY1312" fmla="*/ 7356359 h 8575811"/>
              <a:gd name="connsiteX1313" fmla="*/ 4176361 w 8537122"/>
              <a:gd name="connsiteY1313" fmla="*/ 7361086 h 8575811"/>
              <a:gd name="connsiteX1314" fmla="*/ 4163767 w 8537122"/>
              <a:gd name="connsiteY1314" fmla="*/ 7361484 h 8575811"/>
              <a:gd name="connsiteX1315" fmla="*/ 4143727 w 8537122"/>
              <a:gd name="connsiteY1315" fmla="*/ 7347543 h 8575811"/>
              <a:gd name="connsiteX1316" fmla="*/ 4147712 w 8537122"/>
              <a:gd name="connsiteY1316" fmla="*/ 7320546 h 8575811"/>
              <a:gd name="connsiteX1317" fmla="*/ 4111337 w 8537122"/>
              <a:gd name="connsiteY1317" fmla="*/ 7302111 h 8575811"/>
              <a:gd name="connsiteX1318" fmla="*/ 4108180 w 8537122"/>
              <a:gd name="connsiteY1318" fmla="*/ 7303350 h 8575811"/>
              <a:gd name="connsiteX1319" fmla="*/ 4103787 w 8537122"/>
              <a:gd name="connsiteY1319" fmla="*/ 7301439 h 8575811"/>
              <a:gd name="connsiteX1320" fmla="*/ 4101317 w 8537122"/>
              <a:gd name="connsiteY1320" fmla="*/ 7295141 h 8575811"/>
              <a:gd name="connsiteX1321" fmla="*/ 4103927 w 8537122"/>
              <a:gd name="connsiteY1321" fmla="*/ 7283217 h 8575811"/>
              <a:gd name="connsiteX1322" fmla="*/ 4095689 w 8537122"/>
              <a:gd name="connsiteY1322" fmla="*/ 7290081 h 8575811"/>
              <a:gd name="connsiteX1323" fmla="*/ 4069334 w 8537122"/>
              <a:gd name="connsiteY1323" fmla="*/ 7278617 h 8575811"/>
              <a:gd name="connsiteX1324" fmla="*/ 4049294 w 8537122"/>
              <a:gd name="connsiteY1324" fmla="*/ 7264676 h 8575811"/>
              <a:gd name="connsiteX1325" fmla="*/ 4048607 w 8537122"/>
              <a:gd name="connsiteY1325" fmla="*/ 7272212 h 8575811"/>
              <a:gd name="connsiteX1326" fmla="*/ 4059863 w 8537122"/>
              <a:gd name="connsiteY1326" fmla="*/ 7282332 h 8575811"/>
              <a:gd name="connsiteX1327" fmla="*/ 4061098 w 8537122"/>
              <a:gd name="connsiteY1327" fmla="*/ 7285481 h 8575811"/>
              <a:gd name="connsiteX1328" fmla="*/ 4063568 w 8537122"/>
              <a:gd name="connsiteY1328" fmla="*/ 7291779 h 8575811"/>
              <a:gd name="connsiteX1329" fmla="*/ 4050937 w 8537122"/>
              <a:gd name="connsiteY1329" fmla="*/ 7296732 h 8575811"/>
              <a:gd name="connsiteX1330" fmla="*/ 4041465 w 8537122"/>
              <a:gd name="connsiteY1330" fmla="*/ 7300447 h 8575811"/>
              <a:gd name="connsiteX1331" fmla="*/ 4038308 w 8537122"/>
              <a:gd name="connsiteY1331" fmla="*/ 7301685 h 8575811"/>
              <a:gd name="connsiteX1332" fmla="*/ 4028288 w 8537122"/>
              <a:gd name="connsiteY1332" fmla="*/ 7294715 h 8575811"/>
              <a:gd name="connsiteX1333" fmla="*/ 4025130 w 8537122"/>
              <a:gd name="connsiteY1333" fmla="*/ 7295953 h 8575811"/>
              <a:gd name="connsiteX1334" fmla="*/ 4021425 w 8537122"/>
              <a:gd name="connsiteY1334" fmla="*/ 7286506 h 8575811"/>
              <a:gd name="connsiteX1335" fmla="*/ 4011953 w 8537122"/>
              <a:gd name="connsiteY1335" fmla="*/ 7290221 h 8575811"/>
              <a:gd name="connsiteX1336" fmla="*/ 3997541 w 8537122"/>
              <a:gd name="connsiteY1336" fmla="*/ 7281340 h 8575811"/>
              <a:gd name="connsiteX1337" fmla="*/ 3984363 w 8537122"/>
              <a:gd name="connsiteY1337" fmla="*/ 7275608 h 8575811"/>
              <a:gd name="connsiteX1338" fmla="*/ 3968716 w 8537122"/>
              <a:gd name="connsiteY1338" fmla="*/ 7263577 h 8575811"/>
              <a:gd name="connsiteX1339" fmla="*/ 3967481 w 8537122"/>
              <a:gd name="connsiteY1339" fmla="*/ 7260428 h 8575811"/>
              <a:gd name="connsiteX1340" fmla="*/ 3963088 w 8537122"/>
              <a:gd name="connsiteY1340" fmla="*/ 7258518 h 8575811"/>
              <a:gd name="connsiteX1341" fmla="*/ 3948676 w 8537122"/>
              <a:gd name="connsiteY1341" fmla="*/ 7249637 h 8575811"/>
              <a:gd name="connsiteX1342" fmla="*/ 3919164 w 8537122"/>
              <a:gd name="connsiteY1342" fmla="*/ 7239410 h 8575811"/>
              <a:gd name="connsiteX1343" fmla="*/ 3907908 w 8537122"/>
              <a:gd name="connsiteY1343" fmla="*/ 7229291 h 8575811"/>
              <a:gd name="connsiteX1344" fmla="*/ 3901046 w 8537122"/>
              <a:gd name="connsiteY1344" fmla="*/ 7221082 h 8575811"/>
              <a:gd name="connsiteX1345" fmla="*/ 3891574 w 8537122"/>
              <a:gd name="connsiteY1345" fmla="*/ 7224797 h 8575811"/>
              <a:gd name="connsiteX1346" fmla="*/ 3877161 w 8537122"/>
              <a:gd name="connsiteY1346" fmla="*/ 7215916 h 8575811"/>
              <a:gd name="connsiteX1347" fmla="*/ 3857121 w 8537122"/>
              <a:gd name="connsiteY1347" fmla="*/ 7201975 h 8575811"/>
              <a:gd name="connsiteX1348" fmla="*/ 3843944 w 8537122"/>
              <a:gd name="connsiteY1348" fmla="*/ 7196243 h 8575811"/>
              <a:gd name="connsiteX1349" fmla="*/ 3826374 w 8537122"/>
              <a:gd name="connsiteY1349" fmla="*/ 7188600 h 8575811"/>
              <a:gd name="connsiteX1350" fmla="*/ 3813694 w 8537122"/>
              <a:gd name="connsiteY1350" fmla="*/ 7180786 h 8575811"/>
              <a:gd name="connsiteX1351" fmla="*/ 3819316 w 8537122"/>
              <a:gd name="connsiteY1351" fmla="*/ 7157248 h 8575811"/>
              <a:gd name="connsiteX1352" fmla="*/ 3784512 w 8537122"/>
              <a:gd name="connsiteY1352" fmla="*/ 7146883 h 8575811"/>
              <a:gd name="connsiteX1353" fmla="*/ 3764332 w 8537122"/>
              <a:gd name="connsiteY1353" fmla="*/ 7151164 h 8575811"/>
              <a:gd name="connsiteX1354" fmla="*/ 3747997 w 8537122"/>
              <a:gd name="connsiteY1354" fmla="*/ 7146671 h 8575811"/>
              <a:gd name="connsiteX1355" fmla="*/ 3744292 w 8537122"/>
              <a:gd name="connsiteY1355" fmla="*/ 7137224 h 8575811"/>
              <a:gd name="connsiteX1356" fmla="*/ 3737978 w 8537122"/>
              <a:gd name="connsiteY1356" fmla="*/ 7139700 h 8575811"/>
              <a:gd name="connsiteX1357" fmla="*/ 3734820 w 8537122"/>
              <a:gd name="connsiteY1357" fmla="*/ 7140938 h 8575811"/>
              <a:gd name="connsiteX1358" fmla="*/ 3720407 w 8537122"/>
              <a:gd name="connsiteY1358" fmla="*/ 7132057 h 8575811"/>
              <a:gd name="connsiteX1359" fmla="*/ 3719173 w 8537122"/>
              <a:gd name="connsiteY1359" fmla="*/ 7128908 h 8575811"/>
              <a:gd name="connsiteX1360" fmla="*/ 3713545 w 8537122"/>
              <a:gd name="connsiteY1360" fmla="*/ 7123848 h 8575811"/>
              <a:gd name="connsiteX1361" fmla="*/ 3707230 w 8537122"/>
              <a:gd name="connsiteY1361" fmla="*/ 7126325 h 8575811"/>
              <a:gd name="connsiteX1362" fmla="*/ 3676483 w 8537122"/>
              <a:gd name="connsiteY1362" fmla="*/ 7112950 h 8575811"/>
              <a:gd name="connsiteX1363" fmla="*/ 3649581 w 8537122"/>
              <a:gd name="connsiteY1363" fmla="*/ 7090800 h 8575811"/>
              <a:gd name="connsiteX1364" fmla="*/ 3644781 w 8537122"/>
              <a:gd name="connsiteY1364" fmla="*/ 7059982 h 8575811"/>
              <a:gd name="connsiteX1365" fmla="*/ 3621991 w 8537122"/>
              <a:gd name="connsiteY1365" fmla="*/ 7076187 h 8575811"/>
              <a:gd name="connsiteX1366" fmla="*/ 3596871 w 8537122"/>
              <a:gd name="connsiteY1366" fmla="*/ 7067872 h 8575811"/>
              <a:gd name="connsiteX1367" fmla="*/ 3550476 w 8537122"/>
              <a:gd name="connsiteY1367" fmla="*/ 7042466 h 8575811"/>
              <a:gd name="connsiteX1368" fmla="*/ 3536064 w 8537122"/>
              <a:gd name="connsiteY1368" fmla="*/ 7033585 h 8575811"/>
              <a:gd name="connsiteX1369" fmla="*/ 3519729 w 8537122"/>
              <a:gd name="connsiteY1369" fmla="*/ 7029091 h 8575811"/>
              <a:gd name="connsiteX1370" fmla="*/ 3505317 w 8537122"/>
              <a:gd name="connsiteY1370" fmla="*/ 7020210 h 8575811"/>
              <a:gd name="connsiteX1371" fmla="*/ 3488982 w 8537122"/>
              <a:gd name="connsiteY1371" fmla="*/ 7015716 h 8575811"/>
              <a:gd name="connsiteX1372" fmla="*/ 3474569 w 8537122"/>
              <a:gd name="connsiteY1372" fmla="*/ 7006835 h 8575811"/>
              <a:gd name="connsiteX1373" fmla="*/ 3460157 w 8537122"/>
              <a:gd name="connsiteY1373" fmla="*/ 6997954 h 8575811"/>
              <a:gd name="connsiteX1374" fmla="*/ 3451372 w 8537122"/>
              <a:gd name="connsiteY1374" fmla="*/ 6994132 h 8575811"/>
              <a:gd name="connsiteX1375" fmla="*/ 3396192 w 8537122"/>
              <a:gd name="connsiteY1375" fmla="*/ 6964906 h 8575811"/>
              <a:gd name="connsiteX1376" fmla="*/ 3383015 w 8537122"/>
              <a:gd name="connsiteY1376" fmla="*/ 6959174 h 8575811"/>
              <a:gd name="connsiteX1377" fmla="*/ 3368603 w 8537122"/>
              <a:gd name="connsiteY1377" fmla="*/ 6950292 h 8575811"/>
              <a:gd name="connsiteX1378" fmla="*/ 3317816 w 8537122"/>
              <a:gd name="connsiteY1378" fmla="*/ 6922976 h 8575811"/>
              <a:gd name="connsiteX1379" fmla="*/ 3304638 w 8537122"/>
              <a:gd name="connsiteY1379" fmla="*/ 6917244 h 8575811"/>
              <a:gd name="connsiteX1380" fmla="*/ 3259478 w 8537122"/>
              <a:gd name="connsiteY1380" fmla="*/ 6894988 h 8575811"/>
              <a:gd name="connsiteX1381" fmla="*/ 3246301 w 8537122"/>
              <a:gd name="connsiteY1381" fmla="*/ 6889256 h 8575811"/>
              <a:gd name="connsiteX1382" fmla="*/ 3236969 w 8537122"/>
              <a:gd name="connsiteY1382" fmla="*/ 6874749 h 8575811"/>
              <a:gd name="connsiteX1383" fmla="*/ 3230653 w 8537122"/>
              <a:gd name="connsiteY1383" fmla="*/ 6877226 h 8575811"/>
              <a:gd name="connsiteX1384" fmla="*/ 3227496 w 8537122"/>
              <a:gd name="connsiteY1384" fmla="*/ 6878464 h 8575811"/>
              <a:gd name="connsiteX1385" fmla="*/ 3226261 w 8537122"/>
              <a:gd name="connsiteY1385" fmla="*/ 6875315 h 8575811"/>
              <a:gd name="connsiteX1386" fmla="*/ 3223104 w 8537122"/>
              <a:gd name="connsiteY1386" fmla="*/ 6876553 h 8575811"/>
              <a:gd name="connsiteX1387" fmla="*/ 3218711 w 8537122"/>
              <a:gd name="connsiteY1387" fmla="*/ 6874642 h 8575811"/>
              <a:gd name="connsiteX1388" fmla="*/ 3204299 w 8537122"/>
              <a:gd name="connsiteY1388" fmla="*/ 6865761 h 8575811"/>
              <a:gd name="connsiteX1389" fmla="*/ 3195514 w 8537122"/>
              <a:gd name="connsiteY1389" fmla="*/ 6861940 h 8575811"/>
              <a:gd name="connsiteX1390" fmla="*/ 3194279 w 8537122"/>
              <a:gd name="connsiteY1390" fmla="*/ 6858791 h 8575811"/>
              <a:gd name="connsiteX1391" fmla="*/ 3191808 w 8537122"/>
              <a:gd name="connsiteY1391" fmla="*/ 6852493 h 8575811"/>
              <a:gd name="connsiteX1392" fmla="*/ 3181101 w 8537122"/>
              <a:gd name="connsiteY1392" fmla="*/ 6853059 h 8575811"/>
              <a:gd name="connsiteX1393" fmla="*/ 3167924 w 8537122"/>
              <a:gd name="connsiteY1393" fmla="*/ 6847326 h 8575811"/>
              <a:gd name="connsiteX1394" fmla="*/ 3150354 w 8537122"/>
              <a:gd name="connsiteY1394" fmla="*/ 6839683 h 8575811"/>
              <a:gd name="connsiteX1395" fmla="*/ 3147884 w 8537122"/>
              <a:gd name="connsiteY1395" fmla="*/ 6833385 h 8575811"/>
              <a:gd name="connsiteX1396" fmla="*/ 3144727 w 8537122"/>
              <a:gd name="connsiteY1396" fmla="*/ 6834624 h 8575811"/>
              <a:gd name="connsiteX1397" fmla="*/ 3134706 w 8537122"/>
              <a:gd name="connsiteY1397" fmla="*/ 6827653 h 8575811"/>
              <a:gd name="connsiteX1398" fmla="*/ 3130314 w 8537122"/>
              <a:gd name="connsiteY1398" fmla="*/ 6825743 h 8575811"/>
              <a:gd name="connsiteX1399" fmla="*/ 3127157 w 8537122"/>
              <a:gd name="connsiteY1399" fmla="*/ 6826981 h 8575811"/>
              <a:gd name="connsiteX1400" fmla="*/ 3102724 w 8537122"/>
              <a:gd name="connsiteY1400" fmla="*/ 6811129 h 8575811"/>
              <a:gd name="connsiteX1401" fmla="*/ 3089547 w 8537122"/>
              <a:gd name="connsiteY1401" fmla="*/ 6805397 h 8575811"/>
              <a:gd name="connsiteX1402" fmla="*/ 3058799 w 8537122"/>
              <a:gd name="connsiteY1402" fmla="*/ 6792022 h 8575811"/>
              <a:gd name="connsiteX1403" fmla="*/ 3045622 w 8537122"/>
              <a:gd name="connsiteY1403" fmla="*/ 6786290 h 8575811"/>
              <a:gd name="connsiteX1404" fmla="*/ 2997992 w 8537122"/>
              <a:gd name="connsiteY1404" fmla="*/ 6757735 h 8575811"/>
              <a:gd name="connsiteX1405" fmla="*/ 2966010 w 8537122"/>
              <a:gd name="connsiteY1405" fmla="*/ 6741211 h 8575811"/>
              <a:gd name="connsiteX1406" fmla="*/ 2953520 w 8537122"/>
              <a:gd name="connsiteY1406" fmla="*/ 6727943 h 8575811"/>
              <a:gd name="connsiteX1407" fmla="*/ 2906439 w 8537122"/>
              <a:gd name="connsiteY1407" fmla="*/ 6710074 h 8575811"/>
              <a:gd name="connsiteX1408" fmla="*/ 2902046 w 8537122"/>
              <a:gd name="connsiteY1408" fmla="*/ 6708163 h 8575811"/>
              <a:gd name="connsiteX1409" fmla="*/ 2888869 w 8537122"/>
              <a:gd name="connsiteY1409" fmla="*/ 6702431 h 8575811"/>
              <a:gd name="connsiteX1410" fmla="*/ 2887634 w 8537122"/>
              <a:gd name="connsiteY1410" fmla="*/ 6699282 h 8575811"/>
              <a:gd name="connsiteX1411" fmla="*/ 2885164 w 8537122"/>
              <a:gd name="connsiteY1411" fmla="*/ 6692984 h 8575811"/>
              <a:gd name="connsiteX1412" fmla="*/ 2874456 w 8537122"/>
              <a:gd name="connsiteY1412" fmla="*/ 6693550 h 8575811"/>
              <a:gd name="connsiteX1413" fmla="*/ 2810492 w 8537122"/>
              <a:gd name="connsiteY1413" fmla="*/ 6660501 h 8575811"/>
              <a:gd name="connsiteX1414" fmla="*/ 2774804 w 8537122"/>
              <a:gd name="connsiteY1414" fmla="*/ 6634531 h 8575811"/>
              <a:gd name="connsiteX1415" fmla="*/ 2771647 w 8537122"/>
              <a:gd name="connsiteY1415" fmla="*/ 6635769 h 8575811"/>
              <a:gd name="connsiteX1416" fmla="*/ 2769725 w 8537122"/>
              <a:gd name="connsiteY1416" fmla="*/ 6640156 h 8575811"/>
              <a:gd name="connsiteX1417" fmla="*/ 2766567 w 8537122"/>
              <a:gd name="connsiteY1417" fmla="*/ 6641394 h 8575811"/>
              <a:gd name="connsiteX1418" fmla="*/ 2762862 w 8537122"/>
              <a:gd name="connsiteY1418" fmla="*/ 6631947 h 8575811"/>
              <a:gd name="connsiteX1419" fmla="*/ 2752842 w 8537122"/>
              <a:gd name="connsiteY1419" fmla="*/ 6624977 h 8575811"/>
              <a:gd name="connsiteX1420" fmla="*/ 2737742 w 8537122"/>
              <a:gd name="connsiteY1420" fmla="*/ 6623632 h 8575811"/>
              <a:gd name="connsiteX1421" fmla="*/ 2729645 w 8537122"/>
              <a:gd name="connsiteY1421" fmla="*/ 6612274 h 8575811"/>
              <a:gd name="connsiteX1422" fmla="*/ 2729784 w 8537122"/>
              <a:gd name="connsiteY1422" fmla="*/ 6594052 h 8575811"/>
              <a:gd name="connsiteX1423" fmla="*/ 2729237 w 8537122"/>
              <a:gd name="connsiteY1423" fmla="*/ 6583367 h 8575811"/>
              <a:gd name="connsiteX1424" fmla="*/ 2714825 w 8537122"/>
              <a:gd name="connsiteY1424" fmla="*/ 6574486 h 8575811"/>
              <a:gd name="connsiteX1425" fmla="*/ 2706587 w 8537122"/>
              <a:gd name="connsiteY1425" fmla="*/ 6581350 h 8575811"/>
              <a:gd name="connsiteX1426" fmla="*/ 2687643 w 8537122"/>
              <a:gd name="connsiteY1426" fmla="*/ 6588780 h 8575811"/>
              <a:gd name="connsiteX1427" fmla="*/ 2673778 w 8537122"/>
              <a:gd name="connsiteY1427" fmla="*/ 6590584 h 8575811"/>
              <a:gd name="connsiteX1428" fmla="*/ 2659365 w 8537122"/>
              <a:gd name="connsiteY1428" fmla="*/ 6581702 h 8575811"/>
              <a:gd name="connsiteX1429" fmla="*/ 2661288 w 8537122"/>
              <a:gd name="connsiteY1429" fmla="*/ 6577315 h 8575811"/>
              <a:gd name="connsiteX1430" fmla="*/ 2675840 w 8537122"/>
              <a:gd name="connsiteY1430" fmla="*/ 6567975 h 8575811"/>
              <a:gd name="connsiteX1431" fmla="*/ 2678450 w 8537122"/>
              <a:gd name="connsiteY1431" fmla="*/ 6556051 h 8575811"/>
              <a:gd name="connsiteX1432" fmla="*/ 2674058 w 8537122"/>
              <a:gd name="connsiteY1432" fmla="*/ 6554140 h 8575811"/>
              <a:gd name="connsiteX1433" fmla="*/ 2669666 w 8537122"/>
              <a:gd name="connsiteY1433" fmla="*/ 6552230 h 8575811"/>
              <a:gd name="connsiteX1434" fmla="*/ 2664038 w 8537122"/>
              <a:gd name="connsiteY1434" fmla="*/ 6547170 h 8575811"/>
              <a:gd name="connsiteX1435" fmla="*/ 2636168 w 8537122"/>
              <a:gd name="connsiteY1435" fmla="*/ 6569000 h 8575811"/>
              <a:gd name="connsiteX1436" fmla="*/ 2628618 w 8537122"/>
              <a:gd name="connsiteY1436" fmla="*/ 6568328 h 8575811"/>
              <a:gd name="connsiteX1437" fmla="*/ 2615441 w 8537122"/>
              <a:gd name="connsiteY1437" fmla="*/ 6562596 h 8575811"/>
              <a:gd name="connsiteX1438" fmla="*/ 2612970 w 8537122"/>
              <a:gd name="connsiteY1438" fmla="*/ 6556297 h 8575811"/>
              <a:gd name="connsiteX1439" fmla="*/ 2601716 w 8537122"/>
              <a:gd name="connsiteY1439" fmla="*/ 6546178 h 8575811"/>
              <a:gd name="connsiteX1440" fmla="*/ 2595401 w 8537122"/>
              <a:gd name="connsiteY1440" fmla="*/ 6548654 h 8575811"/>
              <a:gd name="connsiteX1441" fmla="*/ 2579066 w 8537122"/>
              <a:gd name="connsiteY1441" fmla="*/ 6544161 h 8575811"/>
              <a:gd name="connsiteX1442" fmla="*/ 2574126 w 8537122"/>
              <a:gd name="connsiteY1442" fmla="*/ 6531565 h 8575811"/>
              <a:gd name="connsiteX1443" fmla="*/ 2556556 w 8537122"/>
              <a:gd name="connsiteY1443" fmla="*/ 6523921 h 8575811"/>
              <a:gd name="connsiteX1444" fmla="*/ 2550241 w 8537122"/>
              <a:gd name="connsiteY1444" fmla="*/ 6526398 h 8575811"/>
              <a:gd name="connsiteX1445" fmla="*/ 2549006 w 8537122"/>
              <a:gd name="connsiteY1445" fmla="*/ 6523249 h 8575811"/>
              <a:gd name="connsiteX1446" fmla="*/ 2530341 w 8537122"/>
              <a:gd name="connsiteY1446" fmla="*/ 6494235 h 8575811"/>
              <a:gd name="connsiteX1447" fmla="*/ 2527324 w 8537122"/>
              <a:gd name="connsiteY1447" fmla="*/ 6477252 h 8575811"/>
              <a:gd name="connsiteX1448" fmla="*/ 2494106 w 8537122"/>
              <a:gd name="connsiteY1448" fmla="*/ 6457579 h 8575811"/>
              <a:gd name="connsiteX1449" fmla="*/ 2490949 w 8537122"/>
              <a:gd name="connsiteY1449" fmla="*/ 6458817 h 8575811"/>
              <a:gd name="connsiteX1450" fmla="*/ 2473927 w 8537122"/>
              <a:gd name="connsiteY1450" fmla="*/ 6461860 h 8575811"/>
              <a:gd name="connsiteX1451" fmla="*/ 2477632 w 8537122"/>
              <a:gd name="connsiteY1451" fmla="*/ 6471307 h 8575811"/>
              <a:gd name="connsiteX1452" fmla="*/ 2489434 w 8537122"/>
              <a:gd name="connsiteY1452" fmla="*/ 6492112 h 8575811"/>
              <a:gd name="connsiteX1453" fmla="*/ 2486277 w 8537122"/>
              <a:gd name="connsiteY1453" fmla="*/ 6493350 h 8575811"/>
              <a:gd name="connsiteX1454" fmla="*/ 2485042 w 8537122"/>
              <a:gd name="connsiteY1454" fmla="*/ 6490201 h 8575811"/>
              <a:gd name="connsiteX1455" fmla="*/ 2473099 w 8537122"/>
              <a:gd name="connsiteY1455" fmla="*/ 6487618 h 8575811"/>
              <a:gd name="connsiteX1456" fmla="*/ 2467472 w 8537122"/>
              <a:gd name="connsiteY1456" fmla="*/ 6482558 h 8575811"/>
              <a:gd name="connsiteX1457" fmla="*/ 2466237 w 8537122"/>
              <a:gd name="connsiteY1457" fmla="*/ 6479409 h 8575811"/>
              <a:gd name="connsiteX1458" fmla="*/ 2456764 w 8537122"/>
              <a:gd name="connsiteY1458" fmla="*/ 6483124 h 8575811"/>
              <a:gd name="connsiteX1459" fmla="*/ 2455529 w 8537122"/>
              <a:gd name="connsiteY1459" fmla="*/ 6479975 h 8575811"/>
              <a:gd name="connsiteX1460" fmla="*/ 2444274 w 8537122"/>
              <a:gd name="connsiteY1460" fmla="*/ 6469855 h 8575811"/>
              <a:gd name="connsiteX1461" fmla="*/ 2443039 w 8537122"/>
              <a:gd name="connsiteY1461" fmla="*/ 6466706 h 8575811"/>
              <a:gd name="connsiteX1462" fmla="*/ 2438647 w 8537122"/>
              <a:gd name="connsiteY1462" fmla="*/ 6464796 h 8575811"/>
              <a:gd name="connsiteX1463" fmla="*/ 2439334 w 8537122"/>
              <a:gd name="connsiteY1463" fmla="*/ 6457260 h 8575811"/>
              <a:gd name="connsiteX1464" fmla="*/ 2436317 w 8537122"/>
              <a:gd name="connsiteY1464" fmla="*/ 6440276 h 8575811"/>
              <a:gd name="connsiteX1465" fmla="*/ 2435769 w 8537122"/>
              <a:gd name="connsiteY1465" fmla="*/ 6429590 h 8575811"/>
              <a:gd name="connsiteX1466" fmla="*/ 2404475 w 8537122"/>
              <a:gd name="connsiteY1466" fmla="*/ 6405530 h 8575811"/>
              <a:gd name="connsiteX1467" fmla="*/ 2399943 w 8537122"/>
              <a:gd name="connsiteY1467" fmla="*/ 6421841 h 8575811"/>
              <a:gd name="connsiteX1468" fmla="*/ 2420530 w 8537122"/>
              <a:gd name="connsiteY1468" fmla="*/ 6446467 h 8575811"/>
              <a:gd name="connsiteX1469" fmla="*/ 2390330 w 8537122"/>
              <a:gd name="connsiteY1469" fmla="*/ 6443778 h 8575811"/>
              <a:gd name="connsiteX1470" fmla="*/ 2378387 w 8537122"/>
              <a:gd name="connsiteY1470" fmla="*/ 6441195 h 8575811"/>
              <a:gd name="connsiteX1471" fmla="*/ 2377152 w 8537122"/>
              <a:gd name="connsiteY1471" fmla="*/ 6438046 h 8575811"/>
              <a:gd name="connsiteX1472" fmla="*/ 2371525 w 8537122"/>
              <a:gd name="connsiteY1472" fmla="*/ 6432986 h 8575811"/>
              <a:gd name="connsiteX1473" fmla="*/ 2357112 w 8537122"/>
              <a:gd name="connsiteY1473" fmla="*/ 6424104 h 8575811"/>
              <a:gd name="connsiteX1474" fmla="*/ 2349563 w 8537122"/>
              <a:gd name="connsiteY1474" fmla="*/ 6423432 h 8575811"/>
              <a:gd name="connsiteX1475" fmla="*/ 2336385 w 8537122"/>
              <a:gd name="connsiteY1475" fmla="*/ 6417700 h 8575811"/>
              <a:gd name="connsiteX1476" fmla="*/ 2321973 w 8537122"/>
              <a:gd name="connsiteY1476" fmla="*/ 6408819 h 8575811"/>
              <a:gd name="connsiteX1477" fmla="*/ 2305638 w 8537122"/>
              <a:gd name="connsiteY1477" fmla="*/ 6404325 h 8575811"/>
              <a:gd name="connsiteX1478" fmla="*/ 2291226 w 8537122"/>
              <a:gd name="connsiteY1478" fmla="*/ 6395444 h 8575811"/>
              <a:gd name="connsiteX1479" fmla="*/ 2278048 w 8537122"/>
              <a:gd name="connsiteY1479" fmla="*/ 6389712 h 8575811"/>
              <a:gd name="connsiteX1480" fmla="*/ 2271186 w 8537122"/>
              <a:gd name="connsiteY1480" fmla="*/ 6381503 h 8575811"/>
              <a:gd name="connsiteX1481" fmla="*/ 2268028 w 8537122"/>
              <a:gd name="connsiteY1481" fmla="*/ 6382741 h 8575811"/>
              <a:gd name="connsiteX1482" fmla="*/ 2260478 w 8537122"/>
              <a:gd name="connsiteY1482" fmla="*/ 6382069 h 8575811"/>
              <a:gd name="connsiteX1483" fmla="*/ 2262401 w 8537122"/>
              <a:gd name="connsiteY1483" fmla="*/ 6377682 h 8575811"/>
              <a:gd name="connsiteX1484" fmla="*/ 2258009 w 8537122"/>
              <a:gd name="connsiteY1484" fmla="*/ 6375771 h 8575811"/>
              <a:gd name="connsiteX1485" fmla="*/ 2255538 w 8537122"/>
              <a:gd name="connsiteY1485" fmla="*/ 6369472 h 8575811"/>
              <a:gd name="connsiteX1486" fmla="*/ 2233576 w 8537122"/>
              <a:gd name="connsiteY1486" fmla="*/ 6359919 h 8575811"/>
              <a:gd name="connsiteX1487" fmla="*/ 2229184 w 8537122"/>
              <a:gd name="connsiteY1487" fmla="*/ 6358008 h 8575811"/>
              <a:gd name="connsiteX1488" fmla="*/ 2236186 w 8537122"/>
              <a:gd name="connsiteY1488" fmla="*/ 6347996 h 8575811"/>
              <a:gd name="connsiteX1489" fmla="*/ 2238796 w 8537122"/>
              <a:gd name="connsiteY1489" fmla="*/ 6336071 h 8575811"/>
              <a:gd name="connsiteX1490" fmla="*/ 2199671 w 8537122"/>
              <a:gd name="connsiteY1490" fmla="*/ 6347782 h 8575811"/>
              <a:gd name="connsiteX1491" fmla="*/ 2179631 w 8537122"/>
              <a:gd name="connsiteY1491" fmla="*/ 6333841 h 8575811"/>
              <a:gd name="connsiteX1492" fmla="*/ 2162062 w 8537122"/>
              <a:gd name="connsiteY1492" fmla="*/ 6326199 h 8575811"/>
              <a:gd name="connsiteX1493" fmla="*/ 2121294 w 8537122"/>
              <a:gd name="connsiteY1493" fmla="*/ 6305853 h 8575811"/>
              <a:gd name="connsiteX1494" fmla="*/ 2089312 w 8537122"/>
              <a:gd name="connsiteY1494" fmla="*/ 6289329 h 8575811"/>
              <a:gd name="connsiteX1495" fmla="*/ 2091235 w 8537122"/>
              <a:gd name="connsiteY1495" fmla="*/ 6284941 h 8575811"/>
              <a:gd name="connsiteX1496" fmla="*/ 2086842 w 8537122"/>
              <a:gd name="connsiteY1496" fmla="*/ 6283031 h 8575811"/>
              <a:gd name="connsiteX1497" fmla="*/ 2072430 w 8537122"/>
              <a:gd name="connsiteY1497" fmla="*/ 6274150 h 8575811"/>
              <a:gd name="connsiteX1498" fmla="*/ 2056095 w 8537122"/>
              <a:gd name="connsiteY1498" fmla="*/ 6269655 h 8575811"/>
              <a:gd name="connsiteX1499" fmla="*/ 2042917 w 8537122"/>
              <a:gd name="connsiteY1499" fmla="*/ 6263923 h 8575811"/>
              <a:gd name="connsiteX1500" fmla="*/ 2028505 w 8537122"/>
              <a:gd name="connsiteY1500" fmla="*/ 6255042 h 8575811"/>
              <a:gd name="connsiteX1501" fmla="*/ 1957678 w 8537122"/>
              <a:gd name="connsiteY1501" fmla="*/ 6213785 h 8575811"/>
              <a:gd name="connsiteX1502" fmla="*/ 1943265 w 8537122"/>
              <a:gd name="connsiteY1502" fmla="*/ 6204904 h 8575811"/>
              <a:gd name="connsiteX1503" fmla="*/ 1932558 w 8537122"/>
              <a:gd name="connsiteY1503" fmla="*/ 6205470 h 8575811"/>
              <a:gd name="connsiteX1504" fmla="*/ 1922131 w 8537122"/>
              <a:gd name="connsiteY1504" fmla="*/ 6169592 h 8575811"/>
              <a:gd name="connsiteX1505" fmla="*/ 1886163 w 8537122"/>
              <a:gd name="connsiteY1505" fmla="*/ 6180065 h 8575811"/>
              <a:gd name="connsiteX1506" fmla="*/ 1875456 w 8537122"/>
              <a:gd name="connsiteY1506" fmla="*/ 6180631 h 8575811"/>
              <a:gd name="connsiteX1507" fmla="*/ 1861044 w 8537122"/>
              <a:gd name="connsiteY1507" fmla="*/ 6171750 h 8575811"/>
              <a:gd name="connsiteX1508" fmla="*/ 1811491 w 8537122"/>
              <a:gd name="connsiteY1508" fmla="*/ 6147583 h 8575811"/>
              <a:gd name="connsiteX1509" fmla="*/ 1797079 w 8537122"/>
              <a:gd name="connsiteY1509" fmla="*/ 6138701 h 8575811"/>
              <a:gd name="connsiteX1510" fmla="*/ 1783902 w 8537122"/>
              <a:gd name="connsiteY1510" fmla="*/ 6132969 h 8575811"/>
              <a:gd name="connsiteX1511" fmla="*/ 1758922 w 8537122"/>
              <a:gd name="connsiteY1511" fmla="*/ 6106432 h 8575811"/>
              <a:gd name="connsiteX1512" fmla="*/ 1755765 w 8537122"/>
              <a:gd name="connsiteY1512" fmla="*/ 6107670 h 8575811"/>
              <a:gd name="connsiteX1513" fmla="*/ 1726252 w 8537122"/>
              <a:gd name="connsiteY1513" fmla="*/ 6097444 h 8575811"/>
              <a:gd name="connsiteX1514" fmla="*/ 1709917 w 8537122"/>
              <a:gd name="connsiteY1514" fmla="*/ 6092951 h 8575811"/>
              <a:gd name="connsiteX1515" fmla="*/ 1715137 w 8537122"/>
              <a:gd name="connsiteY1515" fmla="*/ 6069103 h 8575811"/>
              <a:gd name="connsiteX1516" fmla="*/ 1717060 w 8537122"/>
              <a:gd name="connsiteY1516" fmla="*/ 6064716 h 8575811"/>
              <a:gd name="connsiteX1517" fmla="*/ 1715825 w 8537122"/>
              <a:gd name="connsiteY1517" fmla="*/ 6061567 h 8575811"/>
              <a:gd name="connsiteX1518" fmla="*/ 1709510 w 8537122"/>
              <a:gd name="connsiteY1518" fmla="*/ 6064043 h 8575811"/>
              <a:gd name="connsiteX1519" fmla="*/ 1663523 w 8537122"/>
              <a:gd name="connsiteY1519" fmla="*/ 6067545 h 8575811"/>
              <a:gd name="connsiteX1520" fmla="*/ 1660365 w 8537122"/>
              <a:gd name="connsiteY1520" fmla="*/ 6068784 h 8575811"/>
              <a:gd name="connsiteX1521" fmla="*/ 1659130 w 8537122"/>
              <a:gd name="connsiteY1521" fmla="*/ 6065635 h 8575811"/>
              <a:gd name="connsiteX1522" fmla="*/ 1651033 w 8537122"/>
              <a:gd name="connsiteY1522" fmla="*/ 6054276 h 8575811"/>
              <a:gd name="connsiteX1523" fmla="*/ 1652955 w 8537122"/>
              <a:gd name="connsiteY1523" fmla="*/ 6049889 h 8575811"/>
              <a:gd name="connsiteX1524" fmla="*/ 1663662 w 8537122"/>
              <a:gd name="connsiteY1524" fmla="*/ 6049323 h 8575811"/>
              <a:gd name="connsiteX1525" fmla="*/ 1662427 w 8537122"/>
              <a:gd name="connsiteY1525" fmla="*/ 6046174 h 8575811"/>
              <a:gd name="connsiteX1526" fmla="*/ 1639918 w 8537122"/>
              <a:gd name="connsiteY1526" fmla="*/ 6025936 h 8575811"/>
              <a:gd name="connsiteX1527" fmla="*/ 1596401 w 8537122"/>
              <a:gd name="connsiteY1527" fmla="*/ 6035736 h 8575811"/>
              <a:gd name="connsiteX1528" fmla="*/ 1581988 w 8537122"/>
              <a:gd name="connsiteY1528" fmla="*/ 6026854 h 8575811"/>
              <a:gd name="connsiteX1529" fmla="*/ 1578283 w 8537122"/>
              <a:gd name="connsiteY1529" fmla="*/ 6017407 h 8575811"/>
              <a:gd name="connsiteX1530" fmla="*/ 1568811 w 8537122"/>
              <a:gd name="connsiteY1530" fmla="*/ 6021122 h 8575811"/>
              <a:gd name="connsiteX1531" fmla="*/ 1554398 w 8537122"/>
              <a:gd name="connsiteY1531" fmla="*/ 6012241 h 8575811"/>
              <a:gd name="connsiteX1532" fmla="*/ 1536829 w 8537122"/>
              <a:gd name="connsiteY1532" fmla="*/ 6004598 h 8575811"/>
              <a:gd name="connsiteX1533" fmla="*/ 1531201 w 8537122"/>
              <a:gd name="connsiteY1533" fmla="*/ 5999538 h 8575811"/>
              <a:gd name="connsiteX1534" fmla="*/ 1518024 w 8537122"/>
              <a:gd name="connsiteY1534" fmla="*/ 5993806 h 8575811"/>
              <a:gd name="connsiteX1535" fmla="*/ 1506769 w 8537122"/>
              <a:gd name="connsiteY1535" fmla="*/ 5983687 h 8575811"/>
              <a:gd name="connsiteX1536" fmla="*/ 1505534 w 8537122"/>
              <a:gd name="connsiteY1536" fmla="*/ 5980538 h 8575811"/>
              <a:gd name="connsiteX1537" fmla="*/ 1504986 w 8537122"/>
              <a:gd name="connsiteY1537" fmla="*/ 5969852 h 8575811"/>
              <a:gd name="connsiteX1538" fmla="*/ 1508831 w 8537122"/>
              <a:gd name="connsiteY1538" fmla="*/ 5961077 h 8575811"/>
              <a:gd name="connsiteX1539" fmla="*/ 1488792 w 8537122"/>
              <a:gd name="connsiteY1539" fmla="*/ 5947137 h 8575811"/>
              <a:gd name="connsiteX1540" fmla="*/ 1480554 w 8537122"/>
              <a:gd name="connsiteY1540" fmla="*/ 5954001 h 8575811"/>
              <a:gd name="connsiteX1541" fmla="*/ 1470394 w 8537122"/>
              <a:gd name="connsiteY1541" fmla="*/ 5965252 h 8575811"/>
              <a:gd name="connsiteX1542" fmla="*/ 1459687 w 8537122"/>
              <a:gd name="connsiteY1542" fmla="*/ 5965818 h 8575811"/>
              <a:gd name="connsiteX1543" fmla="*/ 1452824 w 8537122"/>
              <a:gd name="connsiteY1543" fmla="*/ 5957609 h 8575811"/>
              <a:gd name="connsiteX1544" fmla="*/ 1442257 w 8537122"/>
              <a:gd name="connsiteY1544" fmla="*/ 5939953 h 8575811"/>
              <a:gd name="connsiteX1545" fmla="*/ 1440474 w 8537122"/>
              <a:gd name="connsiteY1545" fmla="*/ 5926119 h 8575811"/>
              <a:gd name="connsiteX1546" fmla="*/ 1424139 w 8537122"/>
              <a:gd name="connsiteY1546" fmla="*/ 5921625 h 8575811"/>
              <a:gd name="connsiteX1547" fmla="*/ 1350563 w 8537122"/>
              <a:gd name="connsiteY1547" fmla="*/ 5910513 h 8575811"/>
              <a:gd name="connsiteX1548" fmla="*/ 1333680 w 8537122"/>
              <a:gd name="connsiteY1548" fmla="*/ 5895334 h 8575811"/>
              <a:gd name="connsiteX1549" fmla="*/ 1308560 w 8537122"/>
              <a:gd name="connsiteY1549" fmla="*/ 5887019 h 8575811"/>
              <a:gd name="connsiteX1550" fmla="*/ 1244596 w 8537122"/>
              <a:gd name="connsiteY1550" fmla="*/ 5853971 h 8575811"/>
              <a:gd name="connsiteX1551" fmla="*/ 1231418 w 8537122"/>
              <a:gd name="connsiteY1551" fmla="*/ 5848238 h 8575811"/>
              <a:gd name="connsiteX1552" fmla="*/ 1210144 w 8537122"/>
              <a:gd name="connsiteY1552" fmla="*/ 5831148 h 8575811"/>
              <a:gd name="connsiteX1553" fmla="*/ 1166219 w 8537122"/>
              <a:gd name="connsiteY1553" fmla="*/ 5812041 h 8575811"/>
              <a:gd name="connsiteX1554" fmla="*/ 1153042 w 8537122"/>
              <a:gd name="connsiteY1554" fmla="*/ 5806309 h 8575811"/>
              <a:gd name="connsiteX1555" fmla="*/ 1133002 w 8537122"/>
              <a:gd name="connsiteY1555" fmla="*/ 5792368 h 8575811"/>
              <a:gd name="connsiteX1556" fmla="*/ 1122294 w 8537122"/>
              <a:gd name="connsiteY1556" fmla="*/ 5792934 h 8575811"/>
              <a:gd name="connsiteX1557" fmla="*/ 1115432 w 8537122"/>
              <a:gd name="connsiteY1557" fmla="*/ 5784725 h 8575811"/>
              <a:gd name="connsiteX1558" fmla="*/ 1057375 w 8537122"/>
              <a:gd name="connsiteY1558" fmla="*/ 5720293 h 8575811"/>
              <a:gd name="connsiteX1559" fmla="*/ 1063550 w 8537122"/>
              <a:gd name="connsiteY1559" fmla="*/ 5736038 h 8575811"/>
              <a:gd name="connsiteX1560" fmla="*/ 1098550 w 8537122"/>
              <a:gd name="connsiteY1560" fmla="*/ 5769545 h 8575811"/>
              <a:gd name="connsiteX1561" fmla="*/ 1095392 w 8537122"/>
              <a:gd name="connsiteY1561" fmla="*/ 5770784 h 8575811"/>
              <a:gd name="connsiteX1562" fmla="*/ 1062722 w 8537122"/>
              <a:gd name="connsiteY1562" fmla="*/ 5761796 h 8575811"/>
              <a:gd name="connsiteX1563" fmla="*/ 1050780 w 8537122"/>
              <a:gd name="connsiteY1563" fmla="*/ 5759213 h 8575811"/>
              <a:gd name="connsiteX1564" fmla="*/ 1013170 w 8537122"/>
              <a:gd name="connsiteY1564" fmla="*/ 5737629 h 8575811"/>
              <a:gd name="connsiteX1565" fmla="*/ 1011935 w 8537122"/>
              <a:gd name="connsiteY1565" fmla="*/ 5734480 h 8575811"/>
              <a:gd name="connsiteX1566" fmla="*/ 1009465 w 8537122"/>
              <a:gd name="connsiteY1566" fmla="*/ 5728182 h 8575811"/>
              <a:gd name="connsiteX1567" fmla="*/ 999993 w 8537122"/>
              <a:gd name="connsiteY1567" fmla="*/ 5731897 h 8575811"/>
              <a:gd name="connsiteX1568" fmla="*/ 985581 w 8537122"/>
              <a:gd name="connsiteY1568" fmla="*/ 5723016 h 8575811"/>
              <a:gd name="connsiteX1569" fmla="*/ 971168 w 8537122"/>
              <a:gd name="connsiteY1569" fmla="*/ 5714135 h 8575811"/>
              <a:gd name="connsiteX1570" fmla="*/ 957990 w 8537122"/>
              <a:gd name="connsiteY1570" fmla="*/ 5708403 h 8575811"/>
              <a:gd name="connsiteX1571" fmla="*/ 941655 w 8537122"/>
              <a:gd name="connsiteY1571" fmla="*/ 5703909 h 8575811"/>
              <a:gd name="connsiteX1572" fmla="*/ 921615 w 8537122"/>
              <a:gd name="connsiteY1572" fmla="*/ 5689968 h 8575811"/>
              <a:gd name="connsiteX1573" fmla="*/ 907204 w 8537122"/>
              <a:gd name="connsiteY1573" fmla="*/ 5681087 h 8575811"/>
              <a:gd name="connsiteX1574" fmla="*/ 863278 w 8537122"/>
              <a:gd name="connsiteY1574" fmla="*/ 5661979 h 8575811"/>
              <a:gd name="connsiteX1575" fmla="*/ 859574 w 8537122"/>
              <a:gd name="connsiteY1575" fmla="*/ 5652532 h 8575811"/>
              <a:gd name="connsiteX1576" fmla="*/ 853259 w 8537122"/>
              <a:gd name="connsiteY1576" fmla="*/ 5655009 h 8575811"/>
              <a:gd name="connsiteX1577" fmla="*/ 846944 w 8537122"/>
              <a:gd name="connsiteY1577" fmla="*/ 5657486 h 8575811"/>
              <a:gd name="connsiteX1578" fmla="*/ 832532 w 8537122"/>
              <a:gd name="connsiteY1578" fmla="*/ 5648605 h 8575811"/>
              <a:gd name="connsiteX1579" fmla="*/ 819354 w 8537122"/>
              <a:gd name="connsiteY1579" fmla="*/ 5642872 h 8575811"/>
              <a:gd name="connsiteX1580" fmla="*/ 818119 w 8537122"/>
              <a:gd name="connsiteY1580" fmla="*/ 5639723 h 8575811"/>
              <a:gd name="connsiteX1581" fmla="*/ 815649 w 8537122"/>
              <a:gd name="connsiteY1581" fmla="*/ 5633425 h 8575811"/>
              <a:gd name="connsiteX1582" fmla="*/ 804941 w 8537122"/>
              <a:gd name="connsiteY1582" fmla="*/ 5633991 h 8575811"/>
              <a:gd name="connsiteX1583" fmla="*/ 798079 w 8537122"/>
              <a:gd name="connsiteY1583" fmla="*/ 5625782 h 8575811"/>
              <a:gd name="connsiteX1584" fmla="*/ 791764 w 8537122"/>
              <a:gd name="connsiteY1584" fmla="*/ 5628259 h 8575811"/>
              <a:gd name="connsiteX1585" fmla="*/ 780509 w 8537122"/>
              <a:gd name="connsiteY1585" fmla="*/ 5618140 h 8575811"/>
              <a:gd name="connsiteX1586" fmla="*/ 771725 w 8537122"/>
              <a:gd name="connsiteY1586" fmla="*/ 5614318 h 8575811"/>
              <a:gd name="connsiteX1587" fmla="*/ 755390 w 8537122"/>
              <a:gd name="connsiteY1587" fmla="*/ 5609824 h 8575811"/>
              <a:gd name="connsiteX1588" fmla="*/ 740977 w 8537122"/>
              <a:gd name="connsiteY1588" fmla="*/ 5600943 h 8575811"/>
              <a:gd name="connsiteX1589" fmla="*/ 730957 w 8537122"/>
              <a:gd name="connsiteY1589" fmla="*/ 5593973 h 8575811"/>
              <a:gd name="connsiteX1590" fmla="*/ 726564 w 8537122"/>
              <a:gd name="connsiteY1590" fmla="*/ 5592062 h 8575811"/>
              <a:gd name="connsiteX1591" fmla="*/ 720937 w 8537122"/>
              <a:gd name="connsiteY1591" fmla="*/ 5587002 h 8575811"/>
              <a:gd name="connsiteX1592" fmla="*/ 698975 w 8537122"/>
              <a:gd name="connsiteY1592" fmla="*/ 5577448 h 8575811"/>
              <a:gd name="connsiteX1593" fmla="*/ 682640 w 8537122"/>
              <a:gd name="connsiteY1593" fmla="*/ 5572955 h 8575811"/>
              <a:gd name="connsiteX1594" fmla="*/ 635011 w 8537122"/>
              <a:gd name="connsiteY1594" fmla="*/ 5544400 h 8575811"/>
              <a:gd name="connsiteX1595" fmla="*/ 604263 w 8537122"/>
              <a:gd name="connsiteY1595" fmla="*/ 5531025 h 8575811"/>
              <a:gd name="connsiteX1596" fmla="*/ 591086 w 8537122"/>
              <a:gd name="connsiteY1596" fmla="*/ 5525293 h 8575811"/>
              <a:gd name="connsiteX1597" fmla="*/ 505846 w 8537122"/>
              <a:gd name="connsiteY1597" fmla="*/ 5475155 h 8575811"/>
              <a:gd name="connsiteX1598" fmla="*/ 510379 w 8537122"/>
              <a:gd name="connsiteY1598" fmla="*/ 5458844 h 8575811"/>
              <a:gd name="connsiteX1599" fmla="*/ 502969 w 8537122"/>
              <a:gd name="connsiteY1599" fmla="*/ 5439949 h 8575811"/>
              <a:gd name="connsiteX1600" fmla="*/ 464671 w 8537122"/>
              <a:gd name="connsiteY1600" fmla="*/ 5425902 h 8575811"/>
              <a:gd name="connsiteX1601" fmla="*/ 447509 w 8537122"/>
              <a:gd name="connsiteY1601" fmla="*/ 5447166 h 8575811"/>
              <a:gd name="connsiteX1602" fmla="*/ 387250 w 8537122"/>
              <a:gd name="connsiteY1602" fmla="*/ 5423565 h 8575811"/>
              <a:gd name="connsiteX1603" fmla="*/ 372838 w 8537122"/>
              <a:gd name="connsiteY1603" fmla="*/ 5414684 h 8575811"/>
              <a:gd name="connsiteX1604" fmla="*/ 359660 w 8537122"/>
              <a:gd name="connsiteY1604" fmla="*/ 5408952 h 8575811"/>
              <a:gd name="connsiteX1605" fmla="*/ 345247 w 8537122"/>
              <a:gd name="connsiteY1605" fmla="*/ 5400071 h 8575811"/>
              <a:gd name="connsiteX1606" fmla="*/ 328913 w 8537122"/>
              <a:gd name="connsiteY1606" fmla="*/ 5395577 h 8575811"/>
              <a:gd name="connsiteX1607" fmla="*/ 314500 w 8537122"/>
              <a:gd name="connsiteY1607" fmla="*/ 5386696 h 8575811"/>
              <a:gd name="connsiteX1608" fmla="*/ 303933 w 8537122"/>
              <a:gd name="connsiteY1608" fmla="*/ 5369040 h 8575811"/>
              <a:gd name="connsiteX1609" fmla="*/ 290755 w 8537122"/>
              <a:gd name="connsiteY1609" fmla="*/ 5363308 h 8575811"/>
              <a:gd name="connsiteX1610" fmla="*/ 270576 w 8537122"/>
              <a:gd name="connsiteY1610" fmla="*/ 5367588 h 8575811"/>
              <a:gd name="connsiteX1611" fmla="*/ 237358 w 8537122"/>
              <a:gd name="connsiteY1611" fmla="*/ 5347915 h 8575811"/>
              <a:gd name="connsiteX1612" fmla="*/ 231323 w 8537122"/>
              <a:gd name="connsiteY1612" fmla="*/ 5313948 h 8575811"/>
              <a:gd name="connsiteX1613" fmla="*/ 205376 w 8537122"/>
              <a:gd name="connsiteY1613" fmla="*/ 5331391 h 8575811"/>
              <a:gd name="connsiteX1614" fmla="*/ 175864 w 8537122"/>
              <a:gd name="connsiteY1614" fmla="*/ 5321165 h 8575811"/>
              <a:gd name="connsiteX1615" fmla="*/ 157747 w 8537122"/>
              <a:gd name="connsiteY1615" fmla="*/ 5302837 h 8575811"/>
              <a:gd name="connsiteX1616" fmla="*/ 128234 w 8537122"/>
              <a:gd name="connsiteY1616" fmla="*/ 5292611 h 8575811"/>
              <a:gd name="connsiteX1617" fmla="*/ 76492 w 8537122"/>
              <a:gd name="connsiteY1617" fmla="*/ 5225702 h 8575811"/>
              <a:gd name="connsiteX1618" fmla="*/ 64549 w 8537122"/>
              <a:gd name="connsiteY1618" fmla="*/ 5223119 h 8575811"/>
              <a:gd name="connsiteX1619" fmla="*/ 52607 w 8537122"/>
              <a:gd name="connsiteY1619" fmla="*/ 5220536 h 8575811"/>
              <a:gd name="connsiteX1620" fmla="*/ 49450 w 8537122"/>
              <a:gd name="connsiteY1620" fmla="*/ 5221774 h 8575811"/>
              <a:gd name="connsiteX1621" fmla="*/ 38055 w 8537122"/>
              <a:gd name="connsiteY1621" fmla="*/ 5229877 h 8575811"/>
              <a:gd name="connsiteX1622" fmla="*/ 39150 w 8537122"/>
              <a:gd name="connsiteY1622" fmla="*/ 5251247 h 8575811"/>
              <a:gd name="connsiteX1623" fmla="*/ 40385 w 8537122"/>
              <a:gd name="connsiteY1623" fmla="*/ 5254396 h 8575811"/>
              <a:gd name="connsiteX1624" fmla="*/ 29677 w 8537122"/>
              <a:gd name="connsiteY1624" fmla="*/ 5254962 h 8575811"/>
              <a:gd name="connsiteX1625" fmla="*/ 445 w 8537122"/>
              <a:gd name="connsiteY1625" fmla="*/ 5208293 h 8575811"/>
              <a:gd name="connsiteX1626" fmla="*/ 22548 w 8537122"/>
              <a:gd name="connsiteY1626" fmla="*/ 5199625 h 8575811"/>
              <a:gd name="connsiteX1627" fmla="*/ 28862 w 8537122"/>
              <a:gd name="connsiteY1627" fmla="*/ 5197148 h 8575811"/>
              <a:gd name="connsiteX1628" fmla="*/ 47808 w 8537122"/>
              <a:gd name="connsiteY1628" fmla="*/ 5189718 h 8575811"/>
              <a:gd name="connsiteX1629" fmla="*/ 50965 w 8537122"/>
              <a:gd name="connsiteY1629" fmla="*/ 5188480 h 8575811"/>
              <a:gd name="connsiteX1630" fmla="*/ 52199 w 8537122"/>
              <a:gd name="connsiteY1630" fmla="*/ 5191629 h 8575811"/>
              <a:gd name="connsiteX1631" fmla="*/ 67847 w 8537122"/>
              <a:gd name="connsiteY1631" fmla="*/ 5203659 h 8575811"/>
              <a:gd name="connsiteX1632" fmla="*/ 69082 w 8537122"/>
              <a:gd name="connsiteY1632" fmla="*/ 5206808 h 8575811"/>
              <a:gd name="connsiteX1633" fmla="*/ 106972 w 8537122"/>
              <a:gd name="connsiteY1633" fmla="*/ 5191949 h 8575811"/>
              <a:gd name="connsiteX1634" fmla="*/ 50965 w 8537122"/>
              <a:gd name="connsiteY1634" fmla="*/ 5188480 h 8575811"/>
              <a:gd name="connsiteX1635" fmla="*/ 46024 w 8537122"/>
              <a:gd name="connsiteY1635" fmla="*/ 5175884 h 8575811"/>
              <a:gd name="connsiteX1636" fmla="*/ 22013 w 8537122"/>
              <a:gd name="connsiteY1636" fmla="*/ 5105367 h 8575811"/>
              <a:gd name="connsiteX1637" fmla="*/ 31078 w 8537122"/>
              <a:gd name="connsiteY1637" fmla="*/ 5072745 h 8575811"/>
              <a:gd name="connsiteX1638" fmla="*/ 10770 w 8537122"/>
              <a:gd name="connsiteY1638" fmla="*/ 5011675 h 8575811"/>
              <a:gd name="connsiteX1639" fmla="*/ 14067 w 8537122"/>
              <a:gd name="connsiteY1639" fmla="*/ 4992215 h 8575811"/>
              <a:gd name="connsiteX1640" fmla="*/ 12832 w 8537122"/>
              <a:gd name="connsiteY1640" fmla="*/ 4989066 h 8575811"/>
              <a:gd name="connsiteX1641" fmla="*/ 12425 w 8537122"/>
              <a:gd name="connsiteY1641" fmla="*/ 4960159 h 8575811"/>
              <a:gd name="connsiteX1642" fmla="*/ 4608 w 8537122"/>
              <a:gd name="connsiteY1642" fmla="*/ 4912357 h 8575811"/>
              <a:gd name="connsiteX1643" fmla="*/ 9827 w 8537122"/>
              <a:gd name="connsiteY1643" fmla="*/ 4888510 h 8575811"/>
              <a:gd name="connsiteX1644" fmla="*/ 18065 w 8537122"/>
              <a:gd name="connsiteY1644" fmla="*/ 4881646 h 8575811"/>
              <a:gd name="connsiteX1645" fmla="*/ 34412 w 8537122"/>
              <a:gd name="connsiteY1645" fmla="*/ 4802568 h 8575811"/>
              <a:gd name="connsiteX1646" fmla="*/ 126386 w 8537122"/>
              <a:gd name="connsiteY1646" fmla="*/ 4795564 h 8575811"/>
              <a:gd name="connsiteX1647" fmla="*/ 216298 w 8537122"/>
              <a:gd name="connsiteY1647" fmla="*/ 4811169 h 8575811"/>
              <a:gd name="connsiteX1648" fmla="*/ 298660 w 8537122"/>
              <a:gd name="connsiteY1648" fmla="*/ 4826102 h 8575811"/>
              <a:gd name="connsiteX1649" fmla="*/ 328173 w 8537122"/>
              <a:gd name="connsiteY1649" fmla="*/ 4836328 h 8575811"/>
              <a:gd name="connsiteX1650" fmla="*/ 358920 w 8537122"/>
              <a:gd name="connsiteY1650" fmla="*/ 4849703 h 8575811"/>
              <a:gd name="connsiteX1651" fmla="*/ 384727 w 8537122"/>
              <a:gd name="connsiteY1651" fmla="*/ 4850482 h 8575811"/>
              <a:gd name="connsiteX1652" fmla="*/ 451302 w 8537122"/>
              <a:gd name="connsiteY1652" fmla="*/ 4871607 h 8575811"/>
              <a:gd name="connsiteX1653" fmla="*/ 467637 w 8537122"/>
              <a:gd name="connsiteY1653" fmla="*/ 4876101 h 8575811"/>
              <a:gd name="connsiteX1654" fmla="*/ 592001 w 8537122"/>
              <a:gd name="connsiteY1654" fmla="*/ 4914528 h 8575811"/>
              <a:gd name="connsiteX1655" fmla="*/ 756585 w 8537122"/>
              <a:gd name="connsiteY1655" fmla="*/ 4962616 h 8575811"/>
              <a:gd name="connsiteX1656" fmla="*/ 729274 w 8537122"/>
              <a:gd name="connsiteY1656" fmla="*/ 4911559 h 8575811"/>
              <a:gd name="connsiteX1657" fmla="*/ 729554 w 8537122"/>
              <a:gd name="connsiteY1657" fmla="*/ 4875116 h 8575811"/>
              <a:gd name="connsiteX1658" fmla="*/ 720222 w 8537122"/>
              <a:gd name="connsiteY1658" fmla="*/ 4860609 h 8575811"/>
              <a:gd name="connsiteX1659" fmla="*/ 714047 w 8537122"/>
              <a:gd name="connsiteY1659" fmla="*/ 4844864 h 8575811"/>
              <a:gd name="connsiteX1660" fmla="*/ 718032 w 8537122"/>
              <a:gd name="connsiteY1660" fmla="*/ 4817867 h 8575811"/>
              <a:gd name="connsiteX1661" fmla="*/ 728332 w 8537122"/>
              <a:gd name="connsiteY1661" fmla="*/ 4788394 h 8575811"/>
              <a:gd name="connsiteX1662" fmla="*/ 728612 w 8537122"/>
              <a:gd name="connsiteY1662" fmla="*/ 4751951 h 8575811"/>
              <a:gd name="connsiteX1663" fmla="*/ 727377 w 8537122"/>
              <a:gd name="connsiteY1663" fmla="*/ 4748802 h 8575811"/>
              <a:gd name="connsiteX1664" fmla="*/ 716810 w 8537122"/>
              <a:gd name="connsiteY1664" fmla="*/ 4731146 h 8575811"/>
              <a:gd name="connsiteX1665" fmla="*/ 722310 w 8537122"/>
              <a:gd name="connsiteY1665" fmla="*/ 4670855 h 8575811"/>
              <a:gd name="connsiteX1666" fmla="*/ 724232 w 8537122"/>
              <a:gd name="connsiteY1666" fmla="*/ 4666468 h 8575811"/>
              <a:gd name="connsiteX1667" fmla="*/ 723684 w 8537122"/>
              <a:gd name="connsiteY1667" fmla="*/ 4655782 h 8575811"/>
              <a:gd name="connsiteX1668" fmla="*/ 718745 w 8537122"/>
              <a:gd name="connsiteY1668" fmla="*/ 4643186 h 8575811"/>
              <a:gd name="connsiteX1669" fmla="*/ 725060 w 8537122"/>
              <a:gd name="connsiteY1669" fmla="*/ 4640710 h 8575811"/>
              <a:gd name="connsiteX1670" fmla="*/ 728217 w 8537122"/>
              <a:gd name="connsiteY1670" fmla="*/ 4639471 h 8575811"/>
              <a:gd name="connsiteX1671" fmla="*/ 745519 w 8537122"/>
              <a:gd name="connsiteY1671" fmla="*/ 4599985 h 8575811"/>
              <a:gd name="connsiteX1672" fmla="*/ 807702 w 8537122"/>
              <a:gd name="connsiteY1672" fmla="*/ 4619199 h 8575811"/>
              <a:gd name="connsiteX1673" fmla="*/ 812094 w 8537122"/>
              <a:gd name="connsiteY1673" fmla="*/ 4621110 h 8575811"/>
              <a:gd name="connsiteX1674" fmla="*/ 825272 w 8537122"/>
              <a:gd name="connsiteY1674" fmla="*/ 4626842 h 8575811"/>
              <a:gd name="connsiteX1675" fmla="*/ 849156 w 8537122"/>
              <a:gd name="connsiteY1675" fmla="*/ 4632008 h 8575811"/>
              <a:gd name="connsiteX1676" fmla="*/ 888141 w 8537122"/>
              <a:gd name="connsiteY1676" fmla="*/ 4638519 h 8575811"/>
              <a:gd name="connsiteX1677" fmla="*/ 891299 w 8537122"/>
              <a:gd name="connsiteY1677" fmla="*/ 4637281 h 8575811"/>
              <a:gd name="connsiteX1678" fmla="*/ 986698 w 8537122"/>
              <a:gd name="connsiteY1678" fmla="*/ 4676168 h 8575811"/>
              <a:gd name="connsiteX1679" fmla="*/ 1003033 w 8537122"/>
              <a:gd name="connsiteY1679" fmla="*/ 4680662 h 8575811"/>
              <a:gd name="connsiteX1680" fmla="*/ 1043253 w 8537122"/>
              <a:gd name="connsiteY1680" fmla="*/ 4690322 h 8575811"/>
              <a:gd name="connsiteX1681" fmla="*/ 1074547 w 8537122"/>
              <a:gd name="connsiteY1681" fmla="*/ 4714382 h 8575811"/>
              <a:gd name="connsiteX1682" fmla="*/ 1092117 w 8537122"/>
              <a:gd name="connsiteY1682" fmla="*/ 4722025 h 8575811"/>
              <a:gd name="connsiteX1683" fmla="*/ 1122865 w 8537122"/>
              <a:gd name="connsiteY1683" fmla="*/ 4735400 h 8575811"/>
              <a:gd name="connsiteX1684" fmla="*/ 1318603 w 8537122"/>
              <a:gd name="connsiteY1684" fmla="*/ 4825770 h 8575811"/>
              <a:gd name="connsiteX1685" fmla="*/ 1507479 w 8537122"/>
              <a:gd name="connsiteY1685" fmla="*/ 4907931 h 8575811"/>
              <a:gd name="connsiteX1686" fmla="*/ 1750300 w 8537122"/>
              <a:gd name="connsiteY1686" fmla="*/ 5016170 h 8575811"/>
              <a:gd name="connsiteX1687" fmla="*/ 1800399 w 8537122"/>
              <a:gd name="connsiteY1687" fmla="*/ 5051022 h 8575811"/>
              <a:gd name="connsiteX1688" fmla="*/ 1795319 w 8537122"/>
              <a:gd name="connsiteY1688" fmla="*/ 5056648 h 8575811"/>
              <a:gd name="connsiteX1689" fmla="*/ 1799712 w 8537122"/>
              <a:gd name="connsiteY1689" fmla="*/ 5058559 h 8575811"/>
              <a:gd name="connsiteX1690" fmla="*/ 1800399 w 8537122"/>
              <a:gd name="connsiteY1690" fmla="*/ 5051022 h 8575811"/>
              <a:gd name="connsiteX1691" fmla="*/ 1803557 w 8537122"/>
              <a:gd name="connsiteY1691" fmla="*/ 5049784 h 8575811"/>
              <a:gd name="connsiteX1692" fmla="*/ 1862581 w 8537122"/>
              <a:gd name="connsiteY1692" fmla="*/ 5070236 h 8575811"/>
              <a:gd name="connsiteX1693" fmla="*/ 1900191 w 8537122"/>
              <a:gd name="connsiteY1693" fmla="*/ 5091820 h 8575811"/>
              <a:gd name="connsiteX1694" fmla="*/ 2071497 w 8537122"/>
              <a:gd name="connsiteY1694" fmla="*/ 5166338 h 8575811"/>
              <a:gd name="connsiteX1695" fmla="*/ 2255293 w 8537122"/>
              <a:gd name="connsiteY1695" fmla="*/ 5254125 h 8575811"/>
              <a:gd name="connsiteX1696" fmla="*/ 2513761 w 8537122"/>
              <a:gd name="connsiteY1696" fmla="*/ 5374394 h 8575811"/>
              <a:gd name="connsiteX1697" fmla="*/ 2604081 w 8537122"/>
              <a:gd name="connsiteY1697" fmla="*/ 5418906 h 8575811"/>
              <a:gd name="connsiteX1698" fmla="*/ 2691930 w 8537122"/>
              <a:gd name="connsiteY1698" fmla="*/ 5457121 h 8575811"/>
              <a:gd name="connsiteX1699" fmla="*/ 2701950 w 8537122"/>
              <a:gd name="connsiteY1699" fmla="*/ 5464091 h 8575811"/>
              <a:gd name="connsiteX1700" fmla="*/ 2860626 w 8537122"/>
              <a:gd name="connsiteY1700" fmla="*/ 5543563 h 8575811"/>
              <a:gd name="connsiteX1701" fmla="*/ 3110310 w 8537122"/>
              <a:gd name="connsiteY1701" fmla="*/ 5660010 h 8575811"/>
              <a:gd name="connsiteX1702" fmla="*/ 3191296 w 8537122"/>
              <a:gd name="connsiteY1702" fmla="*/ 5690016 h 8575811"/>
              <a:gd name="connsiteX1703" fmla="*/ 3324853 w 8537122"/>
              <a:gd name="connsiteY1703" fmla="*/ 5761172 h 8575811"/>
              <a:gd name="connsiteX1704" fmla="*/ 3395132 w 8537122"/>
              <a:gd name="connsiteY1704" fmla="*/ 5791744 h 8575811"/>
              <a:gd name="connsiteX1705" fmla="*/ 3610911 w 8537122"/>
              <a:gd name="connsiteY1705" fmla="*/ 5896054 h 8575811"/>
              <a:gd name="connsiteX1706" fmla="*/ 3627246 w 8537122"/>
              <a:gd name="connsiteY1706" fmla="*/ 5900548 h 8575811"/>
              <a:gd name="connsiteX1707" fmla="*/ 3638501 w 8537122"/>
              <a:gd name="connsiteY1707" fmla="*/ 5910668 h 8575811"/>
              <a:gd name="connsiteX1708" fmla="*/ 3640423 w 8537122"/>
              <a:gd name="connsiteY1708" fmla="*/ 5906280 h 8575811"/>
              <a:gd name="connsiteX1709" fmla="*/ 3641658 w 8537122"/>
              <a:gd name="connsiteY1709" fmla="*/ 5909429 h 8575811"/>
              <a:gd name="connsiteX1710" fmla="*/ 3654835 w 8537122"/>
              <a:gd name="connsiteY1710" fmla="*/ 5915161 h 8575811"/>
              <a:gd name="connsiteX1711" fmla="*/ 3674875 w 8537122"/>
              <a:gd name="connsiteY1711" fmla="*/ 5929103 h 8575811"/>
              <a:gd name="connsiteX1712" fmla="*/ 3691210 w 8537122"/>
              <a:gd name="connsiteY1712" fmla="*/ 5933596 h 8575811"/>
              <a:gd name="connsiteX1713" fmla="*/ 3705622 w 8537122"/>
              <a:gd name="connsiteY1713" fmla="*/ 5942477 h 8575811"/>
              <a:gd name="connsiteX1714" fmla="*/ 3760802 w 8537122"/>
              <a:gd name="connsiteY1714" fmla="*/ 5971705 h 8575811"/>
              <a:gd name="connsiteX1715" fmla="*/ 3800334 w 8537122"/>
              <a:gd name="connsiteY1715" fmla="*/ 5988901 h 8575811"/>
              <a:gd name="connsiteX1716" fmla="*/ 3854966 w 8537122"/>
              <a:gd name="connsiteY1716" fmla="*/ 6007442 h 8575811"/>
              <a:gd name="connsiteX1717" fmla="*/ 3885026 w 8537122"/>
              <a:gd name="connsiteY1717" fmla="*/ 6028354 h 8575811"/>
              <a:gd name="connsiteX1718" fmla="*/ 3889419 w 8537122"/>
              <a:gd name="connsiteY1718" fmla="*/ 6030264 h 8575811"/>
              <a:gd name="connsiteX1719" fmla="*/ 3894498 w 8537122"/>
              <a:gd name="connsiteY1719" fmla="*/ 6024639 h 8575811"/>
              <a:gd name="connsiteX1720" fmla="*/ 3886542 w 8537122"/>
              <a:gd name="connsiteY1720" fmla="*/ 5995059 h 8575811"/>
              <a:gd name="connsiteX1721" fmla="*/ 3885307 w 8537122"/>
              <a:gd name="connsiteY1721" fmla="*/ 5991910 h 8575811"/>
              <a:gd name="connsiteX1722" fmla="*/ 3884732 w 8537122"/>
              <a:gd name="connsiteY1722" fmla="*/ 5991859 h 8575811"/>
              <a:gd name="connsiteX1723" fmla="*/ 3878001 w 8537122"/>
              <a:gd name="connsiteY1723" fmla="*/ 5979958 h 8575811"/>
              <a:gd name="connsiteX1724" fmla="*/ 3842616 w 8537122"/>
              <a:gd name="connsiteY1724" fmla="*/ 5975952 h 8575811"/>
              <a:gd name="connsiteX1725" fmla="*/ 3843851 w 8537122"/>
              <a:gd name="connsiteY1725" fmla="*/ 5979101 h 8575811"/>
              <a:gd name="connsiteX1726" fmla="*/ 3845086 w 8537122"/>
              <a:gd name="connsiteY1726" fmla="*/ 5982250 h 8575811"/>
              <a:gd name="connsiteX1727" fmla="*/ 3846321 w 8537122"/>
              <a:gd name="connsiteY1727" fmla="*/ 5985399 h 8575811"/>
              <a:gd name="connsiteX1728" fmla="*/ 3850714 w 8537122"/>
              <a:gd name="connsiteY1728" fmla="*/ 5987310 h 8575811"/>
              <a:gd name="connsiteX1729" fmla="*/ 3862656 w 8537122"/>
              <a:gd name="connsiteY1729" fmla="*/ 5989893 h 8575811"/>
              <a:gd name="connsiteX1730" fmla="*/ 3884732 w 8537122"/>
              <a:gd name="connsiteY1730" fmla="*/ 5991859 h 8575811"/>
              <a:gd name="connsiteX1731" fmla="*/ 3886542 w 8537122"/>
              <a:gd name="connsiteY1731" fmla="*/ 5995059 h 8575811"/>
              <a:gd name="connsiteX1732" fmla="*/ 3882148 w 8537122"/>
              <a:gd name="connsiteY1732" fmla="*/ 5993148 h 8575811"/>
              <a:gd name="connsiteX1733" fmla="*/ 3881461 w 8537122"/>
              <a:gd name="connsiteY1733" fmla="*/ 6000685 h 8575811"/>
              <a:gd name="connsiteX1734" fmla="*/ 3865674 w 8537122"/>
              <a:gd name="connsiteY1734" fmla="*/ 6006876 h 8575811"/>
              <a:gd name="connsiteX1735" fmla="*/ 3854966 w 8537122"/>
              <a:gd name="connsiteY1735" fmla="*/ 6007442 h 8575811"/>
              <a:gd name="connsiteX1736" fmla="*/ 3850574 w 8537122"/>
              <a:gd name="connsiteY1736" fmla="*/ 6005531 h 8575811"/>
              <a:gd name="connsiteX1737" fmla="*/ 3848104 w 8537122"/>
              <a:gd name="connsiteY1737" fmla="*/ 5999233 h 8575811"/>
              <a:gd name="connsiteX1738" fmla="*/ 3843164 w 8537122"/>
              <a:gd name="connsiteY1738" fmla="*/ 5986637 h 8575811"/>
              <a:gd name="connsiteX1739" fmla="*/ 3833144 w 8537122"/>
              <a:gd name="connsiteY1739" fmla="*/ 5979667 h 8575811"/>
              <a:gd name="connsiteX1740" fmla="*/ 3839459 w 8537122"/>
              <a:gd name="connsiteY1740" fmla="*/ 5977190 h 8575811"/>
              <a:gd name="connsiteX1741" fmla="*/ 3838224 w 8537122"/>
              <a:gd name="connsiteY1741" fmla="*/ 5974041 h 8575811"/>
              <a:gd name="connsiteX1742" fmla="*/ 3815574 w 8537122"/>
              <a:gd name="connsiteY1742" fmla="*/ 5972024 h 8575811"/>
              <a:gd name="connsiteX1743" fmla="*/ 3770415 w 8537122"/>
              <a:gd name="connsiteY1743" fmla="*/ 5949768 h 8575811"/>
              <a:gd name="connsiteX1744" fmla="*/ 3679687 w 8537122"/>
              <a:gd name="connsiteY1744" fmla="*/ 5876348 h 8575811"/>
              <a:gd name="connsiteX1745" fmla="*/ 3675843 w 8537122"/>
              <a:gd name="connsiteY1745" fmla="*/ 5885123 h 8575811"/>
              <a:gd name="connsiteX1746" fmla="*/ 3677078 w 8537122"/>
              <a:gd name="connsiteY1746" fmla="*/ 5888272 h 8575811"/>
              <a:gd name="connsiteX1747" fmla="*/ 3671998 w 8537122"/>
              <a:gd name="connsiteY1747" fmla="*/ 5893897 h 8575811"/>
              <a:gd name="connsiteX1748" fmla="*/ 3641250 w 8537122"/>
              <a:gd name="connsiteY1748" fmla="*/ 5880522 h 8575811"/>
              <a:gd name="connsiteX1749" fmla="*/ 3640703 w 8537122"/>
              <a:gd name="connsiteY1749" fmla="*/ 5869837 h 8575811"/>
              <a:gd name="connsiteX1750" fmla="*/ 3643861 w 8537122"/>
              <a:gd name="connsiteY1750" fmla="*/ 5868599 h 8575811"/>
              <a:gd name="connsiteX1751" fmla="*/ 3645236 w 8537122"/>
              <a:gd name="connsiteY1751" fmla="*/ 5853526 h 8575811"/>
              <a:gd name="connsiteX1752" fmla="*/ 3609956 w 8537122"/>
              <a:gd name="connsiteY1752" fmla="*/ 5856462 h 8575811"/>
              <a:gd name="connsiteX1753" fmla="*/ 3584289 w 8537122"/>
              <a:gd name="connsiteY1753" fmla="*/ 5837461 h 8575811"/>
              <a:gd name="connsiteX1754" fmla="*/ 3580583 w 8537122"/>
              <a:gd name="connsiteY1754" fmla="*/ 5828014 h 8575811"/>
              <a:gd name="connsiteX1755" fmla="*/ 3573721 w 8537122"/>
              <a:gd name="connsiteY1755" fmla="*/ 5819805 h 8575811"/>
              <a:gd name="connsiteX1756" fmla="*/ 3577426 w 8537122"/>
              <a:gd name="connsiteY1756" fmla="*/ 5829252 h 8575811"/>
              <a:gd name="connsiteX1757" fmla="*/ 3584289 w 8537122"/>
              <a:gd name="connsiteY1757" fmla="*/ 5837461 h 8575811"/>
              <a:gd name="connsiteX1758" fmla="*/ 3538442 w 8537122"/>
              <a:gd name="connsiteY1758" fmla="*/ 5822741 h 8575811"/>
              <a:gd name="connsiteX1759" fmla="*/ 3549976 w 8537122"/>
              <a:gd name="connsiteY1759" fmla="*/ 5796417 h 8575811"/>
              <a:gd name="connsiteX1760" fmla="*/ 3543114 w 8537122"/>
              <a:gd name="connsiteY1760" fmla="*/ 5788209 h 8575811"/>
              <a:gd name="connsiteX1761" fmla="*/ 3504817 w 8537122"/>
              <a:gd name="connsiteY1761" fmla="*/ 5774161 h 8575811"/>
              <a:gd name="connsiteX1762" fmla="*/ 3488482 w 8537122"/>
              <a:gd name="connsiteY1762" fmla="*/ 5769667 h 8575811"/>
              <a:gd name="connsiteX1763" fmla="*/ 3506052 w 8537122"/>
              <a:gd name="connsiteY1763" fmla="*/ 5777310 h 8575811"/>
              <a:gd name="connsiteX1764" fmla="*/ 3508522 w 8537122"/>
              <a:gd name="connsiteY1764" fmla="*/ 5783608 h 8575811"/>
              <a:gd name="connsiteX1765" fmla="*/ 3523481 w 8537122"/>
              <a:gd name="connsiteY1765" fmla="*/ 5803175 h 8575811"/>
              <a:gd name="connsiteX1766" fmla="*/ 3518402 w 8537122"/>
              <a:gd name="connsiteY1766" fmla="*/ 5808800 h 8575811"/>
              <a:gd name="connsiteX1767" fmla="*/ 3485184 w 8537122"/>
              <a:gd name="connsiteY1767" fmla="*/ 5789127 h 8575811"/>
              <a:gd name="connsiteX1768" fmla="*/ 3454029 w 8537122"/>
              <a:gd name="connsiteY1768" fmla="*/ 5746845 h 8575811"/>
              <a:gd name="connsiteX1769" fmla="*/ 3450324 w 8537122"/>
              <a:gd name="connsiteY1769" fmla="*/ 5737398 h 8575811"/>
              <a:gd name="connsiteX1770" fmla="*/ 3439617 w 8537122"/>
              <a:gd name="connsiteY1770" fmla="*/ 5737964 h 8575811"/>
              <a:gd name="connsiteX1771" fmla="*/ 3434537 w 8537122"/>
              <a:gd name="connsiteY1771" fmla="*/ 5743590 h 8575811"/>
              <a:gd name="connsiteX1772" fmla="*/ 3371120 w 8537122"/>
              <a:gd name="connsiteY1772" fmla="*/ 5721227 h 8575811"/>
              <a:gd name="connsiteX1773" fmla="*/ 3376200 w 8537122"/>
              <a:gd name="connsiteY1773" fmla="*/ 5715601 h 8575811"/>
              <a:gd name="connsiteX1774" fmla="*/ 3382515 w 8537122"/>
              <a:gd name="connsiteY1774" fmla="*/ 5713124 h 8575811"/>
              <a:gd name="connsiteX1775" fmla="*/ 3390753 w 8537122"/>
              <a:gd name="connsiteY1775" fmla="*/ 5706261 h 8575811"/>
              <a:gd name="connsiteX1776" fmla="*/ 3388282 w 8537122"/>
              <a:gd name="connsiteY1776" fmla="*/ 5699962 h 8575811"/>
              <a:gd name="connsiteX1777" fmla="*/ 3380733 w 8537122"/>
              <a:gd name="connsiteY1777" fmla="*/ 5699290 h 8575811"/>
              <a:gd name="connsiteX1778" fmla="*/ 3348062 w 8537122"/>
              <a:gd name="connsiteY1778" fmla="*/ 5690302 h 8575811"/>
              <a:gd name="connsiteX1779" fmla="*/ 3329945 w 8537122"/>
              <a:gd name="connsiteY1779" fmla="*/ 5671974 h 8575811"/>
              <a:gd name="connsiteX1780" fmla="*/ 3300433 w 8537122"/>
              <a:gd name="connsiteY1780" fmla="*/ 5661748 h 8575811"/>
              <a:gd name="connsiteX1781" fmla="*/ 3269138 w 8537122"/>
              <a:gd name="connsiteY1781" fmla="*/ 5637688 h 8575811"/>
              <a:gd name="connsiteX1782" fmla="*/ 3275313 w 8537122"/>
              <a:gd name="connsiteY1782" fmla="*/ 5653432 h 8575811"/>
              <a:gd name="connsiteX1783" fmla="*/ 3276548 w 8537122"/>
              <a:gd name="connsiteY1783" fmla="*/ 5656582 h 8575811"/>
              <a:gd name="connsiteX1784" fmla="*/ 3278331 w 8537122"/>
              <a:gd name="connsiteY1784" fmla="*/ 5670416 h 8575811"/>
              <a:gd name="connsiteX1785" fmla="*/ 3213131 w 8537122"/>
              <a:gd name="connsiteY1785" fmla="*/ 5634219 h 8575811"/>
              <a:gd name="connsiteX1786" fmla="*/ 3225762 w 8537122"/>
              <a:gd name="connsiteY1786" fmla="*/ 5629266 h 8575811"/>
              <a:gd name="connsiteX1787" fmla="*/ 3228918 w 8537122"/>
              <a:gd name="connsiteY1787" fmla="*/ 5628028 h 8575811"/>
              <a:gd name="connsiteX1788" fmla="*/ 3241549 w 8537122"/>
              <a:gd name="connsiteY1788" fmla="*/ 5623074 h 8575811"/>
              <a:gd name="connsiteX1789" fmla="*/ 3203939 w 8537122"/>
              <a:gd name="connsiteY1789" fmla="*/ 5601490 h 8575811"/>
              <a:gd name="connsiteX1790" fmla="*/ 3189526 w 8537122"/>
              <a:gd name="connsiteY1790" fmla="*/ 5592609 h 8575811"/>
              <a:gd name="connsiteX1791" fmla="*/ 3169487 w 8537122"/>
              <a:gd name="connsiteY1791" fmla="*/ 5578668 h 8575811"/>
              <a:gd name="connsiteX1792" fmla="*/ 3111150 w 8537122"/>
              <a:gd name="connsiteY1792" fmla="*/ 5550680 h 8575811"/>
              <a:gd name="connsiteX1793" fmla="*/ 3063520 w 8537122"/>
              <a:gd name="connsiteY1793" fmla="*/ 5522126 h 8575811"/>
              <a:gd name="connsiteX1794" fmla="*/ 3067225 w 8537122"/>
              <a:gd name="connsiteY1794" fmla="*/ 5531573 h 8575811"/>
              <a:gd name="connsiteX1795" fmla="*/ 3070930 w 8537122"/>
              <a:gd name="connsiteY1795" fmla="*/ 5541020 h 8575811"/>
              <a:gd name="connsiteX1796" fmla="*/ 3077104 w 8537122"/>
              <a:gd name="connsiteY1796" fmla="*/ 5556765 h 8575811"/>
              <a:gd name="connsiteX1797" fmla="*/ 3022613 w 8537122"/>
              <a:gd name="connsiteY1797" fmla="*/ 5520001 h 8575811"/>
              <a:gd name="connsiteX1798" fmla="*/ 3001198 w 8537122"/>
              <a:gd name="connsiteY1798" fmla="*/ 5521133 h 8575811"/>
              <a:gd name="connsiteX1799" fmla="*/ 2992553 w 8537122"/>
              <a:gd name="connsiteY1799" fmla="*/ 5499090 h 8575811"/>
              <a:gd name="connsiteX1800" fmla="*/ 2980611 w 8537122"/>
              <a:gd name="connsiteY1800" fmla="*/ 5496507 h 8575811"/>
              <a:gd name="connsiteX1801" fmla="*/ 2966746 w 8537122"/>
              <a:gd name="connsiteY1801" fmla="*/ 5498311 h 8575811"/>
              <a:gd name="connsiteX1802" fmla="*/ 2928588 w 8537122"/>
              <a:gd name="connsiteY1802" fmla="*/ 5466042 h 8575811"/>
              <a:gd name="connsiteX1803" fmla="*/ 2914176 w 8537122"/>
              <a:gd name="connsiteY1803" fmla="*/ 5457161 h 8575811"/>
              <a:gd name="connsiteX1804" fmla="*/ 2851446 w 8537122"/>
              <a:gd name="connsiteY1804" fmla="*/ 5427262 h 8575811"/>
              <a:gd name="connsiteX1805" fmla="*/ 2850211 w 8537122"/>
              <a:gd name="connsiteY1805" fmla="*/ 5424113 h 8575811"/>
              <a:gd name="connsiteX1806" fmla="*/ 2804504 w 8537122"/>
              <a:gd name="connsiteY1806" fmla="*/ 5391171 h 8575811"/>
              <a:gd name="connsiteX1807" fmla="*/ 2805739 w 8537122"/>
              <a:gd name="connsiteY1807" fmla="*/ 5394320 h 8575811"/>
              <a:gd name="connsiteX1808" fmla="*/ 2753717 w 8537122"/>
              <a:gd name="connsiteY1808" fmla="*/ 5363855 h 8575811"/>
              <a:gd name="connsiteX1809" fmla="*/ 2705400 w 8537122"/>
              <a:gd name="connsiteY1809" fmla="*/ 5342837 h 8575811"/>
              <a:gd name="connsiteX1810" fmla="*/ 2679873 w 8537122"/>
              <a:gd name="connsiteY1810" fmla="*/ 5305615 h 8575811"/>
              <a:gd name="connsiteX1811" fmla="*/ 2677263 w 8537122"/>
              <a:gd name="connsiteY1811" fmla="*/ 5317538 h 8575811"/>
              <a:gd name="connsiteX1812" fmla="*/ 2681655 w 8537122"/>
              <a:gd name="connsiteY1812" fmla="*/ 5319449 h 8575811"/>
              <a:gd name="connsiteX1813" fmla="*/ 2682890 w 8537122"/>
              <a:gd name="connsiteY1813" fmla="*/ 5322598 h 8575811"/>
              <a:gd name="connsiteX1814" fmla="*/ 2684125 w 8537122"/>
              <a:gd name="connsiteY1814" fmla="*/ 5325747 h 8575811"/>
              <a:gd name="connsiteX1815" fmla="*/ 2679045 w 8537122"/>
              <a:gd name="connsiteY1815" fmla="*/ 5331373 h 8575811"/>
              <a:gd name="connsiteX1816" fmla="*/ 2677810 w 8537122"/>
              <a:gd name="connsiteY1816" fmla="*/ 5328224 h 8575811"/>
              <a:gd name="connsiteX1817" fmla="*/ 2674105 w 8537122"/>
              <a:gd name="connsiteY1817" fmla="*/ 5318777 h 8575811"/>
              <a:gd name="connsiteX1818" fmla="*/ 2617003 w 8537122"/>
              <a:gd name="connsiteY1818" fmla="*/ 5293937 h 8575811"/>
              <a:gd name="connsiteX1819" fmla="*/ 2629773 w 8537122"/>
              <a:gd name="connsiteY1819" fmla="*/ 5270762 h 8575811"/>
              <a:gd name="connsiteX1820" fmla="*/ 2594633 w 8537122"/>
              <a:gd name="connsiteY1820" fmla="*/ 5255477 h 8575811"/>
              <a:gd name="connsiteX1821" fmla="*/ 2589413 w 8537122"/>
              <a:gd name="connsiteY1821" fmla="*/ 5279324 h 8575811"/>
              <a:gd name="connsiteX1822" fmla="*/ 2509801 w 8537122"/>
              <a:gd name="connsiteY1822" fmla="*/ 5234246 h 8575811"/>
              <a:gd name="connsiteX1823" fmla="*/ 2407680 w 8537122"/>
              <a:gd name="connsiteY1823" fmla="*/ 5168928 h 8575811"/>
              <a:gd name="connsiteX1824" fmla="*/ 2322988 w 8537122"/>
              <a:gd name="connsiteY1824" fmla="*/ 5129475 h 8575811"/>
              <a:gd name="connsiteX1825" fmla="*/ 2245298 w 8537122"/>
              <a:gd name="connsiteY1825" fmla="*/ 5080010 h 8575811"/>
              <a:gd name="connsiteX1826" fmla="*/ 2178316 w 8537122"/>
              <a:gd name="connsiteY1826" fmla="*/ 5029978 h 8575811"/>
              <a:gd name="connsiteX1827" fmla="*/ 2154432 w 8537122"/>
              <a:gd name="connsiteY1827" fmla="*/ 5024812 h 8575811"/>
              <a:gd name="connsiteX1828" fmla="*/ 2141254 w 8537122"/>
              <a:gd name="connsiteY1828" fmla="*/ 5019080 h 8575811"/>
              <a:gd name="connsiteX1829" fmla="*/ 2081682 w 8537122"/>
              <a:gd name="connsiteY1829" fmla="*/ 4987942 h 8575811"/>
              <a:gd name="connsiteX1830" fmla="*/ 2068505 w 8537122"/>
              <a:gd name="connsiteY1830" fmla="*/ 4982210 h 8575811"/>
              <a:gd name="connsiteX1831" fmla="*/ 2014013 w 8537122"/>
              <a:gd name="connsiteY1831" fmla="*/ 4945447 h 8575811"/>
              <a:gd name="connsiteX1832" fmla="*/ 1983265 w 8537122"/>
              <a:gd name="connsiteY1832" fmla="*/ 4932072 h 8575811"/>
              <a:gd name="connsiteX1833" fmla="*/ 1948813 w 8537122"/>
              <a:gd name="connsiteY1833" fmla="*/ 4909250 h 8575811"/>
              <a:gd name="connsiteX1834" fmla="*/ 1942638 w 8537122"/>
              <a:gd name="connsiteY1834" fmla="*/ 4893505 h 8575811"/>
              <a:gd name="connsiteX1835" fmla="*/ 1934401 w 8537122"/>
              <a:gd name="connsiteY1835" fmla="*/ 4900369 h 8575811"/>
              <a:gd name="connsiteX1836" fmla="*/ 1868654 w 8537122"/>
              <a:gd name="connsiteY1836" fmla="*/ 4853486 h 8575811"/>
              <a:gd name="connsiteX1837" fmla="*/ 1880596 w 8537122"/>
              <a:gd name="connsiteY1837" fmla="*/ 4856069 h 8575811"/>
              <a:gd name="connsiteX1838" fmla="*/ 1896931 w 8537122"/>
              <a:gd name="connsiteY1838" fmla="*/ 4860563 h 8575811"/>
              <a:gd name="connsiteX1839" fmla="*/ 1908873 w 8537122"/>
              <a:gd name="connsiteY1839" fmla="*/ 4863146 h 8575811"/>
              <a:gd name="connsiteX1840" fmla="*/ 1911343 w 8537122"/>
              <a:gd name="connsiteY1840" fmla="*/ 4869444 h 8575811"/>
              <a:gd name="connsiteX1841" fmla="*/ 1921363 w 8537122"/>
              <a:gd name="connsiteY1841" fmla="*/ 4876414 h 8575811"/>
              <a:gd name="connsiteX1842" fmla="*/ 1924521 w 8537122"/>
              <a:gd name="connsiteY1842" fmla="*/ 4875176 h 8575811"/>
              <a:gd name="connsiteX1843" fmla="*/ 1928366 w 8537122"/>
              <a:gd name="connsiteY1843" fmla="*/ 4866402 h 8575811"/>
              <a:gd name="connsiteX1844" fmla="*/ 1903933 w 8537122"/>
              <a:gd name="connsiteY1844" fmla="*/ 4850550 h 8575811"/>
              <a:gd name="connsiteX1845" fmla="*/ 1871951 w 8537122"/>
              <a:gd name="connsiteY1845" fmla="*/ 4834026 h 8575811"/>
              <a:gd name="connsiteX1846" fmla="*/ 1814022 w 8537122"/>
              <a:gd name="connsiteY1846" fmla="*/ 4834944 h 8575811"/>
              <a:gd name="connsiteX1847" fmla="*/ 1793982 w 8537122"/>
              <a:gd name="connsiteY1847" fmla="*/ 4821004 h 8575811"/>
              <a:gd name="connsiteX1848" fmla="*/ 1816772 w 8537122"/>
              <a:gd name="connsiteY1848" fmla="*/ 4804799 h 8575811"/>
              <a:gd name="connsiteX1849" fmla="*/ 1782867 w 8537122"/>
              <a:gd name="connsiteY1849" fmla="*/ 4792662 h 8575811"/>
              <a:gd name="connsiteX1850" fmla="*/ 1755825 w 8537122"/>
              <a:gd name="connsiteY1850" fmla="*/ 4788734 h 8575811"/>
              <a:gd name="connsiteX1851" fmla="*/ 1731940 w 8537122"/>
              <a:gd name="connsiteY1851" fmla="*/ 4783568 h 8575811"/>
              <a:gd name="connsiteX1852" fmla="*/ 1711900 w 8537122"/>
              <a:gd name="connsiteY1852" fmla="*/ 4769627 h 8575811"/>
              <a:gd name="connsiteX1853" fmla="*/ 1707787 w 8537122"/>
              <a:gd name="connsiteY1853" fmla="*/ 4731273 h 8575811"/>
              <a:gd name="connsiteX1854" fmla="*/ 1676493 w 8537122"/>
              <a:gd name="connsiteY1854" fmla="*/ 4707212 h 8575811"/>
              <a:gd name="connsiteX1855" fmla="*/ 1637508 w 8537122"/>
              <a:gd name="connsiteY1855" fmla="*/ 4700701 h 8575811"/>
              <a:gd name="connsiteX1856" fmla="*/ 1638743 w 8537122"/>
              <a:gd name="connsiteY1856" fmla="*/ 4703850 h 8575811"/>
              <a:gd name="connsiteX1857" fmla="*/ 1663863 w 8537122"/>
              <a:gd name="connsiteY1857" fmla="*/ 4712165 h 8575811"/>
              <a:gd name="connsiteX1858" fmla="*/ 1667020 w 8537122"/>
              <a:gd name="connsiteY1858" fmla="*/ 4710927 h 8575811"/>
              <a:gd name="connsiteX1859" fmla="*/ 1668255 w 8537122"/>
              <a:gd name="connsiteY1859" fmla="*/ 4714076 h 8575811"/>
              <a:gd name="connsiteX1860" fmla="*/ 1670725 w 8537122"/>
              <a:gd name="connsiteY1860" fmla="*/ 4720375 h 8575811"/>
              <a:gd name="connsiteX1861" fmla="*/ 1673195 w 8537122"/>
              <a:gd name="connsiteY1861" fmla="*/ 4726673 h 8575811"/>
              <a:gd name="connsiteX1862" fmla="*/ 1685138 w 8537122"/>
              <a:gd name="connsiteY1862" fmla="*/ 4729256 h 8575811"/>
              <a:gd name="connsiteX1863" fmla="*/ 1688155 w 8537122"/>
              <a:gd name="connsiteY1863" fmla="*/ 4746239 h 8575811"/>
              <a:gd name="connsiteX1864" fmla="*/ 1684310 w 8537122"/>
              <a:gd name="connsiteY1864" fmla="*/ 4755014 h 8575811"/>
              <a:gd name="connsiteX1865" fmla="*/ 1602228 w 8537122"/>
              <a:gd name="connsiteY1865" fmla="*/ 4703638 h 8575811"/>
              <a:gd name="connsiteX1866" fmla="*/ 1535386 w 8537122"/>
              <a:gd name="connsiteY1866" fmla="*/ 4635384 h 8575811"/>
              <a:gd name="connsiteX1867" fmla="*/ 1530446 w 8537122"/>
              <a:gd name="connsiteY1867" fmla="*/ 4622788 h 8575811"/>
              <a:gd name="connsiteX1868" fmla="*/ 1529759 w 8537122"/>
              <a:gd name="connsiteY1868" fmla="*/ 4630324 h 8575811"/>
              <a:gd name="connsiteX1869" fmla="*/ 1491869 w 8537122"/>
              <a:gd name="connsiteY1869" fmla="*/ 4645184 h 8575811"/>
              <a:gd name="connsiteX1870" fmla="*/ 1500794 w 8537122"/>
              <a:gd name="connsiteY1870" fmla="*/ 4630784 h 8575811"/>
              <a:gd name="connsiteX1871" fmla="*/ 1506561 w 8537122"/>
              <a:gd name="connsiteY1871" fmla="*/ 4617622 h 8575811"/>
              <a:gd name="connsiteX1872" fmla="*/ 1502857 w 8537122"/>
              <a:gd name="connsiteY1872" fmla="*/ 4608175 h 8575811"/>
              <a:gd name="connsiteX1873" fmla="*/ 1499699 w 8537122"/>
              <a:gd name="connsiteY1873" fmla="*/ 4609413 h 8575811"/>
              <a:gd name="connsiteX1874" fmla="*/ 1484599 w 8537122"/>
              <a:gd name="connsiteY1874" fmla="*/ 4608068 h 8575811"/>
              <a:gd name="connsiteX1875" fmla="*/ 1451242 w 8537122"/>
              <a:gd name="connsiteY1875" fmla="*/ 4606616 h 8575811"/>
              <a:gd name="connsiteX1876" fmla="*/ 1426122 w 8537122"/>
              <a:gd name="connsiteY1876" fmla="*/ 4598301 h 8575811"/>
              <a:gd name="connsiteX1877" fmla="*/ 1387965 w 8537122"/>
              <a:gd name="connsiteY1877" fmla="*/ 4566032 h 8575811"/>
              <a:gd name="connsiteX1878" fmla="*/ 1396890 w 8537122"/>
              <a:gd name="connsiteY1878" fmla="*/ 4551632 h 8575811"/>
              <a:gd name="connsiteX1879" fmla="*/ 1414600 w 8537122"/>
              <a:gd name="connsiteY1879" fmla="*/ 4541053 h 8575811"/>
              <a:gd name="connsiteX1880" fmla="*/ 1424072 w 8537122"/>
              <a:gd name="connsiteY1880" fmla="*/ 4537338 h 8575811"/>
              <a:gd name="connsiteX1881" fmla="*/ 1397997 w 8537122"/>
              <a:gd name="connsiteY1881" fmla="*/ 4489430 h 8575811"/>
              <a:gd name="connsiteX1882" fmla="*/ 1316463 w 8537122"/>
              <a:gd name="connsiteY1882" fmla="*/ 4448739 h 8575811"/>
              <a:gd name="connsiteX1883" fmla="*/ 1307678 w 8537122"/>
              <a:gd name="connsiteY1883" fmla="*/ 4444918 h 8575811"/>
              <a:gd name="connsiteX1884" fmla="*/ 1234241 w 8537122"/>
              <a:gd name="connsiteY1884" fmla="*/ 4415585 h 8575811"/>
              <a:gd name="connsiteX1885" fmla="*/ 1231771 w 8537122"/>
              <a:gd name="connsiteY1885" fmla="*/ 4409286 h 8575811"/>
              <a:gd name="connsiteX1886" fmla="*/ 1227379 w 8537122"/>
              <a:gd name="connsiteY1886" fmla="*/ 4407376 h 8575811"/>
              <a:gd name="connsiteX1887" fmla="*/ 1212966 w 8537122"/>
              <a:gd name="connsiteY1887" fmla="*/ 4398494 h 8575811"/>
              <a:gd name="connsiteX1888" fmla="*/ 1202399 w 8537122"/>
              <a:gd name="connsiteY1888" fmla="*/ 4380839 h 8575811"/>
              <a:gd name="connsiteX1889" fmla="*/ 1169042 w 8537122"/>
              <a:gd name="connsiteY1889" fmla="*/ 4379387 h 8575811"/>
              <a:gd name="connsiteX1890" fmla="*/ 1163414 w 8537122"/>
              <a:gd name="connsiteY1890" fmla="*/ 4374328 h 8575811"/>
              <a:gd name="connsiteX1891" fmla="*/ 1155864 w 8537122"/>
              <a:gd name="connsiteY1891" fmla="*/ 4373655 h 8575811"/>
              <a:gd name="connsiteX1892" fmla="*/ 1141452 w 8537122"/>
              <a:gd name="connsiteY1892" fmla="*/ 4364774 h 8575811"/>
              <a:gd name="connsiteX1893" fmla="*/ 1119489 w 8537122"/>
              <a:gd name="connsiteY1893" fmla="*/ 4355220 h 8575811"/>
              <a:gd name="connsiteX1894" fmla="*/ 1118254 w 8537122"/>
              <a:gd name="connsiteY1894" fmla="*/ 4352071 h 8575811"/>
              <a:gd name="connsiteX1895" fmla="*/ 1105077 w 8537122"/>
              <a:gd name="connsiteY1895" fmla="*/ 4346339 h 8575811"/>
              <a:gd name="connsiteX1896" fmla="*/ 1102607 w 8537122"/>
              <a:gd name="connsiteY1896" fmla="*/ 4340041 h 8575811"/>
              <a:gd name="connsiteX1897" fmla="*/ 1101372 w 8537122"/>
              <a:gd name="connsiteY1897" fmla="*/ 4336892 h 8575811"/>
              <a:gd name="connsiteX1898" fmla="*/ 1091900 w 8537122"/>
              <a:gd name="connsiteY1898" fmla="*/ 4340607 h 8575811"/>
              <a:gd name="connsiteX1899" fmla="*/ 1077487 w 8537122"/>
              <a:gd name="connsiteY1899" fmla="*/ 4331726 h 8575811"/>
              <a:gd name="connsiteX1900" fmla="*/ 1066920 w 8537122"/>
              <a:gd name="connsiteY1900" fmla="*/ 4314070 h 8575811"/>
              <a:gd name="connsiteX1901" fmla="*/ 1063762 w 8537122"/>
              <a:gd name="connsiteY1901" fmla="*/ 4315308 h 8575811"/>
              <a:gd name="connsiteX1902" fmla="*/ 1060605 w 8537122"/>
              <a:gd name="connsiteY1902" fmla="*/ 4316546 h 8575811"/>
              <a:gd name="connsiteX1903" fmla="*/ 1057447 w 8537122"/>
              <a:gd name="connsiteY1903" fmla="*/ 4317785 h 8575811"/>
              <a:gd name="connsiteX1904" fmla="*/ 1036720 w 8537122"/>
              <a:gd name="connsiteY1904" fmla="*/ 4311380 h 8575811"/>
              <a:gd name="connsiteX1905" fmla="*/ 1027388 w 8537122"/>
              <a:gd name="connsiteY1905" fmla="*/ 4296873 h 8575811"/>
              <a:gd name="connsiteX1906" fmla="*/ 1021760 w 8537122"/>
              <a:gd name="connsiteY1906" fmla="*/ 4291814 h 8575811"/>
              <a:gd name="connsiteX1907" fmla="*/ 991013 w 8537122"/>
              <a:gd name="connsiteY1907" fmla="*/ 4278438 h 8575811"/>
              <a:gd name="connsiteX1908" fmla="*/ 984698 w 8537122"/>
              <a:gd name="connsiteY1908" fmla="*/ 4280915 h 8575811"/>
              <a:gd name="connsiteX1909" fmla="*/ 965893 w 8537122"/>
              <a:gd name="connsiteY1909" fmla="*/ 4270123 h 8575811"/>
              <a:gd name="connsiteX1910" fmla="*/ 961501 w 8537122"/>
              <a:gd name="connsiteY1910" fmla="*/ 4268213 h 8575811"/>
              <a:gd name="connsiteX1911" fmla="*/ 937068 w 8537122"/>
              <a:gd name="connsiteY1911" fmla="*/ 4252361 h 8575811"/>
              <a:gd name="connsiteX1912" fmla="*/ 921421 w 8537122"/>
              <a:gd name="connsiteY1912" fmla="*/ 4240331 h 8575811"/>
              <a:gd name="connsiteX1913" fmla="*/ 910166 w 8537122"/>
              <a:gd name="connsiteY1913" fmla="*/ 4230211 h 8575811"/>
              <a:gd name="connsiteX1914" fmla="*/ 907009 w 8537122"/>
              <a:gd name="connsiteY1914" fmla="*/ 4231449 h 8575811"/>
              <a:gd name="connsiteX1915" fmla="*/ 903851 w 8537122"/>
              <a:gd name="connsiteY1915" fmla="*/ 4232688 h 8575811"/>
              <a:gd name="connsiteX1916" fmla="*/ 889986 w 8537122"/>
              <a:gd name="connsiteY1916" fmla="*/ 4234492 h 8575811"/>
              <a:gd name="connsiteX1917" fmla="*/ 869399 w 8537122"/>
              <a:gd name="connsiteY1917" fmla="*/ 4209865 h 8575811"/>
              <a:gd name="connsiteX1918" fmla="*/ 866241 w 8537122"/>
              <a:gd name="connsiteY1918" fmla="*/ 4211104 h 8575811"/>
              <a:gd name="connsiteX1919" fmla="*/ 875166 w 8537122"/>
              <a:gd name="connsiteY1919" fmla="*/ 4196704 h 8575811"/>
              <a:gd name="connsiteX1920" fmla="*/ 879559 w 8537122"/>
              <a:gd name="connsiteY1920" fmla="*/ 4198614 h 8575811"/>
              <a:gd name="connsiteX1921" fmla="*/ 906601 w 8537122"/>
              <a:gd name="connsiteY1921" fmla="*/ 4202542 h 8575811"/>
              <a:gd name="connsiteX1922" fmla="*/ 912916 w 8537122"/>
              <a:gd name="connsiteY1922" fmla="*/ 4200066 h 8575811"/>
              <a:gd name="connsiteX1923" fmla="*/ 916621 w 8537122"/>
              <a:gd name="connsiteY1923" fmla="*/ 4209513 h 8575811"/>
              <a:gd name="connsiteX1924" fmla="*/ 917856 w 8537122"/>
              <a:gd name="connsiteY1924" fmla="*/ 4212662 h 8575811"/>
              <a:gd name="connsiteX1925" fmla="*/ 925406 w 8537122"/>
              <a:gd name="connsiteY1925" fmla="*/ 4213334 h 8575811"/>
              <a:gd name="connsiteX1926" fmla="*/ 922388 w 8537122"/>
              <a:gd name="connsiteY1926" fmla="*/ 4196351 h 8575811"/>
              <a:gd name="connsiteX1927" fmla="*/ 916073 w 8537122"/>
              <a:gd name="connsiteY1927" fmla="*/ 4198827 h 8575811"/>
              <a:gd name="connsiteX1928" fmla="*/ 891641 w 8537122"/>
              <a:gd name="connsiteY1928" fmla="*/ 4182976 h 8575811"/>
              <a:gd name="connsiteX1929" fmla="*/ 874211 w 8537122"/>
              <a:gd name="connsiteY1929" fmla="*/ 4157111 h 8575811"/>
              <a:gd name="connsiteX1930" fmla="*/ 845934 w 8537122"/>
              <a:gd name="connsiteY1930" fmla="*/ 4150034 h 8575811"/>
              <a:gd name="connsiteX1931" fmla="*/ 848404 w 8537122"/>
              <a:gd name="connsiteY1931" fmla="*/ 4156332 h 8575811"/>
              <a:gd name="connsiteX1932" fmla="*/ 845246 w 8537122"/>
              <a:gd name="connsiteY1932" fmla="*/ 4157570 h 8575811"/>
              <a:gd name="connsiteX1933" fmla="*/ 842089 w 8537122"/>
              <a:gd name="connsiteY1933" fmla="*/ 4158809 h 8575811"/>
              <a:gd name="connsiteX1934" fmla="*/ 834539 w 8537122"/>
              <a:gd name="connsiteY1934" fmla="*/ 4158136 h 8575811"/>
              <a:gd name="connsiteX1935" fmla="*/ 837697 w 8537122"/>
              <a:gd name="connsiteY1935" fmla="*/ 4156898 h 8575811"/>
              <a:gd name="connsiteX1936" fmla="*/ 831521 w 8537122"/>
              <a:gd name="connsiteY1936" fmla="*/ 4141153 h 8575811"/>
              <a:gd name="connsiteX1937" fmla="*/ 832897 w 8537122"/>
              <a:gd name="connsiteY1937" fmla="*/ 4126080 h 8575811"/>
              <a:gd name="connsiteX1938" fmla="*/ 767010 w 8537122"/>
              <a:gd name="connsiteY1938" fmla="*/ 4097419 h 8575811"/>
              <a:gd name="connsiteX1939" fmla="*/ 760147 w 8537122"/>
              <a:gd name="connsiteY1939" fmla="*/ 4089210 h 8575811"/>
              <a:gd name="connsiteX1940" fmla="*/ 746970 w 8537122"/>
              <a:gd name="connsiteY1940" fmla="*/ 4083478 h 8575811"/>
              <a:gd name="connsiteX1941" fmla="*/ 730635 w 8537122"/>
              <a:gd name="connsiteY1941" fmla="*/ 4078984 h 8575811"/>
              <a:gd name="connsiteX1942" fmla="*/ 736810 w 8537122"/>
              <a:gd name="connsiteY1942" fmla="*/ 4094730 h 8575811"/>
              <a:gd name="connsiteX1943" fmla="*/ 751222 w 8537122"/>
              <a:gd name="connsiteY1943" fmla="*/ 4103611 h 8575811"/>
              <a:gd name="connsiteX1944" fmla="*/ 752457 w 8537122"/>
              <a:gd name="connsiteY1944" fmla="*/ 4106760 h 8575811"/>
              <a:gd name="connsiteX1945" fmla="*/ 770575 w 8537122"/>
              <a:gd name="connsiteY1945" fmla="*/ 4125088 h 8575811"/>
              <a:gd name="connsiteX1946" fmla="*/ 834539 w 8537122"/>
              <a:gd name="connsiteY1946" fmla="*/ 4158136 h 8575811"/>
              <a:gd name="connsiteX1947" fmla="*/ 841401 w 8537122"/>
              <a:gd name="connsiteY1947" fmla="*/ 4166345 h 8575811"/>
              <a:gd name="connsiteX1948" fmla="*/ 850874 w 8537122"/>
              <a:gd name="connsiteY1948" fmla="*/ 4162630 h 8575811"/>
              <a:gd name="connsiteX1949" fmla="*/ 848124 w 8537122"/>
              <a:gd name="connsiteY1949" fmla="*/ 4192776 h 8575811"/>
              <a:gd name="connsiteX1950" fmla="*/ 843732 w 8537122"/>
              <a:gd name="connsiteY1950" fmla="*/ 4190865 h 8575811"/>
              <a:gd name="connsiteX1951" fmla="*/ 827397 w 8537122"/>
              <a:gd name="connsiteY1951" fmla="*/ 4186371 h 8575811"/>
              <a:gd name="connsiteX1952" fmla="*/ 809827 w 8537122"/>
              <a:gd name="connsiteY1952" fmla="*/ 4178728 h 8575811"/>
              <a:gd name="connsiteX1953" fmla="*/ 806669 w 8537122"/>
              <a:gd name="connsiteY1953" fmla="*/ 4179966 h 8575811"/>
              <a:gd name="connsiteX1954" fmla="*/ 804200 w 8537122"/>
              <a:gd name="connsiteY1954" fmla="*/ 4173668 h 8575811"/>
              <a:gd name="connsiteX1955" fmla="*/ 781002 w 8537122"/>
              <a:gd name="connsiteY1955" fmla="*/ 4160966 h 8575811"/>
              <a:gd name="connsiteX1956" fmla="*/ 776609 w 8537122"/>
              <a:gd name="connsiteY1956" fmla="*/ 4159055 h 8575811"/>
              <a:gd name="connsiteX1957" fmla="*/ 775374 w 8537122"/>
              <a:gd name="connsiteY1957" fmla="*/ 4155906 h 8575811"/>
              <a:gd name="connsiteX1958" fmla="*/ 767277 w 8537122"/>
              <a:gd name="connsiteY1958" fmla="*/ 4144548 h 8575811"/>
              <a:gd name="connsiteX1959" fmla="*/ 766042 w 8537122"/>
              <a:gd name="connsiteY1959" fmla="*/ 4141399 h 8575811"/>
              <a:gd name="connsiteX1960" fmla="*/ 761650 w 8537122"/>
              <a:gd name="connsiteY1960" fmla="*/ 4139488 h 8575811"/>
              <a:gd name="connsiteX1961" fmla="*/ 755335 w 8537122"/>
              <a:gd name="connsiteY1961" fmla="*/ 4141965 h 8575811"/>
              <a:gd name="connsiteX1962" fmla="*/ 740922 w 8537122"/>
              <a:gd name="connsiteY1962" fmla="*/ 4133084 h 8575811"/>
              <a:gd name="connsiteX1963" fmla="*/ 717177 w 8537122"/>
              <a:gd name="connsiteY1963" fmla="*/ 4109696 h 8575811"/>
              <a:gd name="connsiteX1964" fmla="*/ 713473 w 8537122"/>
              <a:gd name="connsiteY1964" fmla="*/ 4100249 h 8575811"/>
              <a:gd name="connsiteX1965" fmla="*/ 712238 w 8537122"/>
              <a:gd name="connsiteY1965" fmla="*/ 4097100 h 8575811"/>
              <a:gd name="connsiteX1966" fmla="*/ 705922 w 8537122"/>
              <a:gd name="connsiteY1966" fmla="*/ 4099576 h 8575811"/>
              <a:gd name="connsiteX1967" fmla="*/ 702765 w 8537122"/>
              <a:gd name="connsiteY1967" fmla="*/ 4100815 h 8575811"/>
              <a:gd name="connsiteX1968" fmla="*/ 704687 w 8537122"/>
              <a:gd name="connsiteY1968" fmla="*/ 4096427 h 8575811"/>
              <a:gd name="connsiteX1969" fmla="*/ 679580 w 8537122"/>
              <a:gd name="connsiteY1969" fmla="*/ 4004540 h 8575811"/>
              <a:gd name="connsiteX1970" fmla="*/ 678345 w 8537122"/>
              <a:gd name="connsiteY1970" fmla="*/ 4001391 h 8575811"/>
              <a:gd name="connsiteX1971" fmla="*/ 683425 w 8537122"/>
              <a:gd name="connsiteY1971" fmla="*/ 3995765 h 8575811"/>
              <a:gd name="connsiteX1972" fmla="*/ 684113 w 8537122"/>
              <a:gd name="connsiteY1972" fmla="*/ 3988229 h 8575811"/>
              <a:gd name="connsiteX1973" fmla="*/ 687270 w 8537122"/>
              <a:gd name="connsiteY1973" fmla="*/ 3986990 h 8575811"/>
              <a:gd name="connsiteX1974" fmla="*/ 690428 w 8537122"/>
              <a:gd name="connsiteY1974" fmla="*/ 3985752 h 8575811"/>
              <a:gd name="connsiteX1975" fmla="*/ 706215 w 8537122"/>
              <a:gd name="connsiteY1975" fmla="*/ 3979561 h 8575811"/>
              <a:gd name="connsiteX1976" fmla="*/ 686863 w 8537122"/>
              <a:gd name="connsiteY1976" fmla="*/ 3958083 h 8575811"/>
              <a:gd name="connsiteX1977" fmla="*/ 680280 w 8537122"/>
              <a:gd name="connsiteY1977" fmla="*/ 3913431 h 8575811"/>
              <a:gd name="connsiteX1978" fmla="*/ 684265 w 8537122"/>
              <a:gd name="connsiteY1978" fmla="*/ 3886434 h 8575811"/>
              <a:gd name="connsiteX1979" fmla="*/ 664505 w 8537122"/>
              <a:gd name="connsiteY1979" fmla="*/ 3836050 h 8575811"/>
              <a:gd name="connsiteX1980" fmla="*/ 670273 w 8537122"/>
              <a:gd name="connsiteY1980" fmla="*/ 3822888 h 8575811"/>
              <a:gd name="connsiteX1981" fmla="*/ 671100 w 8537122"/>
              <a:gd name="connsiteY1981" fmla="*/ 3797130 h 8575811"/>
              <a:gd name="connsiteX1982" fmla="*/ 675085 w 8537122"/>
              <a:gd name="connsiteY1982" fmla="*/ 3770134 h 8575811"/>
              <a:gd name="connsiteX1983" fmla="*/ 663423 w 8537122"/>
              <a:gd name="connsiteY1983" fmla="*/ 3731107 h 8575811"/>
              <a:gd name="connsiteX1984" fmla="*/ 662875 w 8537122"/>
              <a:gd name="connsiteY1984" fmla="*/ 3720422 h 8575811"/>
              <a:gd name="connsiteX1985" fmla="*/ 664798 w 8537122"/>
              <a:gd name="connsiteY1985" fmla="*/ 3716034 h 8575811"/>
              <a:gd name="connsiteX1986" fmla="*/ 675377 w 8537122"/>
              <a:gd name="connsiteY1986" fmla="*/ 3650118 h 8575811"/>
              <a:gd name="connsiteX1987" fmla="*/ 689382 w 8537122"/>
              <a:gd name="connsiteY1987" fmla="*/ 3630092 h 8575811"/>
              <a:gd name="connsiteX1988" fmla="*/ 762959 w 8537122"/>
              <a:gd name="connsiteY1988" fmla="*/ 3641203 h 8575811"/>
              <a:gd name="connsiteX1989" fmla="*/ 779294 w 8537122"/>
              <a:gd name="connsiteY1989" fmla="*/ 3645697 h 8575811"/>
              <a:gd name="connsiteX1990" fmla="*/ 821437 w 8537122"/>
              <a:gd name="connsiteY1990" fmla="*/ 3650970 h 8575811"/>
              <a:gd name="connsiteX1991" fmla="*/ 845321 w 8537122"/>
              <a:gd name="connsiteY1991" fmla="*/ 3656136 h 8575811"/>
              <a:gd name="connsiteX1992" fmla="*/ 1053002 w 8537122"/>
              <a:gd name="connsiteY1992" fmla="*/ 3749089 h 8575811"/>
              <a:gd name="connsiteX1993" fmla="*/ 1112027 w 8537122"/>
              <a:gd name="connsiteY1993" fmla="*/ 3769541 h 8575811"/>
              <a:gd name="connsiteX1994" fmla="*/ 1126439 w 8537122"/>
              <a:gd name="connsiteY1994" fmla="*/ 3778422 h 8575811"/>
              <a:gd name="connsiteX1995" fmla="*/ 1197954 w 8537122"/>
              <a:gd name="connsiteY1995" fmla="*/ 3812143 h 8575811"/>
              <a:gd name="connsiteX1996" fmla="*/ 1221151 w 8537122"/>
              <a:gd name="connsiteY1996" fmla="*/ 3824846 h 8575811"/>
              <a:gd name="connsiteX1997" fmla="*/ 1248741 w 8537122"/>
              <a:gd name="connsiteY1997" fmla="*/ 3839459 h 8575811"/>
              <a:gd name="connsiteX1998" fmla="*/ 1281958 w 8537122"/>
              <a:gd name="connsiteY1998" fmla="*/ 3859132 h 8575811"/>
              <a:gd name="connsiteX1999" fmla="*/ 1320255 w 8537122"/>
              <a:gd name="connsiteY1999" fmla="*/ 3873180 h 8575811"/>
              <a:gd name="connsiteX2000" fmla="*/ 1336590 w 8537122"/>
              <a:gd name="connsiteY2000" fmla="*/ 3877674 h 8575811"/>
              <a:gd name="connsiteX2001" fmla="*/ 1425674 w 8537122"/>
              <a:gd name="connsiteY2001" fmla="*/ 3919037 h 8575811"/>
              <a:gd name="connsiteX2002" fmla="*/ 1442009 w 8537122"/>
              <a:gd name="connsiteY2002" fmla="*/ 3923531 h 8575811"/>
              <a:gd name="connsiteX2003" fmla="*/ 1502816 w 8537122"/>
              <a:gd name="connsiteY2003" fmla="*/ 3957817 h 8575811"/>
              <a:gd name="connsiteX2004" fmla="*/ 1520386 w 8537122"/>
              <a:gd name="connsiteY2004" fmla="*/ 3965460 h 8575811"/>
              <a:gd name="connsiteX2005" fmla="*/ 1533564 w 8537122"/>
              <a:gd name="connsiteY2005" fmla="*/ 3971192 h 8575811"/>
              <a:gd name="connsiteX2006" fmla="*/ 1536721 w 8537122"/>
              <a:gd name="connsiteY2006" fmla="*/ 3969954 h 8575811"/>
              <a:gd name="connsiteX2007" fmla="*/ 1608236 w 8537122"/>
              <a:gd name="connsiteY2007" fmla="*/ 4003675 h 8575811"/>
              <a:gd name="connsiteX2008" fmla="*/ 1621413 w 8537122"/>
              <a:gd name="connsiteY2008" fmla="*/ 4009407 h 8575811"/>
              <a:gd name="connsiteX2009" fmla="*/ 1694162 w 8537122"/>
              <a:gd name="connsiteY2009" fmla="*/ 4046276 h 8575811"/>
              <a:gd name="connsiteX2010" fmla="*/ 1852839 w 8537122"/>
              <a:gd name="connsiteY2010" fmla="*/ 4125748 h 8575811"/>
              <a:gd name="connsiteX2011" fmla="*/ 1985848 w 8537122"/>
              <a:gd name="connsiteY2011" fmla="*/ 4186219 h 8575811"/>
              <a:gd name="connsiteX2012" fmla="*/ 2090032 w 8537122"/>
              <a:gd name="connsiteY2012" fmla="*/ 4228927 h 8575811"/>
              <a:gd name="connsiteX2013" fmla="*/ 2095252 w 8537122"/>
              <a:gd name="connsiteY2013" fmla="*/ 4205079 h 8575811"/>
              <a:gd name="connsiteX2014" fmla="*/ 2077962 w 8537122"/>
              <a:gd name="connsiteY2014" fmla="*/ 4160993 h 8575811"/>
              <a:gd name="connsiteX2015" fmla="*/ 1954286 w 8537122"/>
              <a:gd name="connsiteY2015" fmla="*/ 4115029 h 8575811"/>
              <a:gd name="connsiteX2016" fmla="*/ 1797392 w 8537122"/>
              <a:gd name="connsiteY2016" fmla="*/ 4049392 h 8575811"/>
              <a:gd name="connsiteX2017" fmla="*/ 1782979 w 8537122"/>
              <a:gd name="connsiteY2017" fmla="*/ 4040511 h 8575811"/>
              <a:gd name="connsiteX2018" fmla="*/ 1780510 w 8537122"/>
              <a:gd name="connsiteY2018" fmla="*/ 4034213 h 8575811"/>
              <a:gd name="connsiteX2019" fmla="*/ 1769802 w 8537122"/>
              <a:gd name="connsiteY2019" fmla="*/ 4034779 h 8575811"/>
              <a:gd name="connsiteX2020" fmla="*/ 1742352 w 8537122"/>
              <a:gd name="connsiteY2020" fmla="*/ 4001944 h 8575811"/>
              <a:gd name="connsiteX2021" fmla="*/ 1744275 w 8537122"/>
              <a:gd name="connsiteY2021" fmla="*/ 3997556 h 8575811"/>
              <a:gd name="connsiteX2022" fmla="*/ 1736865 w 8537122"/>
              <a:gd name="connsiteY2022" fmla="*/ 3978662 h 8575811"/>
              <a:gd name="connsiteX2023" fmla="*/ 1761578 w 8537122"/>
              <a:gd name="connsiteY2023" fmla="*/ 3958071 h 8575811"/>
              <a:gd name="connsiteX2024" fmla="*/ 1742225 w 8537122"/>
              <a:gd name="connsiteY2024" fmla="*/ 3936593 h 8575811"/>
              <a:gd name="connsiteX2025" fmla="*/ 1703240 w 8537122"/>
              <a:gd name="connsiteY2025" fmla="*/ 3930082 h 8575811"/>
              <a:gd name="connsiteX2026" fmla="*/ 1690610 w 8537122"/>
              <a:gd name="connsiteY2026" fmla="*/ 3935035 h 8575811"/>
              <a:gd name="connsiteX2027" fmla="*/ 1656018 w 8537122"/>
              <a:gd name="connsiteY2027" fmla="*/ 3930435 h 8575811"/>
              <a:gd name="connsiteX2028" fmla="*/ 1608388 w 8537122"/>
              <a:gd name="connsiteY2028" fmla="*/ 3901881 h 8575811"/>
              <a:gd name="connsiteX2029" fmla="*/ 1577641 w 8537122"/>
              <a:gd name="connsiteY2029" fmla="*/ 3888506 h 8575811"/>
              <a:gd name="connsiteX2030" fmla="*/ 1563229 w 8537122"/>
              <a:gd name="connsiteY2030" fmla="*/ 3879624 h 8575811"/>
              <a:gd name="connsiteX2031" fmla="*/ 1557601 w 8537122"/>
              <a:gd name="connsiteY2031" fmla="*/ 3874565 h 8575811"/>
              <a:gd name="connsiteX2032" fmla="*/ 1533856 w 8537122"/>
              <a:gd name="connsiteY2032" fmla="*/ 3851177 h 8575811"/>
              <a:gd name="connsiteX2033" fmla="*/ 1537014 w 8537122"/>
              <a:gd name="connsiteY2033" fmla="*/ 3849938 h 8575811"/>
              <a:gd name="connsiteX2034" fmla="*/ 1535779 w 8537122"/>
              <a:gd name="connsiteY2034" fmla="*/ 3846789 h 8575811"/>
              <a:gd name="connsiteX2035" fmla="*/ 1551019 w 8537122"/>
              <a:gd name="connsiteY2035" fmla="*/ 3829913 h 8575811"/>
              <a:gd name="connsiteX2036" fmla="*/ 1542234 w 8537122"/>
              <a:gd name="connsiteY2036" fmla="*/ 3826091 h 8575811"/>
              <a:gd name="connsiteX2037" fmla="*/ 1535779 w 8537122"/>
              <a:gd name="connsiteY2037" fmla="*/ 3846789 h 8575811"/>
              <a:gd name="connsiteX2038" fmla="*/ 1532621 w 8537122"/>
              <a:gd name="connsiteY2038" fmla="*/ 3848028 h 8575811"/>
              <a:gd name="connsiteX2039" fmla="*/ 1533856 w 8537122"/>
              <a:gd name="connsiteY2039" fmla="*/ 3851177 h 8575811"/>
              <a:gd name="connsiteX2040" fmla="*/ 1515599 w 8537122"/>
              <a:gd name="connsiteY2040" fmla="*/ 3851070 h 8575811"/>
              <a:gd name="connsiteX2041" fmla="*/ 1486087 w 8537122"/>
              <a:gd name="connsiteY2041" fmla="*/ 3840844 h 8575811"/>
              <a:gd name="connsiteX2042" fmla="*/ 1471674 w 8537122"/>
              <a:gd name="connsiteY2042" fmla="*/ 3831963 h 8575811"/>
              <a:gd name="connsiteX2043" fmla="*/ 1466682 w 8537122"/>
              <a:gd name="connsiteY2043" fmla="*/ 3826200 h 8575811"/>
              <a:gd name="connsiteX2044" fmla="*/ 1465882 w 8537122"/>
              <a:gd name="connsiteY2044" fmla="*/ 3819449 h 8575811"/>
              <a:gd name="connsiteX2045" fmla="*/ 1466734 w 8537122"/>
              <a:gd name="connsiteY2045" fmla="*/ 3819367 h 8575811"/>
              <a:gd name="connsiteX2046" fmla="*/ 1465769 w 8537122"/>
              <a:gd name="connsiteY2046" fmla="*/ 3818499 h 8575811"/>
              <a:gd name="connsiteX2047" fmla="*/ 1465499 w 8537122"/>
              <a:gd name="connsiteY2047" fmla="*/ 3816218 h 8575811"/>
              <a:gd name="connsiteX2048" fmla="*/ 1461107 w 8537122"/>
              <a:gd name="connsiteY2048" fmla="*/ 3814307 h 8575811"/>
              <a:gd name="connsiteX2049" fmla="*/ 1465769 w 8537122"/>
              <a:gd name="connsiteY2049" fmla="*/ 3818499 h 8575811"/>
              <a:gd name="connsiteX2050" fmla="*/ 1465882 w 8537122"/>
              <a:gd name="connsiteY2050" fmla="*/ 3819449 h 8575811"/>
              <a:gd name="connsiteX2051" fmla="*/ 1442162 w 8537122"/>
              <a:gd name="connsiteY2051" fmla="*/ 3821737 h 8575811"/>
              <a:gd name="connsiteX2052" fmla="*/ 1400847 w 8537122"/>
              <a:gd name="connsiteY2052" fmla="*/ 3790706 h 8575811"/>
              <a:gd name="connsiteX2053" fmla="*/ 1397690 w 8537122"/>
              <a:gd name="connsiteY2053" fmla="*/ 3791944 h 8575811"/>
              <a:gd name="connsiteX2054" fmla="*/ 1386982 w 8537122"/>
              <a:gd name="connsiteY2054" fmla="*/ 3792510 h 8575811"/>
              <a:gd name="connsiteX2055" fmla="*/ 1383825 w 8537122"/>
              <a:gd name="connsiteY2055" fmla="*/ 3793748 h 8575811"/>
              <a:gd name="connsiteX2056" fmla="*/ 1378198 w 8537122"/>
              <a:gd name="connsiteY2056" fmla="*/ 3788689 h 8575811"/>
              <a:gd name="connsiteX2057" fmla="*/ 1376963 w 8537122"/>
              <a:gd name="connsiteY2057" fmla="*/ 3785540 h 8575811"/>
              <a:gd name="connsiteX2058" fmla="*/ 1367490 w 8537122"/>
              <a:gd name="connsiteY2058" fmla="*/ 3789255 h 8575811"/>
              <a:gd name="connsiteX2059" fmla="*/ 1368177 w 8537122"/>
              <a:gd name="connsiteY2059" fmla="*/ 3781718 h 8575811"/>
              <a:gd name="connsiteX2060" fmla="*/ 1349373 w 8537122"/>
              <a:gd name="connsiteY2060" fmla="*/ 3770926 h 8575811"/>
              <a:gd name="connsiteX2061" fmla="*/ 1314233 w 8537122"/>
              <a:gd name="connsiteY2061" fmla="*/ 3755640 h 8575811"/>
              <a:gd name="connsiteX2062" fmla="*/ 1302291 w 8537122"/>
              <a:gd name="connsiteY2062" fmla="*/ 3753057 h 8575811"/>
              <a:gd name="connsiteX2063" fmla="*/ 1301056 w 8537122"/>
              <a:gd name="connsiteY2063" fmla="*/ 3749908 h 8575811"/>
              <a:gd name="connsiteX2064" fmla="*/ 1299821 w 8537122"/>
              <a:gd name="connsiteY2064" fmla="*/ 3746759 h 8575811"/>
              <a:gd name="connsiteX2065" fmla="*/ 1298586 w 8537122"/>
              <a:gd name="connsiteY2065" fmla="*/ 3743610 h 8575811"/>
              <a:gd name="connsiteX2066" fmla="*/ 1295428 w 8537122"/>
              <a:gd name="connsiteY2066" fmla="*/ 3744849 h 8575811"/>
              <a:gd name="connsiteX2067" fmla="*/ 1289113 w 8537122"/>
              <a:gd name="connsiteY2067" fmla="*/ 3747325 h 8575811"/>
              <a:gd name="connsiteX2068" fmla="*/ 1274701 w 8537122"/>
              <a:gd name="connsiteY2068" fmla="*/ 3738444 h 8575811"/>
              <a:gd name="connsiteX2069" fmla="*/ 1259054 w 8537122"/>
              <a:gd name="connsiteY2069" fmla="*/ 3726414 h 8575811"/>
              <a:gd name="connsiteX2070" fmla="*/ 1224601 w 8537122"/>
              <a:gd name="connsiteY2070" fmla="*/ 3703592 h 8575811"/>
              <a:gd name="connsiteX2071" fmla="*/ 1212659 w 8537122"/>
              <a:gd name="connsiteY2071" fmla="*/ 3701008 h 8575811"/>
              <a:gd name="connsiteX2072" fmla="*/ 1207031 w 8537122"/>
              <a:gd name="connsiteY2072" fmla="*/ 3695949 h 8575811"/>
              <a:gd name="connsiteX2073" fmla="*/ 1200169 w 8537122"/>
              <a:gd name="connsiteY2073" fmla="*/ 3687740 h 8575811"/>
              <a:gd name="connsiteX2074" fmla="*/ 1238606 w 8537122"/>
              <a:gd name="connsiteY2074" fmla="*/ 3683566 h 8575811"/>
              <a:gd name="connsiteX2075" fmla="*/ 1244373 w 8537122"/>
              <a:gd name="connsiteY2075" fmla="*/ 3670404 h 8575811"/>
              <a:gd name="connsiteX2076" fmla="*/ 1190976 w 8537122"/>
              <a:gd name="connsiteY2076" fmla="*/ 3655011 h 8575811"/>
              <a:gd name="connsiteX2077" fmla="*/ 1197151 w 8537122"/>
              <a:gd name="connsiteY2077" fmla="*/ 3670757 h 8575811"/>
              <a:gd name="connsiteX2078" fmla="*/ 1198934 w 8537122"/>
              <a:gd name="connsiteY2078" fmla="*/ 3684591 h 8575811"/>
              <a:gd name="connsiteX2079" fmla="*/ 1200169 w 8537122"/>
              <a:gd name="connsiteY2079" fmla="*/ 3687740 h 8575811"/>
              <a:gd name="connsiteX2080" fmla="*/ 1189461 w 8537122"/>
              <a:gd name="connsiteY2080" fmla="*/ 3688306 h 8575811"/>
              <a:gd name="connsiteX2081" fmla="*/ 1183147 w 8537122"/>
              <a:gd name="connsiteY2081" fmla="*/ 3690782 h 8575811"/>
              <a:gd name="connsiteX2082" fmla="*/ 1165577 w 8537122"/>
              <a:gd name="connsiteY2082" fmla="*/ 3683140 h 8575811"/>
              <a:gd name="connsiteX2083" fmla="*/ 1163107 w 8537122"/>
              <a:gd name="connsiteY2083" fmla="*/ 3676841 h 8575811"/>
              <a:gd name="connsiteX2084" fmla="*/ 1161872 w 8537122"/>
              <a:gd name="connsiteY2084" fmla="*/ 3673692 h 8575811"/>
              <a:gd name="connsiteX2085" fmla="*/ 1144302 w 8537122"/>
              <a:gd name="connsiteY2085" fmla="*/ 3666050 h 8575811"/>
              <a:gd name="connsiteX2086" fmla="*/ 1131124 w 8537122"/>
              <a:gd name="connsiteY2086" fmla="*/ 3660317 h 8575811"/>
              <a:gd name="connsiteX2087" fmla="*/ 1114242 w 8537122"/>
              <a:gd name="connsiteY2087" fmla="*/ 3645138 h 8575811"/>
              <a:gd name="connsiteX2088" fmla="*/ 1107380 w 8537122"/>
              <a:gd name="connsiteY2088" fmla="*/ 3636929 h 8575811"/>
              <a:gd name="connsiteX2089" fmla="*/ 1083495 w 8537122"/>
              <a:gd name="connsiteY2089" fmla="*/ 3631763 h 8575811"/>
              <a:gd name="connsiteX2090" fmla="*/ 1071552 w 8537122"/>
              <a:gd name="connsiteY2090" fmla="*/ 3629180 h 8575811"/>
              <a:gd name="connsiteX2091" fmla="*/ 1060845 w 8537122"/>
              <a:gd name="connsiteY2091" fmla="*/ 3629746 h 8575811"/>
              <a:gd name="connsiteX2092" fmla="*/ 1059610 w 8537122"/>
              <a:gd name="connsiteY2092" fmla="*/ 3626597 h 8575811"/>
              <a:gd name="connsiteX2093" fmla="*/ 1023235 w 8537122"/>
              <a:gd name="connsiteY2093" fmla="*/ 3608162 h 8575811"/>
              <a:gd name="connsiteX2094" fmla="*/ 1008823 w 8537122"/>
              <a:gd name="connsiteY2094" fmla="*/ 3599281 h 8575811"/>
              <a:gd name="connsiteX2095" fmla="*/ 995645 w 8537122"/>
              <a:gd name="connsiteY2095" fmla="*/ 3593549 h 8575811"/>
              <a:gd name="connsiteX2096" fmla="*/ 994410 w 8537122"/>
              <a:gd name="connsiteY2096" fmla="*/ 3590400 h 8575811"/>
              <a:gd name="connsiteX2097" fmla="*/ 991940 w 8537122"/>
              <a:gd name="connsiteY2097" fmla="*/ 3584101 h 8575811"/>
              <a:gd name="connsiteX2098" fmla="*/ 981233 w 8537122"/>
              <a:gd name="connsiteY2098" fmla="*/ 3584667 h 8575811"/>
              <a:gd name="connsiteX2099" fmla="*/ 919191 w 8537122"/>
              <a:gd name="connsiteY2099" fmla="*/ 3547232 h 8575811"/>
              <a:gd name="connsiteX2100" fmla="*/ 910406 w 8537122"/>
              <a:gd name="connsiteY2100" fmla="*/ 3543410 h 8575811"/>
              <a:gd name="connsiteX2101" fmla="*/ 892569 w 8537122"/>
              <a:gd name="connsiteY2101" fmla="*/ 3488639 h 8575811"/>
              <a:gd name="connsiteX2102" fmla="*/ 878156 w 8537122"/>
              <a:gd name="connsiteY2102" fmla="*/ 3479757 h 8575811"/>
              <a:gd name="connsiteX2103" fmla="*/ 851801 w 8537122"/>
              <a:gd name="connsiteY2103" fmla="*/ 3468293 h 8575811"/>
              <a:gd name="connsiteX2104" fmla="*/ 814192 w 8537122"/>
              <a:gd name="connsiteY2104" fmla="*/ 3446709 h 8575811"/>
              <a:gd name="connsiteX2105" fmla="*/ 792777 w 8537122"/>
              <a:gd name="connsiteY2105" fmla="*/ 3447841 h 8575811"/>
              <a:gd name="connsiteX2106" fmla="*/ 794559 w 8537122"/>
              <a:gd name="connsiteY2106" fmla="*/ 3461676 h 8575811"/>
              <a:gd name="connsiteX2107" fmla="*/ 792637 w 8537122"/>
              <a:gd name="connsiteY2107" fmla="*/ 3466063 h 8575811"/>
              <a:gd name="connsiteX2108" fmla="*/ 742397 w 8537122"/>
              <a:gd name="connsiteY2108" fmla="*/ 3449432 h 8575811"/>
              <a:gd name="connsiteX2109" fmla="*/ 718512 w 8537122"/>
              <a:gd name="connsiteY2109" fmla="*/ 3444266 h 8575811"/>
              <a:gd name="connsiteX2110" fmla="*/ 698472 w 8537122"/>
              <a:gd name="connsiteY2110" fmla="*/ 3430325 h 8575811"/>
              <a:gd name="connsiteX2111" fmla="*/ 684060 w 8537122"/>
              <a:gd name="connsiteY2111" fmla="*/ 3421444 h 8575811"/>
              <a:gd name="connsiteX2112" fmla="*/ 660315 w 8537122"/>
              <a:gd name="connsiteY2112" fmla="*/ 3398056 h 8575811"/>
              <a:gd name="connsiteX2113" fmla="*/ 652765 w 8537122"/>
              <a:gd name="connsiteY2113" fmla="*/ 3397383 h 8575811"/>
              <a:gd name="connsiteX2114" fmla="*/ 649608 w 8537122"/>
              <a:gd name="connsiteY2114" fmla="*/ 3398622 h 8575811"/>
              <a:gd name="connsiteX2115" fmla="*/ 636430 w 8537122"/>
              <a:gd name="connsiteY2115" fmla="*/ 3392890 h 8575811"/>
              <a:gd name="connsiteX2116" fmla="*/ 617626 w 8537122"/>
              <a:gd name="connsiteY2116" fmla="*/ 3382098 h 8575811"/>
              <a:gd name="connsiteX2117" fmla="*/ 620783 w 8537122"/>
              <a:gd name="connsiteY2117" fmla="*/ 3380859 h 8575811"/>
              <a:gd name="connsiteX2118" fmla="*/ 619548 w 8537122"/>
              <a:gd name="connsiteY2118" fmla="*/ 3377710 h 8575811"/>
              <a:gd name="connsiteX2119" fmla="*/ 618313 w 8537122"/>
              <a:gd name="connsiteY2119" fmla="*/ 3374561 h 8575811"/>
              <a:gd name="connsiteX2120" fmla="*/ 622158 w 8537122"/>
              <a:gd name="connsiteY2120" fmla="*/ 3365787 h 8575811"/>
              <a:gd name="connsiteX2121" fmla="*/ 620923 w 8537122"/>
              <a:gd name="connsiteY2121" fmla="*/ 3362637 h 8575811"/>
              <a:gd name="connsiteX2122" fmla="*/ 639868 w 8537122"/>
              <a:gd name="connsiteY2122" fmla="*/ 3355208 h 8575811"/>
              <a:gd name="connsiteX2123" fmla="*/ 641791 w 8537122"/>
              <a:gd name="connsiteY2123" fmla="*/ 3350820 h 8575811"/>
              <a:gd name="connsiteX2124" fmla="*/ 641243 w 8537122"/>
              <a:gd name="connsiteY2124" fmla="*/ 3340135 h 8575811"/>
              <a:gd name="connsiteX2125" fmla="*/ 616263 w 8537122"/>
              <a:gd name="connsiteY2125" fmla="*/ 3313598 h 8575811"/>
              <a:gd name="connsiteX2126" fmla="*/ 584688 w 8537122"/>
              <a:gd name="connsiteY2126" fmla="*/ 3325981 h 8575811"/>
              <a:gd name="connsiteX2127" fmla="*/ 602259 w 8537122"/>
              <a:gd name="connsiteY2127" fmla="*/ 3333624 h 8575811"/>
              <a:gd name="connsiteX2128" fmla="*/ 620923 w 8537122"/>
              <a:gd name="connsiteY2128" fmla="*/ 3362637 h 8575811"/>
              <a:gd name="connsiteX2129" fmla="*/ 605136 w 8537122"/>
              <a:gd name="connsiteY2129" fmla="*/ 3368829 h 8575811"/>
              <a:gd name="connsiteX2130" fmla="*/ 587566 w 8537122"/>
              <a:gd name="connsiteY2130" fmla="*/ 3361186 h 8575811"/>
              <a:gd name="connsiteX2131" fmla="*/ 580703 w 8537122"/>
              <a:gd name="connsiteY2131" fmla="*/ 3352977 h 8575811"/>
              <a:gd name="connsiteX2132" fmla="*/ 576999 w 8537122"/>
              <a:gd name="connsiteY2132" fmla="*/ 3343530 h 8575811"/>
              <a:gd name="connsiteX2133" fmla="*/ 573841 w 8537122"/>
              <a:gd name="connsiteY2133" fmla="*/ 3344769 h 8575811"/>
              <a:gd name="connsiteX2134" fmla="*/ 570683 w 8537122"/>
              <a:gd name="connsiteY2134" fmla="*/ 3346007 h 8575811"/>
              <a:gd name="connsiteX2135" fmla="*/ 566291 w 8537122"/>
              <a:gd name="connsiteY2135" fmla="*/ 3344096 h 8575811"/>
              <a:gd name="connsiteX2136" fmla="*/ 565056 w 8537122"/>
              <a:gd name="connsiteY2136" fmla="*/ 3340947 h 8575811"/>
              <a:gd name="connsiteX2137" fmla="*/ 563821 w 8537122"/>
              <a:gd name="connsiteY2137" fmla="*/ 3337798 h 8575811"/>
              <a:gd name="connsiteX2138" fmla="*/ 556959 w 8537122"/>
              <a:gd name="connsiteY2138" fmla="*/ 3329589 h 8575811"/>
              <a:gd name="connsiteX2139" fmla="*/ 546251 w 8537122"/>
              <a:gd name="connsiteY2139" fmla="*/ 3330155 h 8575811"/>
              <a:gd name="connsiteX2140" fmla="*/ 533074 w 8537122"/>
              <a:gd name="connsiteY2140" fmla="*/ 3324423 h 8575811"/>
              <a:gd name="connsiteX2141" fmla="*/ 524429 w 8537122"/>
              <a:gd name="connsiteY2141" fmla="*/ 3302380 h 8575811"/>
              <a:gd name="connsiteX2142" fmla="*/ 518114 w 8537122"/>
              <a:gd name="connsiteY2142" fmla="*/ 3304856 h 8575811"/>
              <a:gd name="connsiteX2143" fmla="*/ 514957 w 8537122"/>
              <a:gd name="connsiteY2143" fmla="*/ 3306095 h 8575811"/>
              <a:gd name="connsiteX2144" fmla="*/ 498622 w 8537122"/>
              <a:gd name="connsiteY2144" fmla="*/ 3301601 h 8575811"/>
              <a:gd name="connsiteX2145" fmla="*/ 485444 w 8537122"/>
              <a:gd name="connsiteY2145" fmla="*/ 3295869 h 8575811"/>
              <a:gd name="connsiteX2146" fmla="*/ 484209 w 8537122"/>
              <a:gd name="connsiteY2146" fmla="*/ 3292720 h 8575811"/>
              <a:gd name="connsiteX2147" fmla="*/ 469797 w 8537122"/>
              <a:gd name="connsiteY2147" fmla="*/ 3283838 h 8575811"/>
              <a:gd name="connsiteX2148" fmla="*/ 464169 w 8537122"/>
              <a:gd name="connsiteY2148" fmla="*/ 3278779 h 8575811"/>
              <a:gd name="connsiteX2149" fmla="*/ 453602 w 8537122"/>
              <a:gd name="connsiteY2149" fmla="*/ 3261123 h 8575811"/>
              <a:gd name="connsiteX2150" fmla="*/ 452367 w 8537122"/>
              <a:gd name="connsiteY2150" fmla="*/ 3257974 h 8575811"/>
              <a:gd name="connsiteX2151" fmla="*/ 431640 w 8537122"/>
              <a:gd name="connsiteY2151" fmla="*/ 3251569 h 8575811"/>
              <a:gd name="connsiteX2152" fmla="*/ 430405 w 8537122"/>
              <a:gd name="connsiteY2152" fmla="*/ 3248420 h 8575811"/>
              <a:gd name="connsiteX2153" fmla="*/ 427935 w 8537122"/>
              <a:gd name="connsiteY2153" fmla="*/ 3242122 h 8575811"/>
              <a:gd name="connsiteX2154" fmla="*/ 424777 w 8537122"/>
              <a:gd name="connsiteY2154" fmla="*/ 3243361 h 8575811"/>
              <a:gd name="connsiteX2155" fmla="*/ 413522 w 8537122"/>
              <a:gd name="connsiteY2155" fmla="*/ 3233241 h 8575811"/>
              <a:gd name="connsiteX2156" fmla="*/ 393482 w 8537122"/>
              <a:gd name="connsiteY2156" fmla="*/ 3219300 h 8575811"/>
              <a:gd name="connsiteX2157" fmla="*/ 389777 w 8537122"/>
              <a:gd name="connsiteY2157" fmla="*/ 3209853 h 8575811"/>
              <a:gd name="connsiteX2158" fmla="*/ 382227 w 8537122"/>
              <a:gd name="connsiteY2158" fmla="*/ 3209181 h 8575811"/>
              <a:gd name="connsiteX2159" fmla="*/ 371660 w 8537122"/>
              <a:gd name="connsiteY2159" fmla="*/ 3191525 h 8575811"/>
              <a:gd name="connsiteX2160" fmla="*/ 362327 w 8537122"/>
              <a:gd name="connsiteY2160" fmla="*/ 3177018 h 8575811"/>
              <a:gd name="connsiteX2161" fmla="*/ 319918 w 8537122"/>
              <a:gd name="connsiteY2161" fmla="*/ 3124616 h 8575811"/>
              <a:gd name="connsiteX2162" fmla="*/ 315665 w 8537122"/>
              <a:gd name="connsiteY2162" fmla="*/ 3104484 h 8575811"/>
              <a:gd name="connsiteX2163" fmla="*/ 323903 w 8537122"/>
              <a:gd name="connsiteY2163" fmla="*/ 3097620 h 8575811"/>
              <a:gd name="connsiteX2164" fmla="*/ 349023 w 8537122"/>
              <a:gd name="connsiteY2164" fmla="*/ 3105935 h 8575811"/>
              <a:gd name="connsiteX2165" fmla="*/ 378115 w 8537122"/>
              <a:gd name="connsiteY2165" fmla="*/ 3170826 h 8575811"/>
              <a:gd name="connsiteX2166" fmla="*/ 393902 w 8537122"/>
              <a:gd name="connsiteY2166" fmla="*/ 3164635 h 8575811"/>
              <a:gd name="connsiteX2167" fmla="*/ 404062 w 8537122"/>
              <a:gd name="connsiteY2167" fmla="*/ 3153384 h 8575811"/>
              <a:gd name="connsiteX2168" fmla="*/ 358915 w 8537122"/>
              <a:gd name="connsiteY2168" fmla="*/ 3047555 h 8575811"/>
              <a:gd name="connsiteX2169" fmla="*/ 349723 w 8537122"/>
              <a:gd name="connsiteY2169" fmla="*/ 3014827 h 8575811"/>
              <a:gd name="connsiteX2170" fmla="*/ 341905 w 8537122"/>
              <a:gd name="connsiteY2170" fmla="*/ 2967025 h 8575811"/>
              <a:gd name="connsiteX2171" fmla="*/ 330790 w 8537122"/>
              <a:gd name="connsiteY2171" fmla="*/ 2938684 h 8575811"/>
              <a:gd name="connsiteX2172" fmla="*/ 330243 w 8537122"/>
              <a:gd name="connsiteY2172" fmla="*/ 2927999 h 8575811"/>
              <a:gd name="connsiteX2173" fmla="*/ 330523 w 8537122"/>
              <a:gd name="connsiteY2173" fmla="*/ 2891555 h 8575811"/>
              <a:gd name="connsiteX2174" fmla="*/ 325875 w 8537122"/>
              <a:gd name="connsiteY2174" fmla="*/ 2758943 h 8575811"/>
              <a:gd name="connsiteX2175" fmla="*/ 330408 w 8537122"/>
              <a:gd name="connsiteY2175" fmla="*/ 2742632 h 8575811"/>
              <a:gd name="connsiteX2176" fmla="*/ 345100 w 8537122"/>
              <a:gd name="connsiteY2176" fmla="*/ 2715070 h 8575811"/>
              <a:gd name="connsiteX2177" fmla="*/ 354237 w 8537122"/>
              <a:gd name="connsiteY2177" fmla="*/ 2662890 h 8575811"/>
              <a:gd name="connsiteX2178" fmla="*/ 394762 w 8537122"/>
              <a:gd name="connsiteY2178" fmla="*/ 2634435 h 8575811"/>
              <a:gd name="connsiteX2179" fmla="*/ 437994 w 8537122"/>
              <a:gd name="connsiteY2179" fmla="*/ 2639580 h 8575811"/>
              <a:gd name="connsiteX2180" fmla="*/ 482934 w 8537122"/>
              <a:gd name="connsiteY2180" fmla="*/ 2639214 h 8575811"/>
              <a:gd name="connsiteX2181" fmla="*/ 562138 w 8537122"/>
              <a:gd name="connsiteY2181" fmla="*/ 2655385 h 8575811"/>
              <a:gd name="connsiteX2182" fmla="*/ 609221 w 8537122"/>
              <a:gd name="connsiteY2182" fmla="*/ 2673254 h 8575811"/>
              <a:gd name="connsiteX2183" fmla="*/ 657678 w 8537122"/>
              <a:gd name="connsiteY2183" fmla="*/ 2676050 h 8575811"/>
              <a:gd name="connsiteX2184" fmla="*/ 712310 w 8537122"/>
              <a:gd name="connsiteY2184" fmla="*/ 2694591 h 8575811"/>
              <a:gd name="connsiteX2185" fmla="*/ 768865 w 8537122"/>
              <a:gd name="connsiteY2185" fmla="*/ 2708745 h 8575811"/>
              <a:gd name="connsiteX2186" fmla="*/ 798377 w 8537122"/>
              <a:gd name="connsiteY2186" fmla="*/ 2718971 h 8575811"/>
              <a:gd name="connsiteX2187" fmla="*/ 822262 w 8537122"/>
              <a:gd name="connsiteY2187" fmla="*/ 2724138 h 8575811"/>
              <a:gd name="connsiteX2188" fmla="*/ 835439 w 8537122"/>
              <a:gd name="connsiteY2188" fmla="*/ 2729870 h 8575811"/>
              <a:gd name="connsiteX2189" fmla="*/ 853009 w 8537122"/>
              <a:gd name="connsiteY2189" fmla="*/ 2737513 h 8575811"/>
              <a:gd name="connsiteX2190" fmla="*/ 868109 w 8537122"/>
              <a:gd name="connsiteY2190" fmla="*/ 2738858 h 8575811"/>
              <a:gd name="connsiteX2191" fmla="*/ 952253 w 8537122"/>
              <a:gd name="connsiteY2191" fmla="*/ 2767625 h 8575811"/>
              <a:gd name="connsiteX2192" fmla="*/ 990550 w 8537122"/>
              <a:gd name="connsiteY2192" fmla="*/ 2781673 h 8575811"/>
              <a:gd name="connsiteX2193" fmla="*/ 1005650 w 8537122"/>
              <a:gd name="connsiteY2193" fmla="*/ 2783017 h 8575811"/>
              <a:gd name="connsiteX2194" fmla="*/ 1167624 w 8537122"/>
              <a:gd name="connsiteY2194" fmla="*/ 2843029 h 8575811"/>
              <a:gd name="connsiteX2195" fmla="*/ 1188352 w 8537122"/>
              <a:gd name="connsiteY2195" fmla="*/ 2849433 h 8575811"/>
              <a:gd name="connsiteX2196" fmla="*/ 1204686 w 8537122"/>
              <a:gd name="connsiteY2196" fmla="*/ 2853927 h 8575811"/>
              <a:gd name="connsiteX2197" fmla="*/ 1221021 w 8537122"/>
              <a:gd name="connsiteY2197" fmla="*/ 2858421 h 8575811"/>
              <a:gd name="connsiteX2198" fmla="*/ 1332756 w 8537122"/>
              <a:gd name="connsiteY2198" fmla="*/ 2901802 h 8575811"/>
              <a:gd name="connsiteX2199" fmla="*/ 1350325 w 8537122"/>
              <a:gd name="connsiteY2199" fmla="*/ 2909445 h 8575811"/>
              <a:gd name="connsiteX2200" fmla="*/ 1363503 w 8537122"/>
              <a:gd name="connsiteY2200" fmla="*/ 2915177 h 8575811"/>
              <a:gd name="connsiteX2201" fmla="*/ 1420057 w 8537122"/>
              <a:gd name="connsiteY2201" fmla="*/ 2929330 h 8575811"/>
              <a:gd name="connsiteX2202" fmla="*/ 1411692 w 8537122"/>
              <a:gd name="connsiteY2202" fmla="*/ 2870844 h 8575811"/>
              <a:gd name="connsiteX2203" fmla="*/ 1417052 w 8537122"/>
              <a:gd name="connsiteY2203" fmla="*/ 2828775 h 8575811"/>
              <a:gd name="connsiteX2204" fmla="*/ 1414583 w 8537122"/>
              <a:gd name="connsiteY2204" fmla="*/ 2822477 h 8575811"/>
              <a:gd name="connsiteX2205" fmla="*/ 1418567 w 8537122"/>
              <a:gd name="connsiteY2205" fmla="*/ 2795480 h 8575811"/>
              <a:gd name="connsiteX2206" fmla="*/ 1407045 w 8537122"/>
              <a:gd name="connsiteY2206" fmla="*/ 2738232 h 8575811"/>
              <a:gd name="connsiteX2207" fmla="*/ 1415970 w 8537122"/>
              <a:gd name="connsiteY2207" fmla="*/ 2723832 h 8575811"/>
              <a:gd name="connsiteX2208" fmla="*/ 1429975 w 8537122"/>
              <a:gd name="connsiteY2208" fmla="*/ 2703806 h 8575811"/>
              <a:gd name="connsiteX2209" fmla="*/ 1441242 w 8537122"/>
              <a:gd name="connsiteY2209" fmla="*/ 2630353 h 8575811"/>
              <a:gd name="connsiteX2210" fmla="*/ 1449479 w 8537122"/>
              <a:gd name="connsiteY2210" fmla="*/ 2623489 h 8575811"/>
              <a:gd name="connsiteX2211" fmla="*/ 1445775 w 8537122"/>
              <a:gd name="connsiteY2211" fmla="*/ 2614042 h 8575811"/>
              <a:gd name="connsiteX2212" fmla="*/ 1448932 w 8537122"/>
              <a:gd name="connsiteY2212" fmla="*/ 2612804 h 8575811"/>
              <a:gd name="connsiteX2213" fmla="*/ 1486822 w 8537122"/>
              <a:gd name="connsiteY2213" fmla="*/ 2597944 h 8575811"/>
              <a:gd name="connsiteX2214" fmla="*/ 1496982 w 8537122"/>
              <a:gd name="connsiteY2214" fmla="*/ 2586693 h 8575811"/>
              <a:gd name="connsiteX2215" fmla="*/ 1487649 w 8537122"/>
              <a:gd name="connsiteY2215" fmla="*/ 2572186 h 8575811"/>
              <a:gd name="connsiteX2216" fmla="*/ 1497262 w 8537122"/>
              <a:gd name="connsiteY2216" fmla="*/ 2550249 h 8575811"/>
              <a:gd name="connsiteX2217" fmla="*/ 1501106 w 8537122"/>
              <a:gd name="connsiteY2217" fmla="*/ 2541475 h 8575811"/>
              <a:gd name="connsiteX2218" fmla="*/ 1466654 w 8537122"/>
              <a:gd name="connsiteY2218" fmla="*/ 2518652 h 8575811"/>
              <a:gd name="connsiteX2219" fmla="*/ 1405160 w 8537122"/>
              <a:gd name="connsiteY2219" fmla="*/ 2491903 h 8575811"/>
              <a:gd name="connsiteX2220" fmla="*/ 1377977 w 8537122"/>
              <a:gd name="connsiteY2220" fmla="*/ 2506196 h 8575811"/>
              <a:gd name="connsiteX2221" fmla="*/ 1354640 w 8537122"/>
              <a:gd name="connsiteY2221" fmla="*/ 2511715 h 8575811"/>
              <a:gd name="connsiteX2222" fmla="*/ 1341463 w 8537122"/>
              <a:gd name="connsiteY2222" fmla="*/ 2505983 h 8575811"/>
              <a:gd name="connsiteX2223" fmla="*/ 1320188 w 8537122"/>
              <a:gd name="connsiteY2223" fmla="*/ 2488893 h 8575811"/>
              <a:gd name="connsiteX2224" fmla="*/ 1292598 w 8537122"/>
              <a:gd name="connsiteY2224" fmla="*/ 2474280 h 8575811"/>
              <a:gd name="connsiteX2225" fmla="*/ 1276263 w 8537122"/>
              <a:gd name="connsiteY2225" fmla="*/ 2469786 h 8575811"/>
              <a:gd name="connsiteX2226" fmla="*/ 1271871 w 8537122"/>
              <a:gd name="connsiteY2226" fmla="*/ 2467875 h 8575811"/>
              <a:gd name="connsiteX2227" fmla="*/ 1269948 w 8537122"/>
              <a:gd name="connsiteY2227" fmla="*/ 2472262 h 8575811"/>
              <a:gd name="connsiteX2228" fmla="*/ 1232339 w 8537122"/>
              <a:gd name="connsiteY2228" fmla="*/ 2450679 h 8575811"/>
              <a:gd name="connsiteX2229" fmla="*/ 1210516 w 8537122"/>
              <a:gd name="connsiteY2229" fmla="*/ 2422903 h 8575811"/>
              <a:gd name="connsiteX2230" fmla="*/ 1206811 w 8537122"/>
              <a:gd name="connsiteY2230" fmla="*/ 2413456 h 8575811"/>
              <a:gd name="connsiteX2231" fmla="*/ 1203246 w 8537122"/>
              <a:gd name="connsiteY2231" fmla="*/ 2385788 h 8575811"/>
              <a:gd name="connsiteX2232" fmla="*/ 1176064 w 8537122"/>
              <a:gd name="connsiteY2232" fmla="*/ 2400081 h 8575811"/>
              <a:gd name="connsiteX2233" fmla="*/ 1174142 w 8537122"/>
              <a:gd name="connsiteY2233" fmla="*/ 2404468 h 8575811"/>
              <a:gd name="connsiteX2234" fmla="*/ 1170297 w 8537122"/>
              <a:gd name="connsiteY2234" fmla="*/ 2413243 h 8575811"/>
              <a:gd name="connsiteX2235" fmla="*/ 1159589 w 8537122"/>
              <a:gd name="connsiteY2235" fmla="*/ 2413809 h 8575811"/>
              <a:gd name="connsiteX2236" fmla="*/ 1158354 w 8537122"/>
              <a:gd name="connsiteY2236" fmla="*/ 2410660 h 8575811"/>
              <a:gd name="connsiteX2237" fmla="*/ 1153962 w 8537122"/>
              <a:gd name="connsiteY2237" fmla="*/ 2408749 h 8575811"/>
              <a:gd name="connsiteX2238" fmla="*/ 1139549 w 8537122"/>
              <a:gd name="connsiteY2238" fmla="*/ 2399868 h 8575811"/>
              <a:gd name="connsiteX2239" fmla="*/ 1135844 w 8537122"/>
              <a:gd name="connsiteY2239" fmla="*/ 2390421 h 8575811"/>
              <a:gd name="connsiteX2240" fmla="*/ 1122667 w 8537122"/>
              <a:gd name="connsiteY2240" fmla="*/ 2384689 h 8575811"/>
              <a:gd name="connsiteX2241" fmla="*/ 1108802 w 8537122"/>
              <a:gd name="connsiteY2241" fmla="*/ 2386493 h 8575811"/>
              <a:gd name="connsiteX2242" fmla="*/ 1095625 w 8537122"/>
              <a:gd name="connsiteY2242" fmla="*/ 2380761 h 8575811"/>
              <a:gd name="connsiteX2243" fmla="*/ 1088762 w 8537122"/>
              <a:gd name="connsiteY2243" fmla="*/ 2372552 h 8575811"/>
              <a:gd name="connsiteX2244" fmla="*/ 1075585 w 8537122"/>
              <a:gd name="connsiteY2244" fmla="*/ 2366820 h 8575811"/>
              <a:gd name="connsiteX2245" fmla="*/ 1064877 w 8537122"/>
              <a:gd name="connsiteY2245" fmla="*/ 2367386 h 8575811"/>
              <a:gd name="connsiteX2246" fmla="*/ 1050465 w 8537122"/>
              <a:gd name="connsiteY2246" fmla="*/ 2358505 h 8575811"/>
              <a:gd name="connsiteX2247" fmla="*/ 1049230 w 8537122"/>
              <a:gd name="connsiteY2247" fmla="*/ 2355356 h 8575811"/>
              <a:gd name="connsiteX2248" fmla="*/ 1044838 w 8537122"/>
              <a:gd name="connsiteY2248" fmla="*/ 2353445 h 8575811"/>
              <a:gd name="connsiteX2249" fmla="*/ 1031660 w 8537122"/>
              <a:gd name="connsiteY2249" fmla="*/ 2347713 h 8575811"/>
              <a:gd name="connsiteX2250" fmla="*/ 1030425 w 8537122"/>
              <a:gd name="connsiteY2250" fmla="*/ 2344564 h 8575811"/>
              <a:gd name="connsiteX2251" fmla="*/ 1026720 w 8537122"/>
              <a:gd name="connsiteY2251" fmla="*/ 2335117 h 8575811"/>
              <a:gd name="connsiteX2252" fmla="*/ 1050197 w 8537122"/>
              <a:gd name="connsiteY2252" fmla="*/ 2311376 h 8575811"/>
              <a:gd name="connsiteX2253" fmla="*/ 1052808 w 8537122"/>
              <a:gd name="connsiteY2253" fmla="*/ 2299452 h 8575811"/>
              <a:gd name="connsiteX2254" fmla="*/ 1045945 w 8537122"/>
              <a:gd name="connsiteY2254" fmla="*/ 2291243 h 8575811"/>
              <a:gd name="connsiteX2255" fmla="*/ 1029610 w 8537122"/>
              <a:gd name="connsiteY2255" fmla="*/ 2286749 h 8575811"/>
              <a:gd name="connsiteX2256" fmla="*/ 1022060 w 8537122"/>
              <a:gd name="connsiteY2256" fmla="*/ 2286077 h 8575811"/>
              <a:gd name="connsiteX2257" fmla="*/ 1020138 w 8537122"/>
              <a:gd name="connsiteY2257" fmla="*/ 2290464 h 8575811"/>
              <a:gd name="connsiteX2258" fmla="*/ 1021920 w 8537122"/>
              <a:gd name="connsiteY2258" fmla="*/ 2304299 h 8575811"/>
              <a:gd name="connsiteX2259" fmla="*/ 1013543 w 8537122"/>
              <a:gd name="connsiteY2259" fmla="*/ 2329384 h 8575811"/>
              <a:gd name="connsiteX2260" fmla="*/ 1002835 w 8537122"/>
              <a:gd name="connsiteY2260" fmla="*/ 2329950 h 8575811"/>
              <a:gd name="connsiteX2261" fmla="*/ 998443 w 8537122"/>
              <a:gd name="connsiteY2261" fmla="*/ 2328040 h 8575811"/>
              <a:gd name="connsiteX2262" fmla="*/ 958363 w 8537122"/>
              <a:gd name="connsiteY2262" fmla="*/ 2300157 h 8575811"/>
              <a:gd name="connsiteX2263" fmla="*/ 955206 w 8537122"/>
              <a:gd name="connsiteY2263" fmla="*/ 2301396 h 8575811"/>
              <a:gd name="connsiteX2264" fmla="*/ 935166 w 8537122"/>
              <a:gd name="connsiteY2264" fmla="*/ 2287455 h 8575811"/>
              <a:gd name="connsiteX2265" fmla="*/ 925834 w 8537122"/>
              <a:gd name="connsiteY2265" fmla="*/ 2272948 h 8575811"/>
              <a:gd name="connsiteX2266" fmla="*/ 921441 w 8537122"/>
              <a:gd name="connsiteY2266" fmla="*/ 2271037 h 8575811"/>
              <a:gd name="connsiteX2267" fmla="*/ 906341 w 8537122"/>
              <a:gd name="connsiteY2267" fmla="*/ 2269693 h 8575811"/>
              <a:gd name="connsiteX2268" fmla="*/ 895774 w 8537122"/>
              <a:gd name="connsiteY2268" fmla="*/ 2252037 h 8575811"/>
              <a:gd name="connsiteX2269" fmla="*/ 892068 w 8537122"/>
              <a:gd name="connsiteY2269" fmla="*/ 2242590 h 8575811"/>
              <a:gd name="connsiteX2270" fmla="*/ 888911 w 8537122"/>
              <a:gd name="connsiteY2270" fmla="*/ 2243828 h 8575811"/>
              <a:gd name="connsiteX2271" fmla="*/ 884519 w 8537122"/>
              <a:gd name="connsiteY2271" fmla="*/ 2241917 h 8575811"/>
              <a:gd name="connsiteX2272" fmla="*/ 871341 w 8537122"/>
              <a:gd name="connsiteY2272" fmla="*/ 2236185 h 8575811"/>
              <a:gd name="connsiteX2273" fmla="*/ 856521 w 8537122"/>
              <a:gd name="connsiteY2273" fmla="*/ 2198397 h 8575811"/>
              <a:gd name="connsiteX2274" fmla="*/ 861601 w 8537122"/>
              <a:gd name="connsiteY2274" fmla="*/ 2192771 h 8575811"/>
              <a:gd name="connsiteX2275" fmla="*/ 856661 w 8537122"/>
              <a:gd name="connsiteY2275" fmla="*/ 2180175 h 8575811"/>
              <a:gd name="connsiteX2276" fmla="*/ 855426 w 8537122"/>
              <a:gd name="connsiteY2276" fmla="*/ 2177026 h 8575811"/>
              <a:gd name="connsiteX2277" fmla="*/ 854191 w 8537122"/>
              <a:gd name="connsiteY2277" fmla="*/ 2173877 h 8575811"/>
              <a:gd name="connsiteX2278" fmla="*/ 857349 w 8537122"/>
              <a:gd name="connsiteY2278" fmla="*/ 2172639 h 8575811"/>
              <a:gd name="connsiteX2279" fmla="*/ 856114 w 8537122"/>
              <a:gd name="connsiteY2279" fmla="*/ 2169490 h 8575811"/>
              <a:gd name="connsiteX2280" fmla="*/ 862429 w 8537122"/>
              <a:gd name="connsiteY2280" fmla="*/ 2167013 h 8575811"/>
              <a:gd name="connsiteX2281" fmla="*/ 865039 w 8537122"/>
              <a:gd name="connsiteY2281" fmla="*/ 2155089 h 8575811"/>
              <a:gd name="connsiteX2282" fmla="*/ 869431 w 8537122"/>
              <a:gd name="connsiteY2282" fmla="*/ 2157000 h 8575811"/>
              <a:gd name="connsiteX2283" fmla="*/ 872589 w 8537122"/>
              <a:gd name="connsiteY2283" fmla="*/ 2155762 h 8575811"/>
              <a:gd name="connsiteX2284" fmla="*/ 878904 w 8537122"/>
              <a:gd name="connsiteY2284" fmla="*/ 2153285 h 8575811"/>
              <a:gd name="connsiteX2285" fmla="*/ 878089 w 8537122"/>
              <a:gd name="connsiteY2285" fmla="*/ 2095471 h 8575811"/>
              <a:gd name="connsiteX2286" fmla="*/ 864924 w 8537122"/>
              <a:gd name="connsiteY2286" fmla="*/ 2006167 h 8575811"/>
              <a:gd name="connsiteX2287" fmla="*/ 863142 w 8537122"/>
              <a:gd name="connsiteY2287" fmla="*/ 1992332 h 8575811"/>
              <a:gd name="connsiteX2288" fmla="*/ 868094 w 8537122"/>
              <a:gd name="connsiteY2288" fmla="*/ 1921356 h 8575811"/>
              <a:gd name="connsiteX2289" fmla="*/ 869609 w 8537122"/>
              <a:gd name="connsiteY2289" fmla="*/ 1888061 h 8575811"/>
              <a:gd name="connsiteX2290" fmla="*/ 857259 w 8537122"/>
              <a:gd name="connsiteY2290" fmla="*/ 1856571 h 8575811"/>
              <a:gd name="connsiteX2291" fmla="*/ 876484 w 8537122"/>
              <a:gd name="connsiteY2291" fmla="*/ 1812698 h 8575811"/>
              <a:gd name="connsiteX2292" fmla="*/ 881844 w 8537122"/>
              <a:gd name="connsiteY2292" fmla="*/ 1770628 h 8575811"/>
              <a:gd name="connsiteX2293" fmla="*/ 910261 w 8537122"/>
              <a:gd name="connsiteY2293" fmla="*/ 1759484 h 8575811"/>
              <a:gd name="connsiteX2294" fmla="*/ 970521 w 8537122"/>
              <a:gd name="connsiteY2294" fmla="*/ 1783085 h 8575811"/>
              <a:gd name="connsiteX2295" fmla="*/ 1021448 w 8537122"/>
              <a:gd name="connsiteY2295" fmla="*/ 1792179 h 8575811"/>
              <a:gd name="connsiteX2296" fmla="*/ 1079097 w 8537122"/>
              <a:gd name="connsiteY2296" fmla="*/ 1827704 h 8575811"/>
              <a:gd name="connsiteX2297" fmla="*/ 1094884 w 8537122"/>
              <a:gd name="connsiteY2297" fmla="*/ 1821512 h 8575811"/>
              <a:gd name="connsiteX2298" fmla="*/ 1165851 w 8537122"/>
              <a:gd name="connsiteY2298" fmla="*/ 1844548 h 8575811"/>
              <a:gd name="connsiteX2299" fmla="*/ 1195912 w 8537122"/>
              <a:gd name="connsiteY2299" fmla="*/ 1865459 h 8575811"/>
              <a:gd name="connsiteX2300" fmla="*/ 1227894 w 8537122"/>
              <a:gd name="connsiteY2300" fmla="*/ 1881983 h 8575811"/>
              <a:gd name="connsiteX2301" fmla="*/ 1270584 w 8537122"/>
              <a:gd name="connsiteY2301" fmla="*/ 1897941 h 8575811"/>
              <a:gd name="connsiteX2302" fmla="*/ 1288153 w 8537122"/>
              <a:gd name="connsiteY2302" fmla="*/ 1905584 h 8575811"/>
              <a:gd name="connsiteX2303" fmla="*/ 1355008 w 8537122"/>
              <a:gd name="connsiteY2303" fmla="*/ 1890265 h 8575811"/>
              <a:gd name="connsiteX2304" fmla="*/ 1366683 w 8537122"/>
              <a:gd name="connsiteY2304" fmla="*/ 1845719 h 8575811"/>
              <a:gd name="connsiteX2305" fmla="*/ 1353098 w 8537122"/>
              <a:gd name="connsiteY2305" fmla="*/ 1811080 h 8575811"/>
              <a:gd name="connsiteX2306" fmla="*/ 1332243 w 8537122"/>
              <a:gd name="connsiteY2306" fmla="*/ 1739325 h 8575811"/>
              <a:gd name="connsiteX2307" fmla="*/ 1334166 w 8537122"/>
              <a:gd name="connsiteY2307" fmla="*/ 1734938 h 8575811"/>
              <a:gd name="connsiteX2308" fmla="*/ 1332931 w 8537122"/>
              <a:gd name="connsiteY2308" fmla="*/ 1731789 h 8575811"/>
              <a:gd name="connsiteX2309" fmla="*/ 1345153 w 8537122"/>
              <a:gd name="connsiteY2309" fmla="*/ 1697928 h 8575811"/>
              <a:gd name="connsiteX2310" fmla="*/ 1339118 w 8537122"/>
              <a:gd name="connsiteY2310" fmla="*/ 1663961 h 8575811"/>
              <a:gd name="connsiteX2311" fmla="*/ 1330753 w 8537122"/>
              <a:gd name="connsiteY2311" fmla="*/ 1605475 h 8575811"/>
              <a:gd name="connsiteX2312" fmla="*/ 1328283 w 8537122"/>
              <a:gd name="connsiteY2312" fmla="*/ 1599177 h 8575811"/>
              <a:gd name="connsiteX2313" fmla="*/ 1351085 w 8537122"/>
              <a:gd name="connsiteY2313" fmla="*/ 1499400 h 8575811"/>
              <a:gd name="connsiteX2314" fmla="*/ 1356853 w 8537122"/>
              <a:gd name="connsiteY2314" fmla="*/ 1486238 h 8575811"/>
              <a:gd name="connsiteX2315" fmla="*/ 1365778 w 8537122"/>
              <a:gd name="connsiteY2315" fmla="*/ 1471837 h 8575811"/>
              <a:gd name="connsiteX2316" fmla="*/ 1441010 w 8537122"/>
              <a:gd name="connsiteY2316" fmla="*/ 1431433 h 8575811"/>
              <a:gd name="connsiteX2317" fmla="*/ 1507317 w 8537122"/>
              <a:gd name="connsiteY2317" fmla="*/ 1405429 h 8575811"/>
              <a:gd name="connsiteX2318" fmla="*/ 1604918 w 8537122"/>
              <a:gd name="connsiteY2318" fmla="*/ 1403485 h 8575811"/>
              <a:gd name="connsiteX2319" fmla="*/ 1656533 w 8537122"/>
              <a:gd name="connsiteY2319" fmla="*/ 1405043 h 8575811"/>
              <a:gd name="connsiteX2320" fmla="*/ 1753995 w 8537122"/>
              <a:gd name="connsiteY2320" fmla="*/ 1421320 h 8575811"/>
              <a:gd name="connsiteX2321" fmla="*/ 1845689 w 8537122"/>
              <a:gd name="connsiteY2321" fmla="*/ 1450760 h 8575811"/>
              <a:gd name="connsiteX2322" fmla="*/ 1863946 w 8537122"/>
              <a:gd name="connsiteY2322" fmla="*/ 1450867 h 8575811"/>
              <a:gd name="connsiteX2323" fmla="*/ 1957703 w 8537122"/>
              <a:gd name="connsiteY2323" fmla="*/ 1457697 h 8575811"/>
              <a:gd name="connsiteX2324" fmla="*/ 2112955 w 8537122"/>
              <a:gd name="connsiteY2324" fmla="*/ 1491278 h 8575811"/>
              <a:gd name="connsiteX2325" fmla="*/ 2135605 w 8537122"/>
              <a:gd name="connsiteY2325" fmla="*/ 1493295 h 8575811"/>
              <a:gd name="connsiteX2326" fmla="*/ 2395727 w 8537122"/>
              <a:gd name="connsiteY2326" fmla="*/ 1562048 h 8575811"/>
              <a:gd name="connsiteX2327" fmla="*/ 2692225 w 8537122"/>
              <a:gd name="connsiteY2327" fmla="*/ 1649236 h 8575811"/>
              <a:gd name="connsiteX2328" fmla="*/ 2717345 w 8537122"/>
              <a:gd name="connsiteY2328" fmla="*/ 1657551 h 8575811"/>
              <a:gd name="connsiteX2329" fmla="*/ 2738073 w 8537122"/>
              <a:gd name="connsiteY2329" fmla="*/ 1663955 h 8575811"/>
              <a:gd name="connsiteX2330" fmla="*/ 2753860 w 8537122"/>
              <a:gd name="connsiteY2330" fmla="*/ 1657764 h 8575811"/>
              <a:gd name="connsiteX2331" fmla="*/ 2755782 w 8537122"/>
              <a:gd name="connsiteY2331" fmla="*/ 1653377 h 8575811"/>
              <a:gd name="connsiteX2332" fmla="*/ 2756470 w 8537122"/>
              <a:gd name="connsiteY2332" fmla="*/ 1645840 h 8575811"/>
              <a:gd name="connsiteX2333" fmla="*/ 2755235 w 8537122"/>
              <a:gd name="connsiteY2333" fmla="*/ 1642691 h 8575811"/>
              <a:gd name="connsiteX2334" fmla="*/ 2750842 w 8537122"/>
              <a:gd name="connsiteY2334" fmla="*/ 1640781 h 8575811"/>
              <a:gd name="connsiteX2335" fmla="*/ 2736430 w 8537122"/>
              <a:gd name="connsiteY2335" fmla="*/ 1631900 h 8575811"/>
              <a:gd name="connsiteX2336" fmla="*/ 2730115 w 8537122"/>
              <a:gd name="connsiteY2336" fmla="*/ 1634376 h 8575811"/>
              <a:gd name="connsiteX2337" fmla="*/ 2726958 w 8537122"/>
              <a:gd name="connsiteY2337" fmla="*/ 1635614 h 8575811"/>
              <a:gd name="connsiteX2338" fmla="*/ 2720095 w 8537122"/>
              <a:gd name="connsiteY2338" fmla="*/ 1627406 h 8575811"/>
              <a:gd name="connsiteX2339" fmla="*/ 2704448 w 8537122"/>
              <a:gd name="connsiteY2339" fmla="*/ 1615375 h 8575811"/>
              <a:gd name="connsiteX2340" fmla="*/ 2568969 w 8537122"/>
              <a:gd name="connsiteY2340" fmla="*/ 1548607 h 8575811"/>
              <a:gd name="connsiteX2341" fmla="*/ 2557026 w 8537122"/>
              <a:gd name="connsiteY2341" fmla="*/ 1546023 h 8575811"/>
              <a:gd name="connsiteX2342" fmla="*/ 2552634 w 8537122"/>
              <a:gd name="connsiteY2342" fmla="*/ 1544113 h 8575811"/>
              <a:gd name="connsiteX2343" fmla="*/ 2541379 w 8537122"/>
              <a:gd name="connsiteY2343" fmla="*/ 1533993 h 8575811"/>
              <a:gd name="connsiteX2344" fmla="*/ 2535751 w 8537122"/>
              <a:gd name="connsiteY2344" fmla="*/ 1528934 h 8575811"/>
              <a:gd name="connsiteX2345" fmla="*/ 2505692 w 8537122"/>
              <a:gd name="connsiteY2345" fmla="*/ 1508022 h 8575811"/>
              <a:gd name="connsiteX2346" fmla="*/ 2515584 w 8537122"/>
              <a:gd name="connsiteY2346" fmla="*/ 1449642 h 8575811"/>
              <a:gd name="connsiteX2347" fmla="*/ 2517507 w 8537122"/>
              <a:gd name="connsiteY2347" fmla="*/ 1445255 h 8575811"/>
              <a:gd name="connsiteX2348" fmla="*/ 2522727 w 8537122"/>
              <a:gd name="connsiteY2348" fmla="*/ 1421407 h 8575811"/>
              <a:gd name="connsiteX2349" fmla="*/ 2497352 w 8537122"/>
              <a:gd name="connsiteY2349" fmla="*/ 1282391 h 8575811"/>
              <a:gd name="connsiteX2350" fmla="*/ 2496257 w 8537122"/>
              <a:gd name="connsiteY2350" fmla="*/ 1261020 h 8575811"/>
              <a:gd name="connsiteX2351" fmla="*/ 2495862 w 8537122"/>
              <a:gd name="connsiteY2351" fmla="*/ 1148540 h 8575811"/>
              <a:gd name="connsiteX2352" fmla="*/ 2483919 w 8537122"/>
              <a:gd name="connsiteY2352" fmla="*/ 1145957 h 8575811"/>
              <a:gd name="connsiteX2353" fmla="*/ 2452484 w 8537122"/>
              <a:gd name="connsiteY2353" fmla="*/ 1140119 h 8575811"/>
              <a:gd name="connsiteX2354" fmla="*/ 2448092 w 8537122"/>
              <a:gd name="connsiteY2354" fmla="*/ 1138208 h 8575811"/>
              <a:gd name="connsiteX2355" fmla="*/ 2442465 w 8537122"/>
              <a:gd name="connsiteY2355" fmla="*/ 1133148 h 8575811"/>
              <a:gd name="connsiteX2356" fmla="*/ 2439307 w 8537122"/>
              <a:gd name="connsiteY2356" fmla="*/ 1134386 h 8575811"/>
              <a:gd name="connsiteX2357" fmla="*/ 2402245 w 8537122"/>
              <a:gd name="connsiteY2357" fmla="*/ 1123488 h 8575811"/>
              <a:gd name="connsiteX2358" fmla="*/ 2395382 w 8537122"/>
              <a:gd name="connsiteY2358" fmla="*/ 1115279 h 8575811"/>
              <a:gd name="connsiteX2359" fmla="*/ 2298748 w 8537122"/>
              <a:gd name="connsiteY2359" fmla="*/ 1073243 h 8575811"/>
              <a:gd name="connsiteX2360" fmla="*/ 2322773 w 8537122"/>
              <a:gd name="connsiteY2360" fmla="*/ 1060188 h 8575811"/>
              <a:gd name="connsiteX2361" fmla="*/ 2333073 w 8537122"/>
              <a:gd name="connsiteY2361" fmla="*/ 1030715 h 8575811"/>
              <a:gd name="connsiteX2362" fmla="*/ 2342825 w 8537122"/>
              <a:gd name="connsiteY2362" fmla="*/ 990556 h 8575811"/>
              <a:gd name="connsiteX2363" fmla="*/ 2335008 w 8537122"/>
              <a:gd name="connsiteY2363" fmla="*/ 942755 h 8575811"/>
              <a:gd name="connsiteX2364" fmla="*/ 2331443 w 8537122"/>
              <a:gd name="connsiteY2364" fmla="*/ 915086 h 8575811"/>
              <a:gd name="connsiteX2365" fmla="*/ 2319233 w 8537122"/>
              <a:gd name="connsiteY2365" fmla="*/ 865374 h 8575811"/>
              <a:gd name="connsiteX2366" fmla="*/ 2316356 w 8537122"/>
              <a:gd name="connsiteY2366" fmla="*/ 830169 h 8575811"/>
              <a:gd name="connsiteX2367" fmla="*/ 2313758 w 8537122"/>
              <a:gd name="connsiteY2367" fmla="*/ 758521 h 8575811"/>
              <a:gd name="connsiteX2368" fmla="*/ 2327216 w 8537122"/>
              <a:gd name="connsiteY2368" fmla="*/ 727809 h 8575811"/>
              <a:gd name="connsiteX2369" fmla="*/ 2328043 w 8537122"/>
              <a:gd name="connsiteY2369" fmla="*/ 702051 h 8575811"/>
              <a:gd name="connsiteX2370" fmla="*/ 2330105 w 8537122"/>
              <a:gd name="connsiteY2370" fmla="*/ 679442 h 8575811"/>
              <a:gd name="connsiteX2371" fmla="*/ 2342876 w 8537122"/>
              <a:gd name="connsiteY2371" fmla="*/ 656267 h 8575811"/>
              <a:gd name="connsiteX2372" fmla="*/ 2341641 w 8537122"/>
              <a:gd name="connsiteY2372" fmla="*/ 653118 h 8575811"/>
              <a:gd name="connsiteX2373" fmla="*/ 2340406 w 8537122"/>
              <a:gd name="connsiteY2373" fmla="*/ 649969 h 8575811"/>
              <a:gd name="connsiteX2374" fmla="*/ 2339171 w 8537122"/>
              <a:gd name="connsiteY2374" fmla="*/ 646820 h 8575811"/>
              <a:gd name="connsiteX2375" fmla="*/ 2364978 w 8537122"/>
              <a:gd name="connsiteY2375" fmla="*/ 647599 h 8575811"/>
              <a:gd name="connsiteX2376" fmla="*/ 2375685 w 8537122"/>
              <a:gd name="connsiteY2376" fmla="*/ 647033 h 8575811"/>
              <a:gd name="connsiteX2377" fmla="*/ 2374450 w 8537122"/>
              <a:gd name="connsiteY2377" fmla="*/ 643884 h 8575811"/>
              <a:gd name="connsiteX2378" fmla="*/ 2387768 w 8537122"/>
              <a:gd name="connsiteY2378" fmla="*/ 631394 h 8575811"/>
              <a:gd name="connsiteX2379" fmla="*/ 2392847 w 8537122"/>
              <a:gd name="connsiteY2379" fmla="*/ 625769 h 8575811"/>
              <a:gd name="connsiteX2380" fmla="*/ 2373495 w 8537122"/>
              <a:gd name="connsiteY2380" fmla="*/ 604291 h 8575811"/>
              <a:gd name="connsiteX2381" fmla="*/ 2365805 w 8537122"/>
              <a:gd name="connsiteY2381" fmla="*/ 621841 h 8575811"/>
              <a:gd name="connsiteX2382" fmla="*/ 2330526 w 8537122"/>
              <a:gd name="connsiteY2382" fmla="*/ 624777 h 8575811"/>
              <a:gd name="connsiteX2383" fmla="*/ 2311721 w 8537122"/>
              <a:gd name="connsiteY2383" fmla="*/ 613985 h 8575811"/>
              <a:gd name="connsiteX2384" fmla="*/ 2316801 w 8537122"/>
              <a:gd name="connsiteY2384" fmla="*/ 608359 h 8575811"/>
              <a:gd name="connsiteX2385" fmla="*/ 2322568 w 8537122"/>
              <a:gd name="connsiteY2385" fmla="*/ 595197 h 8575811"/>
              <a:gd name="connsiteX2386" fmla="*/ 2313643 w 8537122"/>
              <a:gd name="connsiteY2386" fmla="*/ 609597 h 8575811"/>
              <a:gd name="connsiteX2387" fmla="*/ 2310486 w 8537122"/>
              <a:gd name="connsiteY2387" fmla="*/ 610836 h 8575811"/>
              <a:gd name="connsiteX2388" fmla="*/ 2266421 w 8537122"/>
              <a:gd name="connsiteY2388" fmla="*/ 609950 h 8575811"/>
              <a:gd name="connsiteX2389" fmla="*/ 2251321 w 8537122"/>
              <a:gd name="connsiteY2389" fmla="*/ 608605 h 8575811"/>
              <a:gd name="connsiteX2390" fmla="*/ 2240754 w 8537122"/>
              <a:gd name="connsiteY2390" fmla="*/ 590950 h 8575811"/>
              <a:gd name="connsiteX2391" fmla="*/ 2230046 w 8537122"/>
              <a:gd name="connsiteY2391" fmla="*/ 591515 h 8575811"/>
              <a:gd name="connsiteX2392" fmla="*/ 2203692 w 8537122"/>
              <a:gd name="connsiteY2392" fmla="*/ 580051 h 8575811"/>
              <a:gd name="connsiteX2393" fmla="*/ 2202457 w 8537122"/>
              <a:gd name="connsiteY2393" fmla="*/ 576902 h 8575811"/>
              <a:gd name="connsiteX2394" fmla="*/ 2175962 w 8537122"/>
              <a:gd name="connsiteY2394" fmla="*/ 583659 h 8575811"/>
              <a:gd name="connsiteX2395" fmla="*/ 2104855 w 8537122"/>
              <a:gd name="connsiteY2395" fmla="*/ 578846 h 8575811"/>
              <a:gd name="connsiteX2396" fmla="*/ 2064635 w 8537122"/>
              <a:gd name="connsiteY2396" fmla="*/ 569186 h 8575811"/>
              <a:gd name="connsiteX2397" fmla="*/ 2048300 w 8537122"/>
              <a:gd name="connsiteY2397" fmla="*/ 564692 h 8575811"/>
              <a:gd name="connsiteX2398" fmla="*/ 2047065 w 8537122"/>
              <a:gd name="connsiteY2398" fmla="*/ 561543 h 8575811"/>
              <a:gd name="connsiteX2399" fmla="*/ 2041985 w 8537122"/>
              <a:gd name="connsiteY2399" fmla="*/ 567169 h 8575811"/>
              <a:gd name="connsiteX2400" fmla="*/ 2025651 w 8537122"/>
              <a:gd name="connsiteY2400" fmla="*/ 562675 h 8575811"/>
              <a:gd name="connsiteX2401" fmla="*/ 1984195 w 8537122"/>
              <a:gd name="connsiteY2401" fmla="*/ 549866 h 8575811"/>
              <a:gd name="connsiteX2402" fmla="*/ 1955918 w 8537122"/>
              <a:gd name="connsiteY2402" fmla="*/ 542788 h 8575811"/>
              <a:gd name="connsiteX2403" fmla="*/ 1952761 w 8537122"/>
              <a:gd name="connsiteY2403" fmla="*/ 544027 h 8575811"/>
              <a:gd name="connsiteX2404" fmla="*/ 1919404 w 8537122"/>
              <a:gd name="connsiteY2404" fmla="*/ 542575 h 8575811"/>
              <a:gd name="connsiteX2405" fmla="*/ 1826334 w 8537122"/>
              <a:gd name="connsiteY2405" fmla="*/ 528208 h 8575811"/>
              <a:gd name="connsiteX2406" fmla="*/ 1816315 w 8537122"/>
              <a:gd name="connsiteY2406" fmla="*/ 521238 h 8575811"/>
              <a:gd name="connsiteX2407" fmla="*/ 1613153 w 8537122"/>
              <a:gd name="connsiteY2407" fmla="*/ 495546 h 8575811"/>
              <a:gd name="connsiteX2408" fmla="*/ 1576091 w 8537122"/>
              <a:gd name="connsiteY2408" fmla="*/ 484648 h 8575811"/>
              <a:gd name="connsiteX2409" fmla="*/ 1555364 w 8537122"/>
              <a:gd name="connsiteY2409" fmla="*/ 478243 h 8575811"/>
              <a:gd name="connsiteX2410" fmla="*/ 1401755 w 8537122"/>
              <a:gd name="connsiteY2410" fmla="*/ 476719 h 8575811"/>
              <a:gd name="connsiteX2411" fmla="*/ 1387890 w 8537122"/>
              <a:gd name="connsiteY2411" fmla="*/ 478523 h 8575811"/>
              <a:gd name="connsiteX2412" fmla="*/ 1320615 w 8537122"/>
              <a:gd name="connsiteY2412" fmla="*/ 548507 h 8575811"/>
              <a:gd name="connsiteX2413" fmla="*/ 1302753 w 8537122"/>
              <a:gd name="connsiteY2413" fmla="*/ 660880 h 8575811"/>
              <a:gd name="connsiteX2414" fmla="*/ 1291906 w 8537122"/>
              <a:gd name="connsiteY2414" fmla="*/ 679668 h 8575811"/>
              <a:gd name="connsiteX2415" fmla="*/ 1280511 w 8537122"/>
              <a:gd name="connsiteY2415" fmla="*/ 687770 h 8575811"/>
              <a:gd name="connsiteX2416" fmla="*/ 1284076 w 8537122"/>
              <a:gd name="connsiteY2416" fmla="*/ 715439 h 8575811"/>
              <a:gd name="connsiteX2417" fmla="*/ 1288468 w 8537122"/>
              <a:gd name="connsiteY2417" fmla="*/ 717349 h 8575811"/>
              <a:gd name="connsiteX2418" fmla="*/ 1308228 w 8537122"/>
              <a:gd name="connsiteY2418" fmla="*/ 767734 h 8575811"/>
              <a:gd name="connsiteX2419" fmla="*/ 1299851 w 8537122"/>
              <a:gd name="connsiteY2419" fmla="*/ 792819 h 8575811"/>
              <a:gd name="connsiteX2420" fmla="*/ 1303416 w 8537122"/>
              <a:gd name="connsiteY2420" fmla="*/ 820488 h 8575811"/>
              <a:gd name="connsiteX2421" fmla="*/ 1305466 w 8537122"/>
              <a:gd name="connsiteY2421" fmla="*/ 881452 h 8575811"/>
              <a:gd name="connsiteX2422" fmla="*/ 1302308 w 8537122"/>
              <a:gd name="connsiteY2422" fmla="*/ 882690 h 8575811"/>
              <a:gd name="connsiteX2423" fmla="*/ 1296133 w 8537122"/>
              <a:gd name="connsiteY2423" fmla="*/ 866945 h 8575811"/>
              <a:gd name="connsiteX2424" fmla="*/ 1293663 w 8537122"/>
              <a:gd name="connsiteY2424" fmla="*/ 860647 h 8575811"/>
              <a:gd name="connsiteX2425" fmla="*/ 1281721 w 8537122"/>
              <a:gd name="connsiteY2425" fmla="*/ 858064 h 8575811"/>
              <a:gd name="connsiteX2426" fmla="*/ 1275954 w 8537122"/>
              <a:gd name="connsiteY2426" fmla="*/ 871225 h 8575811"/>
              <a:gd name="connsiteX2427" fmla="*/ 1279659 w 8537122"/>
              <a:gd name="connsiteY2427" fmla="*/ 880673 h 8575811"/>
              <a:gd name="connsiteX2428" fmla="*/ 1277736 w 8537122"/>
              <a:gd name="connsiteY2428" fmla="*/ 885060 h 8575811"/>
              <a:gd name="connsiteX2429" fmla="*/ 1256321 w 8537122"/>
              <a:gd name="connsiteY2429" fmla="*/ 886192 h 8575811"/>
              <a:gd name="connsiteX2430" fmla="*/ 1243144 w 8537122"/>
              <a:gd name="connsiteY2430" fmla="*/ 880460 h 8575811"/>
              <a:gd name="connsiteX2431" fmla="*/ 1241909 w 8537122"/>
              <a:gd name="connsiteY2431" fmla="*/ 877311 h 8575811"/>
              <a:gd name="connsiteX2432" fmla="*/ 1223104 w 8537122"/>
              <a:gd name="connsiteY2432" fmla="*/ 866519 h 8575811"/>
              <a:gd name="connsiteX2433" fmla="*/ 1219399 w 8537122"/>
              <a:gd name="connsiteY2433" fmla="*/ 857072 h 8575811"/>
              <a:gd name="connsiteX2434" fmla="*/ 1214459 w 8537122"/>
              <a:gd name="connsiteY2434" fmla="*/ 844476 h 8575811"/>
              <a:gd name="connsiteX2435" fmla="*/ 1220774 w 8537122"/>
              <a:gd name="connsiteY2435" fmla="*/ 841999 h 8575811"/>
              <a:gd name="connsiteX2436" fmla="*/ 1227916 w 8537122"/>
              <a:gd name="connsiteY2436" fmla="*/ 813764 h 8575811"/>
              <a:gd name="connsiteX2437" fmla="*/ 1256334 w 8537122"/>
              <a:gd name="connsiteY2437" fmla="*/ 802619 h 8575811"/>
              <a:gd name="connsiteX2438" fmla="*/ 1256334 w 8537122"/>
              <a:gd name="connsiteY2438" fmla="*/ 802619 h 8575811"/>
              <a:gd name="connsiteX2439" fmla="*/ 1259491 w 8537122"/>
              <a:gd name="connsiteY2439" fmla="*/ 801381 h 8575811"/>
              <a:gd name="connsiteX2440" fmla="*/ 1256334 w 8537122"/>
              <a:gd name="connsiteY2440" fmla="*/ 802619 h 8575811"/>
              <a:gd name="connsiteX2441" fmla="*/ 1255099 w 8537122"/>
              <a:gd name="connsiteY2441" fmla="*/ 799470 h 8575811"/>
              <a:gd name="connsiteX2442" fmla="*/ 1224211 w 8537122"/>
              <a:gd name="connsiteY2442" fmla="*/ 804317 h 8575811"/>
              <a:gd name="connsiteX2443" fmla="*/ 1225446 w 8537122"/>
              <a:gd name="connsiteY2443" fmla="*/ 807466 h 8575811"/>
              <a:gd name="connsiteX2444" fmla="*/ 1227916 w 8537122"/>
              <a:gd name="connsiteY2444" fmla="*/ 813764 h 8575811"/>
              <a:gd name="connsiteX2445" fmla="*/ 1224759 w 8537122"/>
              <a:gd name="connsiteY2445" fmla="*/ 815003 h 8575811"/>
              <a:gd name="connsiteX2446" fmla="*/ 1208972 w 8537122"/>
              <a:gd name="connsiteY2446" fmla="*/ 821194 h 8575811"/>
              <a:gd name="connsiteX2447" fmla="*/ 1205814 w 8537122"/>
              <a:gd name="connsiteY2447" fmla="*/ 822432 h 8575811"/>
              <a:gd name="connsiteX2448" fmla="*/ 1204579 w 8537122"/>
              <a:gd name="connsiteY2448" fmla="*/ 819283 h 8575811"/>
              <a:gd name="connsiteX2449" fmla="*/ 1203344 w 8537122"/>
              <a:gd name="connsiteY2449" fmla="*/ 816134 h 8575811"/>
              <a:gd name="connsiteX2450" fmla="*/ 1200186 w 8537122"/>
              <a:gd name="connsiteY2450" fmla="*/ 817373 h 8575811"/>
              <a:gd name="connsiteX2451" fmla="*/ 1186321 w 8537122"/>
              <a:gd name="connsiteY2451" fmla="*/ 819177 h 8575811"/>
              <a:gd name="connsiteX2452" fmla="*/ 1180007 w 8537122"/>
              <a:gd name="connsiteY2452" fmla="*/ 821653 h 8575811"/>
              <a:gd name="connsiteX2453" fmla="*/ 1150227 w 8537122"/>
              <a:gd name="connsiteY2453" fmla="*/ 764298 h 8575811"/>
              <a:gd name="connsiteX2454" fmla="*/ 1130875 w 8537122"/>
              <a:gd name="connsiteY2454" fmla="*/ 742821 h 8575811"/>
              <a:gd name="connsiteX2455" fmla="*/ 1120167 w 8537122"/>
              <a:gd name="connsiteY2455" fmla="*/ 743387 h 8575811"/>
              <a:gd name="connsiteX2456" fmla="*/ 1117697 w 8537122"/>
              <a:gd name="connsiteY2456" fmla="*/ 737089 h 8575811"/>
              <a:gd name="connsiteX2457" fmla="*/ 1131014 w 8537122"/>
              <a:gd name="connsiteY2457" fmla="*/ 724599 h 8575811"/>
              <a:gd name="connsiteX2458" fmla="*/ 1137469 w 8537122"/>
              <a:gd name="connsiteY2458" fmla="*/ 703901 h 8575811"/>
              <a:gd name="connsiteX2459" fmla="*/ 1151474 w 8537122"/>
              <a:gd name="connsiteY2459" fmla="*/ 683875 h 8575811"/>
              <a:gd name="connsiteX2460" fmla="*/ 1150239 w 8537122"/>
              <a:gd name="connsiteY2460" fmla="*/ 680726 h 8575811"/>
              <a:gd name="connsiteX2461" fmla="*/ 1149004 w 8537122"/>
              <a:gd name="connsiteY2461" fmla="*/ 677577 h 8575811"/>
              <a:gd name="connsiteX2462" fmla="*/ 1150927 w 8537122"/>
              <a:gd name="connsiteY2462" fmla="*/ 673190 h 8575811"/>
              <a:gd name="connsiteX2463" fmla="*/ 1133357 w 8537122"/>
              <a:gd name="connsiteY2463" fmla="*/ 665547 h 8575811"/>
              <a:gd name="connsiteX2464" fmla="*/ 1112629 w 8537122"/>
              <a:gd name="connsiteY2464" fmla="*/ 659142 h 8575811"/>
              <a:gd name="connsiteX2465" fmla="*/ 1110707 w 8537122"/>
              <a:gd name="connsiteY2465" fmla="*/ 663530 h 8575811"/>
              <a:gd name="connsiteX2466" fmla="*/ 1103845 w 8537122"/>
              <a:gd name="connsiteY2466" fmla="*/ 655321 h 8575811"/>
              <a:gd name="connsiteX2467" fmla="*/ 1105767 w 8537122"/>
              <a:gd name="connsiteY2467" fmla="*/ 650933 h 8575811"/>
              <a:gd name="connsiteX2468" fmla="*/ 1104532 w 8537122"/>
              <a:gd name="connsiteY2468" fmla="*/ 647784 h 8575811"/>
              <a:gd name="connsiteX2469" fmla="*/ 1109065 w 8537122"/>
              <a:gd name="connsiteY2469" fmla="*/ 631473 h 8575811"/>
              <a:gd name="connsiteX2470" fmla="*/ 1109892 w 8537122"/>
              <a:gd name="connsiteY2470" fmla="*/ 605715 h 8575811"/>
              <a:gd name="connsiteX2471" fmla="*/ 1109345 w 8537122"/>
              <a:gd name="connsiteY2471" fmla="*/ 595030 h 8575811"/>
              <a:gd name="connsiteX2472" fmla="*/ 1112502 w 8537122"/>
              <a:gd name="connsiteY2472" fmla="*/ 593792 h 8575811"/>
              <a:gd name="connsiteX2473" fmla="*/ 1114425 w 8537122"/>
              <a:gd name="connsiteY2473" fmla="*/ 589404 h 8575811"/>
              <a:gd name="connsiteX2474" fmla="*/ 1131727 w 8537122"/>
              <a:gd name="connsiteY2474" fmla="*/ 549918 h 8575811"/>
              <a:gd name="connsiteX2475" fmla="*/ 1124864 w 8537122"/>
              <a:gd name="connsiteY2475" fmla="*/ 541710 h 8575811"/>
              <a:gd name="connsiteX2476" fmla="*/ 1120472 w 8537122"/>
              <a:gd name="connsiteY2476" fmla="*/ 539799 h 8575811"/>
              <a:gd name="connsiteX2477" fmla="*/ 1129817 w 8537122"/>
              <a:gd name="connsiteY2477" fmla="*/ 470733 h 8575811"/>
              <a:gd name="connsiteX2478" fmla="*/ 1124202 w 8537122"/>
              <a:gd name="connsiteY2478" fmla="*/ 382101 h 8575811"/>
              <a:gd name="connsiteX2479" fmla="*/ 1139200 w 8537122"/>
              <a:gd name="connsiteY2479" fmla="*/ 150951 h 8575811"/>
              <a:gd name="connsiteX2480" fmla="*/ 1175994 w 8537122"/>
              <a:gd name="connsiteY2480" fmla="*/ 114720 h 8575811"/>
              <a:gd name="connsiteX2481" fmla="*/ 1174492 w 8537122"/>
              <a:gd name="connsiteY2481" fmla="*/ 64442 h 8575811"/>
              <a:gd name="connsiteX2482" fmla="*/ 1188357 w 8537122"/>
              <a:gd name="connsiteY2482" fmla="*/ 62638 h 8575811"/>
              <a:gd name="connsiteX2483" fmla="*/ 1200986 w 8537122"/>
              <a:gd name="connsiteY2483" fmla="*/ 57685 h 8575811"/>
              <a:gd name="connsiteX2484" fmla="*/ 1279236 w 8537122"/>
              <a:gd name="connsiteY2484" fmla="*/ 34264 h 8575811"/>
              <a:gd name="connsiteX2485" fmla="*/ 1320283 w 8537122"/>
              <a:gd name="connsiteY2485" fmla="*/ 18166 h 8575811"/>
              <a:gd name="connsiteX2486" fmla="*/ 1362566 w 8537122"/>
              <a:gd name="connsiteY2486" fmla="*/ 5217 h 8575811"/>
              <a:gd name="connsiteX2487" fmla="*/ 1388373 w 8537122"/>
              <a:gd name="connsiteY2487" fmla="*/ 5996 h 8575811"/>
              <a:gd name="connsiteX2488" fmla="*/ 1418572 w 8537122"/>
              <a:gd name="connsiteY2488" fmla="*/ 8685 h 8575811"/>
              <a:gd name="connsiteX2489" fmla="*/ 1424887 w 8537122"/>
              <a:gd name="connsiteY2489" fmla="*/ 6209 h 8575811"/>
              <a:gd name="connsiteX2490" fmla="*/ 1442088 w 8537122"/>
              <a:gd name="connsiteY2490" fmla="*/ 428 h 8575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</a:cxnLst>
            <a:rect l="l" t="t" r="r" b="b"/>
            <a:pathLst>
              <a:path w="8537122" h="8575811">
                <a:moveTo>
                  <a:pt x="5663776" y="8139354"/>
                </a:moveTo>
                <a:cubicBezTo>
                  <a:pt x="5659930" y="8148128"/>
                  <a:pt x="5658008" y="8152515"/>
                  <a:pt x="5666793" y="8156338"/>
                </a:cubicBezTo>
                <a:cubicBezTo>
                  <a:pt x="5673108" y="8153861"/>
                  <a:pt x="5675030" y="8149473"/>
                  <a:pt x="5668167" y="8141264"/>
                </a:cubicBezTo>
                <a:cubicBezTo>
                  <a:pt x="5668167" y="8141264"/>
                  <a:pt x="5663776" y="8139354"/>
                  <a:pt x="5663776" y="8139354"/>
                </a:cubicBezTo>
                <a:close/>
                <a:moveTo>
                  <a:pt x="7157314" y="8120421"/>
                </a:moveTo>
                <a:cubicBezTo>
                  <a:pt x="7158549" y="8123570"/>
                  <a:pt x="7159784" y="8126719"/>
                  <a:pt x="7161019" y="8129868"/>
                </a:cubicBezTo>
                <a:cubicBezTo>
                  <a:pt x="7163489" y="8136166"/>
                  <a:pt x="7161567" y="8140553"/>
                  <a:pt x="7156487" y="8146179"/>
                </a:cubicBezTo>
                <a:cubicBezTo>
                  <a:pt x="7155251" y="8143029"/>
                  <a:pt x="7152094" y="8144268"/>
                  <a:pt x="7152094" y="8144268"/>
                </a:cubicBezTo>
                <a:cubicBezTo>
                  <a:pt x="7147702" y="8142358"/>
                  <a:pt x="7143309" y="8140446"/>
                  <a:pt x="7140152" y="8141685"/>
                </a:cubicBezTo>
                <a:cubicBezTo>
                  <a:pt x="7137682" y="8135387"/>
                  <a:pt x="7136447" y="8132238"/>
                  <a:pt x="7135212" y="8129089"/>
                </a:cubicBezTo>
                <a:cubicBezTo>
                  <a:pt x="7138369" y="8127850"/>
                  <a:pt x="7138369" y="8127850"/>
                  <a:pt x="7138369" y="8127850"/>
                </a:cubicBezTo>
                <a:cubicBezTo>
                  <a:pt x="7144684" y="8125374"/>
                  <a:pt x="7147842" y="8124135"/>
                  <a:pt x="7154156" y="8121659"/>
                </a:cubicBezTo>
                <a:cubicBezTo>
                  <a:pt x="7154156" y="8121659"/>
                  <a:pt x="7157314" y="8120421"/>
                  <a:pt x="7157314" y="8120421"/>
                </a:cubicBezTo>
                <a:close/>
                <a:moveTo>
                  <a:pt x="7124644" y="8111433"/>
                </a:moveTo>
                <a:cubicBezTo>
                  <a:pt x="7125879" y="8114582"/>
                  <a:pt x="7125879" y="8114582"/>
                  <a:pt x="7125879" y="8114582"/>
                </a:cubicBezTo>
                <a:cubicBezTo>
                  <a:pt x="7123957" y="8118969"/>
                  <a:pt x="7123957" y="8118969"/>
                  <a:pt x="7120800" y="8120208"/>
                </a:cubicBezTo>
                <a:lnTo>
                  <a:pt x="7116407" y="8118297"/>
                </a:lnTo>
                <a:lnTo>
                  <a:pt x="7116923" y="8112645"/>
                </a:lnTo>
                <a:lnTo>
                  <a:pt x="7118330" y="8113910"/>
                </a:lnTo>
                <a:cubicBezTo>
                  <a:pt x="7121487" y="8112671"/>
                  <a:pt x="7121487" y="8112671"/>
                  <a:pt x="7124644" y="8111433"/>
                </a:cubicBezTo>
                <a:close/>
                <a:moveTo>
                  <a:pt x="7117094" y="8110760"/>
                </a:moveTo>
                <a:lnTo>
                  <a:pt x="7116923" y="8112645"/>
                </a:lnTo>
                <a:lnTo>
                  <a:pt x="7114952" y="8110873"/>
                </a:lnTo>
                <a:close/>
                <a:moveTo>
                  <a:pt x="4973343" y="7781556"/>
                </a:moveTo>
                <a:cubicBezTo>
                  <a:pt x="4976501" y="7780318"/>
                  <a:pt x="4978971" y="7786616"/>
                  <a:pt x="4980205" y="7789765"/>
                </a:cubicBezTo>
                <a:cubicBezTo>
                  <a:pt x="4980205" y="7789765"/>
                  <a:pt x="4977048" y="7791003"/>
                  <a:pt x="4977048" y="7791003"/>
                </a:cubicBezTo>
                <a:cubicBezTo>
                  <a:pt x="4977048" y="7791003"/>
                  <a:pt x="4977048" y="7791003"/>
                  <a:pt x="4973890" y="7792241"/>
                </a:cubicBezTo>
                <a:cubicBezTo>
                  <a:pt x="4972655" y="7789093"/>
                  <a:pt x="4973890" y="7792241"/>
                  <a:pt x="4969498" y="7790331"/>
                </a:cubicBezTo>
                <a:cubicBezTo>
                  <a:pt x="4968263" y="7787182"/>
                  <a:pt x="4970185" y="7782795"/>
                  <a:pt x="4973343" y="7781556"/>
                </a:cubicBezTo>
                <a:close/>
                <a:moveTo>
                  <a:pt x="5002308" y="7781097"/>
                </a:moveTo>
                <a:cubicBezTo>
                  <a:pt x="5003543" y="7784246"/>
                  <a:pt x="5000385" y="7785484"/>
                  <a:pt x="5000385" y="7785484"/>
                </a:cubicBezTo>
                <a:cubicBezTo>
                  <a:pt x="4997775" y="7797407"/>
                  <a:pt x="4993383" y="7795497"/>
                  <a:pt x="4984598" y="7791676"/>
                </a:cubicBezTo>
                <a:cubicBezTo>
                  <a:pt x="4984598" y="7791676"/>
                  <a:pt x="4980205" y="7789765"/>
                  <a:pt x="4980205" y="7789765"/>
                </a:cubicBezTo>
                <a:cubicBezTo>
                  <a:pt x="4986521" y="7787288"/>
                  <a:pt x="4989678" y="7786050"/>
                  <a:pt x="4995993" y="7783573"/>
                </a:cubicBezTo>
                <a:cubicBezTo>
                  <a:pt x="4995993" y="7783573"/>
                  <a:pt x="4999150" y="7782335"/>
                  <a:pt x="5002308" y="7781097"/>
                </a:cubicBezTo>
                <a:close/>
                <a:moveTo>
                  <a:pt x="4844319" y="7694089"/>
                </a:moveTo>
                <a:cubicBezTo>
                  <a:pt x="4846789" y="7700387"/>
                  <a:pt x="4848024" y="7703536"/>
                  <a:pt x="4852416" y="7705447"/>
                </a:cubicBezTo>
                <a:cubicBezTo>
                  <a:pt x="4854886" y="7711745"/>
                  <a:pt x="4859279" y="7713656"/>
                  <a:pt x="4863671" y="7715566"/>
                </a:cubicBezTo>
                <a:cubicBezTo>
                  <a:pt x="4864906" y="7718715"/>
                  <a:pt x="4869299" y="7720626"/>
                  <a:pt x="4870534" y="7723775"/>
                </a:cubicBezTo>
                <a:cubicBezTo>
                  <a:pt x="4872456" y="7719387"/>
                  <a:pt x="4903891" y="7725226"/>
                  <a:pt x="4881381" y="7704988"/>
                </a:cubicBezTo>
                <a:cubicBezTo>
                  <a:pt x="4871361" y="7698017"/>
                  <a:pt x="4858184" y="7692285"/>
                  <a:pt x="4844319" y="7694089"/>
                </a:cubicBezTo>
                <a:close/>
                <a:moveTo>
                  <a:pt x="3811961" y="7179719"/>
                </a:moveTo>
                <a:lnTo>
                  <a:pt x="3813694" y="7180786"/>
                </a:lnTo>
                <a:lnTo>
                  <a:pt x="3813197" y="7182868"/>
                </a:lnTo>
                <a:cubicBezTo>
                  <a:pt x="3813197" y="7182868"/>
                  <a:pt x="3811961" y="7179719"/>
                  <a:pt x="3811961" y="7179719"/>
                </a:cubicBezTo>
                <a:close/>
                <a:moveTo>
                  <a:pt x="7316483" y="6742719"/>
                </a:moveTo>
                <a:cubicBezTo>
                  <a:pt x="7308933" y="6742046"/>
                  <a:pt x="7305088" y="6750821"/>
                  <a:pt x="7307557" y="6757119"/>
                </a:cubicBezTo>
                <a:cubicBezTo>
                  <a:pt x="7308105" y="6767804"/>
                  <a:pt x="7315655" y="6768477"/>
                  <a:pt x="7322657" y="6758463"/>
                </a:cubicBezTo>
                <a:cubicBezTo>
                  <a:pt x="7321423" y="6755315"/>
                  <a:pt x="7328425" y="6745302"/>
                  <a:pt x="7316483" y="6742719"/>
                </a:cubicBezTo>
                <a:close/>
                <a:moveTo>
                  <a:pt x="3325413" y="5688285"/>
                </a:moveTo>
                <a:cubicBezTo>
                  <a:pt x="3328570" y="5687047"/>
                  <a:pt x="3329806" y="5690196"/>
                  <a:pt x="3332963" y="5688958"/>
                </a:cubicBezTo>
                <a:cubicBezTo>
                  <a:pt x="3332963" y="5688958"/>
                  <a:pt x="3337355" y="5690868"/>
                  <a:pt x="3337355" y="5690868"/>
                </a:cubicBezTo>
                <a:cubicBezTo>
                  <a:pt x="3340513" y="5689630"/>
                  <a:pt x="3344905" y="5691541"/>
                  <a:pt x="3348062" y="5690302"/>
                </a:cubicBezTo>
                <a:cubicBezTo>
                  <a:pt x="3349298" y="5693451"/>
                  <a:pt x="3350533" y="5696600"/>
                  <a:pt x="3350533" y="5696600"/>
                </a:cubicBezTo>
                <a:cubicBezTo>
                  <a:pt x="3348610" y="5700988"/>
                  <a:pt x="3348610" y="5700988"/>
                  <a:pt x="3345453" y="5702226"/>
                </a:cubicBezTo>
                <a:cubicBezTo>
                  <a:pt x="3343530" y="5706613"/>
                  <a:pt x="3335981" y="5705941"/>
                  <a:pt x="3332823" y="5707179"/>
                </a:cubicBezTo>
                <a:cubicBezTo>
                  <a:pt x="3330353" y="5700881"/>
                  <a:pt x="3327883" y="5694583"/>
                  <a:pt x="3325413" y="5688285"/>
                </a:cubicBezTo>
                <a:close/>
                <a:moveTo>
                  <a:pt x="2749465" y="5343722"/>
                </a:moveTo>
                <a:cubicBezTo>
                  <a:pt x="2744384" y="5349348"/>
                  <a:pt x="2750012" y="5354408"/>
                  <a:pt x="2752482" y="5360706"/>
                </a:cubicBezTo>
                <a:cubicBezTo>
                  <a:pt x="2761954" y="5356991"/>
                  <a:pt x="2763877" y="5352604"/>
                  <a:pt x="2757014" y="5344395"/>
                </a:cubicBezTo>
                <a:cubicBezTo>
                  <a:pt x="2757014" y="5344395"/>
                  <a:pt x="2752622" y="5342484"/>
                  <a:pt x="2749465" y="5343722"/>
                </a:cubicBezTo>
                <a:close/>
                <a:moveTo>
                  <a:pt x="6968761" y="4964304"/>
                </a:moveTo>
                <a:cubicBezTo>
                  <a:pt x="6968761" y="4964304"/>
                  <a:pt x="6964916" y="4973079"/>
                  <a:pt x="6967385" y="4979377"/>
                </a:cubicBezTo>
                <a:cubicBezTo>
                  <a:pt x="6968620" y="4982526"/>
                  <a:pt x="6971091" y="4988824"/>
                  <a:pt x="6972326" y="4991973"/>
                </a:cubicBezTo>
                <a:cubicBezTo>
                  <a:pt x="6974249" y="4987586"/>
                  <a:pt x="6976170" y="4983198"/>
                  <a:pt x="6978093" y="4978811"/>
                </a:cubicBezTo>
                <a:cubicBezTo>
                  <a:pt x="6978781" y="4971275"/>
                  <a:pt x="6976310" y="4964977"/>
                  <a:pt x="6968761" y="4964304"/>
                </a:cubicBezTo>
                <a:close/>
                <a:moveTo>
                  <a:pt x="1767359" y="4762410"/>
                </a:moveTo>
                <a:cubicBezTo>
                  <a:pt x="1767359" y="4762410"/>
                  <a:pt x="1759810" y="4761738"/>
                  <a:pt x="1756652" y="4762976"/>
                </a:cubicBezTo>
                <a:cubicBezTo>
                  <a:pt x="1740865" y="4769168"/>
                  <a:pt x="1755277" y="4778049"/>
                  <a:pt x="1754590" y="4785585"/>
                </a:cubicBezTo>
                <a:cubicBezTo>
                  <a:pt x="1764062" y="4781871"/>
                  <a:pt x="1776692" y="4776917"/>
                  <a:pt x="1767359" y="4762410"/>
                </a:cubicBezTo>
                <a:close/>
                <a:moveTo>
                  <a:pt x="396727" y="2633055"/>
                </a:moveTo>
                <a:lnTo>
                  <a:pt x="394762" y="2634435"/>
                </a:lnTo>
                <a:lnTo>
                  <a:pt x="393570" y="2634294"/>
                </a:lnTo>
                <a:close/>
                <a:moveTo>
                  <a:pt x="1298768" y="687876"/>
                </a:moveTo>
                <a:cubicBezTo>
                  <a:pt x="1303708" y="700472"/>
                  <a:pt x="1301098" y="712396"/>
                  <a:pt x="1288468" y="717349"/>
                </a:cubicBezTo>
                <a:cubicBezTo>
                  <a:pt x="1292313" y="708575"/>
                  <a:pt x="1294923" y="696651"/>
                  <a:pt x="1298768" y="687876"/>
                </a:cubicBezTo>
                <a:close/>
                <a:moveTo>
                  <a:pt x="1442088" y="428"/>
                </a:moveTo>
                <a:cubicBezTo>
                  <a:pt x="1458632" y="-1802"/>
                  <a:pt x="1473688" y="5237"/>
                  <a:pt x="1491602" y="9111"/>
                </a:cubicBezTo>
                <a:cubicBezTo>
                  <a:pt x="1491602" y="9111"/>
                  <a:pt x="1491602" y="9111"/>
                  <a:pt x="1494760" y="7873"/>
                </a:cubicBezTo>
                <a:cubicBezTo>
                  <a:pt x="1553376" y="-582"/>
                  <a:pt x="1607461" y="7274"/>
                  <a:pt x="1664015" y="21428"/>
                </a:cubicBezTo>
                <a:cubicBezTo>
                  <a:pt x="1665250" y="24577"/>
                  <a:pt x="1666485" y="27726"/>
                  <a:pt x="1667720" y="30875"/>
                </a:cubicBezTo>
                <a:cubicBezTo>
                  <a:pt x="1678976" y="40995"/>
                  <a:pt x="1688448" y="37280"/>
                  <a:pt x="1697920" y="33565"/>
                </a:cubicBezTo>
                <a:cubicBezTo>
                  <a:pt x="1704235" y="31088"/>
                  <a:pt x="1709315" y="25463"/>
                  <a:pt x="1715630" y="22986"/>
                </a:cubicBezTo>
                <a:cubicBezTo>
                  <a:pt x="1727572" y="25569"/>
                  <a:pt x="1740750" y="31301"/>
                  <a:pt x="1755850" y="32646"/>
                </a:cubicBezTo>
                <a:cubicBezTo>
                  <a:pt x="1779187" y="27127"/>
                  <a:pt x="1801837" y="29144"/>
                  <a:pt x="1823799" y="38698"/>
                </a:cubicBezTo>
                <a:cubicBezTo>
                  <a:pt x="1831349" y="39370"/>
                  <a:pt x="1840134" y="43192"/>
                  <a:pt x="1847684" y="43864"/>
                </a:cubicBezTo>
                <a:cubicBezTo>
                  <a:pt x="1864707" y="40822"/>
                  <a:pt x="1879806" y="42167"/>
                  <a:pt x="1898611" y="52959"/>
                </a:cubicBezTo>
                <a:cubicBezTo>
                  <a:pt x="1901769" y="51720"/>
                  <a:pt x="1904926" y="50482"/>
                  <a:pt x="1908084" y="49244"/>
                </a:cubicBezTo>
                <a:cubicBezTo>
                  <a:pt x="1911241" y="48005"/>
                  <a:pt x="1914399" y="46767"/>
                  <a:pt x="1917556" y="45529"/>
                </a:cubicBezTo>
                <a:cubicBezTo>
                  <a:pt x="1918791" y="48678"/>
                  <a:pt x="1920026" y="51827"/>
                  <a:pt x="1922496" y="58125"/>
                </a:cubicBezTo>
                <a:cubicBezTo>
                  <a:pt x="1926201" y="67572"/>
                  <a:pt x="1931829" y="72631"/>
                  <a:pt x="1942536" y="72066"/>
                </a:cubicBezTo>
                <a:cubicBezTo>
                  <a:pt x="1945693" y="70827"/>
                  <a:pt x="1948851" y="69589"/>
                  <a:pt x="1952008" y="68351"/>
                </a:cubicBezTo>
                <a:cubicBezTo>
                  <a:pt x="2019411" y="63717"/>
                  <a:pt x="2085438" y="74156"/>
                  <a:pt x="2148854" y="96519"/>
                </a:cubicBezTo>
                <a:cubicBezTo>
                  <a:pt x="2154482" y="101579"/>
                  <a:pt x="2160797" y="99102"/>
                  <a:pt x="2166424" y="104162"/>
                </a:cubicBezTo>
                <a:cubicBezTo>
                  <a:pt x="2181524" y="105507"/>
                  <a:pt x="2196624" y="106852"/>
                  <a:pt x="2212959" y="111346"/>
                </a:cubicBezTo>
                <a:cubicBezTo>
                  <a:pt x="2219274" y="108869"/>
                  <a:pt x="2226824" y="109541"/>
                  <a:pt x="2229294" y="115839"/>
                </a:cubicBezTo>
                <a:cubicBezTo>
                  <a:pt x="2232451" y="114601"/>
                  <a:pt x="2232451" y="114601"/>
                  <a:pt x="2232451" y="114601"/>
                </a:cubicBezTo>
                <a:cubicBezTo>
                  <a:pt x="2241924" y="110886"/>
                  <a:pt x="2251396" y="107171"/>
                  <a:pt x="2260181" y="110993"/>
                </a:cubicBezTo>
                <a:cubicBezTo>
                  <a:pt x="2261416" y="114142"/>
                  <a:pt x="2261416" y="114142"/>
                  <a:pt x="2262651" y="117291"/>
                </a:cubicBezTo>
                <a:cubicBezTo>
                  <a:pt x="2307811" y="139547"/>
                  <a:pt x="2356268" y="142343"/>
                  <a:pt x="2404038" y="152676"/>
                </a:cubicBezTo>
                <a:cubicBezTo>
                  <a:pt x="2525932" y="184805"/>
                  <a:pt x="2648513" y="209398"/>
                  <a:pt x="2768485" y="245915"/>
                </a:cubicBezTo>
                <a:cubicBezTo>
                  <a:pt x="2788525" y="259856"/>
                  <a:pt x="2811862" y="254337"/>
                  <a:pt x="2835747" y="259503"/>
                </a:cubicBezTo>
                <a:cubicBezTo>
                  <a:pt x="2840687" y="272099"/>
                  <a:pt x="2852629" y="274683"/>
                  <a:pt x="2866494" y="272878"/>
                </a:cubicBezTo>
                <a:cubicBezTo>
                  <a:pt x="2890926" y="288730"/>
                  <a:pt x="2924972" y="282645"/>
                  <a:pt x="2949404" y="298497"/>
                </a:cubicBezTo>
                <a:cubicBezTo>
                  <a:pt x="2972053" y="300514"/>
                  <a:pt x="2992093" y="314455"/>
                  <a:pt x="3013508" y="313323"/>
                </a:cubicBezTo>
                <a:cubicBezTo>
                  <a:pt x="3051805" y="327371"/>
                  <a:pt x="3088867" y="338269"/>
                  <a:pt x="3127165" y="352316"/>
                </a:cubicBezTo>
                <a:cubicBezTo>
                  <a:pt x="3132792" y="357376"/>
                  <a:pt x="3137184" y="359287"/>
                  <a:pt x="3143500" y="356810"/>
                </a:cubicBezTo>
                <a:lnTo>
                  <a:pt x="3146657" y="355572"/>
                </a:lnTo>
                <a:cubicBezTo>
                  <a:pt x="3188112" y="368381"/>
                  <a:pt x="3224487" y="386816"/>
                  <a:pt x="3267863" y="395238"/>
                </a:cubicBezTo>
                <a:cubicBezTo>
                  <a:pt x="3281041" y="400970"/>
                  <a:pt x="3293531" y="414239"/>
                  <a:pt x="3313711" y="409958"/>
                </a:cubicBezTo>
                <a:cubicBezTo>
                  <a:pt x="3365186" y="429737"/>
                  <a:pt x="3415425" y="446368"/>
                  <a:pt x="3465664" y="462999"/>
                </a:cubicBezTo>
                <a:cubicBezTo>
                  <a:pt x="3468134" y="469297"/>
                  <a:pt x="3475684" y="469969"/>
                  <a:pt x="3483235" y="470642"/>
                </a:cubicBezTo>
                <a:cubicBezTo>
                  <a:pt x="3508214" y="497179"/>
                  <a:pt x="3549809" y="491766"/>
                  <a:pt x="3582479" y="500754"/>
                </a:cubicBezTo>
                <a:cubicBezTo>
                  <a:pt x="3589201" y="527184"/>
                  <a:pt x="3605676" y="513456"/>
                  <a:pt x="3620776" y="514801"/>
                </a:cubicBezTo>
                <a:cubicBezTo>
                  <a:pt x="3650289" y="525027"/>
                  <a:pt x="3675268" y="551564"/>
                  <a:pt x="3711783" y="551777"/>
                </a:cubicBezTo>
                <a:cubicBezTo>
                  <a:pt x="3719193" y="570671"/>
                  <a:pt x="3739373" y="566391"/>
                  <a:pt x="3754473" y="567736"/>
                </a:cubicBezTo>
                <a:cubicBezTo>
                  <a:pt x="3761335" y="575944"/>
                  <a:pt x="3773278" y="578528"/>
                  <a:pt x="3783985" y="577962"/>
                </a:cubicBezTo>
                <a:cubicBezTo>
                  <a:pt x="3785220" y="581111"/>
                  <a:pt x="3789612" y="583021"/>
                  <a:pt x="3791535" y="578634"/>
                </a:cubicBezTo>
                <a:cubicBezTo>
                  <a:pt x="3797162" y="583694"/>
                  <a:pt x="3802790" y="588753"/>
                  <a:pt x="3809104" y="586277"/>
                </a:cubicBezTo>
                <a:cubicBezTo>
                  <a:pt x="3811575" y="592575"/>
                  <a:pt x="3817889" y="590098"/>
                  <a:pt x="3825439" y="590771"/>
                </a:cubicBezTo>
                <a:cubicBezTo>
                  <a:pt x="3832850" y="609665"/>
                  <a:pt x="3849872" y="606622"/>
                  <a:pt x="3862502" y="601669"/>
                </a:cubicBezTo>
                <a:cubicBezTo>
                  <a:pt x="3868129" y="606729"/>
                  <a:pt x="3872522" y="608640"/>
                  <a:pt x="3876914" y="610550"/>
                </a:cubicBezTo>
                <a:cubicBezTo>
                  <a:pt x="3882541" y="615610"/>
                  <a:pt x="3886934" y="617521"/>
                  <a:pt x="3893249" y="615044"/>
                </a:cubicBezTo>
                <a:cubicBezTo>
                  <a:pt x="3906286" y="638998"/>
                  <a:pt x="3934704" y="627853"/>
                  <a:pt x="3950351" y="639884"/>
                </a:cubicBezTo>
                <a:cubicBezTo>
                  <a:pt x="3981645" y="663944"/>
                  <a:pt x="4017473" y="671693"/>
                  <a:pt x="4052066" y="676294"/>
                </a:cubicBezTo>
                <a:cubicBezTo>
                  <a:pt x="4101617" y="700461"/>
                  <a:pt x="4153092" y="720241"/>
                  <a:pt x="4209647" y="734395"/>
                </a:cubicBezTo>
                <a:cubicBezTo>
                  <a:pt x="4214039" y="736305"/>
                  <a:pt x="4219667" y="741365"/>
                  <a:pt x="4227216" y="742037"/>
                </a:cubicBezTo>
                <a:lnTo>
                  <a:pt x="4225294" y="746425"/>
                </a:lnTo>
                <a:lnTo>
                  <a:pt x="4229687" y="748335"/>
                </a:lnTo>
                <a:cubicBezTo>
                  <a:pt x="4240254" y="765991"/>
                  <a:pt x="4256041" y="759800"/>
                  <a:pt x="4269906" y="757996"/>
                </a:cubicBezTo>
                <a:cubicBezTo>
                  <a:pt x="4272376" y="764294"/>
                  <a:pt x="4276769" y="766204"/>
                  <a:pt x="4284318" y="766877"/>
                </a:cubicBezTo>
                <a:cubicBezTo>
                  <a:pt x="4286789" y="773175"/>
                  <a:pt x="4291181" y="775086"/>
                  <a:pt x="4297496" y="772609"/>
                </a:cubicBezTo>
                <a:cubicBezTo>
                  <a:pt x="4342108" y="784180"/>
                  <a:pt x="4380265" y="816449"/>
                  <a:pt x="4425565" y="820484"/>
                </a:cubicBezTo>
                <a:cubicBezTo>
                  <a:pt x="4433663" y="831842"/>
                  <a:pt x="4443683" y="838812"/>
                  <a:pt x="4456312" y="833859"/>
                </a:cubicBezTo>
                <a:cubicBezTo>
                  <a:pt x="4470725" y="842740"/>
                  <a:pt x="4483902" y="848472"/>
                  <a:pt x="4500237" y="852966"/>
                </a:cubicBezTo>
                <a:cubicBezTo>
                  <a:pt x="4505865" y="858026"/>
                  <a:pt x="4510257" y="859936"/>
                  <a:pt x="4516572" y="857460"/>
                </a:cubicBezTo>
                <a:cubicBezTo>
                  <a:pt x="4534689" y="875788"/>
                  <a:pt x="4557339" y="877805"/>
                  <a:pt x="4576831" y="881061"/>
                </a:cubicBezTo>
                <a:cubicBezTo>
                  <a:pt x="4579301" y="887359"/>
                  <a:pt x="4583694" y="889270"/>
                  <a:pt x="4591243" y="889942"/>
                </a:cubicBezTo>
                <a:cubicBezTo>
                  <a:pt x="4608673" y="915807"/>
                  <a:pt x="4633246" y="913437"/>
                  <a:pt x="4659054" y="914216"/>
                </a:cubicBezTo>
                <a:cubicBezTo>
                  <a:pt x="4674013" y="933782"/>
                  <a:pt x="4696663" y="935800"/>
                  <a:pt x="4719313" y="937817"/>
                </a:cubicBezTo>
                <a:cubicBezTo>
                  <a:pt x="4721782" y="944115"/>
                  <a:pt x="4726176" y="946025"/>
                  <a:pt x="4732490" y="943549"/>
                </a:cubicBezTo>
                <a:cubicBezTo>
                  <a:pt x="4738118" y="948609"/>
                  <a:pt x="4742510" y="950519"/>
                  <a:pt x="4748825" y="948043"/>
                </a:cubicBezTo>
                <a:cubicBezTo>
                  <a:pt x="4753218" y="949953"/>
                  <a:pt x="4758845" y="955013"/>
                  <a:pt x="4763238" y="956924"/>
                </a:cubicBezTo>
                <a:lnTo>
                  <a:pt x="4766395" y="955686"/>
                </a:lnTo>
                <a:cubicBezTo>
                  <a:pt x="4770100" y="965133"/>
                  <a:pt x="4782043" y="967716"/>
                  <a:pt x="4793985" y="970299"/>
                </a:cubicBezTo>
                <a:cubicBezTo>
                  <a:pt x="4800159" y="986044"/>
                  <a:pt x="4815260" y="987389"/>
                  <a:pt x="4827202" y="989972"/>
                </a:cubicBezTo>
                <a:cubicBezTo>
                  <a:pt x="4830360" y="988734"/>
                  <a:pt x="4836674" y="986257"/>
                  <a:pt x="4839832" y="985019"/>
                </a:cubicBezTo>
                <a:cubicBezTo>
                  <a:pt x="4847382" y="985691"/>
                  <a:pt x="4851775" y="987602"/>
                  <a:pt x="4856167" y="989513"/>
                </a:cubicBezTo>
                <a:cubicBezTo>
                  <a:pt x="4860560" y="991423"/>
                  <a:pt x="4866186" y="996483"/>
                  <a:pt x="4867421" y="999632"/>
                </a:cubicBezTo>
                <a:cubicBezTo>
                  <a:pt x="4870579" y="998394"/>
                  <a:pt x="4874971" y="1000305"/>
                  <a:pt x="4878129" y="999066"/>
                </a:cubicBezTo>
                <a:cubicBezTo>
                  <a:pt x="4879912" y="1012901"/>
                  <a:pt x="4895011" y="1014245"/>
                  <a:pt x="4901874" y="1022455"/>
                </a:cubicBezTo>
                <a:cubicBezTo>
                  <a:pt x="4901874" y="1022455"/>
                  <a:pt x="4906267" y="1024365"/>
                  <a:pt x="4906267" y="1024365"/>
                </a:cubicBezTo>
                <a:cubicBezTo>
                  <a:pt x="4918209" y="1026948"/>
                  <a:pt x="4928229" y="1033919"/>
                  <a:pt x="4938936" y="1033353"/>
                </a:cubicBezTo>
                <a:cubicBezTo>
                  <a:pt x="4943328" y="1035263"/>
                  <a:pt x="4946486" y="1034025"/>
                  <a:pt x="4954036" y="1034698"/>
                </a:cubicBezTo>
                <a:cubicBezTo>
                  <a:pt x="4950878" y="1035936"/>
                  <a:pt x="4952113" y="1039085"/>
                  <a:pt x="4955271" y="1037847"/>
                </a:cubicBezTo>
                <a:cubicBezTo>
                  <a:pt x="4958976" y="1047294"/>
                  <a:pt x="4963368" y="1049204"/>
                  <a:pt x="4972841" y="1045490"/>
                </a:cubicBezTo>
                <a:cubicBezTo>
                  <a:pt x="4974076" y="1048639"/>
                  <a:pt x="4975311" y="1051788"/>
                  <a:pt x="4976546" y="1054937"/>
                </a:cubicBezTo>
                <a:cubicBezTo>
                  <a:pt x="4978468" y="1050549"/>
                  <a:pt x="4982861" y="1052460"/>
                  <a:pt x="4986018" y="1051222"/>
                </a:cubicBezTo>
                <a:cubicBezTo>
                  <a:pt x="4987253" y="1054371"/>
                  <a:pt x="4988488" y="1057520"/>
                  <a:pt x="4989723" y="1060669"/>
                </a:cubicBezTo>
                <a:cubicBezTo>
                  <a:pt x="4995351" y="1065728"/>
                  <a:pt x="4996586" y="1068877"/>
                  <a:pt x="5002901" y="1066401"/>
                </a:cubicBezTo>
                <a:cubicBezTo>
                  <a:pt x="5013608" y="1065835"/>
                  <a:pt x="5021158" y="1066508"/>
                  <a:pt x="5026785" y="1071567"/>
                </a:cubicBezTo>
                <a:cubicBezTo>
                  <a:pt x="5031178" y="1073478"/>
                  <a:pt x="5032413" y="1076627"/>
                  <a:pt x="5036805" y="1078538"/>
                </a:cubicBezTo>
                <a:cubicBezTo>
                  <a:pt x="5051905" y="1079883"/>
                  <a:pt x="5065630" y="1096300"/>
                  <a:pt x="5081418" y="1090109"/>
                </a:cubicBezTo>
                <a:cubicBezTo>
                  <a:pt x="5089515" y="1101466"/>
                  <a:pt x="5101458" y="1104050"/>
                  <a:pt x="5112165" y="1103484"/>
                </a:cubicBezTo>
                <a:cubicBezTo>
                  <a:pt x="5125890" y="1119901"/>
                  <a:pt x="5140990" y="1121246"/>
                  <a:pt x="5159247" y="1121352"/>
                </a:cubicBezTo>
                <a:cubicBezTo>
                  <a:pt x="5160482" y="1124502"/>
                  <a:pt x="5166110" y="1129562"/>
                  <a:pt x="5172425" y="1127085"/>
                </a:cubicBezTo>
                <a:cubicBezTo>
                  <a:pt x="5168987" y="1164766"/>
                  <a:pt x="5189307" y="1142264"/>
                  <a:pt x="5203172" y="1140460"/>
                </a:cubicBezTo>
                <a:cubicBezTo>
                  <a:pt x="5206877" y="1149907"/>
                  <a:pt x="5209347" y="1156205"/>
                  <a:pt x="5223212" y="1154401"/>
                </a:cubicBezTo>
                <a:cubicBezTo>
                  <a:pt x="5234467" y="1164520"/>
                  <a:pt x="5244487" y="1171491"/>
                  <a:pt x="5260274" y="1165299"/>
                </a:cubicBezTo>
                <a:cubicBezTo>
                  <a:pt x="5272764" y="1178568"/>
                  <a:pt x="5289099" y="1183062"/>
                  <a:pt x="5304198" y="1184407"/>
                </a:cubicBezTo>
                <a:cubicBezTo>
                  <a:pt x="5322863" y="1213420"/>
                  <a:pt x="5353750" y="1208574"/>
                  <a:pt x="5378871" y="1216889"/>
                </a:cubicBezTo>
                <a:cubicBezTo>
                  <a:pt x="5384497" y="1221949"/>
                  <a:pt x="5388890" y="1223859"/>
                  <a:pt x="5395206" y="1221383"/>
                </a:cubicBezTo>
                <a:cubicBezTo>
                  <a:pt x="5398910" y="1230830"/>
                  <a:pt x="5402615" y="1240277"/>
                  <a:pt x="5413322" y="1239711"/>
                </a:cubicBezTo>
                <a:cubicBezTo>
                  <a:pt x="5439130" y="1240490"/>
                  <a:pt x="5459169" y="1254431"/>
                  <a:pt x="5481132" y="1263984"/>
                </a:cubicBezTo>
                <a:cubicBezTo>
                  <a:pt x="5493622" y="1277253"/>
                  <a:pt x="5509956" y="1281747"/>
                  <a:pt x="5525056" y="1283092"/>
                </a:cubicBezTo>
                <a:cubicBezTo>
                  <a:pt x="5536311" y="1293211"/>
                  <a:pt x="5545096" y="1297033"/>
                  <a:pt x="5557727" y="1292080"/>
                </a:cubicBezTo>
                <a:lnTo>
                  <a:pt x="5555804" y="1296467"/>
                </a:lnTo>
                <a:cubicBezTo>
                  <a:pt x="5563901" y="1307825"/>
                  <a:pt x="5570077" y="1323570"/>
                  <a:pt x="5592178" y="1314902"/>
                </a:cubicBezTo>
                <a:cubicBezTo>
                  <a:pt x="5644889" y="1337830"/>
                  <a:pt x="5694441" y="1361997"/>
                  <a:pt x="5747838" y="1377390"/>
                </a:cubicBezTo>
                <a:cubicBezTo>
                  <a:pt x="5750308" y="1383688"/>
                  <a:pt x="5754700" y="1385598"/>
                  <a:pt x="5762250" y="1386271"/>
                </a:cubicBezTo>
                <a:cubicBezTo>
                  <a:pt x="5767878" y="1391330"/>
                  <a:pt x="5774740" y="1399539"/>
                  <a:pt x="5784212" y="1395824"/>
                </a:cubicBezTo>
                <a:lnTo>
                  <a:pt x="5785447" y="1398973"/>
                </a:lnTo>
                <a:cubicBezTo>
                  <a:pt x="5801095" y="1411004"/>
                  <a:pt x="5818665" y="1418646"/>
                  <a:pt x="5838844" y="1414366"/>
                </a:cubicBezTo>
                <a:cubicBezTo>
                  <a:pt x="5861901" y="1445290"/>
                  <a:pt x="5904732" y="1443026"/>
                  <a:pt x="5931634" y="1465176"/>
                </a:cubicBezTo>
                <a:cubicBezTo>
                  <a:pt x="5932869" y="1468325"/>
                  <a:pt x="5938496" y="1473385"/>
                  <a:pt x="5944811" y="1470908"/>
                </a:cubicBezTo>
                <a:cubicBezTo>
                  <a:pt x="5950439" y="1475968"/>
                  <a:pt x="5954831" y="1477879"/>
                  <a:pt x="5961146" y="1475402"/>
                </a:cubicBezTo>
                <a:cubicBezTo>
                  <a:pt x="5978028" y="1490581"/>
                  <a:pt x="5998756" y="1496986"/>
                  <a:pt x="6019483" y="1503391"/>
                </a:cubicBezTo>
                <a:cubicBezTo>
                  <a:pt x="6033895" y="1512272"/>
                  <a:pt x="6043228" y="1526779"/>
                  <a:pt x="6063407" y="1522498"/>
                </a:cubicBezTo>
                <a:cubicBezTo>
                  <a:pt x="6071505" y="1533856"/>
                  <a:pt x="6075757" y="1553988"/>
                  <a:pt x="6097860" y="1545320"/>
                </a:cubicBezTo>
                <a:cubicBezTo>
                  <a:pt x="6102252" y="1547231"/>
                  <a:pt x="6109802" y="1547903"/>
                  <a:pt x="6112272" y="1554201"/>
                </a:cubicBezTo>
                <a:cubicBezTo>
                  <a:pt x="6111037" y="1551052"/>
                  <a:pt x="6111037" y="1551052"/>
                  <a:pt x="6111037" y="1551052"/>
                </a:cubicBezTo>
                <a:cubicBezTo>
                  <a:pt x="6154962" y="1570159"/>
                  <a:pt x="6203279" y="1591178"/>
                  <a:pt x="6247204" y="1610285"/>
                </a:cubicBezTo>
                <a:cubicBezTo>
                  <a:pt x="6254614" y="1629179"/>
                  <a:pt x="6269026" y="1638060"/>
                  <a:pt x="6287971" y="1630630"/>
                </a:cubicBezTo>
                <a:cubicBezTo>
                  <a:pt x="6293598" y="1635690"/>
                  <a:pt x="6297991" y="1637600"/>
                  <a:pt x="6305541" y="1638273"/>
                </a:cubicBezTo>
                <a:cubicBezTo>
                  <a:pt x="6318031" y="1651542"/>
                  <a:pt x="6332443" y="1660423"/>
                  <a:pt x="6351935" y="1663678"/>
                </a:cubicBezTo>
                <a:lnTo>
                  <a:pt x="6355093" y="1662440"/>
                </a:lnTo>
                <a:cubicBezTo>
                  <a:pt x="6371288" y="1685156"/>
                  <a:pt x="6400940" y="1677160"/>
                  <a:pt x="6417135" y="1699876"/>
                </a:cubicBezTo>
                <a:cubicBezTo>
                  <a:pt x="6421527" y="1701786"/>
                  <a:pt x="6421527" y="1701786"/>
                  <a:pt x="6424685" y="1700548"/>
                </a:cubicBezTo>
                <a:cubicBezTo>
                  <a:pt x="6424685" y="1700548"/>
                  <a:pt x="6424685" y="1700548"/>
                  <a:pt x="6427842" y="1699310"/>
                </a:cubicBezTo>
                <a:cubicBezTo>
                  <a:pt x="6429077" y="1702459"/>
                  <a:pt x="6430312" y="1705608"/>
                  <a:pt x="6433470" y="1704369"/>
                </a:cubicBezTo>
                <a:cubicBezTo>
                  <a:pt x="6437862" y="1706280"/>
                  <a:pt x="6437862" y="1706280"/>
                  <a:pt x="6441020" y="1705042"/>
                </a:cubicBezTo>
                <a:cubicBezTo>
                  <a:pt x="6441020" y="1705042"/>
                  <a:pt x="6441020" y="1705042"/>
                  <a:pt x="6442255" y="1708191"/>
                </a:cubicBezTo>
                <a:cubicBezTo>
                  <a:pt x="6443490" y="1711340"/>
                  <a:pt x="6443490" y="1711340"/>
                  <a:pt x="6444725" y="1714489"/>
                </a:cubicBezTo>
                <a:cubicBezTo>
                  <a:pt x="6447882" y="1713251"/>
                  <a:pt x="6452275" y="1715161"/>
                  <a:pt x="6455432" y="1713923"/>
                </a:cubicBezTo>
                <a:cubicBezTo>
                  <a:pt x="6459824" y="1715834"/>
                  <a:pt x="6465452" y="1720893"/>
                  <a:pt x="6471767" y="1718417"/>
                </a:cubicBezTo>
                <a:cubicBezTo>
                  <a:pt x="6481787" y="1725387"/>
                  <a:pt x="6487962" y="1741133"/>
                  <a:pt x="6504984" y="1738090"/>
                </a:cubicBezTo>
                <a:cubicBezTo>
                  <a:pt x="6528181" y="1750793"/>
                  <a:pt x="6554536" y="1762257"/>
                  <a:pt x="6577734" y="1774959"/>
                </a:cubicBezTo>
                <a:cubicBezTo>
                  <a:pt x="6590224" y="1788228"/>
                  <a:pt x="6607246" y="1785185"/>
                  <a:pt x="6621658" y="1794067"/>
                </a:cubicBezTo>
                <a:cubicBezTo>
                  <a:pt x="6632913" y="1804186"/>
                  <a:pt x="6637854" y="1816782"/>
                  <a:pt x="6658033" y="1812502"/>
                </a:cubicBezTo>
                <a:cubicBezTo>
                  <a:pt x="6662425" y="1814412"/>
                  <a:pt x="6668053" y="1819472"/>
                  <a:pt x="6672445" y="1821383"/>
                </a:cubicBezTo>
                <a:cubicBezTo>
                  <a:pt x="6674916" y="1827681"/>
                  <a:pt x="6679308" y="1829592"/>
                  <a:pt x="6685623" y="1827115"/>
                </a:cubicBezTo>
                <a:cubicBezTo>
                  <a:pt x="6694408" y="1830936"/>
                  <a:pt x="6700035" y="1835996"/>
                  <a:pt x="6705663" y="1841056"/>
                </a:cubicBezTo>
                <a:cubicBezTo>
                  <a:pt x="6708820" y="1839818"/>
                  <a:pt x="6710055" y="1842967"/>
                  <a:pt x="6713213" y="1841728"/>
                </a:cubicBezTo>
                <a:cubicBezTo>
                  <a:pt x="6717605" y="1843639"/>
                  <a:pt x="6720763" y="1842401"/>
                  <a:pt x="6721998" y="1845550"/>
                </a:cubicBezTo>
                <a:cubicBezTo>
                  <a:pt x="6729548" y="1846222"/>
                  <a:pt x="6738332" y="1850044"/>
                  <a:pt x="6747117" y="1853865"/>
                </a:cubicBezTo>
                <a:cubicBezTo>
                  <a:pt x="6748352" y="1857014"/>
                  <a:pt x="6749587" y="1860163"/>
                  <a:pt x="6753980" y="1862074"/>
                </a:cubicBezTo>
                <a:cubicBezTo>
                  <a:pt x="6762078" y="1873432"/>
                  <a:pt x="6775942" y="1871627"/>
                  <a:pt x="6791043" y="1872972"/>
                </a:cubicBezTo>
                <a:cubicBezTo>
                  <a:pt x="6794200" y="1871734"/>
                  <a:pt x="6798593" y="1873645"/>
                  <a:pt x="6801750" y="1872406"/>
                </a:cubicBezTo>
                <a:cubicBezTo>
                  <a:pt x="6799827" y="1876794"/>
                  <a:pt x="6804219" y="1878704"/>
                  <a:pt x="6807377" y="1877466"/>
                </a:cubicBezTo>
                <a:cubicBezTo>
                  <a:pt x="6808612" y="1880615"/>
                  <a:pt x="6808612" y="1880615"/>
                  <a:pt x="6809847" y="1883764"/>
                </a:cubicBezTo>
                <a:cubicBezTo>
                  <a:pt x="6811082" y="1886913"/>
                  <a:pt x="6814239" y="1885675"/>
                  <a:pt x="6818632" y="1887586"/>
                </a:cubicBezTo>
                <a:cubicBezTo>
                  <a:pt x="6818632" y="1887586"/>
                  <a:pt x="6818632" y="1887586"/>
                  <a:pt x="6819867" y="1890735"/>
                </a:cubicBezTo>
                <a:cubicBezTo>
                  <a:pt x="6823024" y="1889496"/>
                  <a:pt x="6824259" y="1892645"/>
                  <a:pt x="6825494" y="1895794"/>
                </a:cubicBezTo>
                <a:cubicBezTo>
                  <a:pt x="6828652" y="1894556"/>
                  <a:pt x="6831809" y="1893318"/>
                  <a:pt x="6834967" y="1892080"/>
                </a:cubicBezTo>
                <a:cubicBezTo>
                  <a:pt x="6851162" y="1914795"/>
                  <a:pt x="6869967" y="1925587"/>
                  <a:pt x="6897009" y="1929515"/>
                </a:cubicBezTo>
                <a:cubicBezTo>
                  <a:pt x="6899479" y="1935813"/>
                  <a:pt x="6907029" y="1936486"/>
                  <a:pt x="6913344" y="1934009"/>
                </a:cubicBezTo>
                <a:cubicBezTo>
                  <a:pt x="6915814" y="1940307"/>
                  <a:pt x="6920206" y="1942218"/>
                  <a:pt x="6926521" y="1939741"/>
                </a:cubicBezTo>
                <a:cubicBezTo>
                  <a:pt x="6928991" y="1946039"/>
                  <a:pt x="6934619" y="1951099"/>
                  <a:pt x="6940933" y="1948622"/>
                </a:cubicBezTo>
                <a:cubicBezTo>
                  <a:pt x="6946561" y="1953682"/>
                  <a:pt x="6950953" y="1955593"/>
                  <a:pt x="6957268" y="1953116"/>
                </a:cubicBezTo>
                <a:cubicBezTo>
                  <a:pt x="6959738" y="1959414"/>
                  <a:pt x="6964131" y="1961325"/>
                  <a:pt x="6971681" y="1961997"/>
                </a:cubicBezTo>
                <a:cubicBezTo>
                  <a:pt x="6982249" y="1979653"/>
                  <a:pt x="6997896" y="1991683"/>
                  <a:pt x="7022468" y="1989313"/>
                </a:cubicBezTo>
                <a:cubicBezTo>
                  <a:pt x="7024938" y="1995611"/>
                  <a:pt x="7026173" y="1998760"/>
                  <a:pt x="7033723" y="1999433"/>
                </a:cubicBezTo>
                <a:cubicBezTo>
                  <a:pt x="7039351" y="2004493"/>
                  <a:pt x="7043743" y="2006403"/>
                  <a:pt x="7050058" y="2003927"/>
                </a:cubicBezTo>
                <a:cubicBezTo>
                  <a:pt x="7052528" y="2010225"/>
                  <a:pt x="7056920" y="2012135"/>
                  <a:pt x="7061313" y="2014046"/>
                </a:cubicBezTo>
                <a:cubicBezTo>
                  <a:pt x="7062548" y="2017195"/>
                  <a:pt x="7066940" y="2019106"/>
                  <a:pt x="7068175" y="2022255"/>
                </a:cubicBezTo>
                <a:cubicBezTo>
                  <a:pt x="7071333" y="2021017"/>
                  <a:pt x="7074490" y="2019778"/>
                  <a:pt x="7074490" y="2019778"/>
                </a:cubicBezTo>
                <a:cubicBezTo>
                  <a:pt x="7074490" y="2019778"/>
                  <a:pt x="7077648" y="2018540"/>
                  <a:pt x="7077648" y="2018540"/>
                </a:cubicBezTo>
                <a:cubicBezTo>
                  <a:pt x="7083275" y="2023600"/>
                  <a:pt x="7087668" y="2025510"/>
                  <a:pt x="7090825" y="2024272"/>
                </a:cubicBezTo>
                <a:cubicBezTo>
                  <a:pt x="7092060" y="2027421"/>
                  <a:pt x="7096452" y="2029332"/>
                  <a:pt x="7096452" y="2029332"/>
                </a:cubicBezTo>
                <a:cubicBezTo>
                  <a:pt x="7097688" y="2032481"/>
                  <a:pt x="7102080" y="2034392"/>
                  <a:pt x="7103315" y="2037541"/>
                </a:cubicBezTo>
                <a:cubicBezTo>
                  <a:pt x="7103315" y="2037541"/>
                  <a:pt x="7103315" y="2037541"/>
                  <a:pt x="7104550" y="2040690"/>
                </a:cubicBezTo>
                <a:cubicBezTo>
                  <a:pt x="7125965" y="2039558"/>
                  <a:pt x="7138314" y="2071048"/>
                  <a:pt x="7144629" y="2068571"/>
                </a:cubicBezTo>
                <a:cubicBezTo>
                  <a:pt x="7166185" y="2049218"/>
                  <a:pt x="7178535" y="2080708"/>
                  <a:pt x="7196244" y="2070129"/>
                </a:cubicBezTo>
                <a:cubicBezTo>
                  <a:pt x="7207499" y="2080249"/>
                  <a:pt x="7210516" y="2097233"/>
                  <a:pt x="7227539" y="2094190"/>
                </a:cubicBezTo>
                <a:cubicBezTo>
                  <a:pt x="7234402" y="2102399"/>
                  <a:pt x="7240029" y="2107459"/>
                  <a:pt x="7247579" y="2108131"/>
                </a:cubicBezTo>
                <a:cubicBezTo>
                  <a:pt x="7253754" y="2123876"/>
                  <a:pt x="7265696" y="2126459"/>
                  <a:pt x="7278326" y="2121506"/>
                </a:cubicBezTo>
                <a:cubicBezTo>
                  <a:pt x="7280796" y="2127804"/>
                  <a:pt x="7288346" y="2128476"/>
                  <a:pt x="7292738" y="2130387"/>
                </a:cubicBezTo>
                <a:cubicBezTo>
                  <a:pt x="7298366" y="2135447"/>
                  <a:pt x="7302758" y="2137358"/>
                  <a:pt x="7309073" y="2134881"/>
                </a:cubicBezTo>
                <a:cubicBezTo>
                  <a:pt x="7312778" y="2144328"/>
                  <a:pt x="7318405" y="2149388"/>
                  <a:pt x="7325955" y="2150060"/>
                </a:cubicBezTo>
                <a:cubicBezTo>
                  <a:pt x="7331583" y="2155120"/>
                  <a:pt x="7334053" y="2161418"/>
                  <a:pt x="7340368" y="2158941"/>
                </a:cubicBezTo>
                <a:cubicBezTo>
                  <a:pt x="7345995" y="2164001"/>
                  <a:pt x="7350388" y="2165912"/>
                  <a:pt x="7356703" y="2163436"/>
                </a:cubicBezTo>
                <a:cubicBezTo>
                  <a:pt x="7367270" y="2181091"/>
                  <a:pt x="7383605" y="2185585"/>
                  <a:pt x="7401862" y="2185691"/>
                </a:cubicBezTo>
                <a:cubicBezTo>
                  <a:pt x="7404332" y="2191990"/>
                  <a:pt x="7408725" y="2193901"/>
                  <a:pt x="7411195" y="2200199"/>
                </a:cubicBezTo>
                <a:cubicBezTo>
                  <a:pt x="7414352" y="2198960"/>
                  <a:pt x="7415587" y="2202109"/>
                  <a:pt x="7418745" y="2200871"/>
                </a:cubicBezTo>
                <a:cubicBezTo>
                  <a:pt x="7418745" y="2200871"/>
                  <a:pt x="7418745" y="2200871"/>
                  <a:pt x="7421902" y="2199633"/>
                </a:cubicBezTo>
                <a:cubicBezTo>
                  <a:pt x="7424372" y="2205931"/>
                  <a:pt x="7428764" y="2207841"/>
                  <a:pt x="7435079" y="2205365"/>
                </a:cubicBezTo>
                <a:cubicBezTo>
                  <a:pt x="7436314" y="2208514"/>
                  <a:pt x="7437549" y="2211663"/>
                  <a:pt x="7438784" y="2214812"/>
                </a:cubicBezTo>
                <a:cubicBezTo>
                  <a:pt x="7443177" y="2216722"/>
                  <a:pt x="7444412" y="2219871"/>
                  <a:pt x="7448804" y="2221783"/>
                </a:cubicBezTo>
                <a:cubicBezTo>
                  <a:pt x="7448804" y="2221783"/>
                  <a:pt x="7451962" y="2220544"/>
                  <a:pt x="7456354" y="2222455"/>
                </a:cubicBezTo>
                <a:lnTo>
                  <a:pt x="7457589" y="2225604"/>
                </a:lnTo>
                <a:lnTo>
                  <a:pt x="7458824" y="2228753"/>
                </a:lnTo>
                <a:lnTo>
                  <a:pt x="7460059" y="2231902"/>
                </a:lnTo>
                <a:cubicBezTo>
                  <a:pt x="7464452" y="2233813"/>
                  <a:pt x="7468844" y="2235723"/>
                  <a:pt x="7473237" y="2237634"/>
                </a:cubicBezTo>
                <a:cubicBezTo>
                  <a:pt x="7476394" y="2236396"/>
                  <a:pt x="7476394" y="2236396"/>
                  <a:pt x="7476394" y="2236396"/>
                </a:cubicBezTo>
                <a:cubicBezTo>
                  <a:pt x="7483944" y="2237068"/>
                  <a:pt x="7488336" y="2238979"/>
                  <a:pt x="7493964" y="2244038"/>
                </a:cubicBezTo>
                <a:cubicBezTo>
                  <a:pt x="7492729" y="2240889"/>
                  <a:pt x="7495886" y="2239651"/>
                  <a:pt x="7499044" y="2238413"/>
                </a:cubicBezTo>
                <a:cubicBezTo>
                  <a:pt x="7504672" y="2243473"/>
                  <a:pt x="7509064" y="2245383"/>
                  <a:pt x="7513456" y="2247294"/>
                </a:cubicBezTo>
                <a:cubicBezTo>
                  <a:pt x="7517161" y="2256741"/>
                  <a:pt x="7521554" y="2258652"/>
                  <a:pt x="7527869" y="2256175"/>
                </a:cubicBezTo>
                <a:cubicBezTo>
                  <a:pt x="7533496" y="2261235"/>
                  <a:pt x="7537889" y="2263146"/>
                  <a:pt x="7544204" y="2260669"/>
                </a:cubicBezTo>
                <a:cubicBezTo>
                  <a:pt x="7544204" y="2260669"/>
                  <a:pt x="7545439" y="2263818"/>
                  <a:pt x="7545439" y="2263818"/>
                </a:cubicBezTo>
                <a:cubicBezTo>
                  <a:pt x="7549831" y="2265729"/>
                  <a:pt x="7551066" y="2268878"/>
                  <a:pt x="7555459" y="2270789"/>
                </a:cubicBezTo>
                <a:cubicBezTo>
                  <a:pt x="7559851" y="2272700"/>
                  <a:pt x="7561086" y="2275849"/>
                  <a:pt x="7563556" y="2282147"/>
                </a:cubicBezTo>
                <a:cubicBezTo>
                  <a:pt x="7566713" y="2280908"/>
                  <a:pt x="7567948" y="2284057"/>
                  <a:pt x="7569183" y="2287206"/>
                </a:cubicBezTo>
                <a:cubicBezTo>
                  <a:pt x="7575498" y="2284729"/>
                  <a:pt x="7579891" y="2286640"/>
                  <a:pt x="7586206" y="2284164"/>
                </a:cubicBezTo>
                <a:cubicBezTo>
                  <a:pt x="7593068" y="2292372"/>
                  <a:pt x="7597461" y="2294283"/>
                  <a:pt x="7605011" y="2294956"/>
                </a:cubicBezTo>
                <a:lnTo>
                  <a:pt x="7609403" y="2296867"/>
                </a:lnTo>
                <a:cubicBezTo>
                  <a:pt x="7611873" y="2303165"/>
                  <a:pt x="7616266" y="2305075"/>
                  <a:pt x="7622581" y="2302598"/>
                </a:cubicBezTo>
                <a:cubicBezTo>
                  <a:pt x="7625051" y="2308896"/>
                  <a:pt x="7629443" y="2310807"/>
                  <a:pt x="7636993" y="2311480"/>
                </a:cubicBezTo>
                <a:cubicBezTo>
                  <a:pt x="7646325" y="2325986"/>
                  <a:pt x="7657580" y="2336106"/>
                  <a:pt x="7671993" y="2344987"/>
                </a:cubicBezTo>
                <a:cubicBezTo>
                  <a:pt x="7680090" y="2356345"/>
                  <a:pt x="7690798" y="2355779"/>
                  <a:pt x="7700270" y="2352065"/>
                </a:cubicBezTo>
                <a:cubicBezTo>
                  <a:pt x="7701505" y="2355214"/>
                  <a:pt x="7705897" y="2357124"/>
                  <a:pt x="7713447" y="2357796"/>
                </a:cubicBezTo>
                <a:cubicBezTo>
                  <a:pt x="7724015" y="2375452"/>
                  <a:pt x="7746665" y="2377469"/>
                  <a:pt x="7763000" y="2381964"/>
                </a:cubicBezTo>
                <a:cubicBezTo>
                  <a:pt x="7774254" y="2392083"/>
                  <a:pt x="7791824" y="2399726"/>
                  <a:pt x="7808159" y="2404220"/>
                </a:cubicBezTo>
                <a:cubicBezTo>
                  <a:pt x="7810629" y="2410518"/>
                  <a:pt x="7815022" y="2412429"/>
                  <a:pt x="7822572" y="2413101"/>
                </a:cubicBezTo>
                <a:cubicBezTo>
                  <a:pt x="7825041" y="2419399"/>
                  <a:pt x="7830669" y="2424458"/>
                  <a:pt x="7839454" y="2428280"/>
                </a:cubicBezTo>
                <a:cubicBezTo>
                  <a:pt x="7845081" y="2433340"/>
                  <a:pt x="7849474" y="2435251"/>
                  <a:pt x="7855789" y="2432774"/>
                </a:cubicBezTo>
                <a:cubicBezTo>
                  <a:pt x="7858259" y="2439072"/>
                  <a:pt x="7865809" y="2439745"/>
                  <a:pt x="7868966" y="2438506"/>
                </a:cubicBezTo>
                <a:cubicBezTo>
                  <a:pt x="7874594" y="2443566"/>
                  <a:pt x="7878986" y="2445477"/>
                  <a:pt x="7886536" y="2446149"/>
                </a:cubicBezTo>
                <a:cubicBezTo>
                  <a:pt x="7889006" y="2452447"/>
                  <a:pt x="7893398" y="2454357"/>
                  <a:pt x="7897791" y="2456268"/>
                </a:cubicBezTo>
                <a:cubicBezTo>
                  <a:pt x="7903418" y="2461329"/>
                  <a:pt x="7907811" y="2463239"/>
                  <a:pt x="7915361" y="2463911"/>
                </a:cubicBezTo>
                <a:lnTo>
                  <a:pt x="7916596" y="2467060"/>
                </a:lnTo>
                <a:lnTo>
                  <a:pt x="7920988" y="2468971"/>
                </a:lnTo>
                <a:cubicBezTo>
                  <a:pt x="7923458" y="2475269"/>
                  <a:pt x="7927851" y="2477180"/>
                  <a:pt x="7934166" y="2474703"/>
                </a:cubicBezTo>
                <a:cubicBezTo>
                  <a:pt x="7936636" y="2481001"/>
                  <a:pt x="7941028" y="2482912"/>
                  <a:pt x="7948578" y="2483584"/>
                </a:cubicBezTo>
                <a:cubicBezTo>
                  <a:pt x="7956676" y="2494943"/>
                  <a:pt x="7966695" y="2501913"/>
                  <a:pt x="7983030" y="2506407"/>
                </a:cubicBezTo>
                <a:cubicBezTo>
                  <a:pt x="7985500" y="2512705"/>
                  <a:pt x="7989893" y="2514616"/>
                  <a:pt x="7996208" y="2512139"/>
                </a:cubicBezTo>
                <a:cubicBezTo>
                  <a:pt x="7999913" y="2521586"/>
                  <a:pt x="8005540" y="2526646"/>
                  <a:pt x="8016248" y="2526080"/>
                </a:cubicBezTo>
                <a:cubicBezTo>
                  <a:pt x="8024345" y="2537438"/>
                  <a:pt x="8033130" y="2541259"/>
                  <a:pt x="8043837" y="2540693"/>
                </a:cubicBezTo>
                <a:cubicBezTo>
                  <a:pt x="8049465" y="2545753"/>
                  <a:pt x="8053857" y="2547664"/>
                  <a:pt x="8060172" y="2545187"/>
                </a:cubicBezTo>
                <a:lnTo>
                  <a:pt x="8061407" y="2548336"/>
                </a:lnTo>
                <a:cubicBezTo>
                  <a:pt x="8070192" y="2552158"/>
                  <a:pt x="8078977" y="2555979"/>
                  <a:pt x="8088997" y="2562949"/>
                </a:cubicBezTo>
                <a:cubicBezTo>
                  <a:pt x="8091467" y="2569248"/>
                  <a:pt x="8095860" y="2571158"/>
                  <a:pt x="8103409" y="2571831"/>
                </a:cubicBezTo>
                <a:cubicBezTo>
                  <a:pt x="8113429" y="2578801"/>
                  <a:pt x="8124684" y="2588921"/>
                  <a:pt x="8139784" y="2590265"/>
                </a:cubicBezTo>
                <a:cubicBezTo>
                  <a:pt x="8142254" y="2596564"/>
                  <a:pt x="8146647" y="2598474"/>
                  <a:pt x="8152962" y="2595998"/>
                </a:cubicBezTo>
                <a:cubicBezTo>
                  <a:pt x="8155432" y="2602296"/>
                  <a:pt x="8159824" y="2604206"/>
                  <a:pt x="8167374" y="2604879"/>
                </a:cubicBezTo>
                <a:cubicBezTo>
                  <a:pt x="8169844" y="2611177"/>
                  <a:pt x="8175471" y="2616236"/>
                  <a:pt x="8183021" y="2616909"/>
                </a:cubicBezTo>
                <a:lnTo>
                  <a:pt x="8184256" y="2620058"/>
                </a:lnTo>
                <a:lnTo>
                  <a:pt x="8187414" y="2618820"/>
                </a:lnTo>
                <a:cubicBezTo>
                  <a:pt x="8191119" y="2628267"/>
                  <a:pt x="8194276" y="2627029"/>
                  <a:pt x="8201826" y="2627701"/>
                </a:cubicBezTo>
                <a:cubicBezTo>
                  <a:pt x="8211159" y="2642208"/>
                  <a:pt x="8225571" y="2651089"/>
                  <a:pt x="8245751" y="2646808"/>
                </a:cubicBezTo>
                <a:cubicBezTo>
                  <a:pt x="8248221" y="2653106"/>
                  <a:pt x="8252613" y="2655017"/>
                  <a:pt x="8260163" y="2655689"/>
                </a:cubicBezTo>
                <a:cubicBezTo>
                  <a:pt x="8262633" y="2661987"/>
                  <a:pt x="8267026" y="2663898"/>
                  <a:pt x="8274576" y="2664571"/>
                </a:cubicBezTo>
                <a:cubicBezTo>
                  <a:pt x="8275811" y="2667720"/>
                  <a:pt x="8277046" y="2670869"/>
                  <a:pt x="8283361" y="2668392"/>
                </a:cubicBezTo>
                <a:cubicBezTo>
                  <a:pt x="8282673" y="2675929"/>
                  <a:pt x="8287066" y="2677839"/>
                  <a:pt x="8293381" y="2675363"/>
                </a:cubicBezTo>
                <a:cubicBezTo>
                  <a:pt x="8301478" y="2686720"/>
                  <a:pt x="8310263" y="2690542"/>
                  <a:pt x="8324128" y="2688738"/>
                </a:cubicBezTo>
                <a:cubicBezTo>
                  <a:pt x="8326598" y="2695036"/>
                  <a:pt x="8330990" y="2696946"/>
                  <a:pt x="8338540" y="2697619"/>
                </a:cubicBezTo>
                <a:cubicBezTo>
                  <a:pt x="8344715" y="2713364"/>
                  <a:pt x="8356658" y="2715947"/>
                  <a:pt x="8371757" y="2717292"/>
                </a:cubicBezTo>
                <a:lnTo>
                  <a:pt x="8374915" y="2716053"/>
                </a:lnTo>
                <a:cubicBezTo>
                  <a:pt x="8377385" y="2722351"/>
                  <a:pt x="8381777" y="2724262"/>
                  <a:pt x="8388092" y="2721786"/>
                </a:cubicBezTo>
                <a:cubicBezTo>
                  <a:pt x="8402505" y="2730667"/>
                  <a:pt x="8413072" y="2748323"/>
                  <a:pt x="8430094" y="2745280"/>
                </a:cubicBezTo>
                <a:cubicBezTo>
                  <a:pt x="8432564" y="2751578"/>
                  <a:pt x="8440114" y="2752251"/>
                  <a:pt x="8444507" y="2754162"/>
                </a:cubicBezTo>
                <a:cubicBezTo>
                  <a:pt x="8448899" y="2756072"/>
                  <a:pt x="8454527" y="2761132"/>
                  <a:pt x="8457684" y="2759894"/>
                </a:cubicBezTo>
                <a:cubicBezTo>
                  <a:pt x="8464547" y="2768102"/>
                  <a:pt x="8470174" y="2773162"/>
                  <a:pt x="8479647" y="2769447"/>
                </a:cubicBezTo>
                <a:cubicBezTo>
                  <a:pt x="8482117" y="2775745"/>
                  <a:pt x="8485274" y="2774507"/>
                  <a:pt x="8488431" y="2773268"/>
                </a:cubicBezTo>
                <a:cubicBezTo>
                  <a:pt x="8492824" y="2775179"/>
                  <a:pt x="8498452" y="2780239"/>
                  <a:pt x="8504766" y="2777763"/>
                </a:cubicBezTo>
                <a:cubicBezTo>
                  <a:pt x="8508471" y="2787210"/>
                  <a:pt x="8514099" y="2792269"/>
                  <a:pt x="8522884" y="2796091"/>
                </a:cubicBezTo>
                <a:cubicBezTo>
                  <a:pt x="8526589" y="2805538"/>
                  <a:pt x="8519586" y="2815551"/>
                  <a:pt x="8508879" y="2816117"/>
                </a:cubicBezTo>
                <a:cubicBezTo>
                  <a:pt x="8498171" y="2816682"/>
                  <a:pt x="8490621" y="2816010"/>
                  <a:pt x="8485541" y="2821636"/>
                </a:cubicBezTo>
                <a:cubicBezTo>
                  <a:pt x="8484306" y="2818487"/>
                  <a:pt x="8486229" y="2814099"/>
                  <a:pt x="8476757" y="2817814"/>
                </a:cubicBezTo>
                <a:cubicBezTo>
                  <a:pt x="8481149" y="2819725"/>
                  <a:pt x="8481149" y="2819725"/>
                  <a:pt x="8485541" y="2821636"/>
                </a:cubicBezTo>
                <a:cubicBezTo>
                  <a:pt x="8526309" y="2841981"/>
                  <a:pt x="8513399" y="2883378"/>
                  <a:pt x="8519434" y="2917345"/>
                </a:cubicBezTo>
                <a:lnTo>
                  <a:pt x="8516276" y="2918583"/>
                </a:lnTo>
                <a:cubicBezTo>
                  <a:pt x="8510649" y="2913524"/>
                  <a:pt x="8503099" y="2912851"/>
                  <a:pt x="8498706" y="2910940"/>
                </a:cubicBezTo>
                <a:cubicBezTo>
                  <a:pt x="8484982" y="2894523"/>
                  <a:pt x="8450937" y="2900608"/>
                  <a:pt x="8444214" y="2874177"/>
                </a:cubicBezTo>
                <a:cubicBezTo>
                  <a:pt x="8430757" y="2904889"/>
                  <a:pt x="8461504" y="2918264"/>
                  <a:pt x="8463834" y="2942784"/>
                </a:cubicBezTo>
                <a:cubicBezTo>
                  <a:pt x="8479622" y="2936592"/>
                  <a:pt x="8480309" y="2929056"/>
                  <a:pt x="8484154" y="2920281"/>
                </a:cubicBezTo>
                <a:cubicBezTo>
                  <a:pt x="8488547" y="2922192"/>
                  <a:pt x="8496097" y="2922864"/>
                  <a:pt x="8500489" y="2924775"/>
                </a:cubicBezTo>
                <a:cubicBezTo>
                  <a:pt x="8501724" y="2927924"/>
                  <a:pt x="8502959" y="2931073"/>
                  <a:pt x="8507351" y="2932983"/>
                </a:cubicBezTo>
                <a:cubicBezTo>
                  <a:pt x="8509681" y="2957503"/>
                  <a:pt x="8513934" y="2977636"/>
                  <a:pt x="8516264" y="3002156"/>
                </a:cubicBezTo>
                <a:cubicBezTo>
                  <a:pt x="8501024" y="3019032"/>
                  <a:pt x="8504041" y="3036016"/>
                  <a:pt x="8527239" y="3048719"/>
                </a:cubicBezTo>
                <a:cubicBezTo>
                  <a:pt x="8533414" y="3064464"/>
                  <a:pt x="8549061" y="3076494"/>
                  <a:pt x="8520644" y="3087639"/>
                </a:cubicBezTo>
                <a:cubicBezTo>
                  <a:pt x="8496619" y="3100694"/>
                  <a:pt x="8475204" y="3101826"/>
                  <a:pt x="8449397" y="3101047"/>
                </a:cubicBezTo>
                <a:cubicBezTo>
                  <a:pt x="8448162" y="3097898"/>
                  <a:pt x="8440612" y="3097226"/>
                  <a:pt x="8436219" y="3095315"/>
                </a:cubicBezTo>
                <a:lnTo>
                  <a:pt x="8433062" y="3096553"/>
                </a:lnTo>
                <a:cubicBezTo>
                  <a:pt x="8421807" y="3086434"/>
                  <a:pt x="8409177" y="3091387"/>
                  <a:pt x="8397235" y="3088804"/>
                </a:cubicBezTo>
                <a:cubicBezTo>
                  <a:pt x="8391607" y="3083744"/>
                  <a:pt x="8385980" y="3078684"/>
                  <a:pt x="8382822" y="3079923"/>
                </a:cubicBezTo>
                <a:cubicBezTo>
                  <a:pt x="8367862" y="3060356"/>
                  <a:pt x="8352215" y="3048326"/>
                  <a:pt x="8325720" y="3055083"/>
                </a:cubicBezTo>
                <a:cubicBezTo>
                  <a:pt x="8318170" y="3054411"/>
                  <a:pt x="8299913" y="3054304"/>
                  <a:pt x="8298678" y="3051155"/>
                </a:cubicBezTo>
                <a:cubicBezTo>
                  <a:pt x="8278231" y="3008307"/>
                  <a:pt x="8242811" y="3029465"/>
                  <a:pt x="8211376" y="3023626"/>
                </a:cubicBezTo>
                <a:cubicBezTo>
                  <a:pt x="8176924" y="3000804"/>
                  <a:pt x="8137939" y="2994293"/>
                  <a:pt x="8100877" y="2983394"/>
                </a:cubicBezTo>
                <a:cubicBezTo>
                  <a:pt x="8077132" y="2960006"/>
                  <a:pt x="8038007" y="2971717"/>
                  <a:pt x="8019343" y="2942703"/>
                </a:cubicBezTo>
                <a:cubicBezTo>
                  <a:pt x="8024422" y="2937078"/>
                  <a:pt x="8038835" y="2945959"/>
                  <a:pt x="8037052" y="2932124"/>
                </a:cubicBezTo>
                <a:cubicBezTo>
                  <a:pt x="8038975" y="2927737"/>
                  <a:pt x="8033347" y="2922677"/>
                  <a:pt x="8033347" y="2922677"/>
                </a:cubicBezTo>
                <a:cubicBezTo>
                  <a:pt x="8019483" y="2924482"/>
                  <a:pt x="8023187" y="2933929"/>
                  <a:pt x="8019343" y="2942703"/>
                </a:cubicBezTo>
                <a:cubicBezTo>
                  <a:pt x="8016185" y="2943942"/>
                  <a:pt x="8008635" y="2943269"/>
                  <a:pt x="8008635" y="2943269"/>
                </a:cubicBezTo>
                <a:cubicBezTo>
                  <a:pt x="7991205" y="2917404"/>
                  <a:pt x="7968008" y="2904702"/>
                  <a:pt x="7936433" y="2917085"/>
                </a:cubicBezTo>
                <a:cubicBezTo>
                  <a:pt x="7930118" y="2919562"/>
                  <a:pt x="7916941" y="2913830"/>
                  <a:pt x="7911313" y="2908769"/>
                </a:cubicBezTo>
                <a:cubicBezTo>
                  <a:pt x="7880019" y="2884709"/>
                  <a:pt x="7839111" y="2882585"/>
                  <a:pt x="7814131" y="2856048"/>
                </a:cubicBezTo>
                <a:cubicBezTo>
                  <a:pt x="7802877" y="2845929"/>
                  <a:pt x="7790247" y="2850882"/>
                  <a:pt x="7776382" y="2852686"/>
                </a:cubicBezTo>
                <a:cubicBezTo>
                  <a:pt x="7776662" y="2816243"/>
                  <a:pt x="7752637" y="2829298"/>
                  <a:pt x="7732457" y="2833579"/>
                </a:cubicBezTo>
                <a:cubicBezTo>
                  <a:pt x="7729987" y="2827281"/>
                  <a:pt x="7725595" y="2825370"/>
                  <a:pt x="7718045" y="2824698"/>
                </a:cubicBezTo>
                <a:cubicBezTo>
                  <a:pt x="7715575" y="2818400"/>
                  <a:pt x="7708025" y="2817728"/>
                  <a:pt x="7701710" y="2820204"/>
                </a:cubicBezTo>
                <a:cubicBezTo>
                  <a:pt x="7693065" y="2798161"/>
                  <a:pt x="7675495" y="2790518"/>
                  <a:pt x="7657238" y="2790411"/>
                </a:cubicBezTo>
                <a:cubicBezTo>
                  <a:pt x="7627178" y="2769500"/>
                  <a:pt x="7594508" y="2760512"/>
                  <a:pt x="7562526" y="2743988"/>
                </a:cubicBezTo>
                <a:cubicBezTo>
                  <a:pt x="7546878" y="2731958"/>
                  <a:pt x="7520524" y="2720493"/>
                  <a:pt x="7496499" y="2733549"/>
                </a:cubicBezTo>
                <a:cubicBezTo>
                  <a:pt x="7468502" y="2690029"/>
                  <a:pt x="7465344" y="2691267"/>
                  <a:pt x="7425532" y="2710514"/>
                </a:cubicBezTo>
                <a:cubicBezTo>
                  <a:pt x="7399865" y="2691513"/>
                  <a:pt x="7378730" y="2656201"/>
                  <a:pt x="7337683" y="2672299"/>
                </a:cubicBezTo>
                <a:cubicBezTo>
                  <a:pt x="7333290" y="2670388"/>
                  <a:pt x="7328898" y="2668478"/>
                  <a:pt x="7321348" y="2667806"/>
                </a:cubicBezTo>
                <a:cubicBezTo>
                  <a:pt x="7308170" y="2662073"/>
                  <a:pt x="7297603" y="2644417"/>
                  <a:pt x="7279893" y="2654996"/>
                </a:cubicBezTo>
                <a:cubicBezTo>
                  <a:pt x="7276736" y="2656235"/>
                  <a:pt x="7276048" y="2663771"/>
                  <a:pt x="7277283" y="2666920"/>
                </a:cubicBezTo>
                <a:cubicBezTo>
                  <a:pt x="7289773" y="2680188"/>
                  <a:pt x="7306795" y="2677146"/>
                  <a:pt x="7321895" y="2678491"/>
                </a:cubicBezTo>
                <a:cubicBezTo>
                  <a:pt x="7325053" y="2677253"/>
                  <a:pt x="7325053" y="2677253"/>
                  <a:pt x="7328210" y="2676014"/>
                </a:cubicBezTo>
                <a:cubicBezTo>
                  <a:pt x="7325600" y="2687938"/>
                  <a:pt x="7336308" y="2687372"/>
                  <a:pt x="7343858" y="2688045"/>
                </a:cubicBezTo>
                <a:cubicBezTo>
                  <a:pt x="7369525" y="2707045"/>
                  <a:pt x="7393270" y="2730433"/>
                  <a:pt x="7430472" y="2723110"/>
                </a:cubicBezTo>
                <a:cubicBezTo>
                  <a:pt x="7455592" y="2731425"/>
                  <a:pt x="7467942" y="2762915"/>
                  <a:pt x="7501986" y="2756831"/>
                </a:cubicBezTo>
                <a:cubicBezTo>
                  <a:pt x="7508709" y="2783261"/>
                  <a:pt x="7537814" y="2764580"/>
                  <a:pt x="7543989" y="2780325"/>
                </a:cubicBezTo>
                <a:cubicBezTo>
                  <a:pt x="7562653" y="2809339"/>
                  <a:pt x="7584756" y="2800671"/>
                  <a:pt x="7606171" y="2799539"/>
                </a:cubicBezTo>
                <a:cubicBezTo>
                  <a:pt x="7624288" y="2817867"/>
                  <a:pt x="7643640" y="2839345"/>
                  <a:pt x="7668213" y="2836974"/>
                </a:cubicBezTo>
                <a:cubicBezTo>
                  <a:pt x="7688393" y="2832694"/>
                  <a:pt x="7698960" y="2850349"/>
                  <a:pt x="7718452" y="2853605"/>
                </a:cubicBezTo>
                <a:cubicBezTo>
                  <a:pt x="7719687" y="2856754"/>
                  <a:pt x="7722157" y="2863052"/>
                  <a:pt x="7728472" y="2860575"/>
                </a:cubicBezTo>
                <a:cubicBezTo>
                  <a:pt x="7736570" y="2871933"/>
                  <a:pt x="7742885" y="2869457"/>
                  <a:pt x="7745495" y="2857533"/>
                </a:cubicBezTo>
                <a:lnTo>
                  <a:pt x="7748652" y="2856295"/>
                </a:lnTo>
                <a:lnTo>
                  <a:pt x="7747417" y="2853146"/>
                </a:lnTo>
                <a:cubicBezTo>
                  <a:pt x="7751122" y="2862593"/>
                  <a:pt x="7753592" y="2868891"/>
                  <a:pt x="7762377" y="2872712"/>
                </a:cubicBezTo>
                <a:cubicBezTo>
                  <a:pt x="7779947" y="2880355"/>
                  <a:pt x="7796282" y="2884849"/>
                  <a:pt x="7813851" y="2892492"/>
                </a:cubicBezTo>
                <a:cubicBezTo>
                  <a:pt x="7872736" y="2931166"/>
                  <a:pt x="7939998" y="2944754"/>
                  <a:pt x="7997648" y="2980279"/>
                </a:cubicBezTo>
                <a:cubicBezTo>
                  <a:pt x="8032100" y="3003101"/>
                  <a:pt x="8069162" y="3013999"/>
                  <a:pt x="8101144" y="3030523"/>
                </a:cubicBezTo>
                <a:cubicBezTo>
                  <a:pt x="8111852" y="3029957"/>
                  <a:pt x="8120637" y="3033779"/>
                  <a:pt x="8121184" y="3044464"/>
                </a:cubicBezTo>
                <a:cubicBezTo>
                  <a:pt x="8124342" y="3043226"/>
                  <a:pt x="8128734" y="3045137"/>
                  <a:pt x="8128734" y="3045137"/>
                </a:cubicBezTo>
                <a:cubicBezTo>
                  <a:pt x="8139442" y="3044571"/>
                  <a:pt x="8145069" y="3049630"/>
                  <a:pt x="8151932" y="3057839"/>
                </a:cubicBezTo>
                <a:cubicBezTo>
                  <a:pt x="8151932" y="3057839"/>
                  <a:pt x="8156324" y="3059750"/>
                  <a:pt x="8156324" y="3059750"/>
                </a:cubicBezTo>
                <a:cubicBezTo>
                  <a:pt x="8156324" y="3059750"/>
                  <a:pt x="8159482" y="3058512"/>
                  <a:pt x="8162639" y="3057274"/>
                </a:cubicBezTo>
                <a:cubicBezTo>
                  <a:pt x="8163874" y="3060423"/>
                  <a:pt x="8163874" y="3060423"/>
                  <a:pt x="8165109" y="3063572"/>
                </a:cubicBezTo>
                <a:cubicBezTo>
                  <a:pt x="8165109" y="3063572"/>
                  <a:pt x="8166344" y="3066721"/>
                  <a:pt x="8166344" y="3066721"/>
                </a:cubicBezTo>
                <a:lnTo>
                  <a:pt x="8167579" y="3069870"/>
                </a:lnTo>
                <a:cubicBezTo>
                  <a:pt x="8167579" y="3069870"/>
                  <a:pt x="8170736" y="3068631"/>
                  <a:pt x="8170736" y="3068631"/>
                </a:cubicBezTo>
                <a:cubicBezTo>
                  <a:pt x="8173894" y="3067393"/>
                  <a:pt x="8175129" y="3070542"/>
                  <a:pt x="8178286" y="3069303"/>
                </a:cubicBezTo>
                <a:cubicBezTo>
                  <a:pt x="8176364" y="3073691"/>
                  <a:pt x="8179521" y="3072452"/>
                  <a:pt x="8183914" y="3074363"/>
                </a:cubicBezTo>
                <a:cubicBezTo>
                  <a:pt x="8183914" y="3074363"/>
                  <a:pt x="8181991" y="3078750"/>
                  <a:pt x="8181991" y="3078750"/>
                </a:cubicBezTo>
                <a:cubicBezTo>
                  <a:pt x="8183226" y="3081899"/>
                  <a:pt x="8184461" y="3085049"/>
                  <a:pt x="8184461" y="3085049"/>
                </a:cubicBezTo>
                <a:lnTo>
                  <a:pt x="8188854" y="3086960"/>
                </a:lnTo>
                <a:lnTo>
                  <a:pt x="8190089" y="3090109"/>
                </a:lnTo>
                <a:cubicBezTo>
                  <a:pt x="8191324" y="3093258"/>
                  <a:pt x="8195716" y="3095168"/>
                  <a:pt x="8200109" y="3097079"/>
                </a:cubicBezTo>
                <a:cubicBezTo>
                  <a:pt x="8205736" y="3102139"/>
                  <a:pt x="8208206" y="3108437"/>
                  <a:pt x="8199969" y="3115301"/>
                </a:cubicBezTo>
                <a:cubicBezTo>
                  <a:pt x="8199969" y="3115301"/>
                  <a:pt x="8199969" y="3115301"/>
                  <a:pt x="8201204" y="3118450"/>
                </a:cubicBezTo>
                <a:cubicBezTo>
                  <a:pt x="8202439" y="3121599"/>
                  <a:pt x="8203674" y="3124748"/>
                  <a:pt x="8200516" y="3125986"/>
                </a:cubicBezTo>
                <a:cubicBezTo>
                  <a:pt x="8200516" y="3125986"/>
                  <a:pt x="8201751" y="3129135"/>
                  <a:pt x="8201751" y="3129135"/>
                </a:cubicBezTo>
                <a:cubicBezTo>
                  <a:pt x="8198594" y="3130374"/>
                  <a:pt x="8195436" y="3131612"/>
                  <a:pt x="8191044" y="3129701"/>
                </a:cubicBezTo>
                <a:cubicBezTo>
                  <a:pt x="8191044" y="3129701"/>
                  <a:pt x="8191044" y="3129701"/>
                  <a:pt x="8189809" y="3126552"/>
                </a:cubicBezTo>
                <a:cubicBezTo>
                  <a:pt x="8189809" y="3126552"/>
                  <a:pt x="8188574" y="3123403"/>
                  <a:pt x="8184181" y="3121492"/>
                </a:cubicBezTo>
                <a:cubicBezTo>
                  <a:pt x="8181024" y="3122730"/>
                  <a:pt x="8177866" y="3123969"/>
                  <a:pt x="8177866" y="3123969"/>
                </a:cubicBezTo>
                <a:cubicBezTo>
                  <a:pt x="8170316" y="3123296"/>
                  <a:pt x="8165924" y="3121385"/>
                  <a:pt x="8164689" y="3118236"/>
                </a:cubicBezTo>
                <a:cubicBezTo>
                  <a:pt x="8154122" y="3100581"/>
                  <a:pt x="8140257" y="3102385"/>
                  <a:pt x="8125704" y="3111726"/>
                </a:cubicBezTo>
                <a:cubicBezTo>
                  <a:pt x="8125704" y="3111726"/>
                  <a:pt x="8126939" y="3114875"/>
                  <a:pt x="8126939" y="3114875"/>
                </a:cubicBezTo>
                <a:cubicBezTo>
                  <a:pt x="8126939" y="3114875"/>
                  <a:pt x="8126939" y="3114875"/>
                  <a:pt x="8123782" y="3116113"/>
                </a:cubicBezTo>
                <a:cubicBezTo>
                  <a:pt x="8125017" y="3119262"/>
                  <a:pt x="8125017" y="3119262"/>
                  <a:pt x="8125017" y="3119262"/>
                </a:cubicBezTo>
                <a:lnTo>
                  <a:pt x="8129409" y="3121173"/>
                </a:lnTo>
                <a:lnTo>
                  <a:pt x="8131879" y="3127471"/>
                </a:lnTo>
                <a:cubicBezTo>
                  <a:pt x="8135037" y="3126232"/>
                  <a:pt x="8138194" y="3124994"/>
                  <a:pt x="8142587" y="3126905"/>
                </a:cubicBezTo>
                <a:cubicBezTo>
                  <a:pt x="8143822" y="3130054"/>
                  <a:pt x="8145057" y="3133203"/>
                  <a:pt x="8146292" y="3136352"/>
                </a:cubicBezTo>
                <a:cubicBezTo>
                  <a:pt x="8158234" y="3138935"/>
                  <a:pt x="8168801" y="3156591"/>
                  <a:pt x="8183354" y="3147250"/>
                </a:cubicBezTo>
                <a:cubicBezTo>
                  <a:pt x="8190624" y="3184366"/>
                  <a:pt x="8187186" y="3222048"/>
                  <a:pt x="8200771" y="3256687"/>
                </a:cubicBezTo>
                <a:cubicBezTo>
                  <a:pt x="8176199" y="3259057"/>
                  <a:pt x="8157394" y="3248265"/>
                  <a:pt x="8135432" y="3238712"/>
                </a:cubicBezTo>
                <a:cubicBezTo>
                  <a:pt x="8124177" y="3228592"/>
                  <a:pt x="8119237" y="3215996"/>
                  <a:pt x="8094665" y="3218366"/>
                </a:cubicBezTo>
                <a:cubicBezTo>
                  <a:pt x="8102762" y="3229724"/>
                  <a:pt x="8110859" y="3241082"/>
                  <a:pt x="8117722" y="3249291"/>
                </a:cubicBezTo>
                <a:cubicBezTo>
                  <a:pt x="8129524" y="3270095"/>
                  <a:pt x="8146407" y="3285275"/>
                  <a:pt x="8165211" y="3296067"/>
                </a:cubicBezTo>
                <a:cubicBezTo>
                  <a:pt x="8187174" y="3305620"/>
                  <a:pt x="8201446" y="3332723"/>
                  <a:pt x="8189364" y="3348362"/>
                </a:cubicBezTo>
                <a:cubicBezTo>
                  <a:pt x="8172201" y="3369626"/>
                  <a:pt x="8185926" y="3386044"/>
                  <a:pt x="8188944" y="3403027"/>
                </a:cubicBezTo>
                <a:cubicBezTo>
                  <a:pt x="8193884" y="3415623"/>
                  <a:pt x="8206374" y="3428892"/>
                  <a:pt x="8188664" y="3439470"/>
                </a:cubicBezTo>
                <a:cubicBezTo>
                  <a:pt x="8184411" y="3419338"/>
                  <a:pt x="8174391" y="3412368"/>
                  <a:pt x="8152289" y="3421036"/>
                </a:cubicBezTo>
                <a:cubicBezTo>
                  <a:pt x="8169859" y="3428679"/>
                  <a:pt x="8170954" y="3450049"/>
                  <a:pt x="8192369" y="3448918"/>
                </a:cubicBezTo>
                <a:cubicBezTo>
                  <a:pt x="8196621" y="3469050"/>
                  <a:pt x="8216113" y="3472306"/>
                  <a:pt x="8224211" y="3483664"/>
                </a:cubicBezTo>
                <a:cubicBezTo>
                  <a:pt x="8217069" y="3511898"/>
                  <a:pt x="8188791" y="3504821"/>
                  <a:pt x="8172316" y="3518549"/>
                </a:cubicBezTo>
                <a:cubicBezTo>
                  <a:pt x="8166001" y="3521026"/>
                  <a:pt x="8159686" y="3523502"/>
                  <a:pt x="8150214" y="3527217"/>
                </a:cubicBezTo>
                <a:cubicBezTo>
                  <a:pt x="8143352" y="3519009"/>
                  <a:pt x="8137037" y="3521485"/>
                  <a:pt x="8136349" y="3529022"/>
                </a:cubicBezTo>
                <a:lnTo>
                  <a:pt x="8133192" y="3530260"/>
                </a:lnTo>
                <a:cubicBezTo>
                  <a:pt x="8124407" y="3526438"/>
                  <a:pt x="8112464" y="3523855"/>
                  <a:pt x="8108759" y="3514408"/>
                </a:cubicBezTo>
                <a:cubicBezTo>
                  <a:pt x="8100662" y="3503050"/>
                  <a:pt x="8095582" y="3508676"/>
                  <a:pt x="8086109" y="3512391"/>
                </a:cubicBezTo>
                <a:cubicBezTo>
                  <a:pt x="8074855" y="3502271"/>
                  <a:pt x="8059207" y="3490241"/>
                  <a:pt x="8042185" y="3493283"/>
                </a:cubicBezTo>
                <a:cubicBezTo>
                  <a:pt x="8034087" y="3481926"/>
                  <a:pt x="8025302" y="3478104"/>
                  <a:pt x="8011438" y="3479909"/>
                </a:cubicBezTo>
                <a:cubicBezTo>
                  <a:pt x="7991398" y="3465967"/>
                  <a:pt x="7968748" y="3463950"/>
                  <a:pt x="7946646" y="3472618"/>
                </a:cubicBezTo>
                <a:cubicBezTo>
                  <a:pt x="7947881" y="3475767"/>
                  <a:pt x="7947881" y="3475767"/>
                  <a:pt x="7949115" y="3478916"/>
                </a:cubicBezTo>
                <a:cubicBezTo>
                  <a:pt x="7958448" y="3493423"/>
                  <a:pt x="7964623" y="3509168"/>
                  <a:pt x="7946913" y="3519747"/>
                </a:cubicBezTo>
                <a:cubicBezTo>
                  <a:pt x="7944991" y="3524135"/>
                  <a:pt x="7944991" y="3524135"/>
                  <a:pt x="7941833" y="3525373"/>
                </a:cubicBezTo>
                <a:lnTo>
                  <a:pt x="7943068" y="3528522"/>
                </a:lnTo>
                <a:lnTo>
                  <a:pt x="7944303" y="3531671"/>
                </a:lnTo>
                <a:cubicBezTo>
                  <a:pt x="7948695" y="3533582"/>
                  <a:pt x="7949930" y="3536731"/>
                  <a:pt x="7951165" y="3539880"/>
                </a:cubicBezTo>
                <a:cubicBezTo>
                  <a:pt x="7965578" y="3548761"/>
                  <a:pt x="7971753" y="3564506"/>
                  <a:pt x="7974770" y="3581490"/>
                </a:cubicBezTo>
                <a:cubicBezTo>
                  <a:pt x="7965158" y="3603426"/>
                  <a:pt x="7944838" y="3625929"/>
                  <a:pt x="7973663" y="3643691"/>
                </a:cubicBezTo>
                <a:cubicBezTo>
                  <a:pt x="7974898" y="3646840"/>
                  <a:pt x="7976133" y="3649989"/>
                  <a:pt x="7977368" y="3653138"/>
                </a:cubicBezTo>
                <a:cubicBezTo>
                  <a:pt x="7972288" y="3658764"/>
                  <a:pt x="7970365" y="3663151"/>
                  <a:pt x="7972835" y="3669449"/>
                </a:cubicBezTo>
                <a:cubicBezTo>
                  <a:pt x="7972835" y="3669449"/>
                  <a:pt x="7969678" y="3670687"/>
                  <a:pt x="7967755" y="3675075"/>
                </a:cubicBezTo>
                <a:cubicBezTo>
                  <a:pt x="7967755" y="3675075"/>
                  <a:pt x="7967755" y="3675075"/>
                  <a:pt x="7964598" y="3676313"/>
                </a:cubicBezTo>
                <a:cubicBezTo>
                  <a:pt x="7966928" y="3700833"/>
                  <a:pt x="7940293" y="3725812"/>
                  <a:pt x="7968430" y="3751111"/>
                </a:cubicBezTo>
                <a:cubicBezTo>
                  <a:pt x="7987783" y="3772588"/>
                  <a:pt x="8000820" y="3796542"/>
                  <a:pt x="7990520" y="3826015"/>
                </a:cubicBezTo>
                <a:cubicBezTo>
                  <a:pt x="7988598" y="3830402"/>
                  <a:pt x="7989145" y="3841088"/>
                  <a:pt x="7997930" y="3844909"/>
                </a:cubicBezTo>
                <a:cubicBezTo>
                  <a:pt x="8021127" y="3857612"/>
                  <a:pt x="8036635" y="3887864"/>
                  <a:pt x="8068070" y="3893703"/>
                </a:cubicBezTo>
                <a:cubicBezTo>
                  <a:pt x="8079872" y="3914508"/>
                  <a:pt x="8101834" y="3924061"/>
                  <a:pt x="8122562" y="3930465"/>
                </a:cubicBezTo>
                <a:cubicBezTo>
                  <a:pt x="8125032" y="3936764"/>
                  <a:pt x="8132582" y="3937436"/>
                  <a:pt x="8135739" y="3936198"/>
                </a:cubicBezTo>
                <a:cubicBezTo>
                  <a:pt x="8142602" y="3944407"/>
                  <a:pt x="8146307" y="3953854"/>
                  <a:pt x="8157014" y="3953288"/>
                </a:cubicBezTo>
                <a:cubicBezTo>
                  <a:pt x="8163876" y="3961496"/>
                  <a:pt x="8165659" y="3975331"/>
                  <a:pt x="8181994" y="3979825"/>
                </a:cubicBezTo>
                <a:cubicBezTo>
                  <a:pt x="8187481" y="4003106"/>
                  <a:pt x="8215211" y="3999498"/>
                  <a:pt x="8227701" y="4012766"/>
                </a:cubicBezTo>
                <a:cubicBezTo>
                  <a:pt x="8228936" y="4015915"/>
                  <a:pt x="8230171" y="4019064"/>
                  <a:pt x="8234563" y="4020975"/>
                </a:cubicBezTo>
                <a:cubicBezTo>
                  <a:pt x="8235798" y="4024124"/>
                  <a:pt x="8238268" y="4030423"/>
                  <a:pt x="8240738" y="4036721"/>
                </a:cubicBezTo>
                <a:cubicBezTo>
                  <a:pt x="8245131" y="4038631"/>
                  <a:pt x="8245131" y="4038631"/>
                  <a:pt x="8248288" y="4037393"/>
                </a:cubicBezTo>
                <a:cubicBezTo>
                  <a:pt x="8257073" y="4041214"/>
                  <a:pt x="8261466" y="4043125"/>
                  <a:pt x="8268328" y="4051334"/>
                </a:cubicBezTo>
                <a:cubicBezTo>
                  <a:pt x="8268328" y="4051334"/>
                  <a:pt x="8269563" y="4054483"/>
                  <a:pt x="8269563" y="4054483"/>
                </a:cubicBezTo>
                <a:cubicBezTo>
                  <a:pt x="8272720" y="4053244"/>
                  <a:pt x="8272720" y="4053244"/>
                  <a:pt x="8275878" y="4052006"/>
                </a:cubicBezTo>
                <a:cubicBezTo>
                  <a:pt x="8275878" y="4052006"/>
                  <a:pt x="8280270" y="4053917"/>
                  <a:pt x="8283428" y="4052678"/>
                </a:cubicBezTo>
                <a:cubicBezTo>
                  <a:pt x="8281505" y="4057066"/>
                  <a:pt x="8281505" y="4057066"/>
                  <a:pt x="8285898" y="4058977"/>
                </a:cubicBezTo>
                <a:cubicBezTo>
                  <a:pt x="8283976" y="4063364"/>
                  <a:pt x="8283976" y="4063364"/>
                  <a:pt x="8280818" y="4064602"/>
                </a:cubicBezTo>
                <a:cubicBezTo>
                  <a:pt x="8280818" y="4064602"/>
                  <a:pt x="8280818" y="4064602"/>
                  <a:pt x="8277661" y="4065841"/>
                </a:cubicBezTo>
                <a:lnTo>
                  <a:pt x="8280131" y="4072139"/>
                </a:lnTo>
                <a:lnTo>
                  <a:pt x="8278208" y="4076526"/>
                </a:lnTo>
                <a:cubicBezTo>
                  <a:pt x="8278208" y="4076526"/>
                  <a:pt x="8278208" y="4076526"/>
                  <a:pt x="8279443" y="4079675"/>
                </a:cubicBezTo>
                <a:cubicBezTo>
                  <a:pt x="8279443" y="4079675"/>
                  <a:pt x="8280678" y="4082824"/>
                  <a:pt x="8281913" y="4085973"/>
                </a:cubicBezTo>
                <a:cubicBezTo>
                  <a:pt x="8278755" y="4087211"/>
                  <a:pt x="8275598" y="4088450"/>
                  <a:pt x="8273676" y="4092837"/>
                </a:cubicBezTo>
                <a:cubicBezTo>
                  <a:pt x="8270518" y="4094075"/>
                  <a:pt x="8270518" y="4094075"/>
                  <a:pt x="8267361" y="4095314"/>
                </a:cubicBezTo>
                <a:cubicBezTo>
                  <a:pt x="8267361" y="4095314"/>
                  <a:pt x="8264203" y="4096552"/>
                  <a:pt x="8262968" y="4093403"/>
                </a:cubicBezTo>
                <a:cubicBezTo>
                  <a:pt x="8264203" y="4096552"/>
                  <a:pt x="8265438" y="4099701"/>
                  <a:pt x="8262281" y="4100939"/>
                </a:cubicBezTo>
                <a:cubicBezTo>
                  <a:pt x="8262281" y="4100939"/>
                  <a:pt x="8260358" y="4105326"/>
                  <a:pt x="8260358" y="4105326"/>
                </a:cubicBezTo>
                <a:cubicBezTo>
                  <a:pt x="8257201" y="4106565"/>
                  <a:pt x="8252808" y="4104654"/>
                  <a:pt x="8248416" y="4102743"/>
                </a:cubicBezTo>
                <a:cubicBezTo>
                  <a:pt x="8238943" y="4106458"/>
                  <a:pt x="8238256" y="4113995"/>
                  <a:pt x="8238803" y="4124680"/>
                </a:cubicBezTo>
                <a:cubicBezTo>
                  <a:pt x="8246353" y="4125353"/>
                  <a:pt x="8250746" y="4127263"/>
                  <a:pt x="8253216" y="4133561"/>
                </a:cubicBezTo>
                <a:cubicBezTo>
                  <a:pt x="8254451" y="4136710"/>
                  <a:pt x="8255686" y="4139859"/>
                  <a:pt x="8258156" y="4146157"/>
                </a:cubicBezTo>
                <a:cubicBezTo>
                  <a:pt x="8260626" y="4152455"/>
                  <a:pt x="8263096" y="4158753"/>
                  <a:pt x="8265566" y="4165052"/>
                </a:cubicBezTo>
                <a:cubicBezTo>
                  <a:pt x="8235226" y="4180584"/>
                  <a:pt x="8254031" y="4191375"/>
                  <a:pt x="8266521" y="4204644"/>
                </a:cubicBezTo>
                <a:cubicBezTo>
                  <a:pt x="8268991" y="4210942"/>
                  <a:pt x="8271461" y="4217240"/>
                  <a:pt x="8273931" y="4223538"/>
                </a:cubicBezTo>
                <a:cubicBezTo>
                  <a:pt x="8270773" y="4224777"/>
                  <a:pt x="8267616" y="4226015"/>
                  <a:pt x="8268851" y="4229164"/>
                </a:cubicBezTo>
                <a:cubicBezTo>
                  <a:pt x="8237963" y="4234011"/>
                  <a:pt x="8234806" y="4235249"/>
                  <a:pt x="8227663" y="4263483"/>
                </a:cubicBezTo>
                <a:cubicBezTo>
                  <a:pt x="8226976" y="4271020"/>
                  <a:pt x="8225053" y="4275407"/>
                  <a:pt x="8223131" y="4279795"/>
                </a:cubicBezTo>
                <a:cubicBezTo>
                  <a:pt x="8241248" y="4298123"/>
                  <a:pt x="8249486" y="4291259"/>
                  <a:pt x="8255941" y="4270561"/>
                </a:cubicBezTo>
                <a:cubicBezTo>
                  <a:pt x="8260881" y="4283157"/>
                  <a:pt x="8265820" y="4295753"/>
                  <a:pt x="8270761" y="4308349"/>
                </a:cubicBezTo>
                <a:cubicBezTo>
                  <a:pt x="8249893" y="4320166"/>
                  <a:pt x="8254833" y="4332762"/>
                  <a:pt x="8262243" y="4351656"/>
                </a:cubicBezTo>
                <a:cubicBezTo>
                  <a:pt x="8255241" y="4361669"/>
                  <a:pt x="8265948" y="4361103"/>
                  <a:pt x="8268418" y="4367401"/>
                </a:cubicBezTo>
                <a:cubicBezTo>
                  <a:pt x="8263886" y="4383712"/>
                  <a:pt x="8270748" y="4391921"/>
                  <a:pt x="8280768" y="4398892"/>
                </a:cubicBezTo>
                <a:cubicBezTo>
                  <a:pt x="8275688" y="4404517"/>
                  <a:pt x="8271843" y="4413292"/>
                  <a:pt x="8275548" y="4422739"/>
                </a:cubicBezTo>
                <a:cubicBezTo>
                  <a:pt x="8291743" y="4445455"/>
                  <a:pt x="8290915" y="4471213"/>
                  <a:pt x="8293245" y="4495733"/>
                </a:cubicBezTo>
                <a:cubicBezTo>
                  <a:pt x="8267986" y="4505639"/>
                  <a:pt x="8246431" y="4524992"/>
                  <a:pt x="8210604" y="4517243"/>
                </a:cubicBezTo>
                <a:cubicBezTo>
                  <a:pt x="8198661" y="4514660"/>
                  <a:pt x="8192894" y="4527822"/>
                  <a:pt x="8189049" y="4536597"/>
                </a:cubicBezTo>
                <a:cubicBezTo>
                  <a:pt x="8184656" y="4534686"/>
                  <a:pt x="8184656" y="4534686"/>
                  <a:pt x="8182734" y="4539073"/>
                </a:cubicBezTo>
                <a:cubicBezTo>
                  <a:pt x="8170244" y="4525805"/>
                  <a:pt x="8154456" y="4531996"/>
                  <a:pt x="8139357" y="4530652"/>
                </a:cubicBezTo>
                <a:cubicBezTo>
                  <a:pt x="8123022" y="4526157"/>
                  <a:pt x="8109844" y="4520425"/>
                  <a:pt x="8092822" y="4523468"/>
                </a:cubicBezTo>
                <a:cubicBezTo>
                  <a:pt x="8079784" y="4499514"/>
                  <a:pt x="8064545" y="4516391"/>
                  <a:pt x="8050680" y="4518195"/>
                </a:cubicBezTo>
                <a:cubicBezTo>
                  <a:pt x="8026795" y="4513029"/>
                  <a:pt x="8007303" y="4509773"/>
                  <a:pt x="7983418" y="4504607"/>
                </a:cubicBezTo>
                <a:cubicBezTo>
                  <a:pt x="7962143" y="4487517"/>
                  <a:pt x="7932491" y="4495513"/>
                  <a:pt x="7904213" y="4488436"/>
                </a:cubicBezTo>
                <a:cubicBezTo>
                  <a:pt x="7901743" y="4482137"/>
                  <a:pt x="7898038" y="4472690"/>
                  <a:pt x="7885408" y="4477644"/>
                </a:cubicBezTo>
                <a:cubicBezTo>
                  <a:pt x="7881016" y="4475733"/>
                  <a:pt x="7877858" y="4476971"/>
                  <a:pt x="7874701" y="4478210"/>
                </a:cubicBezTo>
                <a:cubicBezTo>
                  <a:pt x="7867151" y="4477537"/>
                  <a:pt x="7862759" y="4475626"/>
                  <a:pt x="7858366" y="4473716"/>
                </a:cubicBezTo>
                <a:cubicBezTo>
                  <a:pt x="7855896" y="4467418"/>
                  <a:pt x="7850269" y="4462358"/>
                  <a:pt x="7843954" y="4464835"/>
                </a:cubicBezTo>
                <a:cubicBezTo>
                  <a:pt x="7838326" y="4459775"/>
                  <a:pt x="7827619" y="4460341"/>
                  <a:pt x="7820069" y="4459668"/>
                </a:cubicBezTo>
                <a:cubicBezTo>
                  <a:pt x="7815676" y="4457757"/>
                  <a:pt x="7811284" y="4455847"/>
                  <a:pt x="7803734" y="4455174"/>
                </a:cubicBezTo>
                <a:cubicBezTo>
                  <a:pt x="7801264" y="4448876"/>
                  <a:pt x="7796872" y="4446966"/>
                  <a:pt x="7790557" y="4449442"/>
                </a:cubicBezTo>
                <a:cubicBezTo>
                  <a:pt x="7777379" y="4443710"/>
                  <a:pt x="7764202" y="4437978"/>
                  <a:pt x="7750337" y="4439782"/>
                </a:cubicBezTo>
                <a:cubicBezTo>
                  <a:pt x="7742240" y="4428424"/>
                  <a:pt x="7735925" y="4430901"/>
                  <a:pt x="7726452" y="4434616"/>
                </a:cubicBezTo>
                <a:cubicBezTo>
                  <a:pt x="7725217" y="4431467"/>
                  <a:pt x="7723982" y="4428318"/>
                  <a:pt x="7719590" y="4426407"/>
                </a:cubicBezTo>
                <a:cubicBezTo>
                  <a:pt x="7679370" y="4416747"/>
                  <a:pt x="7639838" y="4399550"/>
                  <a:pt x="7600306" y="4382354"/>
                </a:cubicBezTo>
                <a:cubicBezTo>
                  <a:pt x="7595913" y="4380443"/>
                  <a:pt x="7586441" y="4384158"/>
                  <a:pt x="7578891" y="4383486"/>
                </a:cubicBezTo>
                <a:cubicBezTo>
                  <a:pt x="7568871" y="4376515"/>
                  <a:pt x="7553771" y="4375170"/>
                  <a:pt x="7540594" y="4369438"/>
                </a:cubicBezTo>
                <a:cubicBezTo>
                  <a:pt x="7494746" y="4354718"/>
                  <a:pt x="7446977" y="4344386"/>
                  <a:pt x="7408132" y="4319653"/>
                </a:cubicBezTo>
                <a:cubicBezTo>
                  <a:pt x="7383012" y="4311337"/>
                  <a:pt x="7359815" y="4298635"/>
                  <a:pt x="7326458" y="4297184"/>
                </a:cubicBezTo>
                <a:cubicBezTo>
                  <a:pt x="7342652" y="4319899"/>
                  <a:pt x="7350750" y="4331257"/>
                  <a:pt x="7370242" y="4334513"/>
                </a:cubicBezTo>
                <a:cubicBezTo>
                  <a:pt x="7403459" y="4354185"/>
                  <a:pt x="7433519" y="4375097"/>
                  <a:pt x="7462344" y="4392860"/>
                </a:cubicBezTo>
                <a:cubicBezTo>
                  <a:pt x="7466737" y="4394770"/>
                  <a:pt x="7467972" y="4397919"/>
                  <a:pt x="7471129" y="4396681"/>
                </a:cubicBezTo>
                <a:cubicBezTo>
                  <a:pt x="7481149" y="4403651"/>
                  <a:pt x="7484166" y="4420635"/>
                  <a:pt x="7494874" y="4420069"/>
                </a:cubicBezTo>
                <a:cubicBezTo>
                  <a:pt x="7498031" y="4418831"/>
                  <a:pt x="7502424" y="4420741"/>
                  <a:pt x="7505581" y="4419503"/>
                </a:cubicBezTo>
                <a:cubicBezTo>
                  <a:pt x="7506816" y="4422652"/>
                  <a:pt x="7506816" y="4422652"/>
                  <a:pt x="7511209" y="4424563"/>
                </a:cubicBezTo>
                <a:cubicBezTo>
                  <a:pt x="7510521" y="4432099"/>
                  <a:pt x="7508599" y="4436486"/>
                  <a:pt x="7507911" y="4444023"/>
                </a:cubicBezTo>
                <a:cubicBezTo>
                  <a:pt x="7509146" y="4447172"/>
                  <a:pt x="7509146" y="4447172"/>
                  <a:pt x="7507224" y="4451559"/>
                </a:cubicBezTo>
                <a:cubicBezTo>
                  <a:pt x="7508319" y="4472930"/>
                  <a:pt x="7493906" y="4464049"/>
                  <a:pt x="7485121" y="4460227"/>
                </a:cubicBezTo>
                <a:cubicBezTo>
                  <a:pt x="7472491" y="4465180"/>
                  <a:pt x="7470569" y="4469568"/>
                  <a:pt x="7469882" y="4477104"/>
                </a:cubicBezTo>
                <a:cubicBezTo>
                  <a:pt x="7467959" y="4481492"/>
                  <a:pt x="7469194" y="4484641"/>
                  <a:pt x="7473587" y="4486551"/>
                </a:cubicBezTo>
                <a:cubicBezTo>
                  <a:pt x="7474822" y="4489700"/>
                  <a:pt x="7479214" y="4491611"/>
                  <a:pt x="7483606" y="4493522"/>
                </a:cubicBezTo>
                <a:cubicBezTo>
                  <a:pt x="7499254" y="4505552"/>
                  <a:pt x="7506116" y="4513761"/>
                  <a:pt x="7492799" y="4526250"/>
                </a:cubicBezTo>
                <a:cubicBezTo>
                  <a:pt x="7492799" y="4526250"/>
                  <a:pt x="7490876" y="4530638"/>
                  <a:pt x="7490876" y="4530638"/>
                </a:cubicBezTo>
                <a:cubicBezTo>
                  <a:pt x="7481264" y="4552574"/>
                  <a:pt x="7498146" y="4567754"/>
                  <a:pt x="7502399" y="4587886"/>
                </a:cubicBezTo>
                <a:cubicBezTo>
                  <a:pt x="7499241" y="4589124"/>
                  <a:pt x="7500476" y="4592273"/>
                  <a:pt x="7501711" y="4595422"/>
                </a:cubicBezTo>
                <a:cubicBezTo>
                  <a:pt x="7499101" y="4607346"/>
                  <a:pt x="7480844" y="4607240"/>
                  <a:pt x="7476999" y="4616014"/>
                </a:cubicBezTo>
                <a:cubicBezTo>
                  <a:pt x="7478234" y="4619163"/>
                  <a:pt x="7475077" y="4620402"/>
                  <a:pt x="7475077" y="4620402"/>
                </a:cubicBezTo>
                <a:cubicBezTo>
                  <a:pt x="7476311" y="4623551"/>
                  <a:pt x="7476311" y="4623551"/>
                  <a:pt x="7473154" y="4624789"/>
                </a:cubicBezTo>
                <a:cubicBezTo>
                  <a:pt x="7474389" y="4627938"/>
                  <a:pt x="7471232" y="4629176"/>
                  <a:pt x="7472466" y="4632325"/>
                </a:cubicBezTo>
                <a:cubicBezTo>
                  <a:pt x="7472466" y="4632325"/>
                  <a:pt x="7472466" y="4632325"/>
                  <a:pt x="7473701" y="4635474"/>
                </a:cubicBezTo>
                <a:cubicBezTo>
                  <a:pt x="7471779" y="4639862"/>
                  <a:pt x="7474249" y="4646160"/>
                  <a:pt x="7476719" y="4652458"/>
                </a:cubicBezTo>
                <a:cubicBezTo>
                  <a:pt x="7481111" y="4654369"/>
                  <a:pt x="7481111" y="4654369"/>
                  <a:pt x="7481111" y="4654369"/>
                </a:cubicBezTo>
                <a:cubicBezTo>
                  <a:pt x="7483581" y="4660667"/>
                  <a:pt x="7484816" y="4663816"/>
                  <a:pt x="7482894" y="4668203"/>
                </a:cubicBezTo>
                <a:cubicBezTo>
                  <a:pt x="7486051" y="4666965"/>
                  <a:pt x="7490444" y="4668875"/>
                  <a:pt x="7493601" y="4667637"/>
                </a:cubicBezTo>
                <a:cubicBezTo>
                  <a:pt x="7501011" y="4686531"/>
                  <a:pt x="7505264" y="4706664"/>
                  <a:pt x="7494416" y="4725451"/>
                </a:cubicBezTo>
                <a:cubicBezTo>
                  <a:pt x="7492494" y="4729838"/>
                  <a:pt x="7491806" y="4737375"/>
                  <a:pt x="7497434" y="4742435"/>
                </a:cubicBezTo>
                <a:cubicBezTo>
                  <a:pt x="7485351" y="4758073"/>
                  <a:pt x="7493449" y="4769431"/>
                  <a:pt x="7502781" y="4783938"/>
                </a:cubicBezTo>
                <a:cubicBezTo>
                  <a:pt x="7500859" y="4788325"/>
                  <a:pt x="7502094" y="4791474"/>
                  <a:pt x="7509644" y="4792147"/>
                </a:cubicBezTo>
                <a:cubicBezTo>
                  <a:pt x="7507034" y="4804070"/>
                  <a:pt x="7518289" y="4814190"/>
                  <a:pt x="7521994" y="4823637"/>
                </a:cubicBezTo>
                <a:cubicBezTo>
                  <a:pt x="7534204" y="4873349"/>
                  <a:pt x="7522121" y="4888988"/>
                  <a:pt x="7469819" y="4894966"/>
                </a:cubicBezTo>
                <a:cubicBezTo>
                  <a:pt x="7455954" y="4896770"/>
                  <a:pt x="7437697" y="4896663"/>
                  <a:pt x="7422457" y="4913541"/>
                </a:cubicBezTo>
                <a:cubicBezTo>
                  <a:pt x="7428632" y="4929286"/>
                  <a:pt x="7436042" y="4948180"/>
                  <a:pt x="7439059" y="4965163"/>
                </a:cubicBezTo>
                <a:cubicBezTo>
                  <a:pt x="7410502" y="4994530"/>
                  <a:pt x="7421617" y="5022871"/>
                  <a:pt x="7437124" y="5053123"/>
                </a:cubicBezTo>
                <a:cubicBezTo>
                  <a:pt x="7419962" y="5074387"/>
                  <a:pt x="7435609" y="5086418"/>
                  <a:pt x="7451257" y="5098448"/>
                </a:cubicBezTo>
                <a:cubicBezTo>
                  <a:pt x="7453039" y="5112282"/>
                  <a:pt x="7468139" y="5113627"/>
                  <a:pt x="7475001" y="5121836"/>
                </a:cubicBezTo>
                <a:cubicBezTo>
                  <a:pt x="7469922" y="5127461"/>
                  <a:pt x="7467999" y="5131849"/>
                  <a:pt x="7469234" y="5134998"/>
                </a:cubicBezTo>
                <a:cubicBezTo>
                  <a:pt x="7459762" y="5138713"/>
                  <a:pt x="7451524" y="5145577"/>
                  <a:pt x="7448914" y="5157500"/>
                </a:cubicBezTo>
                <a:lnTo>
                  <a:pt x="7444522" y="5155589"/>
                </a:lnTo>
                <a:lnTo>
                  <a:pt x="7442599" y="5159977"/>
                </a:lnTo>
                <a:cubicBezTo>
                  <a:pt x="7438207" y="5158066"/>
                  <a:pt x="7435049" y="5159304"/>
                  <a:pt x="7431892" y="5160543"/>
                </a:cubicBezTo>
                <a:cubicBezTo>
                  <a:pt x="7409930" y="5150989"/>
                  <a:pt x="7395925" y="5171015"/>
                  <a:pt x="7375745" y="5175296"/>
                </a:cubicBezTo>
                <a:cubicBezTo>
                  <a:pt x="7361332" y="5166415"/>
                  <a:pt x="7346920" y="5157533"/>
                  <a:pt x="7331820" y="5156189"/>
                </a:cubicBezTo>
                <a:cubicBezTo>
                  <a:pt x="7324958" y="5147980"/>
                  <a:pt x="7317408" y="5147307"/>
                  <a:pt x="7307935" y="5151022"/>
                </a:cubicBezTo>
                <a:cubicBezTo>
                  <a:pt x="7301073" y="5142814"/>
                  <a:pt x="7297368" y="5133366"/>
                  <a:pt x="7286660" y="5133932"/>
                </a:cubicBezTo>
                <a:cubicBezTo>
                  <a:pt x="7270325" y="5129438"/>
                  <a:pt x="7249598" y="5123034"/>
                  <a:pt x="7233264" y="5118540"/>
                </a:cubicBezTo>
                <a:cubicBezTo>
                  <a:pt x="7218304" y="5098974"/>
                  <a:pt x="7208692" y="5120910"/>
                  <a:pt x="7194826" y="5122714"/>
                </a:cubicBezTo>
                <a:cubicBezTo>
                  <a:pt x="7190434" y="5120804"/>
                  <a:pt x="7186042" y="5118893"/>
                  <a:pt x="7181649" y="5116982"/>
                </a:cubicBezTo>
                <a:cubicBezTo>
                  <a:pt x="7173551" y="5105624"/>
                  <a:pt x="7164079" y="5109339"/>
                  <a:pt x="7157765" y="5111816"/>
                </a:cubicBezTo>
                <a:cubicBezTo>
                  <a:pt x="7152137" y="5106756"/>
                  <a:pt x="7149667" y="5100458"/>
                  <a:pt x="7148432" y="5097309"/>
                </a:cubicBezTo>
                <a:cubicBezTo>
                  <a:pt x="7144039" y="5095398"/>
                  <a:pt x="7140882" y="5096637"/>
                  <a:pt x="7136489" y="5094726"/>
                </a:cubicBezTo>
                <a:cubicBezTo>
                  <a:pt x="7136489" y="5094726"/>
                  <a:pt x="7135254" y="5091577"/>
                  <a:pt x="7135254" y="5091577"/>
                </a:cubicBezTo>
                <a:cubicBezTo>
                  <a:pt x="7135254" y="5091577"/>
                  <a:pt x="7134019" y="5088428"/>
                  <a:pt x="7130862" y="5089666"/>
                </a:cubicBezTo>
                <a:cubicBezTo>
                  <a:pt x="7123312" y="5088994"/>
                  <a:pt x="7114527" y="5085172"/>
                  <a:pt x="7106977" y="5084500"/>
                </a:cubicBezTo>
                <a:cubicBezTo>
                  <a:pt x="7104507" y="5078202"/>
                  <a:pt x="7100115" y="5076291"/>
                  <a:pt x="7092565" y="5075619"/>
                </a:cubicBezTo>
                <a:cubicBezTo>
                  <a:pt x="7090095" y="5069321"/>
                  <a:pt x="7085702" y="5067410"/>
                  <a:pt x="7078152" y="5066737"/>
                </a:cubicBezTo>
                <a:cubicBezTo>
                  <a:pt x="7076917" y="5063588"/>
                  <a:pt x="7071290" y="5058529"/>
                  <a:pt x="7064975" y="5061005"/>
                </a:cubicBezTo>
                <a:cubicBezTo>
                  <a:pt x="7061270" y="5051558"/>
                  <a:pt x="7052485" y="5047737"/>
                  <a:pt x="7044935" y="5047064"/>
                </a:cubicBezTo>
                <a:cubicBezTo>
                  <a:pt x="7042465" y="5040766"/>
                  <a:pt x="7038072" y="5038856"/>
                  <a:pt x="7030522" y="5038183"/>
                </a:cubicBezTo>
                <a:cubicBezTo>
                  <a:pt x="7022426" y="5026825"/>
                  <a:pt x="7010483" y="5024242"/>
                  <a:pt x="6999775" y="5024808"/>
                </a:cubicBezTo>
                <a:cubicBezTo>
                  <a:pt x="6998540" y="5021659"/>
                  <a:pt x="6997305" y="5018510"/>
                  <a:pt x="6994148" y="5019748"/>
                </a:cubicBezTo>
                <a:cubicBezTo>
                  <a:pt x="6991678" y="5013450"/>
                  <a:pt x="6987286" y="5011540"/>
                  <a:pt x="6979735" y="5010867"/>
                </a:cubicBezTo>
                <a:cubicBezTo>
                  <a:pt x="6977266" y="5004569"/>
                  <a:pt x="6974796" y="4998271"/>
                  <a:pt x="6969168" y="4993212"/>
                </a:cubicBezTo>
                <a:cubicBezTo>
                  <a:pt x="6966011" y="4994450"/>
                  <a:pt x="6958461" y="4993777"/>
                  <a:pt x="6952146" y="4996254"/>
                </a:cubicBezTo>
                <a:cubicBezTo>
                  <a:pt x="6922086" y="4975342"/>
                  <a:pt x="6893262" y="4957580"/>
                  <a:pt x="6857434" y="4949831"/>
                </a:cubicBezTo>
                <a:cubicBezTo>
                  <a:pt x="6852494" y="4937234"/>
                  <a:pt x="6850711" y="4923400"/>
                  <a:pt x="6843161" y="4922728"/>
                </a:cubicBezTo>
                <a:cubicBezTo>
                  <a:pt x="6804864" y="4908680"/>
                  <a:pt x="6827654" y="4892476"/>
                  <a:pt x="6840972" y="4879986"/>
                </a:cubicBezTo>
                <a:cubicBezTo>
                  <a:pt x="6840972" y="4879986"/>
                  <a:pt x="6840972" y="4879986"/>
                  <a:pt x="6839737" y="4876837"/>
                </a:cubicBezTo>
                <a:cubicBezTo>
                  <a:pt x="6836579" y="4878075"/>
                  <a:pt x="6835344" y="4874926"/>
                  <a:pt x="6834109" y="4871777"/>
                </a:cubicBezTo>
                <a:cubicBezTo>
                  <a:pt x="6831640" y="4865479"/>
                  <a:pt x="6833562" y="4861092"/>
                  <a:pt x="6826011" y="4860419"/>
                </a:cubicBezTo>
                <a:cubicBezTo>
                  <a:pt x="6824776" y="4857270"/>
                  <a:pt x="6819696" y="4862896"/>
                  <a:pt x="6819696" y="4862896"/>
                </a:cubicBezTo>
                <a:cubicBezTo>
                  <a:pt x="6819009" y="4870433"/>
                  <a:pt x="6826559" y="4871105"/>
                  <a:pt x="6830952" y="4873016"/>
                </a:cubicBezTo>
                <a:cubicBezTo>
                  <a:pt x="6832187" y="4876165"/>
                  <a:pt x="6836579" y="4878075"/>
                  <a:pt x="6839737" y="4876837"/>
                </a:cubicBezTo>
                <a:cubicBezTo>
                  <a:pt x="6836579" y="4878075"/>
                  <a:pt x="6836579" y="4878075"/>
                  <a:pt x="6833422" y="4879314"/>
                </a:cubicBezTo>
                <a:cubicBezTo>
                  <a:pt x="6807614" y="4878535"/>
                  <a:pt x="6781807" y="4877756"/>
                  <a:pt x="6759297" y="4857517"/>
                </a:cubicBezTo>
                <a:cubicBezTo>
                  <a:pt x="6744885" y="4848636"/>
                  <a:pt x="6734865" y="4841665"/>
                  <a:pt x="6721687" y="4835933"/>
                </a:cubicBezTo>
                <a:cubicBezTo>
                  <a:pt x="6712902" y="4832112"/>
                  <a:pt x="6698491" y="4823231"/>
                  <a:pt x="6692036" y="4843929"/>
                </a:cubicBezTo>
                <a:cubicBezTo>
                  <a:pt x="6630401" y="4835400"/>
                  <a:pt x="6577144" y="4801786"/>
                  <a:pt x="6523199" y="4775709"/>
                </a:cubicBezTo>
                <a:cubicBezTo>
                  <a:pt x="6494922" y="4768632"/>
                  <a:pt x="6513459" y="4732295"/>
                  <a:pt x="6489574" y="4727128"/>
                </a:cubicBezTo>
                <a:cubicBezTo>
                  <a:pt x="6486417" y="4728367"/>
                  <a:pt x="6484494" y="4732754"/>
                  <a:pt x="6482572" y="4737141"/>
                </a:cubicBezTo>
                <a:cubicBezTo>
                  <a:pt x="6479415" y="4738380"/>
                  <a:pt x="6479415" y="4738380"/>
                  <a:pt x="6477492" y="4742767"/>
                </a:cubicBezTo>
                <a:cubicBezTo>
                  <a:pt x="6474334" y="4744005"/>
                  <a:pt x="6472412" y="4748393"/>
                  <a:pt x="6472412" y="4748393"/>
                </a:cubicBezTo>
                <a:cubicBezTo>
                  <a:pt x="6457999" y="4739511"/>
                  <a:pt x="6442212" y="4745703"/>
                  <a:pt x="6430957" y="4735583"/>
                </a:cubicBezTo>
                <a:cubicBezTo>
                  <a:pt x="6429722" y="4732434"/>
                  <a:pt x="6428487" y="4729285"/>
                  <a:pt x="6428487" y="4729285"/>
                </a:cubicBezTo>
                <a:cubicBezTo>
                  <a:pt x="6387033" y="4716476"/>
                  <a:pt x="6355738" y="4692416"/>
                  <a:pt x="6319363" y="4673981"/>
                </a:cubicBezTo>
                <a:cubicBezTo>
                  <a:pt x="6316206" y="4675219"/>
                  <a:pt x="6316206" y="4675219"/>
                  <a:pt x="6316206" y="4675219"/>
                </a:cubicBezTo>
                <a:cubicBezTo>
                  <a:pt x="6296714" y="4671964"/>
                  <a:pt x="6279144" y="4664321"/>
                  <a:pt x="6263496" y="4652290"/>
                </a:cubicBezTo>
                <a:cubicBezTo>
                  <a:pt x="6218336" y="4630034"/>
                  <a:pt x="6176334" y="4606539"/>
                  <a:pt x="6133645" y="4590582"/>
                </a:cubicBezTo>
                <a:cubicBezTo>
                  <a:pt x="6061443" y="4564397"/>
                  <a:pt x="5999401" y="4526962"/>
                  <a:pt x="5932279" y="4495152"/>
                </a:cubicBezTo>
                <a:cubicBezTo>
                  <a:pt x="5927886" y="4493241"/>
                  <a:pt x="5924729" y="4494480"/>
                  <a:pt x="5920336" y="4492569"/>
                </a:cubicBezTo>
                <a:cubicBezTo>
                  <a:pt x="5902766" y="4484926"/>
                  <a:pt x="5883821" y="4492355"/>
                  <a:pt x="5872019" y="4471551"/>
                </a:cubicBezTo>
                <a:cubicBezTo>
                  <a:pt x="5870784" y="4468402"/>
                  <a:pt x="5869549" y="4465253"/>
                  <a:pt x="5868314" y="4462104"/>
                </a:cubicBezTo>
                <a:cubicBezTo>
                  <a:pt x="5868314" y="4462104"/>
                  <a:pt x="5870236" y="4457717"/>
                  <a:pt x="5870236" y="4457717"/>
                </a:cubicBezTo>
                <a:cubicBezTo>
                  <a:pt x="5851431" y="4446924"/>
                  <a:pt x="5839081" y="4415434"/>
                  <a:pt x="5813682" y="4443562"/>
                </a:cubicBezTo>
                <a:cubicBezTo>
                  <a:pt x="5791720" y="4434009"/>
                  <a:pt x="5770305" y="4435140"/>
                  <a:pt x="5753423" y="4419961"/>
                </a:cubicBezTo>
                <a:cubicBezTo>
                  <a:pt x="5695086" y="4391973"/>
                  <a:pt x="5637983" y="4367134"/>
                  <a:pt x="5580881" y="4342294"/>
                </a:cubicBezTo>
                <a:cubicBezTo>
                  <a:pt x="5575254" y="4337235"/>
                  <a:pt x="5570861" y="4335323"/>
                  <a:pt x="5562076" y="4331502"/>
                </a:cubicBezTo>
                <a:lnTo>
                  <a:pt x="5560154" y="4335889"/>
                </a:lnTo>
                <a:cubicBezTo>
                  <a:pt x="5546429" y="4319472"/>
                  <a:pt x="5526249" y="4323753"/>
                  <a:pt x="5508679" y="4316110"/>
                </a:cubicBezTo>
                <a:cubicBezTo>
                  <a:pt x="5494267" y="4307229"/>
                  <a:pt x="5475462" y="4296437"/>
                  <a:pt x="5457892" y="4288794"/>
                </a:cubicBezTo>
                <a:cubicBezTo>
                  <a:pt x="5457892" y="4288794"/>
                  <a:pt x="5454735" y="4290032"/>
                  <a:pt x="5455970" y="4293181"/>
                </a:cubicBezTo>
                <a:cubicBezTo>
                  <a:pt x="5452812" y="4294420"/>
                  <a:pt x="5452812" y="4294420"/>
                  <a:pt x="5452812" y="4294420"/>
                </a:cubicBezTo>
                <a:cubicBezTo>
                  <a:pt x="5454047" y="4297569"/>
                  <a:pt x="5450889" y="4298807"/>
                  <a:pt x="5452124" y="4301956"/>
                </a:cubicBezTo>
                <a:cubicBezTo>
                  <a:pt x="5466537" y="4310837"/>
                  <a:pt x="5475870" y="4325344"/>
                  <a:pt x="5494127" y="4325451"/>
                </a:cubicBezTo>
                <a:cubicBezTo>
                  <a:pt x="5498519" y="4327361"/>
                  <a:pt x="5499754" y="4330510"/>
                  <a:pt x="5500989" y="4333659"/>
                </a:cubicBezTo>
                <a:cubicBezTo>
                  <a:pt x="5503460" y="4339957"/>
                  <a:pt x="5507852" y="4341868"/>
                  <a:pt x="5515402" y="4342540"/>
                </a:cubicBezTo>
                <a:cubicBezTo>
                  <a:pt x="5517872" y="4348838"/>
                  <a:pt x="5522264" y="4350749"/>
                  <a:pt x="5528579" y="4348272"/>
                </a:cubicBezTo>
                <a:cubicBezTo>
                  <a:pt x="5531049" y="4354571"/>
                  <a:pt x="5535442" y="4356481"/>
                  <a:pt x="5541757" y="4354005"/>
                </a:cubicBezTo>
                <a:cubicBezTo>
                  <a:pt x="5551777" y="4360975"/>
                  <a:pt x="5546557" y="4384822"/>
                  <a:pt x="5568658" y="4376154"/>
                </a:cubicBezTo>
                <a:cubicBezTo>
                  <a:pt x="5633171" y="4419888"/>
                  <a:pt x="5701528" y="4454847"/>
                  <a:pt x="5760960" y="4504206"/>
                </a:cubicBezTo>
                <a:cubicBezTo>
                  <a:pt x="5814765" y="4548505"/>
                  <a:pt x="5877494" y="4578405"/>
                  <a:pt x="5933221" y="4618317"/>
                </a:cubicBezTo>
                <a:cubicBezTo>
                  <a:pt x="5982086" y="4650020"/>
                  <a:pt x="6029028" y="4686111"/>
                  <a:pt x="6074735" y="4719052"/>
                </a:cubicBezTo>
                <a:cubicBezTo>
                  <a:pt x="6107265" y="4746262"/>
                  <a:pt x="6155035" y="4756595"/>
                  <a:pt x="6175482" y="4799443"/>
                </a:cubicBezTo>
                <a:cubicBezTo>
                  <a:pt x="6179187" y="4808890"/>
                  <a:pt x="6181657" y="4815188"/>
                  <a:pt x="6185361" y="4824635"/>
                </a:cubicBezTo>
                <a:cubicBezTo>
                  <a:pt x="6195242" y="4849827"/>
                  <a:pt x="6209106" y="4848023"/>
                  <a:pt x="6224346" y="4831146"/>
                </a:cubicBezTo>
                <a:cubicBezTo>
                  <a:pt x="6255641" y="4855207"/>
                  <a:pt x="6295173" y="4872403"/>
                  <a:pt x="6324545" y="4900851"/>
                </a:cubicBezTo>
                <a:cubicBezTo>
                  <a:pt x="6328938" y="4902761"/>
                  <a:pt x="6333330" y="4904672"/>
                  <a:pt x="6334566" y="4907821"/>
                </a:cubicBezTo>
                <a:cubicBezTo>
                  <a:pt x="6338958" y="4909732"/>
                  <a:pt x="6341428" y="4916030"/>
                  <a:pt x="6343898" y="4922328"/>
                </a:cubicBezTo>
                <a:cubicBezTo>
                  <a:pt x="6348291" y="4924239"/>
                  <a:pt x="6349526" y="4927388"/>
                  <a:pt x="6349526" y="4927388"/>
                </a:cubicBezTo>
                <a:cubicBezTo>
                  <a:pt x="6364625" y="4928732"/>
                  <a:pt x="6377803" y="4934464"/>
                  <a:pt x="6383977" y="4950210"/>
                </a:cubicBezTo>
                <a:cubicBezTo>
                  <a:pt x="6388370" y="4952121"/>
                  <a:pt x="6391527" y="4950882"/>
                  <a:pt x="6392762" y="4954031"/>
                </a:cubicBezTo>
                <a:cubicBezTo>
                  <a:pt x="6393997" y="4957180"/>
                  <a:pt x="6397155" y="4955942"/>
                  <a:pt x="6398390" y="4959091"/>
                </a:cubicBezTo>
                <a:cubicBezTo>
                  <a:pt x="6419117" y="4965495"/>
                  <a:pt x="6439157" y="4979437"/>
                  <a:pt x="6459197" y="4993377"/>
                </a:cubicBezTo>
                <a:cubicBezTo>
                  <a:pt x="6508609" y="5035766"/>
                  <a:pt x="6552941" y="5083780"/>
                  <a:pt x="6610043" y="5108620"/>
                </a:cubicBezTo>
                <a:cubicBezTo>
                  <a:pt x="6612513" y="5114918"/>
                  <a:pt x="6621298" y="5118739"/>
                  <a:pt x="6627613" y="5116263"/>
                </a:cubicBezTo>
                <a:cubicBezTo>
                  <a:pt x="6629396" y="5130097"/>
                  <a:pt x="6642573" y="5135829"/>
                  <a:pt x="6651358" y="5139651"/>
                </a:cubicBezTo>
                <a:cubicBezTo>
                  <a:pt x="6655610" y="5159783"/>
                  <a:pt x="6663708" y="5171141"/>
                  <a:pt x="6685811" y="5162473"/>
                </a:cubicBezTo>
                <a:cubicBezTo>
                  <a:pt x="6696378" y="5180129"/>
                  <a:pt x="6712025" y="5192159"/>
                  <a:pt x="6732752" y="5198564"/>
                </a:cubicBezTo>
                <a:cubicBezTo>
                  <a:pt x="6740850" y="5209921"/>
                  <a:pt x="6748948" y="5221279"/>
                  <a:pt x="6765970" y="5218237"/>
                </a:cubicBezTo>
                <a:cubicBezTo>
                  <a:pt x="6773379" y="5237131"/>
                  <a:pt x="6782712" y="5251638"/>
                  <a:pt x="6805362" y="5253655"/>
                </a:cubicBezTo>
                <a:cubicBezTo>
                  <a:pt x="6809067" y="5263102"/>
                  <a:pt x="6812772" y="5272549"/>
                  <a:pt x="6824715" y="5275132"/>
                </a:cubicBezTo>
                <a:lnTo>
                  <a:pt x="6825950" y="5278281"/>
                </a:lnTo>
                <a:cubicBezTo>
                  <a:pt x="6827732" y="5292116"/>
                  <a:pt x="6840222" y="5305384"/>
                  <a:pt x="6816884" y="5310903"/>
                </a:cubicBezTo>
                <a:cubicBezTo>
                  <a:pt x="6816884" y="5310903"/>
                  <a:pt x="6818119" y="5314052"/>
                  <a:pt x="6818119" y="5314052"/>
                </a:cubicBezTo>
                <a:cubicBezTo>
                  <a:pt x="6819354" y="5317201"/>
                  <a:pt x="6819354" y="5317201"/>
                  <a:pt x="6820590" y="5320350"/>
                </a:cubicBezTo>
                <a:cubicBezTo>
                  <a:pt x="6821825" y="5323500"/>
                  <a:pt x="6823060" y="5326649"/>
                  <a:pt x="6824295" y="5329798"/>
                </a:cubicBezTo>
                <a:cubicBezTo>
                  <a:pt x="6827452" y="5328559"/>
                  <a:pt x="6830610" y="5327321"/>
                  <a:pt x="6833767" y="5326083"/>
                </a:cubicBezTo>
                <a:cubicBezTo>
                  <a:pt x="6836237" y="5332381"/>
                  <a:pt x="6840630" y="5334291"/>
                  <a:pt x="6848179" y="5334964"/>
                </a:cubicBezTo>
                <a:cubicBezTo>
                  <a:pt x="6853807" y="5340024"/>
                  <a:pt x="6859434" y="5345083"/>
                  <a:pt x="6868219" y="5348905"/>
                </a:cubicBezTo>
                <a:cubicBezTo>
                  <a:pt x="6897591" y="5377352"/>
                  <a:pt x="6938499" y="5379476"/>
                  <a:pt x="6969793" y="5403536"/>
                </a:cubicBezTo>
                <a:cubicBezTo>
                  <a:pt x="6979813" y="5410507"/>
                  <a:pt x="6987363" y="5411180"/>
                  <a:pt x="7001228" y="5409376"/>
                </a:cubicBezTo>
                <a:cubicBezTo>
                  <a:pt x="7041307" y="5437257"/>
                  <a:pt x="7088390" y="5455126"/>
                  <a:pt x="7126547" y="5487396"/>
                </a:cubicBezTo>
                <a:cubicBezTo>
                  <a:pt x="7137802" y="5497515"/>
                  <a:pt x="7151527" y="5513932"/>
                  <a:pt x="7171707" y="5509652"/>
                </a:cubicBezTo>
                <a:cubicBezTo>
                  <a:pt x="7198202" y="5502894"/>
                  <a:pt x="7215084" y="5518074"/>
                  <a:pt x="7233201" y="5536402"/>
                </a:cubicBezTo>
                <a:cubicBezTo>
                  <a:pt x="7231279" y="5540789"/>
                  <a:pt x="7232514" y="5543938"/>
                  <a:pt x="7234436" y="5539551"/>
                </a:cubicBezTo>
                <a:cubicBezTo>
                  <a:pt x="7233201" y="5536402"/>
                  <a:pt x="7233201" y="5536402"/>
                  <a:pt x="7233201" y="5536402"/>
                </a:cubicBezTo>
                <a:cubicBezTo>
                  <a:pt x="7283300" y="5571254"/>
                  <a:pt x="7339715" y="5603630"/>
                  <a:pt x="7394895" y="5632857"/>
                </a:cubicBezTo>
                <a:cubicBezTo>
                  <a:pt x="7402992" y="5644214"/>
                  <a:pt x="7416169" y="5649947"/>
                  <a:pt x="7429347" y="5655679"/>
                </a:cubicBezTo>
                <a:cubicBezTo>
                  <a:pt x="7431817" y="5661977"/>
                  <a:pt x="7436209" y="5663888"/>
                  <a:pt x="7440602" y="5665798"/>
                </a:cubicBezTo>
                <a:cubicBezTo>
                  <a:pt x="7449934" y="5680305"/>
                  <a:pt x="7462424" y="5693574"/>
                  <a:pt x="7471756" y="5708080"/>
                </a:cubicBezTo>
                <a:cubicBezTo>
                  <a:pt x="7466676" y="5713706"/>
                  <a:pt x="7464754" y="5718094"/>
                  <a:pt x="7467224" y="5724392"/>
                </a:cubicBezTo>
                <a:cubicBezTo>
                  <a:pt x="7424942" y="5737341"/>
                  <a:pt x="7424942" y="5737341"/>
                  <a:pt x="7436604" y="5776367"/>
                </a:cubicBezTo>
                <a:cubicBezTo>
                  <a:pt x="7442779" y="5792112"/>
                  <a:pt x="7450189" y="5811006"/>
                  <a:pt x="7456364" y="5826752"/>
                </a:cubicBezTo>
                <a:cubicBezTo>
                  <a:pt x="7454442" y="5831139"/>
                  <a:pt x="7453754" y="5838675"/>
                  <a:pt x="7456224" y="5844973"/>
                </a:cubicBezTo>
                <a:cubicBezTo>
                  <a:pt x="7462399" y="5860719"/>
                  <a:pt x="7454162" y="5867583"/>
                  <a:pt x="7440297" y="5869387"/>
                </a:cubicBezTo>
                <a:cubicBezTo>
                  <a:pt x="7427119" y="5863654"/>
                  <a:pt x="7415864" y="5853535"/>
                  <a:pt x="7402687" y="5847803"/>
                </a:cubicBezTo>
                <a:cubicBezTo>
                  <a:pt x="7397060" y="5842743"/>
                  <a:pt x="7395137" y="5847130"/>
                  <a:pt x="7390057" y="5852756"/>
                </a:cubicBezTo>
                <a:cubicBezTo>
                  <a:pt x="7388135" y="5857143"/>
                  <a:pt x="7379897" y="5864007"/>
                  <a:pt x="7383055" y="5862769"/>
                </a:cubicBezTo>
                <a:cubicBezTo>
                  <a:pt x="7411332" y="5869846"/>
                  <a:pt x="7412287" y="5909438"/>
                  <a:pt x="7441252" y="5908979"/>
                </a:cubicBezTo>
                <a:cubicBezTo>
                  <a:pt x="7446739" y="5932261"/>
                  <a:pt x="7458542" y="5953066"/>
                  <a:pt x="7447007" y="5979389"/>
                </a:cubicBezTo>
                <a:cubicBezTo>
                  <a:pt x="7441239" y="5992551"/>
                  <a:pt x="7439864" y="6007624"/>
                  <a:pt x="7457434" y="6015267"/>
                </a:cubicBezTo>
                <a:cubicBezTo>
                  <a:pt x="7457434" y="6015267"/>
                  <a:pt x="7458669" y="6018416"/>
                  <a:pt x="7459904" y="6021565"/>
                </a:cubicBezTo>
                <a:cubicBezTo>
                  <a:pt x="7454824" y="6027191"/>
                  <a:pt x="7465391" y="6044847"/>
                  <a:pt x="7449604" y="6051038"/>
                </a:cubicBezTo>
                <a:cubicBezTo>
                  <a:pt x="7450839" y="6054187"/>
                  <a:pt x="7448917" y="6058575"/>
                  <a:pt x="7448917" y="6058575"/>
                </a:cubicBezTo>
                <a:cubicBezTo>
                  <a:pt x="7450152" y="6061724"/>
                  <a:pt x="7450152" y="6061724"/>
                  <a:pt x="7451387" y="6064873"/>
                </a:cubicBezTo>
                <a:cubicBezTo>
                  <a:pt x="7455092" y="6074319"/>
                  <a:pt x="7463189" y="6085677"/>
                  <a:pt x="7468129" y="6098274"/>
                </a:cubicBezTo>
                <a:cubicBezTo>
                  <a:pt x="7478696" y="6115929"/>
                  <a:pt x="7466066" y="6120882"/>
                  <a:pt x="7452202" y="6122687"/>
                </a:cubicBezTo>
                <a:cubicBezTo>
                  <a:pt x="7449044" y="6123925"/>
                  <a:pt x="7442729" y="6126402"/>
                  <a:pt x="7436414" y="6128878"/>
                </a:cubicBezTo>
                <a:cubicBezTo>
                  <a:pt x="7426942" y="6132593"/>
                  <a:pt x="7413077" y="6134397"/>
                  <a:pt x="7400447" y="6139351"/>
                </a:cubicBezTo>
                <a:cubicBezTo>
                  <a:pt x="7394819" y="6134291"/>
                  <a:pt x="7385347" y="6138006"/>
                  <a:pt x="7377797" y="6137333"/>
                </a:cubicBezTo>
                <a:cubicBezTo>
                  <a:pt x="7373405" y="6135423"/>
                  <a:pt x="7373405" y="6135423"/>
                  <a:pt x="7369012" y="6133512"/>
                </a:cubicBezTo>
                <a:cubicBezTo>
                  <a:pt x="7355835" y="6127780"/>
                  <a:pt x="7342657" y="6122047"/>
                  <a:pt x="7330715" y="6119464"/>
                </a:cubicBezTo>
                <a:cubicBezTo>
                  <a:pt x="7325775" y="6106868"/>
                  <a:pt x="7313833" y="6104285"/>
                  <a:pt x="7301203" y="6109239"/>
                </a:cubicBezTo>
                <a:cubicBezTo>
                  <a:pt x="7274440" y="6068867"/>
                  <a:pt x="7209917" y="6108706"/>
                  <a:pt x="7188921" y="6055172"/>
                </a:cubicBezTo>
                <a:cubicBezTo>
                  <a:pt x="7157895" y="6078241"/>
                  <a:pt x="7133602" y="6044167"/>
                  <a:pt x="7103402" y="6041477"/>
                </a:cubicBezTo>
                <a:lnTo>
                  <a:pt x="7099009" y="6039567"/>
                </a:lnTo>
                <a:lnTo>
                  <a:pt x="7095852" y="6040805"/>
                </a:lnTo>
                <a:cubicBezTo>
                  <a:pt x="7090224" y="6035745"/>
                  <a:pt x="7080204" y="6028775"/>
                  <a:pt x="7074578" y="6023715"/>
                </a:cubicBezTo>
                <a:lnTo>
                  <a:pt x="7076500" y="6019328"/>
                </a:lnTo>
                <a:cubicBezTo>
                  <a:pt x="7080893" y="6021239"/>
                  <a:pt x="7084737" y="6012464"/>
                  <a:pt x="7089818" y="6006839"/>
                </a:cubicBezTo>
                <a:cubicBezTo>
                  <a:pt x="7099290" y="6003124"/>
                  <a:pt x="7106012" y="6029554"/>
                  <a:pt x="7114937" y="6015154"/>
                </a:cubicBezTo>
                <a:cubicBezTo>
                  <a:pt x="7117547" y="6003230"/>
                  <a:pt x="7101212" y="5998736"/>
                  <a:pt x="7090505" y="5999302"/>
                </a:cubicBezTo>
                <a:cubicBezTo>
                  <a:pt x="7086113" y="5997391"/>
                  <a:pt x="7079250" y="5989182"/>
                  <a:pt x="7071700" y="5988510"/>
                </a:cubicBezTo>
                <a:cubicBezTo>
                  <a:pt x="7058523" y="5982778"/>
                  <a:pt x="7044110" y="5973896"/>
                  <a:pt x="7029698" y="5965015"/>
                </a:cubicBezTo>
                <a:cubicBezTo>
                  <a:pt x="7020913" y="5961194"/>
                  <a:pt x="7014598" y="5963671"/>
                  <a:pt x="7016380" y="5977505"/>
                </a:cubicBezTo>
                <a:cubicBezTo>
                  <a:pt x="7023930" y="5978177"/>
                  <a:pt x="7029558" y="5983237"/>
                  <a:pt x="7039578" y="5990208"/>
                </a:cubicBezTo>
                <a:cubicBezTo>
                  <a:pt x="7043970" y="5992118"/>
                  <a:pt x="7048363" y="5994029"/>
                  <a:pt x="7055912" y="5994702"/>
                </a:cubicBezTo>
                <a:cubicBezTo>
                  <a:pt x="7059070" y="5993463"/>
                  <a:pt x="7060305" y="5996612"/>
                  <a:pt x="7060305" y="5996612"/>
                </a:cubicBezTo>
                <a:cubicBezTo>
                  <a:pt x="7062775" y="6002910"/>
                  <a:pt x="7065245" y="6009208"/>
                  <a:pt x="7067715" y="6015507"/>
                </a:cubicBezTo>
                <a:cubicBezTo>
                  <a:pt x="7063870" y="6024281"/>
                  <a:pt x="7055085" y="6020460"/>
                  <a:pt x="7048770" y="6022936"/>
                </a:cubicBezTo>
                <a:cubicBezTo>
                  <a:pt x="7048770" y="6022936"/>
                  <a:pt x="7045613" y="6024175"/>
                  <a:pt x="7045613" y="6024175"/>
                </a:cubicBezTo>
                <a:cubicBezTo>
                  <a:pt x="7038750" y="6015966"/>
                  <a:pt x="7023650" y="6014621"/>
                  <a:pt x="7015553" y="6003263"/>
                </a:cubicBezTo>
                <a:cubicBezTo>
                  <a:pt x="7015553" y="6003263"/>
                  <a:pt x="7015553" y="6003263"/>
                  <a:pt x="7014318" y="6000114"/>
                </a:cubicBezTo>
                <a:cubicBezTo>
                  <a:pt x="7004298" y="5993144"/>
                  <a:pt x="6980961" y="5998663"/>
                  <a:pt x="6979865" y="5977292"/>
                </a:cubicBezTo>
                <a:cubicBezTo>
                  <a:pt x="6976708" y="5978530"/>
                  <a:pt x="6976708" y="5978530"/>
                  <a:pt x="6976708" y="5978530"/>
                </a:cubicBezTo>
                <a:cubicBezTo>
                  <a:pt x="6965313" y="5986633"/>
                  <a:pt x="6956529" y="5982811"/>
                  <a:pt x="6949666" y="5974602"/>
                </a:cubicBezTo>
                <a:cubicBezTo>
                  <a:pt x="6939646" y="5967632"/>
                  <a:pt x="6929626" y="5960661"/>
                  <a:pt x="6916448" y="5954929"/>
                </a:cubicBezTo>
                <a:cubicBezTo>
                  <a:pt x="6906976" y="5958644"/>
                  <a:pt x="6898191" y="5954823"/>
                  <a:pt x="6894486" y="5945376"/>
                </a:cubicBezTo>
                <a:cubicBezTo>
                  <a:pt x="6893251" y="5942227"/>
                  <a:pt x="6890094" y="5943465"/>
                  <a:pt x="6888859" y="5940316"/>
                </a:cubicBezTo>
                <a:cubicBezTo>
                  <a:pt x="6888859" y="5940316"/>
                  <a:pt x="6885701" y="5941554"/>
                  <a:pt x="6885701" y="5941554"/>
                </a:cubicBezTo>
                <a:cubicBezTo>
                  <a:pt x="6878152" y="5940882"/>
                  <a:pt x="6873759" y="5938971"/>
                  <a:pt x="6866209" y="5938298"/>
                </a:cubicBezTo>
                <a:lnTo>
                  <a:pt x="6863739" y="5932001"/>
                </a:lnTo>
                <a:lnTo>
                  <a:pt x="6861269" y="5925703"/>
                </a:lnTo>
                <a:cubicBezTo>
                  <a:pt x="6858111" y="5926941"/>
                  <a:pt x="6854954" y="5928179"/>
                  <a:pt x="6851797" y="5929418"/>
                </a:cubicBezTo>
                <a:cubicBezTo>
                  <a:pt x="6839307" y="5916149"/>
                  <a:pt x="6824894" y="5907268"/>
                  <a:pt x="6806637" y="5907161"/>
                </a:cubicBezTo>
                <a:cubicBezTo>
                  <a:pt x="6786737" y="5874998"/>
                  <a:pt x="6743908" y="5877262"/>
                  <a:pt x="6718927" y="5850725"/>
                </a:cubicBezTo>
                <a:cubicBezTo>
                  <a:pt x="6714535" y="5848814"/>
                  <a:pt x="6711377" y="5850053"/>
                  <a:pt x="6706985" y="5848142"/>
                </a:cubicBezTo>
                <a:cubicBezTo>
                  <a:pt x="6703828" y="5849380"/>
                  <a:pt x="6702593" y="5846231"/>
                  <a:pt x="6698200" y="5844321"/>
                </a:cubicBezTo>
                <a:cubicBezTo>
                  <a:pt x="6674315" y="5839154"/>
                  <a:pt x="6675551" y="5842303"/>
                  <a:pt x="6681585" y="5876270"/>
                </a:cubicBezTo>
                <a:cubicBezTo>
                  <a:pt x="6682820" y="5879419"/>
                  <a:pt x="6684055" y="5882568"/>
                  <a:pt x="6685291" y="5885717"/>
                </a:cubicBezTo>
                <a:cubicBezTo>
                  <a:pt x="6682133" y="5886956"/>
                  <a:pt x="6678975" y="5888194"/>
                  <a:pt x="6675818" y="5889432"/>
                </a:cubicBezTo>
                <a:cubicBezTo>
                  <a:pt x="6672661" y="5890670"/>
                  <a:pt x="6672661" y="5890670"/>
                  <a:pt x="6672661" y="5890670"/>
                </a:cubicBezTo>
                <a:cubicBezTo>
                  <a:pt x="6669503" y="5891909"/>
                  <a:pt x="6669503" y="5891909"/>
                  <a:pt x="6666346" y="5893147"/>
                </a:cubicBezTo>
                <a:cubicBezTo>
                  <a:pt x="6666346" y="5893147"/>
                  <a:pt x="6666346" y="5893147"/>
                  <a:pt x="6663188" y="5894385"/>
                </a:cubicBezTo>
                <a:cubicBezTo>
                  <a:pt x="6663188" y="5894385"/>
                  <a:pt x="6658796" y="5892474"/>
                  <a:pt x="6658796" y="5892474"/>
                </a:cubicBezTo>
                <a:cubicBezTo>
                  <a:pt x="6644930" y="5894279"/>
                  <a:pt x="6643148" y="5880444"/>
                  <a:pt x="6633128" y="5873474"/>
                </a:cubicBezTo>
                <a:cubicBezTo>
                  <a:pt x="6631893" y="5870325"/>
                  <a:pt x="6631893" y="5870325"/>
                  <a:pt x="6631893" y="5870325"/>
                </a:cubicBezTo>
                <a:cubicBezTo>
                  <a:pt x="6630658" y="5867176"/>
                  <a:pt x="6633816" y="5865938"/>
                  <a:pt x="6635738" y="5861550"/>
                </a:cubicBezTo>
                <a:cubicBezTo>
                  <a:pt x="6638896" y="5860312"/>
                  <a:pt x="6637661" y="5857163"/>
                  <a:pt x="6636426" y="5854014"/>
                </a:cubicBezTo>
                <a:cubicBezTo>
                  <a:pt x="6632033" y="5852103"/>
                  <a:pt x="6630798" y="5848954"/>
                  <a:pt x="6623248" y="5848282"/>
                </a:cubicBezTo>
                <a:cubicBezTo>
                  <a:pt x="6626953" y="5857729"/>
                  <a:pt x="6629423" y="5864027"/>
                  <a:pt x="6628736" y="5871563"/>
                </a:cubicBezTo>
                <a:cubicBezTo>
                  <a:pt x="6614871" y="5873367"/>
                  <a:pt x="6599084" y="5879559"/>
                  <a:pt x="6607728" y="5901602"/>
                </a:cubicBezTo>
                <a:cubicBezTo>
                  <a:pt x="6616513" y="5905423"/>
                  <a:pt x="6620218" y="5914871"/>
                  <a:pt x="6627081" y="5923079"/>
                </a:cubicBezTo>
                <a:cubicBezTo>
                  <a:pt x="6630238" y="5921841"/>
                  <a:pt x="6634631" y="5923752"/>
                  <a:pt x="6637788" y="5922513"/>
                </a:cubicBezTo>
                <a:cubicBezTo>
                  <a:pt x="6642181" y="5924424"/>
                  <a:pt x="6645338" y="5923186"/>
                  <a:pt x="6645338" y="5923186"/>
                </a:cubicBezTo>
                <a:cubicBezTo>
                  <a:pt x="6648495" y="5921948"/>
                  <a:pt x="6649730" y="5925096"/>
                  <a:pt x="6652888" y="5923858"/>
                </a:cubicBezTo>
                <a:cubicBezTo>
                  <a:pt x="6666613" y="5940276"/>
                  <a:pt x="6680338" y="5956693"/>
                  <a:pt x="6681433" y="5978064"/>
                </a:cubicBezTo>
                <a:cubicBezTo>
                  <a:pt x="6679511" y="5982452"/>
                  <a:pt x="6681980" y="5988750"/>
                  <a:pt x="6678136" y="5997524"/>
                </a:cubicBezTo>
                <a:cubicBezTo>
                  <a:pt x="6679371" y="6000673"/>
                  <a:pt x="6676213" y="6001911"/>
                  <a:pt x="6673056" y="6003150"/>
                </a:cubicBezTo>
                <a:cubicBezTo>
                  <a:pt x="6673056" y="6003150"/>
                  <a:pt x="6674290" y="6006299"/>
                  <a:pt x="6672368" y="6010686"/>
                </a:cubicBezTo>
                <a:cubicBezTo>
                  <a:pt x="6672368" y="6010686"/>
                  <a:pt x="6673603" y="6013835"/>
                  <a:pt x="6674838" y="6016984"/>
                </a:cubicBezTo>
                <a:cubicBezTo>
                  <a:pt x="6676073" y="6020133"/>
                  <a:pt x="6676073" y="6020133"/>
                  <a:pt x="6677308" y="6023282"/>
                </a:cubicBezTo>
                <a:cubicBezTo>
                  <a:pt x="6687328" y="6030253"/>
                  <a:pt x="6699270" y="6032836"/>
                  <a:pt x="6708055" y="6036657"/>
                </a:cubicBezTo>
                <a:cubicBezTo>
                  <a:pt x="6767487" y="6086017"/>
                  <a:pt x="6837767" y="6116588"/>
                  <a:pt x="6901731" y="6149636"/>
                </a:cubicBezTo>
                <a:cubicBezTo>
                  <a:pt x="6990816" y="6191000"/>
                  <a:pt x="7062050" y="6261164"/>
                  <a:pt x="7153057" y="6298140"/>
                </a:cubicBezTo>
                <a:cubicBezTo>
                  <a:pt x="7195746" y="6314098"/>
                  <a:pt x="7220587" y="6358857"/>
                  <a:pt x="7263963" y="6367279"/>
                </a:cubicBezTo>
                <a:cubicBezTo>
                  <a:pt x="7284550" y="6391905"/>
                  <a:pt x="7305825" y="6408995"/>
                  <a:pt x="7331492" y="6427996"/>
                </a:cubicBezTo>
                <a:cubicBezTo>
                  <a:pt x="7349610" y="6446324"/>
                  <a:pt x="7372667" y="6477248"/>
                  <a:pt x="7353035" y="6492214"/>
                </a:cubicBezTo>
                <a:cubicBezTo>
                  <a:pt x="7328323" y="6512807"/>
                  <a:pt x="7345205" y="6527986"/>
                  <a:pt x="7343830" y="6543058"/>
                </a:cubicBezTo>
                <a:cubicBezTo>
                  <a:pt x="7346300" y="6549357"/>
                  <a:pt x="7348770" y="6555655"/>
                  <a:pt x="7346847" y="6560042"/>
                </a:cubicBezTo>
                <a:cubicBezTo>
                  <a:pt x="7347395" y="6570727"/>
                  <a:pt x="7347942" y="6581412"/>
                  <a:pt x="7345332" y="6593336"/>
                </a:cubicBezTo>
                <a:cubicBezTo>
                  <a:pt x="7349725" y="6595247"/>
                  <a:pt x="7350960" y="6598396"/>
                  <a:pt x="7355352" y="6600307"/>
                </a:cubicBezTo>
                <a:cubicBezTo>
                  <a:pt x="7353430" y="6604694"/>
                  <a:pt x="7354665" y="6607843"/>
                  <a:pt x="7357822" y="6606605"/>
                </a:cubicBezTo>
                <a:cubicBezTo>
                  <a:pt x="7353977" y="6615379"/>
                  <a:pt x="7358917" y="6627975"/>
                  <a:pt x="7345052" y="6629780"/>
                </a:cubicBezTo>
                <a:cubicBezTo>
                  <a:pt x="7341207" y="6638555"/>
                  <a:pt x="7340520" y="6646091"/>
                  <a:pt x="7339832" y="6653627"/>
                </a:cubicBezTo>
                <a:cubicBezTo>
                  <a:pt x="7341067" y="6656776"/>
                  <a:pt x="7343537" y="6663074"/>
                  <a:pt x="7344772" y="6666223"/>
                </a:cubicBezTo>
                <a:cubicBezTo>
                  <a:pt x="7368517" y="6689611"/>
                  <a:pt x="7345040" y="6713352"/>
                  <a:pt x="7347370" y="6737872"/>
                </a:cubicBezTo>
                <a:cubicBezTo>
                  <a:pt x="7345447" y="6742259"/>
                  <a:pt x="7343525" y="6746647"/>
                  <a:pt x="7341602" y="6751034"/>
                </a:cubicBezTo>
                <a:cubicBezTo>
                  <a:pt x="7339680" y="6755421"/>
                  <a:pt x="7336522" y="6756660"/>
                  <a:pt x="7333365" y="6757898"/>
                </a:cubicBezTo>
                <a:cubicBezTo>
                  <a:pt x="7330207" y="6759136"/>
                  <a:pt x="7327050" y="6760375"/>
                  <a:pt x="7323893" y="6761613"/>
                </a:cubicBezTo>
                <a:cubicBezTo>
                  <a:pt x="7324987" y="6782983"/>
                  <a:pt x="7336790" y="6803789"/>
                  <a:pt x="7348592" y="6824594"/>
                </a:cubicBezTo>
                <a:cubicBezTo>
                  <a:pt x="7339667" y="6838993"/>
                  <a:pt x="7333900" y="6852156"/>
                  <a:pt x="7324975" y="6866556"/>
                </a:cubicBezTo>
                <a:cubicBezTo>
                  <a:pt x="7318660" y="6869033"/>
                  <a:pt x="7312345" y="6871509"/>
                  <a:pt x="7306030" y="6873986"/>
                </a:cubicBezTo>
                <a:cubicBezTo>
                  <a:pt x="7304795" y="6870837"/>
                  <a:pt x="7300403" y="6868926"/>
                  <a:pt x="7292853" y="6868254"/>
                </a:cubicBezTo>
                <a:cubicBezTo>
                  <a:pt x="7272125" y="6861849"/>
                  <a:pt x="7262933" y="6829120"/>
                  <a:pt x="7234516" y="6840265"/>
                </a:cubicBezTo>
                <a:cubicBezTo>
                  <a:pt x="7225184" y="6825759"/>
                  <a:pt x="7210771" y="6816878"/>
                  <a:pt x="7190592" y="6821158"/>
                </a:cubicBezTo>
                <a:cubicBezTo>
                  <a:pt x="7182494" y="6809800"/>
                  <a:pt x="7172474" y="6802829"/>
                  <a:pt x="7159844" y="6807783"/>
                </a:cubicBezTo>
                <a:cubicBezTo>
                  <a:pt x="7159844" y="6807783"/>
                  <a:pt x="7161627" y="6821617"/>
                  <a:pt x="7165332" y="6831064"/>
                </a:cubicBezTo>
                <a:cubicBezTo>
                  <a:pt x="7159016" y="6833541"/>
                  <a:pt x="7152702" y="6836017"/>
                  <a:pt x="7147622" y="6841644"/>
                </a:cubicBezTo>
                <a:cubicBezTo>
                  <a:pt x="7131287" y="6837149"/>
                  <a:pt x="7120719" y="6819494"/>
                  <a:pt x="7102462" y="6819387"/>
                </a:cubicBezTo>
                <a:cubicBezTo>
                  <a:pt x="7096835" y="6814328"/>
                  <a:pt x="7095052" y="6800492"/>
                  <a:pt x="7086127" y="6814893"/>
                </a:cubicBezTo>
                <a:cubicBezTo>
                  <a:pt x="7087363" y="6818043"/>
                  <a:pt x="7088597" y="6821191"/>
                  <a:pt x="7089833" y="6824341"/>
                </a:cubicBezTo>
                <a:cubicBezTo>
                  <a:pt x="7089833" y="6824341"/>
                  <a:pt x="7091067" y="6827489"/>
                  <a:pt x="7091067" y="6827489"/>
                </a:cubicBezTo>
                <a:cubicBezTo>
                  <a:pt x="7092850" y="6841323"/>
                  <a:pt x="7106027" y="6847056"/>
                  <a:pt x="7116047" y="6854027"/>
                </a:cubicBezTo>
                <a:cubicBezTo>
                  <a:pt x="7134304" y="6854133"/>
                  <a:pt x="7132930" y="6869206"/>
                  <a:pt x="7137869" y="6881802"/>
                </a:cubicBezTo>
                <a:cubicBezTo>
                  <a:pt x="7173696" y="6889551"/>
                  <a:pt x="7160927" y="6912726"/>
                  <a:pt x="7158864" y="6935335"/>
                </a:cubicBezTo>
                <a:cubicBezTo>
                  <a:pt x="7141155" y="6945914"/>
                  <a:pt x="7156801" y="6957944"/>
                  <a:pt x="7157349" y="6968630"/>
                </a:cubicBezTo>
                <a:cubicBezTo>
                  <a:pt x="7142110" y="6985507"/>
                  <a:pt x="7155287" y="6991238"/>
                  <a:pt x="7168464" y="6996971"/>
                </a:cubicBezTo>
                <a:lnTo>
                  <a:pt x="7169699" y="7000119"/>
                </a:lnTo>
                <a:cubicBezTo>
                  <a:pt x="7148145" y="7019473"/>
                  <a:pt x="7169420" y="7036563"/>
                  <a:pt x="7175594" y="7052309"/>
                </a:cubicBezTo>
                <a:cubicBezTo>
                  <a:pt x="7177376" y="7066143"/>
                  <a:pt x="7190694" y="7053654"/>
                  <a:pt x="7202636" y="7056237"/>
                </a:cubicBezTo>
                <a:cubicBezTo>
                  <a:pt x="7199338" y="7075696"/>
                  <a:pt x="7170374" y="7076156"/>
                  <a:pt x="7171469" y="7097527"/>
                </a:cubicBezTo>
                <a:cubicBezTo>
                  <a:pt x="7157604" y="7099330"/>
                  <a:pt x="7145661" y="7096747"/>
                  <a:pt x="7134954" y="7097314"/>
                </a:cubicBezTo>
                <a:cubicBezTo>
                  <a:pt x="7123012" y="7094731"/>
                  <a:pt x="7116697" y="7097207"/>
                  <a:pt x="7114087" y="7109130"/>
                </a:cubicBezTo>
                <a:cubicBezTo>
                  <a:pt x="7107772" y="7111607"/>
                  <a:pt x="7101457" y="7114084"/>
                  <a:pt x="7098300" y="7115322"/>
                </a:cubicBezTo>
                <a:cubicBezTo>
                  <a:pt x="7092672" y="7110262"/>
                  <a:pt x="7085123" y="7109590"/>
                  <a:pt x="7081965" y="7110829"/>
                </a:cubicBezTo>
                <a:cubicBezTo>
                  <a:pt x="7034335" y="7082274"/>
                  <a:pt x="6973936" y="7076894"/>
                  <a:pt x="6933309" y="7038327"/>
                </a:cubicBezTo>
                <a:cubicBezTo>
                  <a:pt x="6928228" y="7043953"/>
                  <a:pt x="6926306" y="7048340"/>
                  <a:pt x="6923148" y="7049578"/>
                </a:cubicBezTo>
                <a:cubicBezTo>
                  <a:pt x="6918069" y="7055204"/>
                  <a:pt x="6909284" y="7051383"/>
                  <a:pt x="6903656" y="7046323"/>
                </a:cubicBezTo>
                <a:cubicBezTo>
                  <a:pt x="6885539" y="7027995"/>
                  <a:pt x="6876614" y="7042396"/>
                  <a:pt x="6863984" y="7047349"/>
                </a:cubicBezTo>
                <a:cubicBezTo>
                  <a:pt x="6860827" y="7048587"/>
                  <a:pt x="6859592" y="7045438"/>
                  <a:pt x="6859592" y="7045438"/>
                </a:cubicBezTo>
                <a:cubicBezTo>
                  <a:pt x="6858356" y="7042289"/>
                  <a:pt x="6855199" y="7043527"/>
                  <a:pt x="6855199" y="7043527"/>
                </a:cubicBezTo>
                <a:cubicBezTo>
                  <a:pt x="6850807" y="7041616"/>
                  <a:pt x="6850807" y="7041616"/>
                  <a:pt x="6847649" y="7042854"/>
                </a:cubicBezTo>
                <a:cubicBezTo>
                  <a:pt x="6846414" y="7039705"/>
                  <a:pt x="6845179" y="7036556"/>
                  <a:pt x="6845179" y="7036556"/>
                </a:cubicBezTo>
                <a:cubicBezTo>
                  <a:pt x="6840787" y="7034645"/>
                  <a:pt x="6839551" y="7031497"/>
                  <a:pt x="6835159" y="7029586"/>
                </a:cubicBezTo>
                <a:cubicBezTo>
                  <a:pt x="6830766" y="7027675"/>
                  <a:pt x="6824452" y="7030152"/>
                  <a:pt x="6818137" y="7032629"/>
                </a:cubicBezTo>
                <a:cubicBezTo>
                  <a:pt x="6813744" y="7030718"/>
                  <a:pt x="6812510" y="7027569"/>
                  <a:pt x="6811275" y="7024420"/>
                </a:cubicBezTo>
                <a:cubicBezTo>
                  <a:pt x="6792470" y="7013627"/>
                  <a:pt x="6775587" y="6998448"/>
                  <a:pt x="6752937" y="6996432"/>
                </a:cubicBezTo>
                <a:cubicBezTo>
                  <a:pt x="6753625" y="6988895"/>
                  <a:pt x="6756783" y="6987657"/>
                  <a:pt x="6758704" y="6983269"/>
                </a:cubicBezTo>
                <a:cubicBezTo>
                  <a:pt x="6758704" y="6983269"/>
                  <a:pt x="6761862" y="6982031"/>
                  <a:pt x="6765020" y="6980793"/>
                </a:cubicBezTo>
                <a:cubicBezTo>
                  <a:pt x="6768177" y="6979554"/>
                  <a:pt x="6768177" y="6979554"/>
                  <a:pt x="6771335" y="6978316"/>
                </a:cubicBezTo>
                <a:cubicBezTo>
                  <a:pt x="6771335" y="6978316"/>
                  <a:pt x="6771335" y="6978316"/>
                  <a:pt x="6770100" y="6975167"/>
                </a:cubicBezTo>
                <a:cubicBezTo>
                  <a:pt x="6751983" y="6956839"/>
                  <a:pt x="6737022" y="6937272"/>
                  <a:pt x="6718905" y="6918944"/>
                </a:cubicBezTo>
                <a:cubicBezTo>
                  <a:pt x="6712043" y="6910735"/>
                  <a:pt x="6703258" y="6906913"/>
                  <a:pt x="6697490" y="6920076"/>
                </a:cubicBezTo>
                <a:cubicBezTo>
                  <a:pt x="6703118" y="6925135"/>
                  <a:pt x="6705588" y="6931433"/>
                  <a:pt x="6709981" y="6933344"/>
                </a:cubicBezTo>
                <a:cubicBezTo>
                  <a:pt x="6713685" y="6942791"/>
                  <a:pt x="6708605" y="6948417"/>
                  <a:pt x="6695976" y="6953370"/>
                </a:cubicBezTo>
                <a:cubicBezTo>
                  <a:pt x="6692817" y="6954609"/>
                  <a:pt x="6692817" y="6954609"/>
                  <a:pt x="6689661" y="6955847"/>
                </a:cubicBezTo>
                <a:cubicBezTo>
                  <a:pt x="6690895" y="6958995"/>
                  <a:pt x="6687738" y="6960234"/>
                  <a:pt x="6688973" y="6963383"/>
                </a:cubicBezTo>
                <a:cubicBezTo>
                  <a:pt x="6665775" y="6950681"/>
                  <a:pt x="6637498" y="6943603"/>
                  <a:pt x="6619381" y="6925275"/>
                </a:cubicBezTo>
                <a:cubicBezTo>
                  <a:pt x="6601811" y="6917632"/>
                  <a:pt x="6598106" y="6908185"/>
                  <a:pt x="6617051" y="6900755"/>
                </a:cubicBezTo>
                <a:cubicBezTo>
                  <a:pt x="6618286" y="6903904"/>
                  <a:pt x="6618286" y="6903904"/>
                  <a:pt x="6618286" y="6903904"/>
                </a:cubicBezTo>
                <a:cubicBezTo>
                  <a:pt x="6622678" y="6905815"/>
                  <a:pt x="6623913" y="6908964"/>
                  <a:pt x="6625148" y="6912113"/>
                </a:cubicBezTo>
                <a:cubicBezTo>
                  <a:pt x="6625148" y="6912113"/>
                  <a:pt x="6626383" y="6915262"/>
                  <a:pt x="6626383" y="6915262"/>
                </a:cubicBezTo>
                <a:cubicBezTo>
                  <a:pt x="6627619" y="6918411"/>
                  <a:pt x="6627619" y="6918411"/>
                  <a:pt x="6627619" y="6918411"/>
                </a:cubicBezTo>
                <a:cubicBezTo>
                  <a:pt x="6628853" y="6921560"/>
                  <a:pt x="6628853" y="6921560"/>
                  <a:pt x="6628853" y="6921560"/>
                </a:cubicBezTo>
                <a:cubicBezTo>
                  <a:pt x="6632011" y="6920322"/>
                  <a:pt x="6635168" y="6919083"/>
                  <a:pt x="6638326" y="6917845"/>
                </a:cubicBezTo>
                <a:cubicBezTo>
                  <a:pt x="6641483" y="6916607"/>
                  <a:pt x="6644641" y="6915369"/>
                  <a:pt x="6647798" y="6914130"/>
                </a:cubicBezTo>
                <a:cubicBezTo>
                  <a:pt x="6649033" y="6917280"/>
                  <a:pt x="6651503" y="6923578"/>
                  <a:pt x="6657818" y="6921101"/>
                </a:cubicBezTo>
                <a:cubicBezTo>
                  <a:pt x="6657818" y="6921101"/>
                  <a:pt x="6656583" y="6917952"/>
                  <a:pt x="6655348" y="6914803"/>
                </a:cubicBezTo>
                <a:cubicBezTo>
                  <a:pt x="6655348" y="6914803"/>
                  <a:pt x="6655348" y="6914803"/>
                  <a:pt x="6654113" y="6911654"/>
                </a:cubicBezTo>
                <a:cubicBezTo>
                  <a:pt x="6654113" y="6911654"/>
                  <a:pt x="6654113" y="6911654"/>
                  <a:pt x="6657271" y="6910415"/>
                </a:cubicBezTo>
                <a:cubicBezTo>
                  <a:pt x="6657271" y="6910415"/>
                  <a:pt x="6660427" y="6909177"/>
                  <a:pt x="6660427" y="6909177"/>
                </a:cubicBezTo>
                <a:cubicBezTo>
                  <a:pt x="6648486" y="6906594"/>
                  <a:pt x="6640388" y="6895236"/>
                  <a:pt x="6635448" y="6882640"/>
                </a:cubicBezTo>
                <a:cubicBezTo>
                  <a:pt x="6632291" y="6883879"/>
                  <a:pt x="6629133" y="6885117"/>
                  <a:pt x="6627211" y="6889504"/>
                </a:cubicBezTo>
                <a:cubicBezTo>
                  <a:pt x="6624054" y="6890742"/>
                  <a:pt x="6620895" y="6891981"/>
                  <a:pt x="6620895" y="6891981"/>
                </a:cubicBezTo>
                <a:cubicBezTo>
                  <a:pt x="6620895" y="6891981"/>
                  <a:pt x="6620895" y="6891981"/>
                  <a:pt x="6617739" y="6893219"/>
                </a:cubicBezTo>
                <a:cubicBezTo>
                  <a:pt x="6616504" y="6890070"/>
                  <a:pt x="6613345" y="6891308"/>
                  <a:pt x="6613345" y="6891308"/>
                </a:cubicBezTo>
                <a:cubicBezTo>
                  <a:pt x="6587398" y="6908751"/>
                  <a:pt x="6558434" y="6909211"/>
                  <a:pt x="6532767" y="6890210"/>
                </a:cubicBezTo>
                <a:cubicBezTo>
                  <a:pt x="6515884" y="6875031"/>
                  <a:pt x="6496392" y="6871775"/>
                  <a:pt x="6479509" y="6856596"/>
                </a:cubicBezTo>
                <a:cubicBezTo>
                  <a:pt x="6457000" y="6836357"/>
                  <a:pt x="6436412" y="6811731"/>
                  <a:pt x="6399898" y="6811517"/>
                </a:cubicBezTo>
                <a:cubicBezTo>
                  <a:pt x="6392347" y="6810845"/>
                  <a:pt x="6386173" y="6795100"/>
                  <a:pt x="6379310" y="6786891"/>
                </a:cubicBezTo>
                <a:cubicBezTo>
                  <a:pt x="6379310" y="6786891"/>
                  <a:pt x="6382467" y="6785652"/>
                  <a:pt x="6381232" y="6782503"/>
                </a:cubicBezTo>
                <a:cubicBezTo>
                  <a:pt x="6384390" y="6781265"/>
                  <a:pt x="6386313" y="6776878"/>
                  <a:pt x="6388235" y="6772491"/>
                </a:cubicBezTo>
                <a:cubicBezTo>
                  <a:pt x="6387000" y="6769342"/>
                  <a:pt x="6388922" y="6764954"/>
                  <a:pt x="6387687" y="6761805"/>
                </a:cubicBezTo>
                <a:cubicBezTo>
                  <a:pt x="6384530" y="6763044"/>
                  <a:pt x="6381373" y="6764282"/>
                  <a:pt x="6380137" y="6761133"/>
                </a:cubicBezTo>
                <a:cubicBezTo>
                  <a:pt x="6378215" y="6765520"/>
                  <a:pt x="6378215" y="6765520"/>
                  <a:pt x="6375058" y="6766759"/>
                </a:cubicBezTo>
                <a:cubicBezTo>
                  <a:pt x="6373135" y="6771146"/>
                  <a:pt x="6375605" y="6777444"/>
                  <a:pt x="6376840" y="6780593"/>
                </a:cubicBezTo>
                <a:cubicBezTo>
                  <a:pt x="6378075" y="6783742"/>
                  <a:pt x="6376153" y="6788129"/>
                  <a:pt x="6376153" y="6788129"/>
                </a:cubicBezTo>
                <a:cubicBezTo>
                  <a:pt x="6344578" y="6800512"/>
                  <a:pt x="6329618" y="6780946"/>
                  <a:pt x="6316580" y="6756992"/>
                </a:cubicBezTo>
                <a:cubicBezTo>
                  <a:pt x="6316580" y="6756992"/>
                  <a:pt x="6316580" y="6756992"/>
                  <a:pt x="6312188" y="6755081"/>
                </a:cubicBezTo>
                <a:cubicBezTo>
                  <a:pt x="6283223" y="6755540"/>
                  <a:pt x="6259338" y="6750374"/>
                  <a:pt x="6250146" y="6717646"/>
                </a:cubicBezTo>
                <a:cubicBezTo>
                  <a:pt x="6250146" y="6717646"/>
                  <a:pt x="6246988" y="6718884"/>
                  <a:pt x="6246988" y="6718884"/>
                </a:cubicBezTo>
                <a:cubicBezTo>
                  <a:pt x="6226121" y="6730701"/>
                  <a:pt x="6218711" y="6711807"/>
                  <a:pt x="6206221" y="6698538"/>
                </a:cubicBezTo>
                <a:cubicBezTo>
                  <a:pt x="6187277" y="6705968"/>
                  <a:pt x="6172864" y="6697087"/>
                  <a:pt x="6160374" y="6683818"/>
                </a:cubicBezTo>
                <a:cubicBezTo>
                  <a:pt x="6157217" y="6685057"/>
                  <a:pt x="6155982" y="6681908"/>
                  <a:pt x="6151589" y="6679997"/>
                </a:cubicBezTo>
                <a:cubicBezTo>
                  <a:pt x="6129627" y="6670444"/>
                  <a:pt x="6104507" y="6662128"/>
                  <a:pt x="6096550" y="6632549"/>
                </a:cubicBezTo>
                <a:cubicBezTo>
                  <a:pt x="6107257" y="6631983"/>
                  <a:pt x="6119199" y="6634566"/>
                  <a:pt x="6139927" y="6640970"/>
                </a:cubicBezTo>
                <a:cubicBezTo>
                  <a:pt x="6114947" y="6614433"/>
                  <a:pt x="6089827" y="6606118"/>
                  <a:pt x="6068552" y="6589028"/>
                </a:cubicBezTo>
                <a:cubicBezTo>
                  <a:pt x="6062925" y="6583968"/>
                  <a:pt x="6065535" y="6572045"/>
                  <a:pt x="6048512" y="6575087"/>
                </a:cubicBezTo>
                <a:cubicBezTo>
                  <a:pt x="6054140" y="6580147"/>
                  <a:pt x="6054688" y="6590832"/>
                  <a:pt x="6057158" y="6597130"/>
                </a:cubicBezTo>
                <a:cubicBezTo>
                  <a:pt x="6058392" y="6600279"/>
                  <a:pt x="6062785" y="6602190"/>
                  <a:pt x="6067177" y="6604101"/>
                </a:cubicBezTo>
                <a:cubicBezTo>
                  <a:pt x="6071570" y="6606012"/>
                  <a:pt x="6071570" y="6606012"/>
                  <a:pt x="6071570" y="6606012"/>
                </a:cubicBezTo>
                <a:cubicBezTo>
                  <a:pt x="6072805" y="6609161"/>
                  <a:pt x="6072805" y="6609161"/>
                  <a:pt x="6072805" y="6609161"/>
                </a:cubicBezTo>
                <a:cubicBezTo>
                  <a:pt x="6076510" y="6618607"/>
                  <a:pt x="6085295" y="6622429"/>
                  <a:pt x="6092157" y="6630638"/>
                </a:cubicBezTo>
                <a:cubicBezTo>
                  <a:pt x="6071290" y="6642455"/>
                  <a:pt x="6053720" y="6634812"/>
                  <a:pt x="6038760" y="6615246"/>
                </a:cubicBezTo>
                <a:cubicBezTo>
                  <a:pt x="6010483" y="6608168"/>
                  <a:pt x="5980971" y="6597942"/>
                  <a:pt x="5963541" y="6572078"/>
                </a:cubicBezTo>
                <a:cubicBezTo>
                  <a:pt x="5959148" y="6570167"/>
                  <a:pt x="5957913" y="6567018"/>
                  <a:pt x="5956678" y="6563869"/>
                </a:cubicBezTo>
                <a:cubicBezTo>
                  <a:pt x="5926478" y="6561180"/>
                  <a:pt x="5905204" y="6544089"/>
                  <a:pt x="5882007" y="6531387"/>
                </a:cubicBezTo>
                <a:cubicBezTo>
                  <a:pt x="5869516" y="6518118"/>
                  <a:pt x="5901091" y="6505735"/>
                  <a:pt x="5881051" y="6491794"/>
                </a:cubicBezTo>
                <a:cubicBezTo>
                  <a:pt x="5877894" y="6493033"/>
                  <a:pt x="5874736" y="6494271"/>
                  <a:pt x="5868422" y="6496748"/>
                </a:cubicBezTo>
                <a:cubicBezTo>
                  <a:pt x="5869657" y="6499897"/>
                  <a:pt x="5870892" y="6503046"/>
                  <a:pt x="5870892" y="6503046"/>
                </a:cubicBezTo>
                <a:cubicBezTo>
                  <a:pt x="5866499" y="6501135"/>
                  <a:pt x="5863342" y="6502373"/>
                  <a:pt x="5860184" y="6503611"/>
                </a:cubicBezTo>
                <a:cubicBezTo>
                  <a:pt x="5860184" y="6503611"/>
                  <a:pt x="5857026" y="6504850"/>
                  <a:pt x="5853869" y="6506088"/>
                </a:cubicBezTo>
                <a:cubicBezTo>
                  <a:pt x="5853869" y="6506088"/>
                  <a:pt x="5850711" y="6507326"/>
                  <a:pt x="5850711" y="6507326"/>
                </a:cubicBezTo>
                <a:cubicBezTo>
                  <a:pt x="5847554" y="6508565"/>
                  <a:pt x="5844397" y="6509803"/>
                  <a:pt x="5840004" y="6507892"/>
                </a:cubicBezTo>
                <a:cubicBezTo>
                  <a:pt x="5838769" y="6504743"/>
                  <a:pt x="5837534" y="6501594"/>
                  <a:pt x="5835064" y="6495296"/>
                </a:cubicBezTo>
                <a:cubicBezTo>
                  <a:pt x="5833829" y="6492147"/>
                  <a:pt x="5832594" y="6488998"/>
                  <a:pt x="5831359" y="6485849"/>
                </a:cubicBezTo>
                <a:cubicBezTo>
                  <a:pt x="5832047" y="6478313"/>
                  <a:pt x="5833969" y="6473925"/>
                  <a:pt x="5831499" y="6467627"/>
                </a:cubicBezTo>
                <a:cubicBezTo>
                  <a:pt x="5817634" y="6469432"/>
                  <a:pt x="5814337" y="6488891"/>
                  <a:pt x="5796080" y="6488785"/>
                </a:cubicBezTo>
                <a:cubicBezTo>
                  <a:pt x="5779884" y="6466069"/>
                  <a:pt x="5749685" y="6463380"/>
                  <a:pt x="5728410" y="6446290"/>
                </a:cubicBezTo>
                <a:cubicBezTo>
                  <a:pt x="5724017" y="6444379"/>
                  <a:pt x="5719625" y="6442468"/>
                  <a:pt x="5716468" y="6443706"/>
                </a:cubicBezTo>
                <a:cubicBezTo>
                  <a:pt x="5690113" y="6432242"/>
                  <a:pt x="5667602" y="6412003"/>
                  <a:pt x="5639326" y="6404926"/>
                </a:cubicBezTo>
                <a:cubicBezTo>
                  <a:pt x="5639326" y="6404926"/>
                  <a:pt x="5636168" y="6406165"/>
                  <a:pt x="5634933" y="6403016"/>
                </a:cubicBezTo>
                <a:cubicBezTo>
                  <a:pt x="5621208" y="6386598"/>
                  <a:pt x="5603639" y="6378955"/>
                  <a:pt x="5587991" y="6366925"/>
                </a:cubicBezTo>
                <a:cubicBezTo>
                  <a:pt x="5560401" y="6352311"/>
                  <a:pt x="5524574" y="6344562"/>
                  <a:pt x="5514147" y="6308685"/>
                </a:cubicBezTo>
                <a:cubicBezTo>
                  <a:pt x="5517304" y="6307446"/>
                  <a:pt x="5517304" y="6307446"/>
                  <a:pt x="5517304" y="6307446"/>
                </a:cubicBezTo>
                <a:cubicBezTo>
                  <a:pt x="5520462" y="6306208"/>
                  <a:pt x="5520462" y="6306208"/>
                  <a:pt x="5520462" y="6306208"/>
                </a:cubicBezTo>
                <a:cubicBezTo>
                  <a:pt x="5520462" y="6306208"/>
                  <a:pt x="5523619" y="6304970"/>
                  <a:pt x="5526777" y="6303731"/>
                </a:cubicBezTo>
                <a:cubicBezTo>
                  <a:pt x="5522384" y="6301821"/>
                  <a:pt x="5521149" y="6298672"/>
                  <a:pt x="5519914" y="6295523"/>
                </a:cubicBezTo>
                <a:cubicBezTo>
                  <a:pt x="5516756" y="6296761"/>
                  <a:pt x="5509207" y="6296088"/>
                  <a:pt x="5507285" y="6300476"/>
                </a:cubicBezTo>
                <a:cubicBezTo>
                  <a:pt x="5504127" y="6301714"/>
                  <a:pt x="5504127" y="6301714"/>
                  <a:pt x="5505361" y="6304863"/>
                </a:cubicBezTo>
                <a:cubicBezTo>
                  <a:pt x="5502205" y="6306102"/>
                  <a:pt x="5503440" y="6309251"/>
                  <a:pt x="5504674" y="6312399"/>
                </a:cubicBezTo>
                <a:cubicBezTo>
                  <a:pt x="5502752" y="6316787"/>
                  <a:pt x="5499594" y="6318025"/>
                  <a:pt x="5495202" y="6316114"/>
                </a:cubicBezTo>
                <a:cubicBezTo>
                  <a:pt x="5490809" y="6314204"/>
                  <a:pt x="5490809" y="6314204"/>
                  <a:pt x="5489574" y="6311055"/>
                </a:cubicBezTo>
                <a:cubicBezTo>
                  <a:pt x="5476397" y="6305322"/>
                  <a:pt x="5461297" y="6303977"/>
                  <a:pt x="5448120" y="6298245"/>
                </a:cubicBezTo>
                <a:cubicBezTo>
                  <a:pt x="5438100" y="6291275"/>
                  <a:pt x="5428080" y="6284304"/>
                  <a:pt x="5418060" y="6277334"/>
                </a:cubicBezTo>
                <a:cubicBezTo>
                  <a:pt x="5418060" y="6277334"/>
                  <a:pt x="5416825" y="6274185"/>
                  <a:pt x="5416825" y="6274185"/>
                </a:cubicBezTo>
                <a:cubicBezTo>
                  <a:pt x="5413667" y="6275423"/>
                  <a:pt x="5410510" y="6276662"/>
                  <a:pt x="5406118" y="6274751"/>
                </a:cubicBezTo>
                <a:cubicBezTo>
                  <a:pt x="5404335" y="6260917"/>
                  <a:pt x="5389235" y="6259572"/>
                  <a:pt x="5382372" y="6251363"/>
                </a:cubicBezTo>
                <a:cubicBezTo>
                  <a:pt x="5381137" y="6248214"/>
                  <a:pt x="5377980" y="6249452"/>
                  <a:pt x="5376745" y="6246303"/>
                </a:cubicBezTo>
                <a:cubicBezTo>
                  <a:pt x="5376745" y="6246303"/>
                  <a:pt x="5376745" y="6246303"/>
                  <a:pt x="5373587" y="6247541"/>
                </a:cubicBezTo>
                <a:cubicBezTo>
                  <a:pt x="5372352" y="6244392"/>
                  <a:pt x="5372352" y="6244392"/>
                  <a:pt x="5367960" y="6242482"/>
                </a:cubicBezTo>
                <a:cubicBezTo>
                  <a:pt x="5361645" y="6244958"/>
                  <a:pt x="5356018" y="6239898"/>
                  <a:pt x="5354783" y="6236749"/>
                </a:cubicBezTo>
                <a:lnTo>
                  <a:pt x="5353548" y="6233600"/>
                </a:lnTo>
                <a:cubicBezTo>
                  <a:pt x="5350390" y="6234839"/>
                  <a:pt x="5347233" y="6236077"/>
                  <a:pt x="5347233" y="6236077"/>
                </a:cubicBezTo>
                <a:cubicBezTo>
                  <a:pt x="5345997" y="6232928"/>
                  <a:pt x="5345997" y="6232928"/>
                  <a:pt x="5342840" y="6234166"/>
                </a:cubicBezTo>
                <a:cubicBezTo>
                  <a:pt x="5341605" y="6231017"/>
                  <a:pt x="5341605" y="6231017"/>
                  <a:pt x="5340371" y="6227868"/>
                </a:cubicBezTo>
                <a:cubicBezTo>
                  <a:pt x="5337213" y="6229107"/>
                  <a:pt x="5335978" y="6225957"/>
                  <a:pt x="5334743" y="6222808"/>
                </a:cubicBezTo>
                <a:cubicBezTo>
                  <a:pt x="5329116" y="6217749"/>
                  <a:pt x="5324723" y="6215838"/>
                  <a:pt x="5317173" y="6215166"/>
                </a:cubicBezTo>
                <a:cubicBezTo>
                  <a:pt x="5317173" y="6215166"/>
                  <a:pt x="5318408" y="6218315"/>
                  <a:pt x="5318408" y="6218315"/>
                </a:cubicBezTo>
                <a:cubicBezTo>
                  <a:pt x="5315250" y="6219553"/>
                  <a:pt x="5315250" y="6219553"/>
                  <a:pt x="5315250" y="6219553"/>
                </a:cubicBezTo>
                <a:cubicBezTo>
                  <a:pt x="5313328" y="6223940"/>
                  <a:pt x="5311406" y="6228328"/>
                  <a:pt x="5308248" y="6229566"/>
                </a:cubicBezTo>
                <a:cubicBezTo>
                  <a:pt x="5341466" y="6249239"/>
                  <a:pt x="5365210" y="6272627"/>
                  <a:pt x="5401038" y="6280376"/>
                </a:cubicBezTo>
                <a:cubicBezTo>
                  <a:pt x="5412292" y="6290496"/>
                  <a:pt x="5420390" y="6301854"/>
                  <a:pt x="5438647" y="6301960"/>
                </a:cubicBezTo>
                <a:cubicBezTo>
                  <a:pt x="5438367" y="6338404"/>
                  <a:pt x="5471177" y="6329170"/>
                  <a:pt x="5489982" y="6339962"/>
                </a:cubicBezTo>
                <a:cubicBezTo>
                  <a:pt x="5513726" y="6363350"/>
                  <a:pt x="5550241" y="6363563"/>
                  <a:pt x="5570828" y="6388189"/>
                </a:cubicBezTo>
                <a:cubicBezTo>
                  <a:pt x="5587024" y="6410905"/>
                  <a:pt x="5613379" y="6422369"/>
                  <a:pt x="5636576" y="6435072"/>
                </a:cubicBezTo>
                <a:cubicBezTo>
                  <a:pt x="5687910" y="6473073"/>
                  <a:pt x="5749404" y="6499823"/>
                  <a:pt x="5800740" y="6537825"/>
                </a:cubicBezTo>
                <a:cubicBezTo>
                  <a:pt x="5816387" y="6549855"/>
                  <a:pt x="5820639" y="6569987"/>
                  <a:pt x="5836974" y="6574481"/>
                </a:cubicBezTo>
                <a:cubicBezTo>
                  <a:pt x="5869644" y="6583469"/>
                  <a:pt x="5895311" y="6602469"/>
                  <a:pt x="5922214" y="6624619"/>
                </a:cubicBezTo>
                <a:cubicBezTo>
                  <a:pt x="5925371" y="6623381"/>
                  <a:pt x="5926606" y="6626530"/>
                  <a:pt x="5926606" y="6626530"/>
                </a:cubicBezTo>
                <a:cubicBezTo>
                  <a:pt x="5934156" y="6627202"/>
                  <a:pt x="5938549" y="6629113"/>
                  <a:pt x="5944176" y="6634173"/>
                </a:cubicBezTo>
                <a:cubicBezTo>
                  <a:pt x="5945411" y="6637322"/>
                  <a:pt x="5945411" y="6637322"/>
                  <a:pt x="5949804" y="6639233"/>
                </a:cubicBezTo>
                <a:cubicBezTo>
                  <a:pt x="5990431" y="6677800"/>
                  <a:pt x="6046985" y="6691954"/>
                  <a:pt x="6080610" y="6740534"/>
                </a:cubicBezTo>
                <a:cubicBezTo>
                  <a:pt x="6141557" y="6756599"/>
                  <a:pt x="6183419" y="6798315"/>
                  <a:pt x="6233518" y="6833167"/>
                </a:cubicBezTo>
                <a:cubicBezTo>
                  <a:pt x="6316836" y="6887693"/>
                  <a:pt x="6400152" y="6942219"/>
                  <a:pt x="6473309" y="7007995"/>
                </a:cubicBezTo>
                <a:cubicBezTo>
                  <a:pt x="6473717" y="7036902"/>
                  <a:pt x="6505292" y="7024519"/>
                  <a:pt x="6520939" y="7036550"/>
                </a:cubicBezTo>
                <a:cubicBezTo>
                  <a:pt x="6550311" y="7064997"/>
                  <a:pt x="6578449" y="7090296"/>
                  <a:pt x="6618668" y="7099956"/>
                </a:cubicBezTo>
                <a:cubicBezTo>
                  <a:pt x="6621138" y="7106254"/>
                  <a:pt x="6620450" y="7113790"/>
                  <a:pt x="6624844" y="7115702"/>
                </a:cubicBezTo>
                <a:cubicBezTo>
                  <a:pt x="6674943" y="7150554"/>
                  <a:pt x="6728200" y="7184168"/>
                  <a:pt x="6778299" y="7219020"/>
                </a:cubicBezTo>
                <a:cubicBezTo>
                  <a:pt x="6787632" y="7233527"/>
                  <a:pt x="6800122" y="7246796"/>
                  <a:pt x="6816457" y="7251289"/>
                </a:cubicBezTo>
                <a:cubicBezTo>
                  <a:pt x="6818927" y="7257587"/>
                  <a:pt x="6824554" y="7262647"/>
                  <a:pt x="6827712" y="7261409"/>
                </a:cubicBezTo>
                <a:cubicBezTo>
                  <a:pt x="6838966" y="7271528"/>
                  <a:pt x="6851456" y="7284797"/>
                  <a:pt x="6859554" y="7296154"/>
                </a:cubicBezTo>
                <a:cubicBezTo>
                  <a:pt x="6865869" y="7293678"/>
                  <a:pt x="6870261" y="7295589"/>
                  <a:pt x="6873966" y="7305035"/>
                </a:cubicBezTo>
                <a:cubicBezTo>
                  <a:pt x="6877124" y="7303797"/>
                  <a:pt x="6878359" y="7306947"/>
                  <a:pt x="6879594" y="7310096"/>
                </a:cubicBezTo>
                <a:cubicBezTo>
                  <a:pt x="6883987" y="7312006"/>
                  <a:pt x="6888379" y="7313917"/>
                  <a:pt x="6892771" y="7315828"/>
                </a:cubicBezTo>
                <a:cubicBezTo>
                  <a:pt x="6895929" y="7314589"/>
                  <a:pt x="6897164" y="7317739"/>
                  <a:pt x="6901556" y="7319649"/>
                </a:cubicBezTo>
                <a:cubicBezTo>
                  <a:pt x="6901556" y="7319649"/>
                  <a:pt x="6901556" y="7319649"/>
                  <a:pt x="6902792" y="7322798"/>
                </a:cubicBezTo>
                <a:cubicBezTo>
                  <a:pt x="6902792" y="7322798"/>
                  <a:pt x="6904026" y="7325947"/>
                  <a:pt x="6905261" y="7329096"/>
                </a:cubicBezTo>
                <a:cubicBezTo>
                  <a:pt x="6924754" y="7332351"/>
                  <a:pt x="6924473" y="7368796"/>
                  <a:pt x="6954126" y="7360799"/>
                </a:cubicBezTo>
                <a:cubicBezTo>
                  <a:pt x="6957831" y="7370247"/>
                  <a:pt x="6963458" y="7375306"/>
                  <a:pt x="6974166" y="7374741"/>
                </a:cubicBezTo>
                <a:cubicBezTo>
                  <a:pt x="6977871" y="7384187"/>
                  <a:pt x="6983498" y="7389247"/>
                  <a:pt x="6992282" y="7393069"/>
                </a:cubicBezTo>
                <a:cubicBezTo>
                  <a:pt x="6994752" y="7399367"/>
                  <a:pt x="6999145" y="7401278"/>
                  <a:pt x="7009853" y="7400712"/>
                </a:cubicBezTo>
                <a:lnTo>
                  <a:pt x="7007931" y="7405099"/>
                </a:lnTo>
                <a:lnTo>
                  <a:pt x="7012323" y="7407010"/>
                </a:lnTo>
                <a:cubicBezTo>
                  <a:pt x="7012870" y="7417695"/>
                  <a:pt x="7019733" y="7425904"/>
                  <a:pt x="7031675" y="7428487"/>
                </a:cubicBezTo>
                <a:cubicBezTo>
                  <a:pt x="7052402" y="7434891"/>
                  <a:pt x="7052123" y="7471335"/>
                  <a:pt x="7081087" y="7470875"/>
                </a:cubicBezTo>
                <a:cubicBezTo>
                  <a:pt x="7088497" y="7489769"/>
                  <a:pt x="7113617" y="7498085"/>
                  <a:pt x="7115947" y="7522605"/>
                </a:cubicBezTo>
                <a:cubicBezTo>
                  <a:pt x="7103178" y="7545780"/>
                  <a:pt x="7080667" y="7525541"/>
                  <a:pt x="7062410" y="7525434"/>
                </a:cubicBezTo>
                <a:cubicBezTo>
                  <a:pt x="7062817" y="7554341"/>
                  <a:pt x="7079152" y="7558835"/>
                  <a:pt x="7094252" y="7560180"/>
                </a:cubicBezTo>
                <a:cubicBezTo>
                  <a:pt x="7103037" y="7564001"/>
                  <a:pt x="7108665" y="7569061"/>
                  <a:pt x="7114292" y="7574121"/>
                </a:cubicBezTo>
                <a:cubicBezTo>
                  <a:pt x="7106054" y="7580985"/>
                  <a:pt x="7090955" y="7579640"/>
                  <a:pt x="7100287" y="7594147"/>
                </a:cubicBezTo>
                <a:cubicBezTo>
                  <a:pt x="7107149" y="7602356"/>
                  <a:pt x="7116622" y="7598641"/>
                  <a:pt x="7120467" y="7589866"/>
                </a:cubicBezTo>
                <a:cubicBezTo>
                  <a:pt x="7123624" y="7588628"/>
                  <a:pt x="7126782" y="7587390"/>
                  <a:pt x="7128705" y="7583003"/>
                </a:cubicBezTo>
                <a:cubicBezTo>
                  <a:pt x="7146275" y="7590645"/>
                  <a:pt x="7156842" y="7608301"/>
                  <a:pt x="7177569" y="7614706"/>
                </a:cubicBezTo>
                <a:cubicBezTo>
                  <a:pt x="7183744" y="7630451"/>
                  <a:pt x="7200766" y="7627408"/>
                  <a:pt x="7210786" y="7634379"/>
                </a:cubicBezTo>
                <a:cubicBezTo>
                  <a:pt x="7215586" y="7665197"/>
                  <a:pt x="7242081" y="7658439"/>
                  <a:pt x="7261573" y="7661695"/>
                </a:cubicBezTo>
                <a:lnTo>
                  <a:pt x="7262808" y="7664844"/>
                </a:lnTo>
                <a:cubicBezTo>
                  <a:pt x="7265278" y="7671142"/>
                  <a:pt x="7266513" y="7674291"/>
                  <a:pt x="7274063" y="7674964"/>
                </a:cubicBezTo>
                <a:cubicBezTo>
                  <a:pt x="7276533" y="7681262"/>
                  <a:pt x="7280925" y="7683172"/>
                  <a:pt x="7287240" y="7680695"/>
                </a:cubicBezTo>
                <a:cubicBezTo>
                  <a:pt x="7294650" y="7699590"/>
                  <a:pt x="7312220" y="7707233"/>
                  <a:pt x="7328555" y="7711726"/>
                </a:cubicBezTo>
                <a:cubicBezTo>
                  <a:pt x="7331025" y="7718024"/>
                  <a:pt x="7335417" y="7719935"/>
                  <a:pt x="7339810" y="7721845"/>
                </a:cubicBezTo>
                <a:cubicBezTo>
                  <a:pt x="7356692" y="7737025"/>
                  <a:pt x="7384969" y="7744102"/>
                  <a:pt x="7382220" y="7774248"/>
                </a:cubicBezTo>
                <a:cubicBezTo>
                  <a:pt x="7422579" y="7765686"/>
                  <a:pt x="7443026" y="7808534"/>
                  <a:pt x="7474461" y="7814373"/>
                </a:cubicBezTo>
                <a:cubicBezTo>
                  <a:pt x="7492579" y="7832701"/>
                  <a:pt x="7506304" y="7849119"/>
                  <a:pt x="7530188" y="7854285"/>
                </a:cubicBezTo>
                <a:cubicBezTo>
                  <a:pt x="7538286" y="7865642"/>
                  <a:pt x="7548306" y="7872613"/>
                  <a:pt x="7561483" y="7878346"/>
                </a:cubicBezTo>
                <a:cubicBezTo>
                  <a:pt x="7578366" y="7893525"/>
                  <a:pt x="7595248" y="7908704"/>
                  <a:pt x="7615975" y="7915108"/>
                </a:cubicBezTo>
                <a:cubicBezTo>
                  <a:pt x="7630935" y="7934675"/>
                  <a:pt x="7646583" y="7946705"/>
                  <a:pt x="7669780" y="7959408"/>
                </a:cubicBezTo>
                <a:cubicBezTo>
                  <a:pt x="7672250" y="7965706"/>
                  <a:pt x="7679112" y="7973915"/>
                  <a:pt x="7686662" y="7974587"/>
                </a:cubicBezTo>
                <a:cubicBezTo>
                  <a:pt x="7701622" y="7994154"/>
                  <a:pt x="7718504" y="8009333"/>
                  <a:pt x="7736074" y="8016975"/>
                </a:cubicBezTo>
                <a:cubicBezTo>
                  <a:pt x="7751722" y="8029006"/>
                  <a:pt x="7751582" y="8047228"/>
                  <a:pt x="7767229" y="8059258"/>
                </a:cubicBezTo>
                <a:cubicBezTo>
                  <a:pt x="7767229" y="8059258"/>
                  <a:pt x="7768464" y="8062407"/>
                  <a:pt x="7772857" y="8064318"/>
                </a:cubicBezTo>
                <a:cubicBezTo>
                  <a:pt x="7776561" y="8073765"/>
                  <a:pt x="7783424" y="8081974"/>
                  <a:pt x="7787129" y="8091420"/>
                </a:cubicBezTo>
                <a:cubicBezTo>
                  <a:pt x="7788912" y="8105256"/>
                  <a:pt x="7778204" y="8105821"/>
                  <a:pt x="7766262" y="8103238"/>
                </a:cubicBezTo>
                <a:cubicBezTo>
                  <a:pt x="7763792" y="8096940"/>
                  <a:pt x="7762556" y="8093790"/>
                  <a:pt x="7756929" y="8088731"/>
                </a:cubicBezTo>
                <a:cubicBezTo>
                  <a:pt x="7751302" y="8083671"/>
                  <a:pt x="7743752" y="8082999"/>
                  <a:pt x="7739907" y="8091774"/>
                </a:cubicBezTo>
                <a:cubicBezTo>
                  <a:pt x="7737984" y="8096161"/>
                  <a:pt x="7742377" y="8098072"/>
                  <a:pt x="7749927" y="8098744"/>
                </a:cubicBezTo>
                <a:cubicBezTo>
                  <a:pt x="7754319" y="8100655"/>
                  <a:pt x="7758711" y="8102565"/>
                  <a:pt x="7766262" y="8103238"/>
                </a:cubicBezTo>
                <a:cubicBezTo>
                  <a:pt x="7776829" y="8120894"/>
                  <a:pt x="7762824" y="8140919"/>
                  <a:pt x="7770234" y="8159814"/>
                </a:cubicBezTo>
                <a:cubicBezTo>
                  <a:pt x="7774626" y="8161724"/>
                  <a:pt x="7772704" y="8166112"/>
                  <a:pt x="7773939" y="8169261"/>
                </a:cubicBezTo>
                <a:cubicBezTo>
                  <a:pt x="7775174" y="8172410"/>
                  <a:pt x="7774487" y="8179946"/>
                  <a:pt x="7772564" y="8184333"/>
                </a:cubicBezTo>
                <a:cubicBezTo>
                  <a:pt x="7773799" y="8187483"/>
                  <a:pt x="7775034" y="8190631"/>
                  <a:pt x="7776269" y="8193781"/>
                </a:cubicBezTo>
                <a:cubicBezTo>
                  <a:pt x="7779427" y="8192542"/>
                  <a:pt x="7782584" y="8191304"/>
                  <a:pt x="7786976" y="8193214"/>
                </a:cubicBezTo>
                <a:cubicBezTo>
                  <a:pt x="7789446" y="8199513"/>
                  <a:pt x="7790681" y="8202662"/>
                  <a:pt x="7793151" y="8208960"/>
                </a:cubicBezTo>
                <a:cubicBezTo>
                  <a:pt x="7788072" y="8214586"/>
                  <a:pt x="7781757" y="8217062"/>
                  <a:pt x="7776677" y="8222688"/>
                </a:cubicBezTo>
                <a:cubicBezTo>
                  <a:pt x="7774754" y="8227075"/>
                  <a:pt x="7775989" y="8230224"/>
                  <a:pt x="7775989" y="8230224"/>
                </a:cubicBezTo>
                <a:cubicBezTo>
                  <a:pt x="7770909" y="8235850"/>
                  <a:pt x="7765829" y="8241475"/>
                  <a:pt x="7765829" y="8241475"/>
                </a:cubicBezTo>
                <a:cubicBezTo>
                  <a:pt x="7779554" y="8257893"/>
                  <a:pt x="7768019" y="8284217"/>
                  <a:pt x="7778586" y="8301873"/>
                </a:cubicBezTo>
                <a:cubicBezTo>
                  <a:pt x="7779822" y="8305022"/>
                  <a:pt x="7779822" y="8305022"/>
                  <a:pt x="7776664" y="8306260"/>
                </a:cubicBezTo>
                <a:cubicBezTo>
                  <a:pt x="7776664" y="8306260"/>
                  <a:pt x="7773507" y="8307499"/>
                  <a:pt x="7770349" y="8308737"/>
                </a:cubicBezTo>
                <a:cubicBezTo>
                  <a:pt x="7772132" y="8322571"/>
                  <a:pt x="7778307" y="8338317"/>
                  <a:pt x="7786404" y="8349674"/>
                </a:cubicBezTo>
                <a:cubicBezTo>
                  <a:pt x="7767319" y="8375325"/>
                  <a:pt x="7803694" y="8393760"/>
                  <a:pt x="7798474" y="8417607"/>
                </a:cubicBezTo>
                <a:cubicBezTo>
                  <a:pt x="7789001" y="8421322"/>
                  <a:pt x="7780764" y="8428187"/>
                  <a:pt x="7771292" y="8431902"/>
                </a:cubicBezTo>
                <a:cubicBezTo>
                  <a:pt x="7756192" y="8430557"/>
                  <a:pt x="7747954" y="8437420"/>
                  <a:pt x="7738482" y="8441135"/>
                </a:cubicBezTo>
                <a:cubicBezTo>
                  <a:pt x="7724069" y="8432254"/>
                  <a:pt x="7709657" y="8423373"/>
                  <a:pt x="7694557" y="8422028"/>
                </a:cubicBezTo>
                <a:cubicBezTo>
                  <a:pt x="7692087" y="8415730"/>
                  <a:pt x="7684537" y="8415058"/>
                  <a:pt x="7678222" y="8417534"/>
                </a:cubicBezTo>
                <a:cubicBezTo>
                  <a:pt x="7675752" y="8411236"/>
                  <a:pt x="7671360" y="8409326"/>
                  <a:pt x="7663810" y="8408653"/>
                </a:cubicBezTo>
                <a:cubicBezTo>
                  <a:pt x="7657635" y="8392909"/>
                  <a:pt x="7634437" y="8380205"/>
                  <a:pt x="7626200" y="8387070"/>
                </a:cubicBezTo>
                <a:cubicBezTo>
                  <a:pt x="7601488" y="8407662"/>
                  <a:pt x="7585293" y="8384946"/>
                  <a:pt x="7568271" y="8387989"/>
                </a:cubicBezTo>
                <a:cubicBezTo>
                  <a:pt x="7565801" y="8381691"/>
                  <a:pt x="7561408" y="8379779"/>
                  <a:pt x="7553858" y="8379107"/>
                </a:cubicBezTo>
                <a:cubicBezTo>
                  <a:pt x="7552623" y="8375958"/>
                  <a:pt x="7551388" y="8372809"/>
                  <a:pt x="7546996" y="8370898"/>
                </a:cubicBezTo>
                <a:cubicBezTo>
                  <a:pt x="7549606" y="8358974"/>
                  <a:pt x="7569786" y="8354694"/>
                  <a:pt x="7560453" y="8340187"/>
                </a:cubicBezTo>
                <a:cubicBezTo>
                  <a:pt x="7552356" y="8328829"/>
                  <a:pt x="7544118" y="8335693"/>
                  <a:pt x="7537803" y="8338169"/>
                </a:cubicBezTo>
                <a:cubicBezTo>
                  <a:pt x="7533411" y="8336259"/>
                  <a:pt x="7530941" y="8329961"/>
                  <a:pt x="7530941" y="8329961"/>
                </a:cubicBezTo>
                <a:cubicBezTo>
                  <a:pt x="7521469" y="8333676"/>
                  <a:pt x="7523938" y="8339974"/>
                  <a:pt x="7525173" y="8343122"/>
                </a:cubicBezTo>
                <a:lnTo>
                  <a:pt x="7517623" y="8342451"/>
                </a:lnTo>
                <a:lnTo>
                  <a:pt x="7515701" y="8346837"/>
                </a:lnTo>
                <a:cubicBezTo>
                  <a:pt x="7512543" y="8348076"/>
                  <a:pt x="7509386" y="8349314"/>
                  <a:pt x="7506228" y="8350552"/>
                </a:cubicBezTo>
                <a:cubicBezTo>
                  <a:pt x="7503758" y="8344254"/>
                  <a:pt x="7496209" y="8343582"/>
                  <a:pt x="7491816" y="8341671"/>
                </a:cubicBezTo>
                <a:cubicBezTo>
                  <a:pt x="7489346" y="8335373"/>
                  <a:pt x="7485641" y="8325927"/>
                  <a:pt x="7471776" y="8327730"/>
                </a:cubicBezTo>
                <a:cubicBezTo>
                  <a:pt x="7469306" y="8321432"/>
                  <a:pt x="7464914" y="8319521"/>
                  <a:pt x="7458599" y="8321998"/>
                </a:cubicBezTo>
                <a:cubicBezTo>
                  <a:pt x="7454206" y="8320088"/>
                  <a:pt x="7454206" y="8320088"/>
                  <a:pt x="7451049" y="8321326"/>
                </a:cubicBezTo>
                <a:cubicBezTo>
                  <a:pt x="7437324" y="8304909"/>
                  <a:pt x="7417284" y="8290967"/>
                  <a:pt x="7408639" y="8268925"/>
                </a:cubicBezTo>
                <a:cubicBezTo>
                  <a:pt x="7406169" y="8262627"/>
                  <a:pt x="7408092" y="8258239"/>
                  <a:pt x="7406857" y="8255090"/>
                </a:cubicBezTo>
                <a:cubicBezTo>
                  <a:pt x="7398759" y="8243732"/>
                  <a:pt x="7389974" y="8239910"/>
                  <a:pt x="7379267" y="8240477"/>
                </a:cubicBezTo>
                <a:cubicBezTo>
                  <a:pt x="7356617" y="8238459"/>
                  <a:pt x="7344267" y="8206969"/>
                  <a:pt x="7319008" y="8216876"/>
                </a:cubicBezTo>
                <a:cubicBezTo>
                  <a:pt x="7314615" y="8214965"/>
                  <a:pt x="7313380" y="8211816"/>
                  <a:pt x="7312145" y="8208667"/>
                </a:cubicBezTo>
                <a:cubicBezTo>
                  <a:pt x="7313380" y="8211816"/>
                  <a:pt x="7313380" y="8211816"/>
                  <a:pt x="7313380" y="8211816"/>
                </a:cubicBezTo>
                <a:cubicBezTo>
                  <a:pt x="7314615" y="8214965"/>
                  <a:pt x="7314615" y="8214965"/>
                  <a:pt x="7319008" y="8216876"/>
                </a:cubicBezTo>
                <a:cubicBezTo>
                  <a:pt x="7319008" y="8216876"/>
                  <a:pt x="7317085" y="8221263"/>
                  <a:pt x="7318320" y="8224412"/>
                </a:cubicBezTo>
                <a:cubicBezTo>
                  <a:pt x="7319555" y="8227561"/>
                  <a:pt x="7322025" y="8233859"/>
                  <a:pt x="7316945" y="8239484"/>
                </a:cubicBezTo>
                <a:cubicBezTo>
                  <a:pt x="7316945" y="8239484"/>
                  <a:pt x="7312552" y="8237573"/>
                  <a:pt x="7312552" y="8237573"/>
                </a:cubicBezTo>
                <a:cubicBezTo>
                  <a:pt x="7308160" y="8235663"/>
                  <a:pt x="7306925" y="8232514"/>
                  <a:pt x="7302533" y="8230603"/>
                </a:cubicBezTo>
                <a:cubicBezTo>
                  <a:pt x="7288120" y="8221722"/>
                  <a:pt x="7276865" y="8211603"/>
                  <a:pt x="7278240" y="8196530"/>
                </a:cubicBezTo>
                <a:cubicBezTo>
                  <a:pt x="7277005" y="8193381"/>
                  <a:pt x="7275770" y="8190232"/>
                  <a:pt x="7277693" y="8185845"/>
                </a:cubicBezTo>
                <a:cubicBezTo>
                  <a:pt x="7262593" y="8184500"/>
                  <a:pt x="7243789" y="8173708"/>
                  <a:pt x="7228001" y="8179899"/>
                </a:cubicBezTo>
                <a:cubicBezTo>
                  <a:pt x="7226219" y="8166065"/>
                  <a:pt x="7244616" y="8147949"/>
                  <a:pt x="7217574" y="8144022"/>
                </a:cubicBezTo>
                <a:cubicBezTo>
                  <a:pt x="7194924" y="8142004"/>
                  <a:pt x="7179964" y="8122438"/>
                  <a:pt x="7157314" y="8120421"/>
                </a:cubicBezTo>
                <a:cubicBezTo>
                  <a:pt x="7154844" y="8114123"/>
                  <a:pt x="7152374" y="8107825"/>
                  <a:pt x="7149904" y="8101527"/>
                </a:cubicBezTo>
                <a:cubicBezTo>
                  <a:pt x="7149904" y="8101527"/>
                  <a:pt x="7149904" y="8101527"/>
                  <a:pt x="7148669" y="8098377"/>
                </a:cubicBezTo>
                <a:cubicBezTo>
                  <a:pt x="7148669" y="8098377"/>
                  <a:pt x="7148669" y="8098377"/>
                  <a:pt x="7145512" y="8099615"/>
                </a:cubicBezTo>
                <a:cubicBezTo>
                  <a:pt x="7141119" y="8097705"/>
                  <a:pt x="7132334" y="8093884"/>
                  <a:pt x="7124785" y="8093211"/>
                </a:cubicBezTo>
                <a:cubicBezTo>
                  <a:pt x="7111607" y="8087479"/>
                  <a:pt x="7102135" y="8091193"/>
                  <a:pt x="7103917" y="8105029"/>
                </a:cubicBezTo>
                <a:cubicBezTo>
                  <a:pt x="7105152" y="8108177"/>
                  <a:pt x="7109545" y="8110088"/>
                  <a:pt x="7112702" y="8108850"/>
                </a:cubicBezTo>
                <a:lnTo>
                  <a:pt x="7114952" y="8110873"/>
                </a:lnTo>
                <a:lnTo>
                  <a:pt x="7106387" y="8111327"/>
                </a:lnTo>
                <a:cubicBezTo>
                  <a:pt x="7105152" y="8108177"/>
                  <a:pt x="7105152" y="8108177"/>
                  <a:pt x="7100760" y="8106267"/>
                </a:cubicBezTo>
                <a:cubicBezTo>
                  <a:pt x="7091975" y="8102446"/>
                  <a:pt x="7081267" y="8103011"/>
                  <a:pt x="7079485" y="8089177"/>
                </a:cubicBezTo>
                <a:cubicBezTo>
                  <a:pt x="7075920" y="8061508"/>
                  <a:pt x="7060133" y="8067700"/>
                  <a:pt x="7045580" y="8077040"/>
                </a:cubicBezTo>
                <a:cubicBezTo>
                  <a:pt x="7039952" y="8071980"/>
                  <a:pt x="7035560" y="8070069"/>
                  <a:pt x="7029245" y="8072546"/>
                </a:cubicBezTo>
                <a:cubicBezTo>
                  <a:pt x="7026775" y="8066248"/>
                  <a:pt x="7022383" y="8064337"/>
                  <a:pt x="7014833" y="8063665"/>
                </a:cubicBezTo>
                <a:cubicBezTo>
                  <a:pt x="7012363" y="8057367"/>
                  <a:pt x="7004813" y="8056695"/>
                  <a:pt x="7001656" y="8057933"/>
                </a:cubicBezTo>
                <a:cubicBezTo>
                  <a:pt x="6996028" y="8052873"/>
                  <a:pt x="6991635" y="8050962"/>
                  <a:pt x="6984086" y="8050290"/>
                </a:cubicBezTo>
                <a:cubicBezTo>
                  <a:pt x="6982851" y="8047141"/>
                  <a:pt x="6979693" y="8048379"/>
                  <a:pt x="6978458" y="8045230"/>
                </a:cubicBezTo>
                <a:cubicBezTo>
                  <a:pt x="6973518" y="8032634"/>
                  <a:pt x="6988758" y="8015757"/>
                  <a:pt x="6970501" y="8015651"/>
                </a:cubicBezTo>
                <a:cubicBezTo>
                  <a:pt x="6933985" y="8015437"/>
                  <a:pt x="6906396" y="8000824"/>
                  <a:pt x="6889654" y="7967423"/>
                </a:cubicBezTo>
                <a:cubicBezTo>
                  <a:pt x="6884026" y="7962364"/>
                  <a:pt x="6878399" y="7957304"/>
                  <a:pt x="6870849" y="7956631"/>
                </a:cubicBezTo>
                <a:cubicBezTo>
                  <a:pt x="6866456" y="7954720"/>
                  <a:pt x="6860141" y="7957197"/>
                  <a:pt x="6859454" y="7964734"/>
                </a:cubicBezTo>
                <a:cubicBezTo>
                  <a:pt x="6860689" y="7967882"/>
                  <a:pt x="6866317" y="7972942"/>
                  <a:pt x="6867552" y="7976091"/>
                </a:cubicBezTo>
                <a:cubicBezTo>
                  <a:pt x="6871943" y="7978002"/>
                  <a:pt x="6879494" y="7978674"/>
                  <a:pt x="6874413" y="7984300"/>
                </a:cubicBezTo>
                <a:cubicBezTo>
                  <a:pt x="6874413" y="7984300"/>
                  <a:pt x="6871256" y="7985538"/>
                  <a:pt x="6871256" y="7985538"/>
                </a:cubicBezTo>
                <a:cubicBezTo>
                  <a:pt x="6870022" y="7982389"/>
                  <a:pt x="6870022" y="7982389"/>
                  <a:pt x="6868787" y="7979240"/>
                </a:cubicBezTo>
                <a:cubicBezTo>
                  <a:pt x="6864394" y="7977330"/>
                  <a:pt x="6861236" y="7978568"/>
                  <a:pt x="6858079" y="7979806"/>
                </a:cubicBezTo>
                <a:cubicBezTo>
                  <a:pt x="6855609" y="7973508"/>
                  <a:pt x="6849982" y="7968449"/>
                  <a:pt x="6843666" y="7970925"/>
                </a:cubicBezTo>
                <a:cubicBezTo>
                  <a:pt x="6833099" y="7953269"/>
                  <a:pt x="6813607" y="7950014"/>
                  <a:pt x="6792880" y="7943609"/>
                </a:cubicBezTo>
                <a:cubicBezTo>
                  <a:pt x="6794802" y="7939222"/>
                  <a:pt x="6793567" y="7936072"/>
                  <a:pt x="6793567" y="7936072"/>
                </a:cubicBezTo>
                <a:cubicBezTo>
                  <a:pt x="6793567" y="7936072"/>
                  <a:pt x="6793567" y="7936072"/>
                  <a:pt x="6792332" y="7932924"/>
                </a:cubicBezTo>
                <a:cubicBezTo>
                  <a:pt x="6798647" y="7930447"/>
                  <a:pt x="6810589" y="7933030"/>
                  <a:pt x="6804415" y="7917285"/>
                </a:cubicBezTo>
                <a:cubicBezTo>
                  <a:pt x="6803180" y="7914136"/>
                  <a:pt x="6797552" y="7909076"/>
                  <a:pt x="6792472" y="7914702"/>
                </a:cubicBezTo>
                <a:cubicBezTo>
                  <a:pt x="6781077" y="7922804"/>
                  <a:pt x="6786705" y="7927864"/>
                  <a:pt x="6792332" y="7932924"/>
                </a:cubicBezTo>
                <a:cubicBezTo>
                  <a:pt x="6765977" y="7921459"/>
                  <a:pt x="6738388" y="7906846"/>
                  <a:pt x="6707640" y="7893471"/>
                </a:cubicBezTo>
                <a:cubicBezTo>
                  <a:pt x="6639283" y="7858512"/>
                  <a:pt x="6574771" y="7814779"/>
                  <a:pt x="6502569" y="7788594"/>
                </a:cubicBezTo>
                <a:cubicBezTo>
                  <a:pt x="6499412" y="7789833"/>
                  <a:pt x="6499412" y="7789833"/>
                  <a:pt x="6499412" y="7789833"/>
                </a:cubicBezTo>
                <a:cubicBezTo>
                  <a:pt x="6493097" y="7792309"/>
                  <a:pt x="6484312" y="7788488"/>
                  <a:pt x="6478684" y="7783427"/>
                </a:cubicBezTo>
                <a:cubicBezTo>
                  <a:pt x="6477449" y="7780279"/>
                  <a:pt x="6474292" y="7781517"/>
                  <a:pt x="6473057" y="7778368"/>
                </a:cubicBezTo>
                <a:cubicBezTo>
                  <a:pt x="6442310" y="7764993"/>
                  <a:pt x="6418564" y="7741605"/>
                  <a:pt x="6383973" y="7737004"/>
                </a:cubicBezTo>
                <a:cubicBezTo>
                  <a:pt x="6377658" y="7739481"/>
                  <a:pt x="6373265" y="7737571"/>
                  <a:pt x="6368873" y="7735660"/>
                </a:cubicBezTo>
                <a:cubicBezTo>
                  <a:pt x="6360088" y="7731838"/>
                  <a:pt x="6354460" y="7726779"/>
                  <a:pt x="6351990" y="7720481"/>
                </a:cubicBezTo>
                <a:cubicBezTo>
                  <a:pt x="6351990" y="7720481"/>
                  <a:pt x="6350755" y="7717331"/>
                  <a:pt x="6347598" y="7718569"/>
                </a:cubicBezTo>
                <a:cubicBezTo>
                  <a:pt x="6338813" y="7714748"/>
                  <a:pt x="6326871" y="7712165"/>
                  <a:pt x="6320008" y="7703956"/>
                </a:cubicBezTo>
                <a:cubicBezTo>
                  <a:pt x="6315616" y="7702046"/>
                  <a:pt x="6311223" y="7700135"/>
                  <a:pt x="6306831" y="7698224"/>
                </a:cubicBezTo>
                <a:cubicBezTo>
                  <a:pt x="6298046" y="7694403"/>
                  <a:pt x="6287338" y="7694968"/>
                  <a:pt x="6278553" y="7691147"/>
                </a:cubicBezTo>
                <a:cubicBezTo>
                  <a:pt x="6277319" y="7687999"/>
                  <a:pt x="6277319" y="7687999"/>
                  <a:pt x="6272926" y="7686087"/>
                </a:cubicBezTo>
                <a:cubicBezTo>
                  <a:pt x="6186999" y="7643486"/>
                  <a:pt x="6101072" y="7600884"/>
                  <a:pt x="6015145" y="7558282"/>
                </a:cubicBezTo>
                <a:cubicBezTo>
                  <a:pt x="6015145" y="7558282"/>
                  <a:pt x="6010753" y="7556372"/>
                  <a:pt x="6010753" y="7556372"/>
                </a:cubicBezTo>
                <a:cubicBezTo>
                  <a:pt x="5998811" y="7553788"/>
                  <a:pt x="5988791" y="7546818"/>
                  <a:pt x="5978771" y="7539847"/>
                </a:cubicBezTo>
                <a:cubicBezTo>
                  <a:pt x="5977536" y="7536699"/>
                  <a:pt x="5974378" y="7537937"/>
                  <a:pt x="5973143" y="7534787"/>
                </a:cubicBezTo>
                <a:cubicBezTo>
                  <a:pt x="5932376" y="7514442"/>
                  <a:pt x="5896001" y="7496007"/>
                  <a:pt x="5858391" y="7474423"/>
                </a:cubicBezTo>
                <a:cubicBezTo>
                  <a:pt x="5822017" y="7455989"/>
                  <a:pt x="5792645" y="7427541"/>
                  <a:pt x="5746110" y="7420357"/>
                </a:cubicBezTo>
                <a:cubicBezTo>
                  <a:pt x="5742952" y="7421596"/>
                  <a:pt x="5739247" y="7412148"/>
                  <a:pt x="5738013" y="7409000"/>
                </a:cubicBezTo>
                <a:cubicBezTo>
                  <a:pt x="5731697" y="7411477"/>
                  <a:pt x="5724147" y="7410804"/>
                  <a:pt x="5721677" y="7404506"/>
                </a:cubicBezTo>
                <a:cubicBezTo>
                  <a:pt x="5720443" y="7401357"/>
                  <a:pt x="5720443" y="7401357"/>
                  <a:pt x="5717285" y="7402595"/>
                </a:cubicBezTo>
                <a:cubicBezTo>
                  <a:pt x="5699028" y="7402489"/>
                  <a:pt x="5686537" y="7389220"/>
                  <a:pt x="5670890" y="7377190"/>
                </a:cubicBezTo>
                <a:cubicBezTo>
                  <a:pt x="5670890" y="7377190"/>
                  <a:pt x="5666498" y="7375279"/>
                  <a:pt x="5665263" y="7372130"/>
                </a:cubicBezTo>
                <a:lnTo>
                  <a:pt x="5662106" y="7373368"/>
                </a:lnTo>
                <a:cubicBezTo>
                  <a:pt x="5662106" y="7373368"/>
                  <a:pt x="5662106" y="7373368"/>
                  <a:pt x="5658948" y="7374607"/>
                </a:cubicBezTo>
                <a:cubicBezTo>
                  <a:pt x="5657713" y="7371458"/>
                  <a:pt x="5654555" y="7372696"/>
                  <a:pt x="5651398" y="7373935"/>
                </a:cubicBezTo>
                <a:cubicBezTo>
                  <a:pt x="5650163" y="7370785"/>
                  <a:pt x="5647693" y="7364487"/>
                  <a:pt x="5643301" y="7362576"/>
                </a:cubicBezTo>
                <a:cubicBezTo>
                  <a:pt x="5643301" y="7362576"/>
                  <a:pt x="5642066" y="7359428"/>
                  <a:pt x="5642066" y="7359428"/>
                </a:cubicBezTo>
                <a:lnTo>
                  <a:pt x="5640831" y="7356278"/>
                </a:lnTo>
                <a:lnTo>
                  <a:pt x="5642753" y="7351891"/>
                </a:lnTo>
                <a:lnTo>
                  <a:pt x="5638361" y="7349980"/>
                </a:lnTo>
                <a:cubicBezTo>
                  <a:pt x="5622573" y="7356172"/>
                  <a:pt x="5613241" y="7341664"/>
                  <a:pt x="5601298" y="7339081"/>
                </a:cubicBezTo>
                <a:cubicBezTo>
                  <a:pt x="5586885" y="7330200"/>
                  <a:pt x="5578789" y="7318843"/>
                  <a:pt x="5559844" y="7326273"/>
                </a:cubicBezTo>
                <a:cubicBezTo>
                  <a:pt x="5567254" y="7345166"/>
                  <a:pt x="5580431" y="7350899"/>
                  <a:pt x="5592374" y="7353482"/>
                </a:cubicBezTo>
                <a:cubicBezTo>
                  <a:pt x="5603628" y="7363602"/>
                  <a:pt x="5614883" y="7373721"/>
                  <a:pt x="5626826" y="7376304"/>
                </a:cubicBezTo>
                <a:cubicBezTo>
                  <a:pt x="5636846" y="7383275"/>
                  <a:pt x="5643708" y="7391484"/>
                  <a:pt x="5655651" y="7394067"/>
                </a:cubicBezTo>
                <a:cubicBezTo>
                  <a:pt x="5656885" y="7397215"/>
                  <a:pt x="5661278" y="7399127"/>
                  <a:pt x="5661278" y="7399127"/>
                </a:cubicBezTo>
                <a:cubicBezTo>
                  <a:pt x="5663748" y="7405425"/>
                  <a:pt x="5668140" y="7407335"/>
                  <a:pt x="5675691" y="7408008"/>
                </a:cubicBezTo>
                <a:cubicBezTo>
                  <a:pt x="5706985" y="7432068"/>
                  <a:pt x="5731965" y="7458605"/>
                  <a:pt x="5763947" y="7475129"/>
                </a:cubicBezTo>
                <a:cubicBezTo>
                  <a:pt x="5857971" y="7529089"/>
                  <a:pt x="5939226" y="7606223"/>
                  <a:pt x="6031328" y="7664570"/>
                </a:cubicBezTo>
                <a:cubicBezTo>
                  <a:pt x="6088977" y="7700094"/>
                  <a:pt x="6142782" y="7744394"/>
                  <a:pt x="6199744" y="7787456"/>
                </a:cubicBezTo>
                <a:cubicBezTo>
                  <a:pt x="6273588" y="7845696"/>
                  <a:pt x="6353748" y="7901460"/>
                  <a:pt x="6427593" y="7959700"/>
                </a:cubicBezTo>
                <a:cubicBezTo>
                  <a:pt x="6485789" y="8005910"/>
                  <a:pt x="6540829" y="8053358"/>
                  <a:pt x="6607264" y="8092705"/>
                </a:cubicBezTo>
                <a:cubicBezTo>
                  <a:pt x="6619754" y="8105974"/>
                  <a:pt x="6628398" y="8128016"/>
                  <a:pt x="6647203" y="8138808"/>
                </a:cubicBezTo>
                <a:cubicBezTo>
                  <a:pt x="6649673" y="8145106"/>
                  <a:pt x="6652143" y="8151404"/>
                  <a:pt x="6654613" y="8157702"/>
                </a:cubicBezTo>
                <a:cubicBezTo>
                  <a:pt x="6648298" y="8160179"/>
                  <a:pt x="6647611" y="8167715"/>
                  <a:pt x="6648846" y="8170865"/>
                </a:cubicBezTo>
                <a:cubicBezTo>
                  <a:pt x="6639373" y="8174580"/>
                  <a:pt x="6624273" y="8173235"/>
                  <a:pt x="6634840" y="8190890"/>
                </a:cubicBezTo>
                <a:cubicBezTo>
                  <a:pt x="6637310" y="8197188"/>
                  <a:pt x="6639781" y="8203486"/>
                  <a:pt x="6640328" y="8214172"/>
                </a:cubicBezTo>
                <a:cubicBezTo>
                  <a:pt x="6629620" y="8214738"/>
                  <a:pt x="6624541" y="8220364"/>
                  <a:pt x="6628246" y="8229810"/>
                </a:cubicBezTo>
                <a:cubicBezTo>
                  <a:pt x="6628653" y="8258718"/>
                  <a:pt x="6655555" y="8280868"/>
                  <a:pt x="6642097" y="8311578"/>
                </a:cubicBezTo>
                <a:cubicBezTo>
                  <a:pt x="6642097" y="8311578"/>
                  <a:pt x="6642097" y="8311578"/>
                  <a:pt x="6643333" y="8314728"/>
                </a:cubicBezTo>
                <a:cubicBezTo>
                  <a:pt x="6643333" y="8314728"/>
                  <a:pt x="6644567" y="8317876"/>
                  <a:pt x="6644567" y="8317876"/>
                </a:cubicBezTo>
                <a:cubicBezTo>
                  <a:pt x="6641410" y="8319115"/>
                  <a:pt x="6641410" y="8319115"/>
                  <a:pt x="6642645" y="8322264"/>
                </a:cubicBezTo>
                <a:cubicBezTo>
                  <a:pt x="6639488" y="8323502"/>
                  <a:pt x="6638801" y="8331039"/>
                  <a:pt x="6641271" y="8337337"/>
                </a:cubicBezTo>
                <a:cubicBezTo>
                  <a:pt x="6636190" y="8342963"/>
                  <a:pt x="6639896" y="8352409"/>
                  <a:pt x="6643601" y="8361857"/>
                </a:cubicBezTo>
                <a:cubicBezTo>
                  <a:pt x="6644836" y="8365005"/>
                  <a:pt x="6644148" y="8372542"/>
                  <a:pt x="6645383" y="8375691"/>
                </a:cubicBezTo>
                <a:cubicBezTo>
                  <a:pt x="6645383" y="8375691"/>
                  <a:pt x="6643461" y="8380079"/>
                  <a:pt x="6643461" y="8380079"/>
                </a:cubicBezTo>
                <a:cubicBezTo>
                  <a:pt x="6643461" y="8380079"/>
                  <a:pt x="6641538" y="8384466"/>
                  <a:pt x="6639616" y="8388853"/>
                </a:cubicBezTo>
                <a:cubicBezTo>
                  <a:pt x="6627393" y="8422713"/>
                  <a:pt x="6647293" y="8454876"/>
                  <a:pt x="6655251" y="8484456"/>
                </a:cubicBezTo>
                <a:cubicBezTo>
                  <a:pt x="6664851" y="8546092"/>
                  <a:pt x="6669243" y="8548002"/>
                  <a:pt x="6614331" y="8565905"/>
                </a:cubicBezTo>
                <a:cubicBezTo>
                  <a:pt x="6608016" y="8568381"/>
                  <a:pt x="6598543" y="8572096"/>
                  <a:pt x="6589071" y="8575811"/>
                </a:cubicBezTo>
                <a:cubicBezTo>
                  <a:pt x="6575894" y="8570079"/>
                  <a:pt x="6566421" y="8573794"/>
                  <a:pt x="6552556" y="8575597"/>
                </a:cubicBezTo>
                <a:cubicBezTo>
                  <a:pt x="6532516" y="8561657"/>
                  <a:pt x="6508631" y="8556490"/>
                  <a:pt x="6482824" y="8555711"/>
                </a:cubicBezTo>
                <a:cubicBezTo>
                  <a:pt x="6480354" y="8549413"/>
                  <a:pt x="6475962" y="8547503"/>
                  <a:pt x="6468412" y="8546830"/>
                </a:cubicBezTo>
                <a:cubicBezTo>
                  <a:pt x="6454687" y="8530413"/>
                  <a:pt x="6433960" y="8524008"/>
                  <a:pt x="6408152" y="8523229"/>
                </a:cubicBezTo>
                <a:cubicBezTo>
                  <a:pt x="6402525" y="8518169"/>
                  <a:pt x="6394975" y="8517497"/>
                  <a:pt x="6384267" y="8518063"/>
                </a:cubicBezTo>
                <a:cubicBezTo>
                  <a:pt x="6361070" y="8505360"/>
                  <a:pt x="6334575" y="8512117"/>
                  <a:pt x="6312613" y="8502564"/>
                </a:cubicBezTo>
                <a:cubicBezTo>
                  <a:pt x="6303281" y="8488057"/>
                  <a:pt x="6291338" y="8485474"/>
                  <a:pt x="6275551" y="8491666"/>
                </a:cubicBezTo>
                <a:cubicBezTo>
                  <a:pt x="6262373" y="8485933"/>
                  <a:pt x="6253588" y="8482112"/>
                  <a:pt x="6244803" y="8478291"/>
                </a:cubicBezTo>
                <a:cubicBezTo>
                  <a:pt x="6236706" y="8466933"/>
                  <a:pt x="6227922" y="8463111"/>
                  <a:pt x="6214056" y="8464915"/>
                </a:cubicBezTo>
                <a:cubicBezTo>
                  <a:pt x="6210352" y="8455469"/>
                  <a:pt x="6204724" y="8450409"/>
                  <a:pt x="6195938" y="8446587"/>
                </a:cubicBezTo>
                <a:cubicBezTo>
                  <a:pt x="6192781" y="8447825"/>
                  <a:pt x="6188389" y="8445915"/>
                  <a:pt x="6185231" y="8447153"/>
                </a:cubicBezTo>
                <a:cubicBezTo>
                  <a:pt x="6180839" y="8445242"/>
                  <a:pt x="6174524" y="8447719"/>
                  <a:pt x="6170131" y="8445808"/>
                </a:cubicBezTo>
                <a:cubicBezTo>
                  <a:pt x="6168896" y="8442659"/>
                  <a:pt x="6164504" y="8440749"/>
                  <a:pt x="6164504" y="8440749"/>
                </a:cubicBezTo>
                <a:cubicBezTo>
                  <a:pt x="6160111" y="8438838"/>
                  <a:pt x="6156954" y="8440076"/>
                  <a:pt x="6156954" y="8440076"/>
                </a:cubicBezTo>
                <a:cubicBezTo>
                  <a:pt x="6155719" y="8436927"/>
                  <a:pt x="6151327" y="8435016"/>
                  <a:pt x="6150092" y="8431868"/>
                </a:cubicBezTo>
                <a:cubicBezTo>
                  <a:pt x="6148857" y="8428718"/>
                  <a:pt x="6147622" y="8425570"/>
                  <a:pt x="6146387" y="8422420"/>
                </a:cubicBezTo>
                <a:cubicBezTo>
                  <a:pt x="6119344" y="8418492"/>
                  <a:pt x="6101227" y="8400164"/>
                  <a:pt x="6075420" y="8399385"/>
                </a:cubicBezTo>
                <a:cubicBezTo>
                  <a:pt x="6071027" y="8397474"/>
                  <a:pt x="6065400" y="8392415"/>
                  <a:pt x="6061007" y="8390504"/>
                </a:cubicBezTo>
                <a:cubicBezTo>
                  <a:pt x="6061694" y="8382967"/>
                  <a:pt x="6057303" y="8381057"/>
                  <a:pt x="6050987" y="8383534"/>
                </a:cubicBezTo>
                <a:cubicBezTo>
                  <a:pt x="6040419" y="8365877"/>
                  <a:pt x="6020240" y="8370158"/>
                  <a:pt x="6003905" y="8365664"/>
                </a:cubicBezTo>
                <a:cubicBezTo>
                  <a:pt x="5996496" y="8346770"/>
                  <a:pt x="5977003" y="8343514"/>
                  <a:pt x="5964513" y="8330247"/>
                </a:cubicBezTo>
                <a:cubicBezTo>
                  <a:pt x="5964513" y="8330247"/>
                  <a:pt x="5961356" y="8331485"/>
                  <a:pt x="5958199" y="8332723"/>
                </a:cubicBezTo>
                <a:cubicBezTo>
                  <a:pt x="5958199" y="8332723"/>
                  <a:pt x="5958199" y="8332723"/>
                  <a:pt x="5955041" y="8333961"/>
                </a:cubicBezTo>
                <a:cubicBezTo>
                  <a:pt x="5952571" y="8327663"/>
                  <a:pt x="5945020" y="8326991"/>
                  <a:pt x="5941863" y="8328229"/>
                </a:cubicBezTo>
                <a:cubicBezTo>
                  <a:pt x="5937471" y="8326319"/>
                  <a:pt x="5936236" y="8323169"/>
                  <a:pt x="5935000" y="8320020"/>
                </a:cubicBezTo>
                <a:cubicBezTo>
                  <a:pt x="5929373" y="8314960"/>
                  <a:pt x="5921824" y="8314288"/>
                  <a:pt x="5917431" y="8312377"/>
                </a:cubicBezTo>
                <a:cubicBezTo>
                  <a:pt x="5914273" y="8313615"/>
                  <a:pt x="5914273" y="8313615"/>
                  <a:pt x="5911116" y="8314854"/>
                </a:cubicBezTo>
                <a:cubicBezTo>
                  <a:pt x="5909881" y="8311705"/>
                  <a:pt x="5908645" y="8308556"/>
                  <a:pt x="5908645" y="8308556"/>
                </a:cubicBezTo>
                <a:cubicBezTo>
                  <a:pt x="5905488" y="8309794"/>
                  <a:pt x="5904254" y="8306645"/>
                  <a:pt x="5904254" y="8306645"/>
                </a:cubicBezTo>
                <a:cubicBezTo>
                  <a:pt x="5901096" y="8307884"/>
                  <a:pt x="5901096" y="8307884"/>
                  <a:pt x="5896703" y="8305972"/>
                </a:cubicBezTo>
                <a:cubicBezTo>
                  <a:pt x="5896703" y="8305972"/>
                  <a:pt x="5895469" y="8302824"/>
                  <a:pt x="5891076" y="8300913"/>
                </a:cubicBezTo>
                <a:cubicBezTo>
                  <a:pt x="5886683" y="8299003"/>
                  <a:pt x="5886683" y="8299003"/>
                  <a:pt x="5883527" y="8300241"/>
                </a:cubicBezTo>
                <a:cubicBezTo>
                  <a:pt x="5882291" y="8297091"/>
                  <a:pt x="5882291" y="8297091"/>
                  <a:pt x="5881056" y="8293942"/>
                </a:cubicBezTo>
                <a:cubicBezTo>
                  <a:pt x="5879821" y="8290793"/>
                  <a:pt x="5874194" y="8285734"/>
                  <a:pt x="5869801" y="8283823"/>
                </a:cubicBezTo>
                <a:cubicBezTo>
                  <a:pt x="5866643" y="8285061"/>
                  <a:pt x="5866643" y="8285061"/>
                  <a:pt x="5863486" y="8286299"/>
                </a:cubicBezTo>
                <a:cubicBezTo>
                  <a:pt x="5857859" y="8281240"/>
                  <a:pt x="5855389" y="8274942"/>
                  <a:pt x="5845917" y="8278657"/>
                </a:cubicBezTo>
                <a:cubicBezTo>
                  <a:pt x="5841524" y="8276746"/>
                  <a:pt x="5837132" y="8274835"/>
                  <a:pt x="5832739" y="8272925"/>
                </a:cubicBezTo>
                <a:cubicBezTo>
                  <a:pt x="5830268" y="8266626"/>
                  <a:pt x="5829034" y="8263478"/>
                  <a:pt x="5821484" y="8262805"/>
                </a:cubicBezTo>
                <a:cubicBezTo>
                  <a:pt x="5810229" y="8252685"/>
                  <a:pt x="5800209" y="8245715"/>
                  <a:pt x="5785110" y="8244371"/>
                </a:cubicBezTo>
                <a:cubicBezTo>
                  <a:pt x="5779482" y="8239310"/>
                  <a:pt x="5777012" y="8233012"/>
                  <a:pt x="5770696" y="8235489"/>
                </a:cubicBezTo>
                <a:cubicBezTo>
                  <a:pt x="5760677" y="8228519"/>
                  <a:pt x="5751892" y="8224697"/>
                  <a:pt x="5741185" y="8225263"/>
                </a:cubicBezTo>
                <a:cubicBezTo>
                  <a:pt x="5739950" y="8222114"/>
                  <a:pt x="5739950" y="8222114"/>
                  <a:pt x="5738715" y="8218965"/>
                </a:cubicBezTo>
                <a:cubicBezTo>
                  <a:pt x="5738715" y="8218965"/>
                  <a:pt x="5738715" y="8218965"/>
                  <a:pt x="5737480" y="8215816"/>
                </a:cubicBezTo>
                <a:cubicBezTo>
                  <a:pt x="5737480" y="8215816"/>
                  <a:pt x="5737480" y="8215816"/>
                  <a:pt x="5736245" y="8212667"/>
                </a:cubicBezTo>
                <a:cubicBezTo>
                  <a:pt x="5728695" y="8211994"/>
                  <a:pt x="5717988" y="8212560"/>
                  <a:pt x="5710438" y="8211888"/>
                </a:cubicBezTo>
                <a:cubicBezTo>
                  <a:pt x="5707968" y="8205590"/>
                  <a:pt x="5703575" y="8203679"/>
                  <a:pt x="5699183" y="8201768"/>
                </a:cubicBezTo>
                <a:cubicBezTo>
                  <a:pt x="5695478" y="8192322"/>
                  <a:pt x="5688615" y="8184113"/>
                  <a:pt x="5677908" y="8184678"/>
                </a:cubicBezTo>
                <a:cubicBezTo>
                  <a:pt x="5674203" y="8175232"/>
                  <a:pt x="5661025" y="8169499"/>
                  <a:pt x="5663636" y="8157576"/>
                </a:cubicBezTo>
                <a:cubicBezTo>
                  <a:pt x="5647848" y="8163768"/>
                  <a:pt x="5633435" y="8154885"/>
                  <a:pt x="5619571" y="8156690"/>
                </a:cubicBezTo>
                <a:cubicBezTo>
                  <a:pt x="5603923" y="8144660"/>
                  <a:pt x="5593356" y="8127004"/>
                  <a:pt x="5575786" y="8119361"/>
                </a:cubicBezTo>
                <a:cubicBezTo>
                  <a:pt x="5583336" y="8120033"/>
                  <a:pt x="5588416" y="8114408"/>
                  <a:pt x="5594731" y="8111931"/>
                </a:cubicBezTo>
                <a:cubicBezTo>
                  <a:pt x="5594731" y="8111931"/>
                  <a:pt x="5597889" y="8110693"/>
                  <a:pt x="5597889" y="8110693"/>
                </a:cubicBezTo>
                <a:cubicBezTo>
                  <a:pt x="5599124" y="8113842"/>
                  <a:pt x="5600358" y="8116991"/>
                  <a:pt x="5606674" y="8114515"/>
                </a:cubicBezTo>
                <a:cubicBezTo>
                  <a:pt x="5606674" y="8114515"/>
                  <a:pt x="5609830" y="8113276"/>
                  <a:pt x="5608596" y="8110127"/>
                </a:cubicBezTo>
                <a:cubicBezTo>
                  <a:pt x="5604204" y="8108217"/>
                  <a:pt x="5599811" y="8106305"/>
                  <a:pt x="5597889" y="8110693"/>
                </a:cubicBezTo>
                <a:cubicBezTo>
                  <a:pt x="5597889" y="8110693"/>
                  <a:pt x="5597889" y="8110693"/>
                  <a:pt x="5596654" y="8107544"/>
                </a:cubicBezTo>
                <a:cubicBezTo>
                  <a:pt x="5596654" y="8107544"/>
                  <a:pt x="5597889" y="8110693"/>
                  <a:pt x="5594731" y="8111931"/>
                </a:cubicBezTo>
                <a:cubicBezTo>
                  <a:pt x="5587869" y="8103722"/>
                  <a:pt x="5582788" y="8109348"/>
                  <a:pt x="5579631" y="8110587"/>
                </a:cubicBezTo>
                <a:cubicBezTo>
                  <a:pt x="5576474" y="8111825"/>
                  <a:pt x="5576474" y="8111825"/>
                  <a:pt x="5576474" y="8111825"/>
                </a:cubicBezTo>
                <a:cubicBezTo>
                  <a:pt x="5573316" y="8113063"/>
                  <a:pt x="5573316" y="8113063"/>
                  <a:pt x="5573316" y="8113063"/>
                </a:cubicBezTo>
                <a:cubicBezTo>
                  <a:pt x="5573316" y="8113063"/>
                  <a:pt x="5573316" y="8113063"/>
                  <a:pt x="5570159" y="8114302"/>
                </a:cubicBezTo>
                <a:cubicBezTo>
                  <a:pt x="5567001" y="8115540"/>
                  <a:pt x="5560686" y="8118016"/>
                  <a:pt x="5555606" y="8123642"/>
                </a:cubicBezTo>
                <a:cubicBezTo>
                  <a:pt x="5541881" y="8107224"/>
                  <a:pt x="5526233" y="8095194"/>
                  <a:pt x="5507976" y="8095087"/>
                </a:cubicBezTo>
                <a:cubicBezTo>
                  <a:pt x="5501114" y="8086879"/>
                  <a:pt x="5497409" y="8077432"/>
                  <a:pt x="5486702" y="8077997"/>
                </a:cubicBezTo>
                <a:cubicBezTo>
                  <a:pt x="5484232" y="8071699"/>
                  <a:pt x="5479839" y="8069789"/>
                  <a:pt x="5473525" y="8072265"/>
                </a:cubicBezTo>
                <a:cubicBezTo>
                  <a:pt x="5452797" y="8065861"/>
                  <a:pt x="5440446" y="8034370"/>
                  <a:pt x="5410794" y="8042367"/>
                </a:cubicBezTo>
                <a:lnTo>
                  <a:pt x="5412718" y="8037979"/>
                </a:lnTo>
                <a:lnTo>
                  <a:pt x="5408325" y="8036069"/>
                </a:lnTo>
                <a:cubicBezTo>
                  <a:pt x="5407090" y="8032919"/>
                  <a:pt x="5405855" y="8029771"/>
                  <a:pt x="5404620" y="8026621"/>
                </a:cubicBezTo>
                <a:cubicBezTo>
                  <a:pt x="5400227" y="8024710"/>
                  <a:pt x="5397070" y="8025948"/>
                  <a:pt x="5397070" y="8025948"/>
                </a:cubicBezTo>
                <a:cubicBezTo>
                  <a:pt x="5393913" y="8027186"/>
                  <a:pt x="5393913" y="8027186"/>
                  <a:pt x="5393913" y="8027186"/>
                </a:cubicBezTo>
                <a:cubicBezTo>
                  <a:pt x="5385127" y="8023365"/>
                  <a:pt x="5373185" y="8020782"/>
                  <a:pt x="5364400" y="8016961"/>
                </a:cubicBezTo>
                <a:cubicBezTo>
                  <a:pt x="5360008" y="8015050"/>
                  <a:pt x="5357538" y="8008753"/>
                  <a:pt x="5351223" y="8011229"/>
                </a:cubicBezTo>
                <a:cubicBezTo>
                  <a:pt x="5349988" y="8008080"/>
                  <a:pt x="5348753" y="8004931"/>
                  <a:pt x="5347518" y="8001782"/>
                </a:cubicBezTo>
                <a:cubicBezTo>
                  <a:pt x="5347518" y="8001782"/>
                  <a:pt x="5347518" y="8001782"/>
                  <a:pt x="5346283" y="7998632"/>
                </a:cubicBezTo>
                <a:lnTo>
                  <a:pt x="5341890" y="7996722"/>
                </a:lnTo>
                <a:lnTo>
                  <a:pt x="5342577" y="7989186"/>
                </a:lnTo>
                <a:cubicBezTo>
                  <a:pt x="5334481" y="7977828"/>
                  <a:pt x="5322538" y="7975245"/>
                  <a:pt x="5313065" y="7978960"/>
                </a:cubicBezTo>
                <a:cubicBezTo>
                  <a:pt x="5309908" y="7980198"/>
                  <a:pt x="5305515" y="7978287"/>
                  <a:pt x="5302358" y="7979525"/>
                </a:cubicBezTo>
                <a:cubicBezTo>
                  <a:pt x="5297966" y="7977615"/>
                  <a:pt x="5292338" y="7972554"/>
                  <a:pt x="5286710" y="7967495"/>
                </a:cubicBezTo>
                <a:cubicBezTo>
                  <a:pt x="5282318" y="7965585"/>
                  <a:pt x="5273533" y="7961763"/>
                  <a:pt x="5265983" y="7961090"/>
                </a:cubicBezTo>
                <a:cubicBezTo>
                  <a:pt x="5261591" y="7959180"/>
                  <a:pt x="5261591" y="7959180"/>
                  <a:pt x="5258434" y="7960418"/>
                </a:cubicBezTo>
                <a:cubicBezTo>
                  <a:pt x="5252806" y="7955359"/>
                  <a:pt x="5248414" y="7953448"/>
                  <a:pt x="5240864" y="7952776"/>
                </a:cubicBezTo>
                <a:cubicBezTo>
                  <a:pt x="5239629" y="7949626"/>
                  <a:pt x="5235236" y="7947715"/>
                  <a:pt x="5230844" y="7945805"/>
                </a:cubicBezTo>
                <a:cubicBezTo>
                  <a:pt x="5229609" y="7942656"/>
                  <a:pt x="5229609" y="7942656"/>
                  <a:pt x="5229609" y="7942656"/>
                </a:cubicBezTo>
                <a:cubicBezTo>
                  <a:pt x="5229749" y="7924434"/>
                  <a:pt x="5215883" y="7926238"/>
                  <a:pt x="5205176" y="7926805"/>
                </a:cubicBezTo>
                <a:cubicBezTo>
                  <a:pt x="5202019" y="7928043"/>
                  <a:pt x="5198861" y="7929281"/>
                  <a:pt x="5194469" y="7927370"/>
                </a:cubicBezTo>
                <a:lnTo>
                  <a:pt x="5193234" y="7924221"/>
                </a:lnTo>
                <a:cubicBezTo>
                  <a:pt x="5191999" y="7921072"/>
                  <a:pt x="5190764" y="7917922"/>
                  <a:pt x="5189529" y="7914774"/>
                </a:cubicBezTo>
                <a:cubicBezTo>
                  <a:pt x="5189529" y="7914774"/>
                  <a:pt x="5186371" y="7916012"/>
                  <a:pt x="5186371" y="7916012"/>
                </a:cubicBezTo>
                <a:cubicBezTo>
                  <a:pt x="5183214" y="7917251"/>
                  <a:pt x="5181979" y="7914101"/>
                  <a:pt x="5178821" y="7915339"/>
                </a:cubicBezTo>
                <a:cubicBezTo>
                  <a:pt x="5176351" y="7909041"/>
                  <a:pt x="5168801" y="7908370"/>
                  <a:pt x="5164409" y="7906458"/>
                </a:cubicBezTo>
                <a:cubicBezTo>
                  <a:pt x="5160016" y="7904548"/>
                  <a:pt x="5155624" y="7902637"/>
                  <a:pt x="5152467" y="7903875"/>
                </a:cubicBezTo>
                <a:cubicBezTo>
                  <a:pt x="5146839" y="7898816"/>
                  <a:pt x="5139976" y="7890607"/>
                  <a:pt x="5129269" y="7891173"/>
                </a:cubicBezTo>
                <a:cubicBezTo>
                  <a:pt x="5126800" y="7884875"/>
                  <a:pt x="5122406" y="7882964"/>
                  <a:pt x="5114857" y="7882292"/>
                </a:cubicBezTo>
                <a:cubicBezTo>
                  <a:pt x="5112388" y="7875994"/>
                  <a:pt x="5107995" y="7874083"/>
                  <a:pt x="5101679" y="7876559"/>
                </a:cubicBezTo>
                <a:cubicBezTo>
                  <a:pt x="5099209" y="7870261"/>
                  <a:pt x="5094818" y="7868351"/>
                  <a:pt x="5093582" y="7865202"/>
                </a:cubicBezTo>
                <a:cubicBezTo>
                  <a:pt x="5092347" y="7862052"/>
                  <a:pt x="5087955" y="7860142"/>
                  <a:pt x="5087955" y="7860142"/>
                </a:cubicBezTo>
                <a:cubicBezTo>
                  <a:pt x="5093035" y="7854516"/>
                  <a:pt x="5098114" y="7848891"/>
                  <a:pt x="5100037" y="7844503"/>
                </a:cubicBezTo>
                <a:cubicBezTo>
                  <a:pt x="5103195" y="7843265"/>
                  <a:pt x="5103195" y="7843265"/>
                  <a:pt x="5103195" y="7843265"/>
                </a:cubicBezTo>
                <a:cubicBezTo>
                  <a:pt x="5105117" y="7838878"/>
                  <a:pt x="5108275" y="7837640"/>
                  <a:pt x="5111432" y="7836401"/>
                </a:cubicBezTo>
                <a:cubicBezTo>
                  <a:pt x="5107727" y="7826954"/>
                  <a:pt x="5095784" y="7824371"/>
                  <a:pt x="5090158" y="7819311"/>
                </a:cubicBezTo>
                <a:cubicBezTo>
                  <a:pt x="5069430" y="7812907"/>
                  <a:pt x="5050625" y="7802114"/>
                  <a:pt x="5033056" y="7794472"/>
                </a:cubicBezTo>
                <a:cubicBezTo>
                  <a:pt x="5027427" y="7789412"/>
                  <a:pt x="5023035" y="7787501"/>
                  <a:pt x="5015485" y="7786829"/>
                </a:cubicBezTo>
                <a:cubicBezTo>
                  <a:pt x="5011093" y="7784918"/>
                  <a:pt x="5006700" y="7783008"/>
                  <a:pt x="5002308" y="7781097"/>
                </a:cubicBezTo>
                <a:cubicBezTo>
                  <a:pt x="4981174" y="7745785"/>
                  <a:pt x="4953583" y="7731172"/>
                  <a:pt x="4915146" y="7735346"/>
                </a:cubicBezTo>
                <a:cubicBezTo>
                  <a:pt x="4915694" y="7746031"/>
                  <a:pt x="4919399" y="7755479"/>
                  <a:pt x="4923103" y="7764925"/>
                </a:cubicBezTo>
                <a:cubicBezTo>
                  <a:pt x="4918711" y="7763015"/>
                  <a:pt x="4915553" y="7764253"/>
                  <a:pt x="4912396" y="7765492"/>
                </a:cubicBezTo>
                <a:cubicBezTo>
                  <a:pt x="4906221" y="7749746"/>
                  <a:pt x="4895513" y="7750312"/>
                  <a:pt x="4881649" y="7752116"/>
                </a:cubicBezTo>
                <a:cubicBezTo>
                  <a:pt x="4879179" y="7745818"/>
                  <a:pt x="4873551" y="7740759"/>
                  <a:pt x="4871082" y="7734461"/>
                </a:cubicBezTo>
                <a:cubicBezTo>
                  <a:pt x="4871082" y="7734461"/>
                  <a:pt x="4866689" y="7732550"/>
                  <a:pt x="4863531" y="7733788"/>
                </a:cubicBezTo>
                <a:cubicBezTo>
                  <a:pt x="4854746" y="7729967"/>
                  <a:pt x="4845961" y="7726145"/>
                  <a:pt x="4835254" y="7726711"/>
                </a:cubicBezTo>
                <a:cubicBezTo>
                  <a:pt x="4834019" y="7723562"/>
                  <a:pt x="4834019" y="7723562"/>
                  <a:pt x="4834019" y="7723562"/>
                </a:cubicBezTo>
                <a:cubicBezTo>
                  <a:pt x="4832784" y="7720413"/>
                  <a:pt x="4831550" y="7717264"/>
                  <a:pt x="4828392" y="7718502"/>
                </a:cubicBezTo>
                <a:cubicBezTo>
                  <a:pt x="4827156" y="7715353"/>
                  <a:pt x="4827156" y="7715353"/>
                  <a:pt x="4827156" y="7715353"/>
                </a:cubicBezTo>
                <a:cubicBezTo>
                  <a:pt x="4827844" y="7707817"/>
                  <a:pt x="4825374" y="7701519"/>
                  <a:pt x="4829219" y="7692744"/>
                </a:cubicBezTo>
                <a:cubicBezTo>
                  <a:pt x="4829219" y="7692744"/>
                  <a:pt x="4827984" y="7689595"/>
                  <a:pt x="4831141" y="7688356"/>
                </a:cubicBezTo>
                <a:cubicBezTo>
                  <a:pt x="4826889" y="7668224"/>
                  <a:pt x="4814399" y="7654955"/>
                  <a:pt x="4792984" y="7656087"/>
                </a:cubicBezTo>
                <a:cubicBezTo>
                  <a:pt x="4785434" y="7655415"/>
                  <a:pt x="4778572" y="7647206"/>
                  <a:pt x="4769099" y="7650921"/>
                </a:cubicBezTo>
                <a:cubicBezTo>
                  <a:pt x="4767865" y="7647773"/>
                  <a:pt x="4763472" y="7645861"/>
                  <a:pt x="4762237" y="7642712"/>
                </a:cubicBezTo>
                <a:cubicBezTo>
                  <a:pt x="4759080" y="7643951"/>
                  <a:pt x="4759080" y="7643951"/>
                  <a:pt x="4755922" y="7645189"/>
                </a:cubicBezTo>
                <a:cubicBezTo>
                  <a:pt x="4752765" y="7646427"/>
                  <a:pt x="4749607" y="7647666"/>
                  <a:pt x="4746449" y="7648904"/>
                </a:cubicBezTo>
                <a:cubicBezTo>
                  <a:pt x="4750154" y="7658351"/>
                  <a:pt x="4755235" y="7652726"/>
                  <a:pt x="4762785" y="7653398"/>
                </a:cubicBezTo>
                <a:cubicBezTo>
                  <a:pt x="4765942" y="7652159"/>
                  <a:pt x="4765942" y="7652159"/>
                  <a:pt x="4765942" y="7652159"/>
                </a:cubicBezTo>
                <a:cubicBezTo>
                  <a:pt x="4767177" y="7655309"/>
                  <a:pt x="4768412" y="7658457"/>
                  <a:pt x="4768412" y="7658457"/>
                </a:cubicBezTo>
                <a:cubicBezTo>
                  <a:pt x="4770882" y="7664755"/>
                  <a:pt x="4772117" y="7667905"/>
                  <a:pt x="4774587" y="7674203"/>
                </a:cubicBezTo>
                <a:cubicBezTo>
                  <a:pt x="4771430" y="7675441"/>
                  <a:pt x="4768272" y="7676679"/>
                  <a:pt x="4765115" y="7677918"/>
                </a:cubicBezTo>
                <a:cubicBezTo>
                  <a:pt x="4766350" y="7681067"/>
                  <a:pt x="4766350" y="7681067"/>
                  <a:pt x="4763192" y="7682305"/>
                </a:cubicBezTo>
                <a:cubicBezTo>
                  <a:pt x="4758799" y="7680394"/>
                  <a:pt x="4758799" y="7680394"/>
                  <a:pt x="4755642" y="7681633"/>
                </a:cubicBezTo>
                <a:lnTo>
                  <a:pt x="4752485" y="7682871"/>
                </a:lnTo>
                <a:cubicBezTo>
                  <a:pt x="4748092" y="7680960"/>
                  <a:pt x="4742464" y="7675900"/>
                  <a:pt x="4741229" y="7672752"/>
                </a:cubicBezTo>
                <a:cubicBezTo>
                  <a:pt x="4738760" y="7666454"/>
                  <a:pt x="4737525" y="7663304"/>
                  <a:pt x="4731210" y="7665781"/>
                </a:cubicBezTo>
                <a:cubicBezTo>
                  <a:pt x="4726817" y="7663871"/>
                  <a:pt x="4724347" y="7657572"/>
                  <a:pt x="4723112" y="7654423"/>
                </a:cubicBezTo>
                <a:cubicBezTo>
                  <a:pt x="4720642" y="7648125"/>
                  <a:pt x="4723253" y="7636201"/>
                  <a:pt x="4720783" y="7629903"/>
                </a:cubicBezTo>
                <a:cubicBezTo>
                  <a:pt x="4719548" y="7626754"/>
                  <a:pt x="4719548" y="7626754"/>
                  <a:pt x="4718313" y="7623605"/>
                </a:cubicBezTo>
                <a:cubicBezTo>
                  <a:pt x="4707605" y="7624171"/>
                  <a:pt x="4699508" y="7612813"/>
                  <a:pt x="4690723" y="7608992"/>
                </a:cubicBezTo>
                <a:cubicBezTo>
                  <a:pt x="4687565" y="7610230"/>
                  <a:pt x="4685643" y="7614618"/>
                  <a:pt x="4685643" y="7614618"/>
                </a:cubicBezTo>
                <a:cubicBezTo>
                  <a:pt x="4680563" y="7620243"/>
                  <a:pt x="4675483" y="7625869"/>
                  <a:pt x="4669168" y="7628345"/>
                </a:cubicBezTo>
                <a:cubicBezTo>
                  <a:pt x="4669168" y="7628345"/>
                  <a:pt x="4666010" y="7629584"/>
                  <a:pt x="4662852" y="7630822"/>
                </a:cubicBezTo>
                <a:cubicBezTo>
                  <a:pt x="4660383" y="7624524"/>
                  <a:pt x="4654068" y="7627001"/>
                  <a:pt x="4646518" y="7626328"/>
                </a:cubicBezTo>
                <a:cubicBezTo>
                  <a:pt x="4645283" y="7623179"/>
                  <a:pt x="4642813" y="7616881"/>
                  <a:pt x="4641578" y="7613732"/>
                </a:cubicBezTo>
                <a:cubicBezTo>
                  <a:pt x="4640343" y="7610583"/>
                  <a:pt x="4637873" y="7604285"/>
                  <a:pt x="4636638" y="7601136"/>
                </a:cubicBezTo>
                <a:cubicBezTo>
                  <a:pt x="4635403" y="7597987"/>
                  <a:pt x="4635403" y="7597987"/>
                  <a:pt x="4634168" y="7594838"/>
                </a:cubicBezTo>
                <a:cubicBezTo>
                  <a:pt x="4638561" y="7596748"/>
                  <a:pt x="4644876" y="7594272"/>
                  <a:pt x="4649268" y="7596183"/>
                </a:cubicBezTo>
                <a:cubicBezTo>
                  <a:pt x="4649268" y="7596183"/>
                  <a:pt x="4652425" y="7594944"/>
                  <a:pt x="4652425" y="7594944"/>
                </a:cubicBezTo>
                <a:cubicBezTo>
                  <a:pt x="4655583" y="7593706"/>
                  <a:pt x="4657505" y="7589319"/>
                  <a:pt x="4649408" y="7577961"/>
                </a:cubicBezTo>
                <a:cubicBezTo>
                  <a:pt x="4643093" y="7580438"/>
                  <a:pt x="4632386" y="7581003"/>
                  <a:pt x="4634168" y="7594838"/>
                </a:cubicBezTo>
                <a:cubicBezTo>
                  <a:pt x="4617693" y="7608566"/>
                  <a:pt x="4599576" y="7590238"/>
                  <a:pt x="4585711" y="7592042"/>
                </a:cubicBezTo>
                <a:lnTo>
                  <a:pt x="4583241" y="7585744"/>
                </a:lnTo>
                <a:cubicBezTo>
                  <a:pt x="4581319" y="7590131"/>
                  <a:pt x="4581319" y="7590131"/>
                  <a:pt x="4578161" y="7591369"/>
                </a:cubicBezTo>
                <a:cubicBezTo>
                  <a:pt x="4576926" y="7588220"/>
                  <a:pt x="4572534" y="7586309"/>
                  <a:pt x="4571299" y="7583160"/>
                </a:cubicBezTo>
                <a:cubicBezTo>
                  <a:pt x="4570064" y="7580011"/>
                  <a:pt x="4565671" y="7578101"/>
                  <a:pt x="4564436" y="7574952"/>
                </a:cubicBezTo>
                <a:cubicBezTo>
                  <a:pt x="4552494" y="7572369"/>
                  <a:pt x="4543161" y="7557862"/>
                  <a:pt x="4529297" y="7559666"/>
                </a:cubicBezTo>
                <a:cubicBezTo>
                  <a:pt x="4526139" y="7560905"/>
                  <a:pt x="4526139" y="7560905"/>
                  <a:pt x="4526139" y="7560905"/>
                </a:cubicBezTo>
                <a:cubicBezTo>
                  <a:pt x="4526139" y="7560905"/>
                  <a:pt x="4524904" y="7557755"/>
                  <a:pt x="4520512" y="7555844"/>
                </a:cubicBezTo>
                <a:cubicBezTo>
                  <a:pt x="4514884" y="7550785"/>
                  <a:pt x="4506099" y="7546963"/>
                  <a:pt x="4502394" y="7537516"/>
                </a:cubicBezTo>
                <a:cubicBezTo>
                  <a:pt x="4502394" y="7537516"/>
                  <a:pt x="4504317" y="7533129"/>
                  <a:pt x="4504317" y="7533129"/>
                </a:cubicBezTo>
                <a:cubicBezTo>
                  <a:pt x="4507474" y="7531891"/>
                  <a:pt x="4509397" y="7527503"/>
                  <a:pt x="4511319" y="7523116"/>
                </a:cubicBezTo>
                <a:cubicBezTo>
                  <a:pt x="4514476" y="7521878"/>
                  <a:pt x="4517634" y="7520639"/>
                  <a:pt x="4516399" y="7517490"/>
                </a:cubicBezTo>
                <a:cubicBezTo>
                  <a:pt x="4511459" y="7504894"/>
                  <a:pt x="4499517" y="7502311"/>
                  <a:pt x="4488809" y="7502877"/>
                </a:cubicBezTo>
                <a:cubicBezTo>
                  <a:pt x="4490044" y="7506026"/>
                  <a:pt x="4491279" y="7509175"/>
                  <a:pt x="4492514" y="7512324"/>
                </a:cubicBezTo>
                <a:cubicBezTo>
                  <a:pt x="4496219" y="7521771"/>
                  <a:pt x="4498689" y="7528069"/>
                  <a:pt x="4502394" y="7537516"/>
                </a:cubicBezTo>
                <a:cubicBezTo>
                  <a:pt x="4499236" y="7538755"/>
                  <a:pt x="4498001" y="7535606"/>
                  <a:pt x="4494844" y="7536844"/>
                </a:cubicBezTo>
                <a:cubicBezTo>
                  <a:pt x="4494844" y="7536844"/>
                  <a:pt x="4491687" y="7538082"/>
                  <a:pt x="4491687" y="7538082"/>
                </a:cubicBezTo>
                <a:cubicBezTo>
                  <a:pt x="4487294" y="7536172"/>
                  <a:pt x="4482902" y="7534261"/>
                  <a:pt x="4475352" y="7533588"/>
                </a:cubicBezTo>
                <a:cubicBezTo>
                  <a:pt x="4474117" y="7530439"/>
                  <a:pt x="4474117" y="7530439"/>
                  <a:pt x="4472882" y="7527290"/>
                </a:cubicBezTo>
                <a:cubicBezTo>
                  <a:pt x="4467254" y="7522230"/>
                  <a:pt x="4461626" y="7517171"/>
                  <a:pt x="4454077" y="7516498"/>
                </a:cubicBezTo>
                <a:cubicBezTo>
                  <a:pt x="4450919" y="7517737"/>
                  <a:pt x="4450919" y="7517737"/>
                  <a:pt x="4447762" y="7518975"/>
                </a:cubicBezTo>
                <a:cubicBezTo>
                  <a:pt x="4446527" y="7515826"/>
                  <a:pt x="4446527" y="7515826"/>
                  <a:pt x="4445292" y="7512677"/>
                </a:cubicBezTo>
                <a:cubicBezTo>
                  <a:pt x="4445292" y="7512677"/>
                  <a:pt x="4444057" y="7509528"/>
                  <a:pt x="4444057" y="7509528"/>
                </a:cubicBezTo>
                <a:cubicBezTo>
                  <a:pt x="4444057" y="7509528"/>
                  <a:pt x="4444057" y="7509528"/>
                  <a:pt x="4440899" y="7510766"/>
                </a:cubicBezTo>
                <a:cubicBezTo>
                  <a:pt x="4437742" y="7512005"/>
                  <a:pt x="4434585" y="7513243"/>
                  <a:pt x="4434585" y="7513243"/>
                </a:cubicBezTo>
                <a:cubicBezTo>
                  <a:pt x="4430879" y="7503795"/>
                  <a:pt x="4422094" y="7499974"/>
                  <a:pt x="4416467" y="7494914"/>
                </a:cubicBezTo>
                <a:cubicBezTo>
                  <a:pt x="4410840" y="7489855"/>
                  <a:pt x="4405212" y="7484795"/>
                  <a:pt x="4405900" y="7477259"/>
                </a:cubicBezTo>
                <a:cubicBezTo>
                  <a:pt x="4399584" y="7479735"/>
                  <a:pt x="4396428" y="7480974"/>
                  <a:pt x="4393270" y="7482212"/>
                </a:cubicBezTo>
                <a:cubicBezTo>
                  <a:pt x="4388877" y="7480301"/>
                  <a:pt x="4385720" y="7481540"/>
                  <a:pt x="4382562" y="7482778"/>
                </a:cubicBezTo>
                <a:cubicBezTo>
                  <a:pt x="4381327" y="7479629"/>
                  <a:pt x="4373777" y="7478956"/>
                  <a:pt x="4369385" y="7477045"/>
                </a:cubicBezTo>
                <a:cubicBezTo>
                  <a:pt x="4363757" y="7471986"/>
                  <a:pt x="4358130" y="7466926"/>
                  <a:pt x="4355660" y="7460628"/>
                </a:cubicBezTo>
                <a:cubicBezTo>
                  <a:pt x="4350033" y="7455568"/>
                  <a:pt x="4346328" y="7446121"/>
                  <a:pt x="4340700" y="7441061"/>
                </a:cubicBezTo>
                <a:cubicBezTo>
                  <a:pt x="4338230" y="7434763"/>
                  <a:pt x="4332602" y="7429704"/>
                  <a:pt x="4323818" y="7425882"/>
                </a:cubicBezTo>
                <a:cubicBezTo>
                  <a:pt x="4325601" y="7439716"/>
                  <a:pt x="4313658" y="7437133"/>
                  <a:pt x="4307343" y="7439610"/>
                </a:cubicBezTo>
                <a:cubicBezTo>
                  <a:pt x="4301716" y="7434550"/>
                  <a:pt x="4297323" y="7432640"/>
                  <a:pt x="4291008" y="7435116"/>
                </a:cubicBezTo>
                <a:cubicBezTo>
                  <a:pt x="4288538" y="7428818"/>
                  <a:pt x="4284145" y="7426908"/>
                  <a:pt x="4279753" y="7424996"/>
                </a:cubicBezTo>
                <a:cubicBezTo>
                  <a:pt x="4283051" y="7405537"/>
                  <a:pt x="4268639" y="7396656"/>
                  <a:pt x="4254225" y="7387774"/>
                </a:cubicBezTo>
                <a:cubicBezTo>
                  <a:pt x="4243239" y="7424783"/>
                  <a:pt x="4226496" y="7391383"/>
                  <a:pt x="4215788" y="7391949"/>
                </a:cubicBezTo>
                <a:cubicBezTo>
                  <a:pt x="4211158" y="7380140"/>
                  <a:pt x="4193707" y="7377446"/>
                  <a:pt x="4187474" y="7366777"/>
                </a:cubicBezTo>
                <a:lnTo>
                  <a:pt x="4186276" y="7356359"/>
                </a:lnTo>
                <a:lnTo>
                  <a:pt x="4187104" y="7355964"/>
                </a:lnTo>
                <a:lnTo>
                  <a:pt x="4185869" y="7352815"/>
                </a:lnTo>
                <a:lnTo>
                  <a:pt x="4186276" y="7356359"/>
                </a:lnTo>
                <a:lnTo>
                  <a:pt x="4176361" y="7361086"/>
                </a:lnTo>
                <a:cubicBezTo>
                  <a:pt x="4172106" y="7361846"/>
                  <a:pt x="4167542" y="7361820"/>
                  <a:pt x="4163767" y="7361484"/>
                </a:cubicBezTo>
                <a:cubicBezTo>
                  <a:pt x="4160062" y="7352037"/>
                  <a:pt x="4154434" y="7346977"/>
                  <a:pt x="4143727" y="7347543"/>
                </a:cubicBezTo>
                <a:cubicBezTo>
                  <a:pt x="4132472" y="7337423"/>
                  <a:pt x="4162124" y="7329427"/>
                  <a:pt x="4147712" y="7320546"/>
                </a:cubicBezTo>
                <a:cubicBezTo>
                  <a:pt x="4139615" y="7309189"/>
                  <a:pt x="4128360" y="7299069"/>
                  <a:pt x="4111337" y="7302111"/>
                </a:cubicBezTo>
                <a:lnTo>
                  <a:pt x="4108180" y="7303350"/>
                </a:lnTo>
                <a:lnTo>
                  <a:pt x="4103787" y="7301439"/>
                </a:lnTo>
                <a:cubicBezTo>
                  <a:pt x="4106944" y="7300201"/>
                  <a:pt x="4105709" y="7297052"/>
                  <a:pt x="4101317" y="7295141"/>
                </a:cubicBezTo>
                <a:cubicBezTo>
                  <a:pt x="4103239" y="7290754"/>
                  <a:pt x="4103927" y="7283217"/>
                  <a:pt x="4103927" y="7283217"/>
                </a:cubicBezTo>
                <a:cubicBezTo>
                  <a:pt x="4098300" y="7278158"/>
                  <a:pt x="4097612" y="7285694"/>
                  <a:pt x="4095689" y="7290081"/>
                </a:cubicBezTo>
                <a:cubicBezTo>
                  <a:pt x="4084982" y="7290647"/>
                  <a:pt x="4081965" y="7273664"/>
                  <a:pt x="4069334" y="7278617"/>
                </a:cubicBezTo>
                <a:cubicBezTo>
                  <a:pt x="4063707" y="7273557"/>
                  <a:pt x="4053000" y="7274123"/>
                  <a:pt x="4049294" y="7264676"/>
                </a:cubicBezTo>
                <a:cubicBezTo>
                  <a:pt x="4047372" y="7269063"/>
                  <a:pt x="4048607" y="7272212"/>
                  <a:pt x="4048607" y="7272212"/>
                </a:cubicBezTo>
                <a:cubicBezTo>
                  <a:pt x="4051078" y="7278510"/>
                  <a:pt x="4055470" y="7280421"/>
                  <a:pt x="4059863" y="7282332"/>
                </a:cubicBezTo>
                <a:cubicBezTo>
                  <a:pt x="4061098" y="7285481"/>
                  <a:pt x="4061098" y="7285481"/>
                  <a:pt x="4061098" y="7285481"/>
                </a:cubicBezTo>
                <a:cubicBezTo>
                  <a:pt x="4062333" y="7288630"/>
                  <a:pt x="4063568" y="7291779"/>
                  <a:pt x="4063568" y="7291779"/>
                </a:cubicBezTo>
                <a:cubicBezTo>
                  <a:pt x="4060409" y="7293017"/>
                  <a:pt x="4054095" y="7295494"/>
                  <a:pt x="4050937" y="7296732"/>
                </a:cubicBezTo>
                <a:cubicBezTo>
                  <a:pt x="4047780" y="7297971"/>
                  <a:pt x="4044623" y="7299209"/>
                  <a:pt x="4041465" y="7300447"/>
                </a:cubicBezTo>
                <a:lnTo>
                  <a:pt x="4038308" y="7301685"/>
                </a:lnTo>
                <a:cubicBezTo>
                  <a:pt x="4037073" y="7298536"/>
                  <a:pt x="4032680" y="7296626"/>
                  <a:pt x="4028288" y="7294715"/>
                </a:cubicBezTo>
                <a:lnTo>
                  <a:pt x="4025130" y="7295953"/>
                </a:lnTo>
                <a:cubicBezTo>
                  <a:pt x="4027053" y="7291566"/>
                  <a:pt x="4025818" y="7288417"/>
                  <a:pt x="4021425" y="7286506"/>
                </a:cubicBezTo>
                <a:cubicBezTo>
                  <a:pt x="4018268" y="7287744"/>
                  <a:pt x="4015111" y="7288983"/>
                  <a:pt x="4011953" y="7290221"/>
                </a:cubicBezTo>
                <a:cubicBezTo>
                  <a:pt x="4009483" y="7283923"/>
                  <a:pt x="4005090" y="7282012"/>
                  <a:pt x="3997541" y="7281340"/>
                </a:cubicBezTo>
                <a:cubicBezTo>
                  <a:pt x="3993148" y="7279429"/>
                  <a:pt x="3987521" y="7274370"/>
                  <a:pt x="3984363" y="7275608"/>
                </a:cubicBezTo>
                <a:cubicBezTo>
                  <a:pt x="3978736" y="7270548"/>
                  <a:pt x="3973108" y="7265488"/>
                  <a:pt x="3968716" y="7263577"/>
                </a:cubicBezTo>
                <a:lnTo>
                  <a:pt x="3967481" y="7260428"/>
                </a:lnTo>
                <a:lnTo>
                  <a:pt x="3963088" y="7258518"/>
                </a:lnTo>
                <a:cubicBezTo>
                  <a:pt x="3960618" y="7252220"/>
                  <a:pt x="3956225" y="7250309"/>
                  <a:pt x="3948676" y="7249637"/>
                </a:cubicBezTo>
                <a:cubicBezTo>
                  <a:pt x="3939891" y="7245815"/>
                  <a:pt x="3931106" y="7241994"/>
                  <a:pt x="3919164" y="7239410"/>
                </a:cubicBezTo>
                <a:cubicBezTo>
                  <a:pt x="3916693" y="7233112"/>
                  <a:pt x="3912301" y="7231202"/>
                  <a:pt x="3907908" y="7229291"/>
                </a:cubicBezTo>
                <a:cubicBezTo>
                  <a:pt x="3903516" y="7227380"/>
                  <a:pt x="3902281" y="7224231"/>
                  <a:pt x="3901046" y="7221082"/>
                </a:cubicBezTo>
                <a:cubicBezTo>
                  <a:pt x="3897888" y="7222321"/>
                  <a:pt x="3894731" y="7223559"/>
                  <a:pt x="3891574" y="7224797"/>
                </a:cubicBezTo>
                <a:cubicBezTo>
                  <a:pt x="3885946" y="7219738"/>
                  <a:pt x="3881554" y="7217827"/>
                  <a:pt x="3877161" y="7215916"/>
                </a:cubicBezTo>
                <a:cubicBezTo>
                  <a:pt x="3871534" y="7210856"/>
                  <a:pt x="3865906" y="7205796"/>
                  <a:pt x="3857121" y="7201975"/>
                </a:cubicBezTo>
                <a:cubicBezTo>
                  <a:pt x="3854652" y="7195677"/>
                  <a:pt x="3850259" y="7193766"/>
                  <a:pt x="3843944" y="7196243"/>
                </a:cubicBezTo>
                <a:cubicBezTo>
                  <a:pt x="3838316" y="7191183"/>
                  <a:pt x="3833925" y="7189272"/>
                  <a:pt x="3826374" y="7188600"/>
                </a:cubicBezTo>
                <a:lnTo>
                  <a:pt x="3813694" y="7180786"/>
                </a:lnTo>
                <a:lnTo>
                  <a:pt x="3819316" y="7157248"/>
                </a:lnTo>
                <a:cubicBezTo>
                  <a:pt x="3822349" y="7138857"/>
                  <a:pt x="3814782" y="7140462"/>
                  <a:pt x="3784512" y="7146883"/>
                </a:cubicBezTo>
                <a:cubicBezTo>
                  <a:pt x="3778197" y="7149360"/>
                  <a:pt x="3771882" y="7151837"/>
                  <a:pt x="3764332" y="7151164"/>
                </a:cubicBezTo>
                <a:cubicBezTo>
                  <a:pt x="3758705" y="7146105"/>
                  <a:pt x="3754313" y="7144194"/>
                  <a:pt x="3747997" y="7146671"/>
                </a:cubicBezTo>
                <a:cubicBezTo>
                  <a:pt x="3746762" y="7143522"/>
                  <a:pt x="3745527" y="7140373"/>
                  <a:pt x="3744292" y="7137224"/>
                </a:cubicBezTo>
                <a:cubicBezTo>
                  <a:pt x="3741135" y="7138462"/>
                  <a:pt x="3741135" y="7138462"/>
                  <a:pt x="3737978" y="7139700"/>
                </a:cubicBezTo>
                <a:cubicBezTo>
                  <a:pt x="3737978" y="7139700"/>
                  <a:pt x="3734820" y="7140938"/>
                  <a:pt x="3734820" y="7140938"/>
                </a:cubicBezTo>
                <a:cubicBezTo>
                  <a:pt x="3729193" y="7135879"/>
                  <a:pt x="3727957" y="7132729"/>
                  <a:pt x="3720407" y="7132057"/>
                </a:cubicBezTo>
                <a:cubicBezTo>
                  <a:pt x="3719173" y="7128908"/>
                  <a:pt x="3719173" y="7128908"/>
                  <a:pt x="3719173" y="7128908"/>
                </a:cubicBezTo>
                <a:cubicBezTo>
                  <a:pt x="3719173" y="7128908"/>
                  <a:pt x="3717938" y="7125759"/>
                  <a:pt x="3713545" y="7123848"/>
                </a:cubicBezTo>
                <a:cubicBezTo>
                  <a:pt x="3710388" y="7125087"/>
                  <a:pt x="3707230" y="7126325"/>
                  <a:pt x="3707230" y="7126325"/>
                </a:cubicBezTo>
                <a:cubicBezTo>
                  <a:pt x="3699133" y="7114967"/>
                  <a:pt x="3687190" y="7112384"/>
                  <a:pt x="3676483" y="7112950"/>
                </a:cubicBezTo>
                <a:cubicBezTo>
                  <a:pt x="3666462" y="7105979"/>
                  <a:pt x="3659601" y="7097771"/>
                  <a:pt x="3649581" y="7090800"/>
                </a:cubicBezTo>
                <a:cubicBezTo>
                  <a:pt x="3649033" y="7080115"/>
                  <a:pt x="3657958" y="7065714"/>
                  <a:pt x="3644781" y="7059982"/>
                </a:cubicBezTo>
                <a:cubicBezTo>
                  <a:pt x="3630368" y="7051101"/>
                  <a:pt x="3630228" y="7069323"/>
                  <a:pt x="3621991" y="7076187"/>
                </a:cubicBezTo>
                <a:cubicBezTo>
                  <a:pt x="3613206" y="7072365"/>
                  <a:pt x="3605655" y="7071693"/>
                  <a:pt x="3596871" y="7067872"/>
                </a:cubicBezTo>
                <a:cubicBezTo>
                  <a:pt x="3587538" y="7053365"/>
                  <a:pt x="3568046" y="7050109"/>
                  <a:pt x="3550476" y="7042466"/>
                </a:cubicBezTo>
                <a:cubicBezTo>
                  <a:pt x="3548006" y="7036168"/>
                  <a:pt x="3542379" y="7031109"/>
                  <a:pt x="3536064" y="7033585"/>
                </a:cubicBezTo>
                <a:cubicBezTo>
                  <a:pt x="3530436" y="7028525"/>
                  <a:pt x="3526044" y="7026614"/>
                  <a:pt x="3519729" y="7029091"/>
                </a:cubicBezTo>
                <a:cubicBezTo>
                  <a:pt x="3517259" y="7022793"/>
                  <a:pt x="3512866" y="7020882"/>
                  <a:pt x="3505317" y="7020210"/>
                </a:cubicBezTo>
                <a:cubicBezTo>
                  <a:pt x="3499689" y="7015150"/>
                  <a:pt x="3495297" y="7013240"/>
                  <a:pt x="3488982" y="7015716"/>
                </a:cubicBezTo>
                <a:cubicBezTo>
                  <a:pt x="3486512" y="7009418"/>
                  <a:pt x="3482120" y="7007508"/>
                  <a:pt x="3474569" y="7006835"/>
                </a:cubicBezTo>
                <a:cubicBezTo>
                  <a:pt x="3472099" y="7000537"/>
                  <a:pt x="3467707" y="6998626"/>
                  <a:pt x="3460157" y="6997954"/>
                </a:cubicBezTo>
                <a:cubicBezTo>
                  <a:pt x="3458922" y="6994805"/>
                  <a:pt x="3458922" y="6994805"/>
                  <a:pt x="3451372" y="6994132"/>
                </a:cubicBezTo>
                <a:cubicBezTo>
                  <a:pt x="3437647" y="6977715"/>
                  <a:pt x="3416920" y="6971310"/>
                  <a:pt x="3396192" y="6964906"/>
                </a:cubicBezTo>
                <a:cubicBezTo>
                  <a:pt x="3394957" y="6961757"/>
                  <a:pt x="3389330" y="6956697"/>
                  <a:pt x="3383015" y="6959174"/>
                </a:cubicBezTo>
                <a:cubicBezTo>
                  <a:pt x="3380545" y="6952876"/>
                  <a:pt x="3376153" y="6950964"/>
                  <a:pt x="3368603" y="6950292"/>
                </a:cubicBezTo>
                <a:cubicBezTo>
                  <a:pt x="3358035" y="6932636"/>
                  <a:pt x="3337308" y="6926232"/>
                  <a:pt x="3317816" y="6922976"/>
                </a:cubicBezTo>
                <a:cubicBezTo>
                  <a:pt x="3316580" y="6919827"/>
                  <a:pt x="3310953" y="6914767"/>
                  <a:pt x="3304638" y="6917244"/>
                </a:cubicBezTo>
                <a:cubicBezTo>
                  <a:pt x="3294071" y="6899588"/>
                  <a:pt x="3277736" y="6895094"/>
                  <a:pt x="3259478" y="6894988"/>
                </a:cubicBezTo>
                <a:cubicBezTo>
                  <a:pt x="3258243" y="6891839"/>
                  <a:pt x="3253851" y="6889928"/>
                  <a:pt x="3246301" y="6889256"/>
                </a:cubicBezTo>
                <a:cubicBezTo>
                  <a:pt x="3240673" y="6884196"/>
                  <a:pt x="3239438" y="6881047"/>
                  <a:pt x="3236969" y="6874749"/>
                </a:cubicBezTo>
                <a:cubicBezTo>
                  <a:pt x="3233811" y="6875987"/>
                  <a:pt x="3230653" y="6877226"/>
                  <a:pt x="3230653" y="6877226"/>
                </a:cubicBezTo>
                <a:cubicBezTo>
                  <a:pt x="3230653" y="6877226"/>
                  <a:pt x="3230653" y="6877226"/>
                  <a:pt x="3227496" y="6878464"/>
                </a:cubicBezTo>
                <a:cubicBezTo>
                  <a:pt x="3227496" y="6878464"/>
                  <a:pt x="3226261" y="6875315"/>
                  <a:pt x="3226261" y="6875315"/>
                </a:cubicBezTo>
                <a:lnTo>
                  <a:pt x="3223104" y="6876553"/>
                </a:lnTo>
                <a:cubicBezTo>
                  <a:pt x="3223104" y="6876553"/>
                  <a:pt x="3218711" y="6874642"/>
                  <a:pt x="3218711" y="6874642"/>
                </a:cubicBezTo>
                <a:cubicBezTo>
                  <a:pt x="3214319" y="6872731"/>
                  <a:pt x="3209926" y="6870821"/>
                  <a:pt x="3204299" y="6865761"/>
                </a:cubicBezTo>
                <a:cubicBezTo>
                  <a:pt x="3204299" y="6865761"/>
                  <a:pt x="3199906" y="6863850"/>
                  <a:pt x="3195514" y="6861940"/>
                </a:cubicBezTo>
                <a:cubicBezTo>
                  <a:pt x="3194279" y="6858791"/>
                  <a:pt x="3194279" y="6858791"/>
                  <a:pt x="3194279" y="6858791"/>
                </a:cubicBezTo>
                <a:cubicBezTo>
                  <a:pt x="3193044" y="6855642"/>
                  <a:pt x="3191808" y="6852493"/>
                  <a:pt x="3191808" y="6852493"/>
                </a:cubicBezTo>
                <a:cubicBezTo>
                  <a:pt x="3187416" y="6850582"/>
                  <a:pt x="3184259" y="6851820"/>
                  <a:pt x="3181101" y="6853059"/>
                </a:cubicBezTo>
                <a:cubicBezTo>
                  <a:pt x="3178631" y="6846761"/>
                  <a:pt x="3174239" y="6844850"/>
                  <a:pt x="3167924" y="6847326"/>
                </a:cubicBezTo>
                <a:cubicBezTo>
                  <a:pt x="3162296" y="6842266"/>
                  <a:pt x="3156669" y="6837207"/>
                  <a:pt x="3150354" y="6839683"/>
                </a:cubicBezTo>
                <a:lnTo>
                  <a:pt x="3147884" y="6833385"/>
                </a:lnTo>
                <a:lnTo>
                  <a:pt x="3144727" y="6834624"/>
                </a:lnTo>
                <a:cubicBezTo>
                  <a:pt x="3142257" y="6828326"/>
                  <a:pt x="3137865" y="6826415"/>
                  <a:pt x="3134706" y="6827653"/>
                </a:cubicBezTo>
                <a:lnTo>
                  <a:pt x="3130314" y="6825743"/>
                </a:lnTo>
                <a:lnTo>
                  <a:pt x="3127157" y="6826981"/>
                </a:lnTo>
                <a:cubicBezTo>
                  <a:pt x="3120294" y="6818772"/>
                  <a:pt x="3114666" y="6813712"/>
                  <a:pt x="3102724" y="6811129"/>
                </a:cubicBezTo>
                <a:cubicBezTo>
                  <a:pt x="3100255" y="6804831"/>
                  <a:pt x="3095862" y="6802920"/>
                  <a:pt x="3089547" y="6805397"/>
                </a:cubicBezTo>
                <a:cubicBezTo>
                  <a:pt x="3081450" y="6794039"/>
                  <a:pt x="3072664" y="6790218"/>
                  <a:pt x="3058799" y="6792022"/>
                </a:cubicBezTo>
                <a:cubicBezTo>
                  <a:pt x="3056330" y="6785724"/>
                  <a:pt x="3051937" y="6783813"/>
                  <a:pt x="3045622" y="6786290"/>
                </a:cubicBezTo>
                <a:cubicBezTo>
                  <a:pt x="3031898" y="6769872"/>
                  <a:pt x="3017485" y="6760991"/>
                  <a:pt x="2997992" y="6757735"/>
                </a:cubicBezTo>
                <a:cubicBezTo>
                  <a:pt x="2991818" y="6741990"/>
                  <a:pt x="2983033" y="6738169"/>
                  <a:pt x="2966010" y="6741211"/>
                </a:cubicBezTo>
                <a:cubicBezTo>
                  <a:pt x="2963540" y="6734913"/>
                  <a:pt x="2959148" y="6733002"/>
                  <a:pt x="2953520" y="6727943"/>
                </a:cubicBezTo>
                <a:cubicBezTo>
                  <a:pt x="2935263" y="6727836"/>
                  <a:pt x="2922773" y="6714568"/>
                  <a:pt x="2906439" y="6710074"/>
                </a:cubicBezTo>
                <a:cubicBezTo>
                  <a:pt x="2903281" y="6711312"/>
                  <a:pt x="2903281" y="6711312"/>
                  <a:pt x="2902046" y="6708163"/>
                </a:cubicBezTo>
                <a:cubicBezTo>
                  <a:pt x="2900811" y="6705014"/>
                  <a:pt x="2895183" y="6699954"/>
                  <a:pt x="2888869" y="6702431"/>
                </a:cubicBezTo>
                <a:cubicBezTo>
                  <a:pt x="2888869" y="6702431"/>
                  <a:pt x="2887634" y="6699282"/>
                  <a:pt x="2887634" y="6699282"/>
                </a:cubicBezTo>
                <a:cubicBezTo>
                  <a:pt x="2886399" y="6696133"/>
                  <a:pt x="2885164" y="6692984"/>
                  <a:pt x="2885164" y="6692984"/>
                </a:cubicBezTo>
                <a:cubicBezTo>
                  <a:pt x="2880771" y="6691073"/>
                  <a:pt x="2877614" y="6692312"/>
                  <a:pt x="2874456" y="6693550"/>
                </a:cubicBezTo>
                <a:cubicBezTo>
                  <a:pt x="2856339" y="6675222"/>
                  <a:pt x="2843301" y="6651267"/>
                  <a:pt x="2810492" y="6660501"/>
                </a:cubicBezTo>
                <a:cubicBezTo>
                  <a:pt x="2801159" y="6645995"/>
                  <a:pt x="2787982" y="6640263"/>
                  <a:pt x="2774804" y="6634531"/>
                </a:cubicBezTo>
                <a:cubicBezTo>
                  <a:pt x="2774804" y="6634531"/>
                  <a:pt x="2771647" y="6635769"/>
                  <a:pt x="2771647" y="6635769"/>
                </a:cubicBezTo>
                <a:cubicBezTo>
                  <a:pt x="2771647" y="6635769"/>
                  <a:pt x="2769725" y="6640156"/>
                  <a:pt x="2769725" y="6640156"/>
                </a:cubicBezTo>
                <a:cubicBezTo>
                  <a:pt x="2769725" y="6640156"/>
                  <a:pt x="2766567" y="6641394"/>
                  <a:pt x="2766567" y="6641394"/>
                </a:cubicBezTo>
                <a:cubicBezTo>
                  <a:pt x="2764097" y="6635096"/>
                  <a:pt x="2764097" y="6635096"/>
                  <a:pt x="2762862" y="6631947"/>
                </a:cubicBezTo>
                <a:cubicBezTo>
                  <a:pt x="2758469" y="6630037"/>
                  <a:pt x="2757234" y="6626888"/>
                  <a:pt x="2752842" y="6624977"/>
                </a:cubicBezTo>
                <a:cubicBezTo>
                  <a:pt x="2748450" y="6623066"/>
                  <a:pt x="2742134" y="6625543"/>
                  <a:pt x="2737742" y="6623632"/>
                </a:cubicBezTo>
                <a:cubicBezTo>
                  <a:pt x="2733350" y="6621721"/>
                  <a:pt x="2730880" y="6615423"/>
                  <a:pt x="2729645" y="6612274"/>
                </a:cubicBezTo>
                <a:cubicBezTo>
                  <a:pt x="2730332" y="6604738"/>
                  <a:pt x="2729097" y="6601589"/>
                  <a:pt x="2729784" y="6594052"/>
                </a:cubicBezTo>
                <a:cubicBezTo>
                  <a:pt x="2728549" y="6590903"/>
                  <a:pt x="2730472" y="6586516"/>
                  <a:pt x="2729237" y="6583367"/>
                </a:cubicBezTo>
                <a:cubicBezTo>
                  <a:pt x="2724845" y="6581456"/>
                  <a:pt x="2720452" y="6579546"/>
                  <a:pt x="2714825" y="6574486"/>
                </a:cubicBezTo>
                <a:cubicBezTo>
                  <a:pt x="2712902" y="6578873"/>
                  <a:pt x="2709745" y="6580112"/>
                  <a:pt x="2706587" y="6581350"/>
                </a:cubicBezTo>
                <a:cubicBezTo>
                  <a:pt x="2701508" y="6586975"/>
                  <a:pt x="2693957" y="6586303"/>
                  <a:pt x="2687643" y="6588780"/>
                </a:cubicBezTo>
                <a:cubicBezTo>
                  <a:pt x="2683250" y="6586869"/>
                  <a:pt x="2676935" y="6589346"/>
                  <a:pt x="2673778" y="6590584"/>
                </a:cubicBezTo>
                <a:cubicBezTo>
                  <a:pt x="2671308" y="6584286"/>
                  <a:pt x="2666915" y="6582375"/>
                  <a:pt x="2659365" y="6581702"/>
                </a:cubicBezTo>
                <a:cubicBezTo>
                  <a:pt x="2659365" y="6581702"/>
                  <a:pt x="2662523" y="6580464"/>
                  <a:pt x="2661288" y="6577315"/>
                </a:cubicBezTo>
                <a:cubicBezTo>
                  <a:pt x="2661976" y="6569779"/>
                  <a:pt x="2667055" y="6564153"/>
                  <a:pt x="2675840" y="6567975"/>
                </a:cubicBezTo>
                <a:cubicBezTo>
                  <a:pt x="2686547" y="6567409"/>
                  <a:pt x="2679685" y="6559200"/>
                  <a:pt x="2678450" y="6556051"/>
                </a:cubicBezTo>
                <a:cubicBezTo>
                  <a:pt x="2678450" y="6556051"/>
                  <a:pt x="2677215" y="6552902"/>
                  <a:pt x="2674058" y="6554140"/>
                </a:cubicBezTo>
                <a:cubicBezTo>
                  <a:pt x="2674058" y="6554140"/>
                  <a:pt x="2670900" y="6555379"/>
                  <a:pt x="2669666" y="6552230"/>
                </a:cubicBezTo>
                <a:cubicBezTo>
                  <a:pt x="2669666" y="6552230"/>
                  <a:pt x="2665273" y="6550319"/>
                  <a:pt x="2664038" y="6547170"/>
                </a:cubicBezTo>
                <a:cubicBezTo>
                  <a:pt x="2651408" y="6552123"/>
                  <a:pt x="2645640" y="6565285"/>
                  <a:pt x="2636168" y="6569000"/>
                </a:cubicBezTo>
                <a:cubicBezTo>
                  <a:pt x="2633010" y="6570238"/>
                  <a:pt x="2633010" y="6570238"/>
                  <a:pt x="2628618" y="6568328"/>
                </a:cubicBezTo>
                <a:cubicBezTo>
                  <a:pt x="2627383" y="6565179"/>
                  <a:pt x="2622990" y="6563268"/>
                  <a:pt x="2615441" y="6562596"/>
                </a:cubicBezTo>
                <a:cubicBezTo>
                  <a:pt x="2614206" y="6559447"/>
                  <a:pt x="2612970" y="6556297"/>
                  <a:pt x="2612970" y="6556297"/>
                </a:cubicBezTo>
                <a:cubicBezTo>
                  <a:pt x="2610501" y="6549999"/>
                  <a:pt x="2606108" y="6548088"/>
                  <a:pt x="2601716" y="6546178"/>
                </a:cubicBezTo>
                <a:cubicBezTo>
                  <a:pt x="2598558" y="6547416"/>
                  <a:pt x="2598558" y="6547416"/>
                  <a:pt x="2595401" y="6548654"/>
                </a:cubicBezTo>
                <a:cubicBezTo>
                  <a:pt x="2591008" y="6546744"/>
                  <a:pt x="2586616" y="6544833"/>
                  <a:pt x="2579066" y="6544161"/>
                </a:cubicBezTo>
                <a:cubicBezTo>
                  <a:pt x="2576596" y="6537863"/>
                  <a:pt x="2575361" y="6534714"/>
                  <a:pt x="2574126" y="6531565"/>
                </a:cubicBezTo>
                <a:cubicBezTo>
                  <a:pt x="2568498" y="6526505"/>
                  <a:pt x="2564106" y="6524594"/>
                  <a:pt x="2556556" y="6523921"/>
                </a:cubicBezTo>
                <a:cubicBezTo>
                  <a:pt x="2553398" y="6525160"/>
                  <a:pt x="2553398" y="6525160"/>
                  <a:pt x="2550241" y="6526398"/>
                </a:cubicBezTo>
                <a:cubicBezTo>
                  <a:pt x="2550241" y="6526398"/>
                  <a:pt x="2549006" y="6523249"/>
                  <a:pt x="2549006" y="6523249"/>
                </a:cubicBezTo>
                <a:cubicBezTo>
                  <a:pt x="2537751" y="6513130"/>
                  <a:pt x="2532124" y="6508070"/>
                  <a:pt x="2530341" y="6494235"/>
                </a:cubicBezTo>
                <a:cubicBezTo>
                  <a:pt x="2531029" y="6486699"/>
                  <a:pt x="2529794" y="6483550"/>
                  <a:pt x="2527324" y="6477252"/>
                </a:cubicBezTo>
                <a:cubicBezTo>
                  <a:pt x="2515382" y="6474669"/>
                  <a:pt x="2502204" y="6468937"/>
                  <a:pt x="2494106" y="6457579"/>
                </a:cubicBezTo>
                <a:cubicBezTo>
                  <a:pt x="2494106" y="6457579"/>
                  <a:pt x="2490949" y="6458817"/>
                  <a:pt x="2490949" y="6458817"/>
                </a:cubicBezTo>
                <a:cubicBezTo>
                  <a:pt x="2483399" y="6458145"/>
                  <a:pt x="2480242" y="6459383"/>
                  <a:pt x="2473927" y="6461860"/>
                </a:cubicBezTo>
                <a:cubicBezTo>
                  <a:pt x="2475162" y="6465009"/>
                  <a:pt x="2476397" y="6468158"/>
                  <a:pt x="2477632" y="6471307"/>
                </a:cubicBezTo>
                <a:cubicBezTo>
                  <a:pt x="2487652" y="6478277"/>
                  <a:pt x="2505909" y="6478384"/>
                  <a:pt x="2489434" y="6492112"/>
                </a:cubicBezTo>
                <a:cubicBezTo>
                  <a:pt x="2489434" y="6492112"/>
                  <a:pt x="2486277" y="6493350"/>
                  <a:pt x="2486277" y="6493350"/>
                </a:cubicBezTo>
                <a:cubicBezTo>
                  <a:pt x="2486277" y="6493350"/>
                  <a:pt x="2486277" y="6493350"/>
                  <a:pt x="2485042" y="6490201"/>
                </a:cubicBezTo>
                <a:cubicBezTo>
                  <a:pt x="2480649" y="6488290"/>
                  <a:pt x="2476257" y="6486380"/>
                  <a:pt x="2473099" y="6487618"/>
                </a:cubicBezTo>
                <a:cubicBezTo>
                  <a:pt x="2471864" y="6484469"/>
                  <a:pt x="2470630" y="6481320"/>
                  <a:pt x="2467472" y="6482558"/>
                </a:cubicBezTo>
                <a:cubicBezTo>
                  <a:pt x="2466237" y="6479409"/>
                  <a:pt x="2466237" y="6479409"/>
                  <a:pt x="2466237" y="6479409"/>
                </a:cubicBezTo>
                <a:cubicBezTo>
                  <a:pt x="2463079" y="6480648"/>
                  <a:pt x="2459922" y="6481886"/>
                  <a:pt x="2456764" y="6483124"/>
                </a:cubicBezTo>
                <a:lnTo>
                  <a:pt x="2455529" y="6479975"/>
                </a:lnTo>
                <a:cubicBezTo>
                  <a:pt x="2451137" y="6478064"/>
                  <a:pt x="2445509" y="6473004"/>
                  <a:pt x="2444274" y="6469855"/>
                </a:cubicBezTo>
                <a:lnTo>
                  <a:pt x="2443039" y="6466706"/>
                </a:lnTo>
                <a:lnTo>
                  <a:pt x="2438647" y="6464796"/>
                </a:lnTo>
                <a:cubicBezTo>
                  <a:pt x="2437412" y="6461647"/>
                  <a:pt x="2436177" y="6458498"/>
                  <a:pt x="2439334" y="6457260"/>
                </a:cubicBezTo>
                <a:cubicBezTo>
                  <a:pt x="2436864" y="6450962"/>
                  <a:pt x="2437552" y="6443425"/>
                  <a:pt x="2436317" y="6440276"/>
                </a:cubicBezTo>
                <a:cubicBezTo>
                  <a:pt x="2435082" y="6437127"/>
                  <a:pt x="2437004" y="6432739"/>
                  <a:pt x="2435769" y="6429590"/>
                </a:cubicBezTo>
                <a:cubicBezTo>
                  <a:pt x="2417512" y="6429484"/>
                  <a:pt x="2422732" y="6405637"/>
                  <a:pt x="2404475" y="6405530"/>
                </a:cubicBezTo>
                <a:cubicBezTo>
                  <a:pt x="2399395" y="6411156"/>
                  <a:pt x="2398708" y="6418692"/>
                  <a:pt x="2399943" y="6421841"/>
                </a:cubicBezTo>
                <a:cubicBezTo>
                  <a:pt x="2403647" y="6431288"/>
                  <a:pt x="2416825" y="6437020"/>
                  <a:pt x="2420530" y="6446467"/>
                </a:cubicBezTo>
                <a:cubicBezTo>
                  <a:pt x="2409135" y="6454569"/>
                  <a:pt x="2399115" y="6447599"/>
                  <a:pt x="2390330" y="6443778"/>
                </a:cubicBezTo>
                <a:cubicBezTo>
                  <a:pt x="2385937" y="6441867"/>
                  <a:pt x="2381545" y="6439956"/>
                  <a:pt x="2378387" y="6441195"/>
                </a:cubicBezTo>
                <a:lnTo>
                  <a:pt x="2377152" y="6438046"/>
                </a:lnTo>
                <a:cubicBezTo>
                  <a:pt x="2375917" y="6434897"/>
                  <a:pt x="2375917" y="6434897"/>
                  <a:pt x="2371525" y="6432986"/>
                </a:cubicBezTo>
                <a:cubicBezTo>
                  <a:pt x="2365898" y="6427926"/>
                  <a:pt x="2361505" y="6426015"/>
                  <a:pt x="2357112" y="6424104"/>
                </a:cubicBezTo>
                <a:cubicBezTo>
                  <a:pt x="2353955" y="6425343"/>
                  <a:pt x="2353955" y="6425343"/>
                  <a:pt x="2349563" y="6423432"/>
                </a:cubicBezTo>
                <a:cubicBezTo>
                  <a:pt x="2348328" y="6420283"/>
                  <a:pt x="2342700" y="6415223"/>
                  <a:pt x="2336385" y="6417700"/>
                </a:cubicBezTo>
                <a:cubicBezTo>
                  <a:pt x="2330758" y="6412640"/>
                  <a:pt x="2326365" y="6410730"/>
                  <a:pt x="2321973" y="6408819"/>
                </a:cubicBezTo>
                <a:cubicBezTo>
                  <a:pt x="2317580" y="6406908"/>
                  <a:pt x="2313188" y="6404998"/>
                  <a:pt x="2305638" y="6404325"/>
                </a:cubicBezTo>
                <a:cubicBezTo>
                  <a:pt x="2303168" y="6398027"/>
                  <a:pt x="2298775" y="6396116"/>
                  <a:pt x="2291226" y="6395444"/>
                </a:cubicBezTo>
                <a:cubicBezTo>
                  <a:pt x="2286833" y="6393533"/>
                  <a:pt x="2282440" y="6391622"/>
                  <a:pt x="2278048" y="6389712"/>
                </a:cubicBezTo>
                <a:cubicBezTo>
                  <a:pt x="2273656" y="6387801"/>
                  <a:pt x="2272421" y="6384652"/>
                  <a:pt x="2271186" y="6381503"/>
                </a:cubicBezTo>
                <a:cubicBezTo>
                  <a:pt x="2271186" y="6381503"/>
                  <a:pt x="2271186" y="6381503"/>
                  <a:pt x="2268028" y="6382741"/>
                </a:cubicBezTo>
                <a:cubicBezTo>
                  <a:pt x="2266793" y="6379592"/>
                  <a:pt x="2263636" y="6380831"/>
                  <a:pt x="2260478" y="6382069"/>
                </a:cubicBezTo>
                <a:lnTo>
                  <a:pt x="2262401" y="6377682"/>
                </a:lnTo>
                <a:lnTo>
                  <a:pt x="2258009" y="6375771"/>
                </a:lnTo>
                <a:cubicBezTo>
                  <a:pt x="2256773" y="6372621"/>
                  <a:pt x="2256773" y="6372621"/>
                  <a:pt x="2255538" y="6369472"/>
                </a:cubicBezTo>
                <a:cubicBezTo>
                  <a:pt x="2248676" y="6361264"/>
                  <a:pt x="2241126" y="6360591"/>
                  <a:pt x="2233576" y="6359919"/>
                </a:cubicBezTo>
                <a:cubicBezTo>
                  <a:pt x="2232341" y="6356770"/>
                  <a:pt x="2232341" y="6356770"/>
                  <a:pt x="2229184" y="6358008"/>
                </a:cubicBezTo>
                <a:cubicBezTo>
                  <a:pt x="2231106" y="6353621"/>
                  <a:pt x="2233028" y="6349234"/>
                  <a:pt x="2236186" y="6347996"/>
                </a:cubicBezTo>
                <a:cubicBezTo>
                  <a:pt x="2238109" y="6343608"/>
                  <a:pt x="2240031" y="6339221"/>
                  <a:pt x="2238796" y="6336071"/>
                </a:cubicBezTo>
                <a:cubicBezTo>
                  <a:pt x="2221226" y="6328429"/>
                  <a:pt x="2214771" y="6349127"/>
                  <a:pt x="2199671" y="6347782"/>
                </a:cubicBezTo>
                <a:cubicBezTo>
                  <a:pt x="2195966" y="6338335"/>
                  <a:pt x="2190339" y="6333275"/>
                  <a:pt x="2179631" y="6333841"/>
                </a:cubicBezTo>
                <a:cubicBezTo>
                  <a:pt x="2175239" y="6331931"/>
                  <a:pt x="2170847" y="6330020"/>
                  <a:pt x="2162062" y="6326199"/>
                </a:cubicBezTo>
                <a:cubicBezTo>
                  <a:pt x="2152729" y="6311691"/>
                  <a:pt x="2137629" y="6310347"/>
                  <a:pt x="2121294" y="6305853"/>
                </a:cubicBezTo>
                <a:cubicBezTo>
                  <a:pt x="2113197" y="6294495"/>
                  <a:pt x="2103177" y="6287525"/>
                  <a:pt x="2089312" y="6289329"/>
                </a:cubicBezTo>
                <a:lnTo>
                  <a:pt x="2091235" y="6284941"/>
                </a:lnTo>
                <a:lnTo>
                  <a:pt x="2086842" y="6283031"/>
                </a:lnTo>
                <a:cubicBezTo>
                  <a:pt x="2084372" y="6276733"/>
                  <a:pt x="2079980" y="6274822"/>
                  <a:pt x="2072430" y="6274150"/>
                </a:cubicBezTo>
                <a:cubicBezTo>
                  <a:pt x="2068037" y="6272239"/>
                  <a:pt x="2062409" y="6267179"/>
                  <a:pt x="2056095" y="6269655"/>
                </a:cubicBezTo>
                <a:cubicBezTo>
                  <a:pt x="2053625" y="6263357"/>
                  <a:pt x="2049232" y="6261447"/>
                  <a:pt x="2042917" y="6263923"/>
                </a:cubicBezTo>
                <a:cubicBezTo>
                  <a:pt x="2040447" y="6257625"/>
                  <a:pt x="2034820" y="6252566"/>
                  <a:pt x="2028505" y="6255042"/>
                </a:cubicBezTo>
                <a:cubicBezTo>
                  <a:pt x="1992958" y="6210850"/>
                  <a:pt x="1992958" y="6210850"/>
                  <a:pt x="1957678" y="6213785"/>
                </a:cubicBezTo>
                <a:cubicBezTo>
                  <a:pt x="1957130" y="6203100"/>
                  <a:pt x="1952738" y="6201189"/>
                  <a:pt x="1943265" y="6204904"/>
                </a:cubicBezTo>
                <a:cubicBezTo>
                  <a:pt x="1940108" y="6206142"/>
                  <a:pt x="1936951" y="6207381"/>
                  <a:pt x="1932558" y="6205470"/>
                </a:cubicBezTo>
                <a:cubicBezTo>
                  <a:pt x="1944641" y="6189832"/>
                  <a:pt x="1942858" y="6175997"/>
                  <a:pt x="1922131" y="6169592"/>
                </a:cubicBezTo>
                <a:cubicBezTo>
                  <a:pt x="1905796" y="6165099"/>
                  <a:pt x="1898794" y="6175112"/>
                  <a:pt x="1886163" y="6180065"/>
                </a:cubicBezTo>
                <a:cubicBezTo>
                  <a:pt x="1881771" y="6178154"/>
                  <a:pt x="1878614" y="6179392"/>
                  <a:pt x="1875456" y="6180631"/>
                </a:cubicBezTo>
                <a:cubicBezTo>
                  <a:pt x="1872986" y="6174333"/>
                  <a:pt x="1868594" y="6172422"/>
                  <a:pt x="1861044" y="6171750"/>
                </a:cubicBezTo>
                <a:cubicBezTo>
                  <a:pt x="1850477" y="6154093"/>
                  <a:pt x="1830984" y="6150838"/>
                  <a:pt x="1811491" y="6147583"/>
                </a:cubicBezTo>
                <a:cubicBezTo>
                  <a:pt x="1809022" y="6141285"/>
                  <a:pt x="1804629" y="6139374"/>
                  <a:pt x="1797079" y="6138701"/>
                </a:cubicBezTo>
                <a:cubicBezTo>
                  <a:pt x="1794609" y="6132403"/>
                  <a:pt x="1790217" y="6130493"/>
                  <a:pt x="1783902" y="6132969"/>
                </a:cubicBezTo>
                <a:cubicBezTo>
                  <a:pt x="1777039" y="6124760"/>
                  <a:pt x="1757547" y="6121505"/>
                  <a:pt x="1758922" y="6106432"/>
                </a:cubicBezTo>
                <a:cubicBezTo>
                  <a:pt x="1755765" y="6107670"/>
                  <a:pt x="1755765" y="6107670"/>
                  <a:pt x="1755765" y="6107670"/>
                </a:cubicBezTo>
                <a:cubicBezTo>
                  <a:pt x="1743135" y="6112623"/>
                  <a:pt x="1736960" y="6096878"/>
                  <a:pt x="1726252" y="6097444"/>
                </a:cubicBezTo>
                <a:cubicBezTo>
                  <a:pt x="1718702" y="6096772"/>
                  <a:pt x="1714310" y="6094861"/>
                  <a:pt x="1709917" y="6092951"/>
                </a:cubicBezTo>
                <a:cubicBezTo>
                  <a:pt x="1703055" y="6084742"/>
                  <a:pt x="1711292" y="6077878"/>
                  <a:pt x="1715137" y="6069103"/>
                </a:cubicBezTo>
                <a:cubicBezTo>
                  <a:pt x="1713902" y="6065954"/>
                  <a:pt x="1717060" y="6064716"/>
                  <a:pt x="1717060" y="6064716"/>
                </a:cubicBezTo>
                <a:lnTo>
                  <a:pt x="1715825" y="6061567"/>
                </a:lnTo>
                <a:cubicBezTo>
                  <a:pt x="1712667" y="6062805"/>
                  <a:pt x="1712667" y="6062805"/>
                  <a:pt x="1709510" y="6064043"/>
                </a:cubicBezTo>
                <a:cubicBezTo>
                  <a:pt x="1695645" y="6065848"/>
                  <a:pt x="1678623" y="6068890"/>
                  <a:pt x="1663523" y="6067545"/>
                </a:cubicBezTo>
                <a:cubicBezTo>
                  <a:pt x="1663523" y="6067545"/>
                  <a:pt x="1663523" y="6067545"/>
                  <a:pt x="1660365" y="6068784"/>
                </a:cubicBezTo>
                <a:cubicBezTo>
                  <a:pt x="1660365" y="6068784"/>
                  <a:pt x="1659130" y="6065635"/>
                  <a:pt x="1659130" y="6065635"/>
                </a:cubicBezTo>
                <a:cubicBezTo>
                  <a:pt x="1654738" y="6063724"/>
                  <a:pt x="1645953" y="6059902"/>
                  <a:pt x="1651033" y="6054276"/>
                </a:cubicBezTo>
                <a:cubicBezTo>
                  <a:pt x="1649798" y="6051127"/>
                  <a:pt x="1652955" y="6049889"/>
                  <a:pt x="1652955" y="6049889"/>
                </a:cubicBezTo>
                <a:cubicBezTo>
                  <a:pt x="1654878" y="6045502"/>
                  <a:pt x="1659270" y="6047413"/>
                  <a:pt x="1663662" y="6049323"/>
                </a:cubicBezTo>
                <a:lnTo>
                  <a:pt x="1662427" y="6046174"/>
                </a:lnTo>
                <a:cubicBezTo>
                  <a:pt x="1657488" y="6033578"/>
                  <a:pt x="1643763" y="6017161"/>
                  <a:pt x="1639918" y="6025936"/>
                </a:cubicBezTo>
                <a:cubicBezTo>
                  <a:pt x="1626460" y="6056647"/>
                  <a:pt x="1609031" y="6030782"/>
                  <a:pt x="1596401" y="6035736"/>
                </a:cubicBezTo>
                <a:cubicBezTo>
                  <a:pt x="1593931" y="6029437"/>
                  <a:pt x="1589538" y="6027527"/>
                  <a:pt x="1581988" y="6026854"/>
                </a:cubicBezTo>
                <a:cubicBezTo>
                  <a:pt x="1580754" y="6023705"/>
                  <a:pt x="1579519" y="6020556"/>
                  <a:pt x="1578283" y="6017407"/>
                </a:cubicBezTo>
                <a:cubicBezTo>
                  <a:pt x="1575126" y="6018645"/>
                  <a:pt x="1571968" y="6019884"/>
                  <a:pt x="1568811" y="6021122"/>
                </a:cubicBezTo>
                <a:cubicBezTo>
                  <a:pt x="1563184" y="6016062"/>
                  <a:pt x="1558791" y="6014152"/>
                  <a:pt x="1554398" y="6012241"/>
                </a:cubicBezTo>
                <a:cubicBezTo>
                  <a:pt x="1548771" y="6007181"/>
                  <a:pt x="1544379" y="6005270"/>
                  <a:pt x="1536829" y="6004598"/>
                </a:cubicBezTo>
                <a:cubicBezTo>
                  <a:pt x="1535594" y="6001449"/>
                  <a:pt x="1535594" y="6001449"/>
                  <a:pt x="1531201" y="5999538"/>
                </a:cubicBezTo>
                <a:cubicBezTo>
                  <a:pt x="1528731" y="5993240"/>
                  <a:pt x="1524339" y="5991329"/>
                  <a:pt x="1518024" y="5993806"/>
                </a:cubicBezTo>
                <a:cubicBezTo>
                  <a:pt x="1512396" y="5988746"/>
                  <a:pt x="1511161" y="5985597"/>
                  <a:pt x="1506769" y="5983687"/>
                </a:cubicBezTo>
                <a:cubicBezTo>
                  <a:pt x="1506769" y="5983687"/>
                  <a:pt x="1505534" y="5980538"/>
                  <a:pt x="1505534" y="5980538"/>
                </a:cubicBezTo>
                <a:cubicBezTo>
                  <a:pt x="1507456" y="5976150"/>
                  <a:pt x="1506221" y="5973001"/>
                  <a:pt x="1504986" y="5969852"/>
                </a:cubicBezTo>
                <a:cubicBezTo>
                  <a:pt x="1506909" y="5965465"/>
                  <a:pt x="1506909" y="5965465"/>
                  <a:pt x="1508831" y="5961077"/>
                </a:cubicBezTo>
                <a:cubicBezTo>
                  <a:pt x="1500047" y="5957256"/>
                  <a:pt x="1494419" y="5952196"/>
                  <a:pt x="1488792" y="5947137"/>
                </a:cubicBezTo>
                <a:cubicBezTo>
                  <a:pt x="1485634" y="5948375"/>
                  <a:pt x="1483711" y="5952762"/>
                  <a:pt x="1480554" y="5954001"/>
                </a:cubicBezTo>
                <a:cubicBezTo>
                  <a:pt x="1478632" y="5958388"/>
                  <a:pt x="1476709" y="5962775"/>
                  <a:pt x="1470394" y="5965252"/>
                </a:cubicBezTo>
                <a:cubicBezTo>
                  <a:pt x="1467237" y="5966490"/>
                  <a:pt x="1464080" y="5967728"/>
                  <a:pt x="1459687" y="5965818"/>
                </a:cubicBezTo>
                <a:cubicBezTo>
                  <a:pt x="1458452" y="5962669"/>
                  <a:pt x="1454059" y="5960758"/>
                  <a:pt x="1452824" y="5957609"/>
                </a:cubicBezTo>
                <a:cubicBezTo>
                  <a:pt x="1450354" y="5951311"/>
                  <a:pt x="1444727" y="5946251"/>
                  <a:pt x="1442257" y="5939953"/>
                </a:cubicBezTo>
                <a:cubicBezTo>
                  <a:pt x="1441022" y="5936804"/>
                  <a:pt x="1439787" y="5933655"/>
                  <a:pt x="1440474" y="5926119"/>
                </a:cubicBezTo>
                <a:cubicBezTo>
                  <a:pt x="1434160" y="5928595"/>
                  <a:pt x="1429767" y="5926684"/>
                  <a:pt x="1424139" y="5921625"/>
                </a:cubicBezTo>
                <a:cubicBezTo>
                  <a:pt x="1401082" y="5890700"/>
                  <a:pt x="1378432" y="5888683"/>
                  <a:pt x="1350563" y="5910513"/>
                </a:cubicBezTo>
                <a:cubicBezTo>
                  <a:pt x="1348093" y="5904215"/>
                  <a:pt x="1344388" y="5894768"/>
                  <a:pt x="1333680" y="5895334"/>
                </a:cubicBezTo>
                <a:cubicBezTo>
                  <a:pt x="1326818" y="5887125"/>
                  <a:pt x="1319268" y="5886453"/>
                  <a:pt x="1308560" y="5887019"/>
                </a:cubicBezTo>
                <a:cubicBezTo>
                  <a:pt x="1291678" y="5871839"/>
                  <a:pt x="1266558" y="5863524"/>
                  <a:pt x="1244596" y="5853971"/>
                </a:cubicBezTo>
                <a:cubicBezTo>
                  <a:pt x="1242126" y="5847672"/>
                  <a:pt x="1237733" y="5845762"/>
                  <a:pt x="1231418" y="5848238"/>
                </a:cubicBezTo>
                <a:cubicBezTo>
                  <a:pt x="1227713" y="5838791"/>
                  <a:pt x="1218929" y="5834970"/>
                  <a:pt x="1210144" y="5831148"/>
                </a:cubicBezTo>
                <a:cubicBezTo>
                  <a:pt x="1204656" y="5807867"/>
                  <a:pt x="1194089" y="5790211"/>
                  <a:pt x="1166219" y="5812041"/>
                </a:cubicBezTo>
                <a:cubicBezTo>
                  <a:pt x="1161827" y="5810130"/>
                  <a:pt x="1157434" y="5808220"/>
                  <a:pt x="1153042" y="5806309"/>
                </a:cubicBezTo>
                <a:cubicBezTo>
                  <a:pt x="1158261" y="5782461"/>
                  <a:pt x="1147554" y="5783027"/>
                  <a:pt x="1133002" y="5792368"/>
                </a:cubicBezTo>
                <a:cubicBezTo>
                  <a:pt x="1128609" y="5790457"/>
                  <a:pt x="1125452" y="5791695"/>
                  <a:pt x="1122294" y="5792934"/>
                </a:cubicBezTo>
                <a:cubicBezTo>
                  <a:pt x="1121059" y="5789785"/>
                  <a:pt x="1119824" y="5786636"/>
                  <a:pt x="1115432" y="5784725"/>
                </a:cubicBezTo>
                <a:cubicBezTo>
                  <a:pt x="1117087" y="5733209"/>
                  <a:pt x="1117087" y="5733209"/>
                  <a:pt x="1057375" y="5720293"/>
                </a:cubicBezTo>
                <a:cubicBezTo>
                  <a:pt x="1059845" y="5726591"/>
                  <a:pt x="1062315" y="5732889"/>
                  <a:pt x="1063550" y="5736038"/>
                </a:cubicBezTo>
                <a:cubicBezTo>
                  <a:pt x="1076040" y="5749307"/>
                  <a:pt x="1092375" y="5753801"/>
                  <a:pt x="1098550" y="5769545"/>
                </a:cubicBezTo>
                <a:cubicBezTo>
                  <a:pt x="1098550" y="5769545"/>
                  <a:pt x="1095392" y="5770784"/>
                  <a:pt x="1095392" y="5770784"/>
                </a:cubicBezTo>
                <a:cubicBezTo>
                  <a:pt x="1084685" y="5771350"/>
                  <a:pt x="1072742" y="5768767"/>
                  <a:pt x="1062722" y="5761796"/>
                </a:cubicBezTo>
                <a:cubicBezTo>
                  <a:pt x="1058330" y="5759886"/>
                  <a:pt x="1055172" y="5761124"/>
                  <a:pt x="1050780" y="5759213"/>
                </a:cubicBezTo>
                <a:cubicBezTo>
                  <a:pt x="1039525" y="5749094"/>
                  <a:pt x="1029505" y="5742123"/>
                  <a:pt x="1013170" y="5737629"/>
                </a:cubicBezTo>
                <a:cubicBezTo>
                  <a:pt x="1013170" y="5737629"/>
                  <a:pt x="1011935" y="5734480"/>
                  <a:pt x="1011935" y="5734480"/>
                </a:cubicBezTo>
                <a:cubicBezTo>
                  <a:pt x="1010700" y="5731331"/>
                  <a:pt x="1010700" y="5731331"/>
                  <a:pt x="1009465" y="5728182"/>
                </a:cubicBezTo>
                <a:cubicBezTo>
                  <a:pt x="1006308" y="5729421"/>
                  <a:pt x="1003150" y="5730659"/>
                  <a:pt x="999993" y="5731897"/>
                </a:cubicBezTo>
                <a:cubicBezTo>
                  <a:pt x="997523" y="5725599"/>
                  <a:pt x="989973" y="5724927"/>
                  <a:pt x="985581" y="5723016"/>
                </a:cubicBezTo>
                <a:cubicBezTo>
                  <a:pt x="984345" y="5719867"/>
                  <a:pt x="978718" y="5714807"/>
                  <a:pt x="971168" y="5714135"/>
                </a:cubicBezTo>
                <a:cubicBezTo>
                  <a:pt x="968698" y="5707837"/>
                  <a:pt x="962383" y="5710313"/>
                  <a:pt x="957990" y="5708403"/>
                </a:cubicBezTo>
                <a:cubicBezTo>
                  <a:pt x="952363" y="5703343"/>
                  <a:pt x="947971" y="5701432"/>
                  <a:pt x="941655" y="5703909"/>
                </a:cubicBezTo>
                <a:cubicBezTo>
                  <a:pt x="937950" y="5694462"/>
                  <a:pt x="929166" y="5690640"/>
                  <a:pt x="921615" y="5689968"/>
                </a:cubicBezTo>
                <a:cubicBezTo>
                  <a:pt x="919146" y="5683670"/>
                  <a:pt x="914753" y="5681759"/>
                  <a:pt x="907204" y="5681087"/>
                </a:cubicBezTo>
                <a:cubicBezTo>
                  <a:pt x="895949" y="5670967"/>
                  <a:pt x="879613" y="5666473"/>
                  <a:pt x="863278" y="5661979"/>
                </a:cubicBezTo>
                <a:cubicBezTo>
                  <a:pt x="862043" y="5658830"/>
                  <a:pt x="860809" y="5655681"/>
                  <a:pt x="859574" y="5652532"/>
                </a:cubicBezTo>
                <a:cubicBezTo>
                  <a:pt x="856416" y="5653771"/>
                  <a:pt x="853259" y="5655009"/>
                  <a:pt x="853259" y="5655009"/>
                </a:cubicBezTo>
                <a:cubicBezTo>
                  <a:pt x="850102" y="5656247"/>
                  <a:pt x="850102" y="5656247"/>
                  <a:pt x="846944" y="5657486"/>
                </a:cubicBezTo>
                <a:cubicBezTo>
                  <a:pt x="844474" y="5651188"/>
                  <a:pt x="840081" y="5649277"/>
                  <a:pt x="832532" y="5648605"/>
                </a:cubicBezTo>
                <a:cubicBezTo>
                  <a:pt x="831297" y="5645456"/>
                  <a:pt x="825669" y="5640396"/>
                  <a:pt x="819354" y="5642872"/>
                </a:cubicBezTo>
                <a:cubicBezTo>
                  <a:pt x="818119" y="5639723"/>
                  <a:pt x="818119" y="5639723"/>
                  <a:pt x="818119" y="5639723"/>
                </a:cubicBezTo>
                <a:cubicBezTo>
                  <a:pt x="816884" y="5636574"/>
                  <a:pt x="816884" y="5636574"/>
                  <a:pt x="815649" y="5633425"/>
                </a:cubicBezTo>
                <a:cubicBezTo>
                  <a:pt x="812492" y="5634663"/>
                  <a:pt x="808099" y="5632753"/>
                  <a:pt x="804941" y="5633991"/>
                </a:cubicBezTo>
                <a:cubicBezTo>
                  <a:pt x="803706" y="5630842"/>
                  <a:pt x="799314" y="5628931"/>
                  <a:pt x="798079" y="5625782"/>
                </a:cubicBezTo>
                <a:cubicBezTo>
                  <a:pt x="798079" y="5625782"/>
                  <a:pt x="794922" y="5627021"/>
                  <a:pt x="791764" y="5628259"/>
                </a:cubicBezTo>
                <a:cubicBezTo>
                  <a:pt x="786137" y="5623199"/>
                  <a:pt x="784902" y="5620050"/>
                  <a:pt x="780509" y="5618140"/>
                </a:cubicBezTo>
                <a:cubicBezTo>
                  <a:pt x="776117" y="5616228"/>
                  <a:pt x="776117" y="5616228"/>
                  <a:pt x="771725" y="5614318"/>
                </a:cubicBezTo>
                <a:cubicBezTo>
                  <a:pt x="767332" y="5612407"/>
                  <a:pt x="762939" y="5610496"/>
                  <a:pt x="755390" y="5609824"/>
                </a:cubicBezTo>
                <a:cubicBezTo>
                  <a:pt x="749762" y="5604764"/>
                  <a:pt x="747292" y="5598466"/>
                  <a:pt x="740977" y="5600943"/>
                </a:cubicBezTo>
                <a:cubicBezTo>
                  <a:pt x="736585" y="5599032"/>
                  <a:pt x="735350" y="5595883"/>
                  <a:pt x="730957" y="5593973"/>
                </a:cubicBezTo>
                <a:cubicBezTo>
                  <a:pt x="730957" y="5593973"/>
                  <a:pt x="726564" y="5592062"/>
                  <a:pt x="726564" y="5592062"/>
                </a:cubicBezTo>
                <a:cubicBezTo>
                  <a:pt x="725330" y="5588913"/>
                  <a:pt x="720937" y="5587002"/>
                  <a:pt x="720937" y="5587002"/>
                </a:cubicBezTo>
                <a:cubicBezTo>
                  <a:pt x="712152" y="5583180"/>
                  <a:pt x="704602" y="5582508"/>
                  <a:pt x="698975" y="5577448"/>
                </a:cubicBezTo>
                <a:cubicBezTo>
                  <a:pt x="693348" y="5572389"/>
                  <a:pt x="688955" y="5570478"/>
                  <a:pt x="682640" y="5572955"/>
                </a:cubicBezTo>
                <a:cubicBezTo>
                  <a:pt x="668915" y="5556537"/>
                  <a:pt x="651345" y="5548894"/>
                  <a:pt x="635011" y="5544400"/>
                </a:cubicBezTo>
                <a:cubicBezTo>
                  <a:pt x="623068" y="5541817"/>
                  <a:pt x="614283" y="5537995"/>
                  <a:pt x="604263" y="5531025"/>
                </a:cubicBezTo>
                <a:cubicBezTo>
                  <a:pt x="598636" y="5525965"/>
                  <a:pt x="597401" y="5522816"/>
                  <a:pt x="591086" y="5525293"/>
                </a:cubicBezTo>
                <a:cubicBezTo>
                  <a:pt x="571186" y="5493130"/>
                  <a:pt x="526434" y="5499781"/>
                  <a:pt x="505846" y="5475155"/>
                </a:cubicBezTo>
                <a:cubicBezTo>
                  <a:pt x="512161" y="5472678"/>
                  <a:pt x="512849" y="5465142"/>
                  <a:pt x="510379" y="5458844"/>
                </a:cubicBezTo>
                <a:cubicBezTo>
                  <a:pt x="507909" y="5452546"/>
                  <a:pt x="505439" y="5446247"/>
                  <a:pt x="502969" y="5439949"/>
                </a:cubicBezTo>
                <a:cubicBezTo>
                  <a:pt x="493636" y="5425443"/>
                  <a:pt x="477849" y="5431634"/>
                  <a:pt x="464671" y="5425902"/>
                </a:cubicBezTo>
                <a:cubicBezTo>
                  <a:pt x="437082" y="5411289"/>
                  <a:pt x="455747" y="5440302"/>
                  <a:pt x="447509" y="5447166"/>
                </a:cubicBezTo>
                <a:cubicBezTo>
                  <a:pt x="426782" y="5440762"/>
                  <a:pt x="411822" y="5421195"/>
                  <a:pt x="387250" y="5423565"/>
                </a:cubicBezTo>
                <a:cubicBezTo>
                  <a:pt x="384780" y="5417267"/>
                  <a:pt x="380387" y="5415357"/>
                  <a:pt x="372838" y="5414684"/>
                </a:cubicBezTo>
                <a:cubicBezTo>
                  <a:pt x="370368" y="5408386"/>
                  <a:pt x="365975" y="5406475"/>
                  <a:pt x="359660" y="5408952"/>
                </a:cubicBezTo>
                <a:cubicBezTo>
                  <a:pt x="354032" y="5403892"/>
                  <a:pt x="352797" y="5400743"/>
                  <a:pt x="345247" y="5400071"/>
                </a:cubicBezTo>
                <a:cubicBezTo>
                  <a:pt x="339620" y="5395011"/>
                  <a:pt x="335228" y="5393100"/>
                  <a:pt x="328913" y="5395577"/>
                </a:cubicBezTo>
                <a:cubicBezTo>
                  <a:pt x="326443" y="5389279"/>
                  <a:pt x="322050" y="5387368"/>
                  <a:pt x="314500" y="5386696"/>
                </a:cubicBezTo>
                <a:cubicBezTo>
                  <a:pt x="312030" y="5380397"/>
                  <a:pt x="309561" y="5374099"/>
                  <a:pt x="303933" y="5369040"/>
                </a:cubicBezTo>
                <a:cubicBezTo>
                  <a:pt x="297618" y="5371516"/>
                  <a:pt x="293225" y="5369606"/>
                  <a:pt x="290755" y="5363308"/>
                </a:cubicBezTo>
                <a:cubicBezTo>
                  <a:pt x="283206" y="5362635"/>
                  <a:pt x="276891" y="5365112"/>
                  <a:pt x="270576" y="5367588"/>
                </a:cubicBezTo>
                <a:cubicBezTo>
                  <a:pt x="262478" y="5356230"/>
                  <a:pt x="249301" y="5350498"/>
                  <a:pt x="237358" y="5347915"/>
                </a:cubicBezTo>
                <a:cubicBezTo>
                  <a:pt x="235576" y="5334081"/>
                  <a:pt x="248893" y="5321591"/>
                  <a:pt x="231323" y="5313948"/>
                </a:cubicBezTo>
                <a:cubicBezTo>
                  <a:pt x="214988" y="5309455"/>
                  <a:pt x="213614" y="5324527"/>
                  <a:pt x="205376" y="5331391"/>
                </a:cubicBezTo>
                <a:cubicBezTo>
                  <a:pt x="201671" y="5321944"/>
                  <a:pt x="189728" y="5319361"/>
                  <a:pt x="175864" y="5321165"/>
                </a:cubicBezTo>
                <a:cubicBezTo>
                  <a:pt x="175316" y="5310480"/>
                  <a:pt x="169689" y="5305420"/>
                  <a:pt x="157747" y="5302837"/>
                </a:cubicBezTo>
                <a:cubicBezTo>
                  <a:pt x="153494" y="5282705"/>
                  <a:pt x="130017" y="5306445"/>
                  <a:pt x="128234" y="5292611"/>
                </a:cubicBezTo>
                <a:cubicBezTo>
                  <a:pt x="128514" y="5256167"/>
                  <a:pt x="90765" y="5252805"/>
                  <a:pt x="76492" y="5225702"/>
                </a:cubicBezTo>
                <a:cubicBezTo>
                  <a:pt x="73335" y="5226940"/>
                  <a:pt x="68942" y="5225030"/>
                  <a:pt x="64549" y="5223119"/>
                </a:cubicBezTo>
                <a:cubicBezTo>
                  <a:pt x="61393" y="5224357"/>
                  <a:pt x="57000" y="5222447"/>
                  <a:pt x="52607" y="5220536"/>
                </a:cubicBezTo>
                <a:cubicBezTo>
                  <a:pt x="52607" y="5220536"/>
                  <a:pt x="52607" y="5220536"/>
                  <a:pt x="49450" y="5221774"/>
                </a:cubicBezTo>
                <a:cubicBezTo>
                  <a:pt x="35037" y="5212893"/>
                  <a:pt x="28723" y="5215370"/>
                  <a:pt x="38055" y="5229877"/>
                </a:cubicBezTo>
                <a:cubicBezTo>
                  <a:pt x="41759" y="5239324"/>
                  <a:pt x="47387" y="5244383"/>
                  <a:pt x="39150" y="5251247"/>
                </a:cubicBezTo>
                <a:cubicBezTo>
                  <a:pt x="39150" y="5251247"/>
                  <a:pt x="40385" y="5254396"/>
                  <a:pt x="40385" y="5254396"/>
                </a:cubicBezTo>
                <a:cubicBezTo>
                  <a:pt x="35993" y="5252485"/>
                  <a:pt x="32835" y="5253724"/>
                  <a:pt x="29677" y="5254962"/>
                </a:cubicBezTo>
                <a:cubicBezTo>
                  <a:pt x="20345" y="5240455"/>
                  <a:pt x="-3540" y="5235289"/>
                  <a:pt x="445" y="5208293"/>
                </a:cubicBezTo>
                <a:cubicBezTo>
                  <a:pt x="6760" y="5205816"/>
                  <a:pt x="16233" y="5202101"/>
                  <a:pt x="22548" y="5199625"/>
                </a:cubicBezTo>
                <a:cubicBezTo>
                  <a:pt x="25705" y="5198386"/>
                  <a:pt x="28862" y="5197148"/>
                  <a:pt x="28862" y="5197148"/>
                </a:cubicBezTo>
                <a:cubicBezTo>
                  <a:pt x="38882" y="5204118"/>
                  <a:pt x="42727" y="5195344"/>
                  <a:pt x="47808" y="5189718"/>
                </a:cubicBezTo>
                <a:cubicBezTo>
                  <a:pt x="50965" y="5188480"/>
                  <a:pt x="50965" y="5188480"/>
                  <a:pt x="50965" y="5188480"/>
                </a:cubicBezTo>
                <a:cubicBezTo>
                  <a:pt x="50965" y="5188480"/>
                  <a:pt x="50965" y="5188480"/>
                  <a:pt x="52199" y="5191629"/>
                </a:cubicBezTo>
                <a:cubicBezTo>
                  <a:pt x="54669" y="5197927"/>
                  <a:pt x="60297" y="5202987"/>
                  <a:pt x="67847" y="5203659"/>
                </a:cubicBezTo>
                <a:cubicBezTo>
                  <a:pt x="67847" y="5203659"/>
                  <a:pt x="67847" y="5203659"/>
                  <a:pt x="69082" y="5206808"/>
                </a:cubicBezTo>
                <a:cubicBezTo>
                  <a:pt x="79242" y="5195557"/>
                  <a:pt x="101752" y="5215796"/>
                  <a:pt x="106972" y="5191949"/>
                </a:cubicBezTo>
                <a:cubicBezTo>
                  <a:pt x="88855" y="5173620"/>
                  <a:pt x="71832" y="5176663"/>
                  <a:pt x="50965" y="5188480"/>
                </a:cubicBezTo>
                <a:cubicBezTo>
                  <a:pt x="48495" y="5182182"/>
                  <a:pt x="47259" y="5179033"/>
                  <a:pt x="46024" y="5175884"/>
                </a:cubicBezTo>
                <a:cubicBezTo>
                  <a:pt x="46852" y="5150126"/>
                  <a:pt x="21185" y="5131125"/>
                  <a:pt x="22013" y="5105367"/>
                </a:cubicBezTo>
                <a:cubicBezTo>
                  <a:pt x="40958" y="5097937"/>
                  <a:pt x="42332" y="5082864"/>
                  <a:pt x="31078" y="5072745"/>
                </a:cubicBezTo>
                <a:cubicBezTo>
                  <a:pt x="12960" y="5054417"/>
                  <a:pt x="11865" y="5033046"/>
                  <a:pt x="10770" y="5011675"/>
                </a:cubicBezTo>
                <a:cubicBezTo>
                  <a:pt x="15850" y="5006050"/>
                  <a:pt x="25322" y="5002335"/>
                  <a:pt x="14067" y="4992215"/>
                </a:cubicBezTo>
                <a:lnTo>
                  <a:pt x="12832" y="4989066"/>
                </a:lnTo>
                <a:cubicBezTo>
                  <a:pt x="16677" y="4980291"/>
                  <a:pt x="16130" y="4969606"/>
                  <a:pt x="12425" y="4960159"/>
                </a:cubicBezTo>
                <a:cubicBezTo>
                  <a:pt x="20115" y="4942610"/>
                  <a:pt x="3233" y="4927430"/>
                  <a:pt x="4608" y="4912357"/>
                </a:cubicBezTo>
                <a:cubicBezTo>
                  <a:pt x="16002" y="4904255"/>
                  <a:pt x="9140" y="4896046"/>
                  <a:pt x="9827" y="4888510"/>
                </a:cubicBezTo>
                <a:cubicBezTo>
                  <a:pt x="12985" y="4887272"/>
                  <a:pt x="16142" y="4886034"/>
                  <a:pt x="18065" y="4881646"/>
                </a:cubicBezTo>
                <a:cubicBezTo>
                  <a:pt x="26442" y="4856561"/>
                  <a:pt x="18485" y="4826981"/>
                  <a:pt x="34412" y="4802568"/>
                </a:cubicBezTo>
                <a:cubicBezTo>
                  <a:pt x="66535" y="4800870"/>
                  <a:pt x="94265" y="4797262"/>
                  <a:pt x="126386" y="4795564"/>
                </a:cubicBezTo>
                <a:cubicBezTo>
                  <a:pt x="150132" y="4818952"/>
                  <a:pt x="187474" y="4793407"/>
                  <a:pt x="216298" y="4811169"/>
                </a:cubicBezTo>
                <a:cubicBezTo>
                  <a:pt x="240731" y="4827021"/>
                  <a:pt x="269696" y="4826562"/>
                  <a:pt x="298660" y="4826102"/>
                </a:cubicBezTo>
                <a:cubicBezTo>
                  <a:pt x="305523" y="4834311"/>
                  <a:pt x="315543" y="4841282"/>
                  <a:pt x="328173" y="4836328"/>
                </a:cubicBezTo>
                <a:cubicBezTo>
                  <a:pt x="334348" y="4852073"/>
                  <a:pt x="343132" y="4855895"/>
                  <a:pt x="358920" y="4849703"/>
                </a:cubicBezTo>
                <a:cubicBezTo>
                  <a:pt x="364548" y="4854763"/>
                  <a:pt x="375255" y="4854197"/>
                  <a:pt x="384727" y="4850482"/>
                </a:cubicBezTo>
                <a:cubicBezTo>
                  <a:pt x="405454" y="4856887"/>
                  <a:pt x="422885" y="4882752"/>
                  <a:pt x="451302" y="4871607"/>
                </a:cubicBezTo>
                <a:cubicBezTo>
                  <a:pt x="456929" y="4876667"/>
                  <a:pt x="461322" y="4878578"/>
                  <a:pt x="467637" y="4876101"/>
                </a:cubicBezTo>
                <a:cubicBezTo>
                  <a:pt x="509091" y="4888910"/>
                  <a:pt x="550546" y="4901719"/>
                  <a:pt x="592001" y="4914528"/>
                </a:cubicBezTo>
                <a:cubicBezTo>
                  <a:pt x="641553" y="4938695"/>
                  <a:pt x="696185" y="4957236"/>
                  <a:pt x="756585" y="4962616"/>
                </a:cubicBezTo>
                <a:cubicBezTo>
                  <a:pt x="751097" y="4939335"/>
                  <a:pt x="722820" y="4932257"/>
                  <a:pt x="729274" y="4911559"/>
                </a:cubicBezTo>
                <a:cubicBezTo>
                  <a:pt x="739435" y="4900308"/>
                  <a:pt x="737652" y="4886473"/>
                  <a:pt x="729554" y="4875116"/>
                </a:cubicBezTo>
                <a:cubicBezTo>
                  <a:pt x="733400" y="4866341"/>
                  <a:pt x="732165" y="4863192"/>
                  <a:pt x="720222" y="4860609"/>
                </a:cubicBezTo>
                <a:cubicBezTo>
                  <a:pt x="717752" y="4854311"/>
                  <a:pt x="715282" y="4848013"/>
                  <a:pt x="714047" y="4844864"/>
                </a:cubicBezTo>
                <a:cubicBezTo>
                  <a:pt x="716657" y="4832940"/>
                  <a:pt x="717345" y="4825404"/>
                  <a:pt x="718032" y="4817867"/>
                </a:cubicBezTo>
                <a:cubicBezTo>
                  <a:pt x="729427" y="4809765"/>
                  <a:pt x="736430" y="4799752"/>
                  <a:pt x="728332" y="4788394"/>
                </a:cubicBezTo>
                <a:cubicBezTo>
                  <a:pt x="719000" y="4773888"/>
                  <a:pt x="721610" y="4761963"/>
                  <a:pt x="728612" y="4751951"/>
                </a:cubicBezTo>
                <a:cubicBezTo>
                  <a:pt x="727377" y="4748802"/>
                  <a:pt x="727377" y="4748802"/>
                  <a:pt x="727377" y="4748802"/>
                </a:cubicBezTo>
                <a:cubicBezTo>
                  <a:pt x="721750" y="4743742"/>
                  <a:pt x="716122" y="4738682"/>
                  <a:pt x="716810" y="4731146"/>
                </a:cubicBezTo>
                <a:cubicBezTo>
                  <a:pt x="709400" y="4712252"/>
                  <a:pt x="719012" y="4690315"/>
                  <a:pt x="722310" y="4670855"/>
                </a:cubicBezTo>
                <a:cubicBezTo>
                  <a:pt x="722310" y="4670855"/>
                  <a:pt x="724232" y="4666468"/>
                  <a:pt x="724232" y="4666468"/>
                </a:cubicBezTo>
                <a:cubicBezTo>
                  <a:pt x="726154" y="4662080"/>
                  <a:pt x="724919" y="4658931"/>
                  <a:pt x="723684" y="4655782"/>
                </a:cubicBezTo>
                <a:cubicBezTo>
                  <a:pt x="722450" y="4652633"/>
                  <a:pt x="721215" y="4649484"/>
                  <a:pt x="718745" y="4643186"/>
                </a:cubicBezTo>
                <a:cubicBezTo>
                  <a:pt x="721902" y="4641948"/>
                  <a:pt x="721902" y="4641948"/>
                  <a:pt x="725060" y="4640710"/>
                </a:cubicBezTo>
                <a:cubicBezTo>
                  <a:pt x="728217" y="4639471"/>
                  <a:pt x="728217" y="4639471"/>
                  <a:pt x="728217" y="4639471"/>
                </a:cubicBezTo>
                <a:cubicBezTo>
                  <a:pt x="725200" y="4622488"/>
                  <a:pt x="744145" y="4615058"/>
                  <a:pt x="745519" y="4599985"/>
                </a:cubicBezTo>
                <a:cubicBezTo>
                  <a:pt x="763637" y="4618313"/>
                  <a:pt x="786287" y="4620331"/>
                  <a:pt x="807702" y="4619199"/>
                </a:cubicBezTo>
                <a:lnTo>
                  <a:pt x="812094" y="4621110"/>
                </a:lnTo>
                <a:cubicBezTo>
                  <a:pt x="813329" y="4624259"/>
                  <a:pt x="818956" y="4629319"/>
                  <a:pt x="825272" y="4626842"/>
                </a:cubicBezTo>
                <a:cubicBezTo>
                  <a:pt x="832134" y="4635051"/>
                  <a:pt x="839684" y="4635723"/>
                  <a:pt x="849156" y="4632008"/>
                </a:cubicBezTo>
                <a:cubicBezTo>
                  <a:pt x="862334" y="4637740"/>
                  <a:pt x="875511" y="4643473"/>
                  <a:pt x="888141" y="4638519"/>
                </a:cubicBezTo>
                <a:lnTo>
                  <a:pt x="891299" y="4637281"/>
                </a:lnTo>
                <a:cubicBezTo>
                  <a:pt x="918201" y="4659431"/>
                  <a:pt x="952793" y="4664031"/>
                  <a:pt x="986698" y="4676168"/>
                </a:cubicBezTo>
                <a:cubicBezTo>
                  <a:pt x="992325" y="4681228"/>
                  <a:pt x="996718" y="4683138"/>
                  <a:pt x="1003033" y="4680662"/>
                </a:cubicBezTo>
                <a:cubicBezTo>
                  <a:pt x="1014288" y="4690781"/>
                  <a:pt x="1029388" y="4692126"/>
                  <a:pt x="1043253" y="4690322"/>
                </a:cubicBezTo>
                <a:cubicBezTo>
                  <a:pt x="1049427" y="4706067"/>
                  <a:pt x="1062605" y="4711799"/>
                  <a:pt x="1074547" y="4714382"/>
                </a:cubicBezTo>
                <a:cubicBezTo>
                  <a:pt x="1080175" y="4719442"/>
                  <a:pt x="1084568" y="4721353"/>
                  <a:pt x="1092117" y="4722025"/>
                </a:cubicBezTo>
                <a:cubicBezTo>
                  <a:pt x="1098979" y="4730234"/>
                  <a:pt x="1108999" y="4737204"/>
                  <a:pt x="1122865" y="4735400"/>
                </a:cubicBezTo>
                <a:cubicBezTo>
                  <a:pt x="1188751" y="4764061"/>
                  <a:pt x="1248871" y="4805884"/>
                  <a:pt x="1318603" y="4825770"/>
                </a:cubicBezTo>
                <a:cubicBezTo>
                  <a:pt x="1383943" y="4843746"/>
                  <a:pt x="1442827" y="4882419"/>
                  <a:pt x="1507479" y="4907931"/>
                </a:cubicBezTo>
                <a:cubicBezTo>
                  <a:pt x="1589701" y="4941086"/>
                  <a:pt x="1666155" y="4987402"/>
                  <a:pt x="1750300" y="5016170"/>
                </a:cubicBezTo>
                <a:cubicBezTo>
                  <a:pt x="1767870" y="5023813"/>
                  <a:pt x="1788597" y="5030217"/>
                  <a:pt x="1800399" y="5051022"/>
                </a:cubicBezTo>
                <a:cubicBezTo>
                  <a:pt x="1797242" y="5052261"/>
                  <a:pt x="1795319" y="5056648"/>
                  <a:pt x="1795319" y="5056648"/>
                </a:cubicBezTo>
                <a:cubicBezTo>
                  <a:pt x="1795319" y="5056648"/>
                  <a:pt x="1796554" y="5059797"/>
                  <a:pt x="1799712" y="5058559"/>
                </a:cubicBezTo>
                <a:cubicBezTo>
                  <a:pt x="1798477" y="5055410"/>
                  <a:pt x="1798477" y="5055410"/>
                  <a:pt x="1800399" y="5051022"/>
                </a:cubicBezTo>
                <a:cubicBezTo>
                  <a:pt x="1800399" y="5051022"/>
                  <a:pt x="1803557" y="5049784"/>
                  <a:pt x="1803557" y="5049784"/>
                </a:cubicBezTo>
                <a:cubicBezTo>
                  <a:pt x="1824972" y="5048652"/>
                  <a:pt x="1845699" y="5055057"/>
                  <a:pt x="1862581" y="5070236"/>
                </a:cubicBezTo>
                <a:cubicBezTo>
                  <a:pt x="1870679" y="5081594"/>
                  <a:pt x="1887014" y="5086088"/>
                  <a:pt x="1900191" y="5091820"/>
                </a:cubicBezTo>
                <a:cubicBezTo>
                  <a:pt x="1956058" y="5113511"/>
                  <a:pt x="2013160" y="5138350"/>
                  <a:pt x="2071497" y="5166338"/>
                </a:cubicBezTo>
                <a:cubicBezTo>
                  <a:pt x="2132992" y="5193088"/>
                  <a:pt x="2190641" y="5228613"/>
                  <a:pt x="2255293" y="5254125"/>
                </a:cubicBezTo>
                <a:cubicBezTo>
                  <a:pt x="2345065" y="5287952"/>
                  <a:pt x="2423989" y="5340567"/>
                  <a:pt x="2513761" y="5374394"/>
                </a:cubicBezTo>
                <a:cubicBezTo>
                  <a:pt x="2544509" y="5387769"/>
                  <a:pt x="2576491" y="5404293"/>
                  <a:pt x="2604081" y="5418906"/>
                </a:cubicBezTo>
                <a:cubicBezTo>
                  <a:pt x="2634828" y="5432281"/>
                  <a:pt x="2654728" y="5464444"/>
                  <a:pt x="2691930" y="5457121"/>
                </a:cubicBezTo>
                <a:cubicBezTo>
                  <a:pt x="2696323" y="5459031"/>
                  <a:pt x="2697558" y="5462180"/>
                  <a:pt x="2701950" y="5464091"/>
                </a:cubicBezTo>
                <a:cubicBezTo>
                  <a:pt x="2750127" y="5503331"/>
                  <a:pt x="2807917" y="5520634"/>
                  <a:pt x="2860626" y="5543563"/>
                </a:cubicBezTo>
                <a:cubicBezTo>
                  <a:pt x="2944083" y="5579866"/>
                  <a:pt x="3023695" y="5624945"/>
                  <a:pt x="3110310" y="5660010"/>
                </a:cubicBezTo>
                <a:cubicBezTo>
                  <a:pt x="3136664" y="5671475"/>
                  <a:pt x="3164941" y="5678551"/>
                  <a:pt x="3191296" y="5690016"/>
                </a:cubicBezTo>
                <a:cubicBezTo>
                  <a:pt x="3236456" y="5712272"/>
                  <a:pt x="3276536" y="5740154"/>
                  <a:pt x="3324853" y="5761172"/>
                </a:cubicBezTo>
                <a:cubicBezTo>
                  <a:pt x="3348050" y="5773875"/>
                  <a:pt x="3370700" y="5775892"/>
                  <a:pt x="3395132" y="5791744"/>
                </a:cubicBezTo>
                <a:cubicBezTo>
                  <a:pt x="3462802" y="5834239"/>
                  <a:pt x="3534316" y="5867959"/>
                  <a:pt x="3610911" y="5896054"/>
                </a:cubicBezTo>
                <a:cubicBezTo>
                  <a:pt x="3613381" y="5902352"/>
                  <a:pt x="3620931" y="5903025"/>
                  <a:pt x="3627246" y="5900548"/>
                </a:cubicBezTo>
                <a:cubicBezTo>
                  <a:pt x="3629716" y="5906846"/>
                  <a:pt x="3632186" y="5913144"/>
                  <a:pt x="3638501" y="5910668"/>
                </a:cubicBezTo>
                <a:lnTo>
                  <a:pt x="3640423" y="5906280"/>
                </a:lnTo>
                <a:lnTo>
                  <a:pt x="3641658" y="5909429"/>
                </a:lnTo>
                <a:cubicBezTo>
                  <a:pt x="3644128" y="5915727"/>
                  <a:pt x="3648520" y="5917638"/>
                  <a:pt x="3654835" y="5915161"/>
                </a:cubicBezTo>
                <a:cubicBezTo>
                  <a:pt x="3658541" y="5924609"/>
                  <a:pt x="3662246" y="5934056"/>
                  <a:pt x="3674875" y="5929103"/>
                </a:cubicBezTo>
                <a:cubicBezTo>
                  <a:pt x="3678581" y="5938550"/>
                  <a:pt x="3684895" y="5936073"/>
                  <a:pt x="3691210" y="5933596"/>
                </a:cubicBezTo>
                <a:cubicBezTo>
                  <a:pt x="3693680" y="5939894"/>
                  <a:pt x="3699308" y="5944954"/>
                  <a:pt x="3705622" y="5942477"/>
                </a:cubicBezTo>
                <a:cubicBezTo>
                  <a:pt x="3719348" y="5958895"/>
                  <a:pt x="3738153" y="5969687"/>
                  <a:pt x="3760802" y="5971705"/>
                </a:cubicBezTo>
                <a:cubicBezTo>
                  <a:pt x="3773980" y="5977437"/>
                  <a:pt x="3787157" y="5983169"/>
                  <a:pt x="3800334" y="5988901"/>
                </a:cubicBezTo>
                <a:cubicBezTo>
                  <a:pt x="3817904" y="5996544"/>
                  <a:pt x="3835474" y="6004187"/>
                  <a:pt x="3854966" y="6007442"/>
                </a:cubicBezTo>
                <a:cubicBezTo>
                  <a:pt x="3861141" y="6023187"/>
                  <a:pt x="3873084" y="6025771"/>
                  <a:pt x="3885026" y="6028354"/>
                </a:cubicBezTo>
                <a:cubicBezTo>
                  <a:pt x="3889419" y="6030264"/>
                  <a:pt x="3889419" y="6030264"/>
                  <a:pt x="3889419" y="6030264"/>
                </a:cubicBezTo>
                <a:cubicBezTo>
                  <a:pt x="3892576" y="6029026"/>
                  <a:pt x="3895733" y="6027788"/>
                  <a:pt x="3894498" y="6024639"/>
                </a:cubicBezTo>
                <a:cubicBezTo>
                  <a:pt x="3923604" y="6005958"/>
                  <a:pt x="3899718" y="6000791"/>
                  <a:pt x="3886542" y="5995059"/>
                </a:cubicBezTo>
                <a:lnTo>
                  <a:pt x="3885307" y="5991910"/>
                </a:lnTo>
                <a:lnTo>
                  <a:pt x="3884732" y="5991859"/>
                </a:lnTo>
                <a:lnTo>
                  <a:pt x="3878001" y="5979958"/>
                </a:lnTo>
                <a:cubicBezTo>
                  <a:pt x="3868408" y="5968562"/>
                  <a:pt x="3855899" y="5968018"/>
                  <a:pt x="3842616" y="5975952"/>
                </a:cubicBezTo>
                <a:cubicBezTo>
                  <a:pt x="3842616" y="5975952"/>
                  <a:pt x="3843851" y="5979101"/>
                  <a:pt x="3843851" y="5979101"/>
                </a:cubicBezTo>
                <a:cubicBezTo>
                  <a:pt x="3843851" y="5979101"/>
                  <a:pt x="3843851" y="5979101"/>
                  <a:pt x="3845086" y="5982250"/>
                </a:cubicBezTo>
                <a:cubicBezTo>
                  <a:pt x="3845086" y="5982250"/>
                  <a:pt x="3845086" y="5982250"/>
                  <a:pt x="3846321" y="5985399"/>
                </a:cubicBezTo>
                <a:cubicBezTo>
                  <a:pt x="3846321" y="5985399"/>
                  <a:pt x="3846321" y="5985399"/>
                  <a:pt x="3850714" y="5987310"/>
                </a:cubicBezTo>
                <a:cubicBezTo>
                  <a:pt x="3853871" y="5986072"/>
                  <a:pt x="3858264" y="5987982"/>
                  <a:pt x="3862656" y="5989893"/>
                </a:cubicBezTo>
                <a:lnTo>
                  <a:pt x="3884732" y="5991859"/>
                </a:lnTo>
                <a:lnTo>
                  <a:pt x="3886542" y="5995059"/>
                </a:lnTo>
                <a:cubicBezTo>
                  <a:pt x="3886542" y="5995059"/>
                  <a:pt x="3886542" y="5995059"/>
                  <a:pt x="3882148" y="5993148"/>
                </a:cubicBezTo>
                <a:cubicBezTo>
                  <a:pt x="3883383" y="5996297"/>
                  <a:pt x="3881461" y="6000685"/>
                  <a:pt x="3881461" y="6000685"/>
                </a:cubicBezTo>
                <a:cubicBezTo>
                  <a:pt x="3877617" y="6009459"/>
                  <a:pt x="3870066" y="6008787"/>
                  <a:pt x="3865674" y="6006876"/>
                </a:cubicBezTo>
                <a:cubicBezTo>
                  <a:pt x="3862517" y="6008114"/>
                  <a:pt x="3858124" y="6006204"/>
                  <a:pt x="3854966" y="6007442"/>
                </a:cubicBezTo>
                <a:cubicBezTo>
                  <a:pt x="3854966" y="6007442"/>
                  <a:pt x="3851809" y="6008680"/>
                  <a:pt x="3850574" y="6005531"/>
                </a:cubicBezTo>
                <a:cubicBezTo>
                  <a:pt x="3850574" y="6005531"/>
                  <a:pt x="3849339" y="6002382"/>
                  <a:pt x="3848104" y="5999233"/>
                </a:cubicBezTo>
                <a:cubicBezTo>
                  <a:pt x="3845634" y="5992935"/>
                  <a:pt x="3844399" y="5989786"/>
                  <a:pt x="3843164" y="5986637"/>
                </a:cubicBezTo>
                <a:cubicBezTo>
                  <a:pt x="3840007" y="5987876"/>
                  <a:pt x="3832457" y="5987203"/>
                  <a:pt x="3833144" y="5979667"/>
                </a:cubicBezTo>
                <a:cubicBezTo>
                  <a:pt x="3833144" y="5979667"/>
                  <a:pt x="3836301" y="5978428"/>
                  <a:pt x="3839459" y="5977190"/>
                </a:cubicBezTo>
                <a:cubicBezTo>
                  <a:pt x="3839459" y="5977190"/>
                  <a:pt x="3838224" y="5974041"/>
                  <a:pt x="3838224" y="5974041"/>
                </a:cubicBezTo>
                <a:cubicBezTo>
                  <a:pt x="3835895" y="5949521"/>
                  <a:pt x="3824500" y="5957624"/>
                  <a:pt x="3815574" y="5972024"/>
                </a:cubicBezTo>
                <a:cubicBezTo>
                  <a:pt x="3801162" y="5963143"/>
                  <a:pt x="3784827" y="5958649"/>
                  <a:pt x="3770415" y="5949768"/>
                </a:cubicBezTo>
                <a:cubicBezTo>
                  <a:pt x="3756283" y="5904443"/>
                  <a:pt x="3717985" y="5890395"/>
                  <a:pt x="3679687" y="5876348"/>
                </a:cubicBezTo>
                <a:cubicBezTo>
                  <a:pt x="3677765" y="5880735"/>
                  <a:pt x="3679000" y="5883884"/>
                  <a:pt x="3675843" y="5885123"/>
                </a:cubicBezTo>
                <a:cubicBezTo>
                  <a:pt x="3675843" y="5885123"/>
                  <a:pt x="3675843" y="5885123"/>
                  <a:pt x="3677078" y="5888272"/>
                </a:cubicBezTo>
                <a:cubicBezTo>
                  <a:pt x="3673921" y="5889510"/>
                  <a:pt x="3673921" y="5889510"/>
                  <a:pt x="3671998" y="5893897"/>
                </a:cubicBezTo>
                <a:cubicBezTo>
                  <a:pt x="3661290" y="5894463"/>
                  <a:pt x="3651270" y="5887493"/>
                  <a:pt x="3641250" y="5880522"/>
                </a:cubicBezTo>
                <a:cubicBezTo>
                  <a:pt x="3643173" y="5876135"/>
                  <a:pt x="3641938" y="5872986"/>
                  <a:pt x="3640703" y="5869837"/>
                </a:cubicBezTo>
                <a:cubicBezTo>
                  <a:pt x="3643861" y="5868599"/>
                  <a:pt x="3643861" y="5868599"/>
                  <a:pt x="3643861" y="5868599"/>
                </a:cubicBezTo>
                <a:cubicBezTo>
                  <a:pt x="3645783" y="5864211"/>
                  <a:pt x="3647705" y="5859824"/>
                  <a:pt x="3645236" y="5853526"/>
                </a:cubicBezTo>
                <a:cubicBezTo>
                  <a:pt x="3633293" y="5850943"/>
                  <a:pt x="3622586" y="5851509"/>
                  <a:pt x="3609956" y="5856462"/>
                </a:cubicBezTo>
                <a:cubicBezTo>
                  <a:pt x="3601171" y="5852641"/>
                  <a:pt x="3580991" y="5856921"/>
                  <a:pt x="3584289" y="5837461"/>
                </a:cubicBezTo>
                <a:cubicBezTo>
                  <a:pt x="3583053" y="5834312"/>
                  <a:pt x="3581818" y="5831163"/>
                  <a:pt x="3580583" y="5828014"/>
                </a:cubicBezTo>
                <a:cubicBezTo>
                  <a:pt x="3579348" y="5824865"/>
                  <a:pt x="3583194" y="5816091"/>
                  <a:pt x="3573721" y="5819805"/>
                </a:cubicBezTo>
                <a:cubicBezTo>
                  <a:pt x="3573721" y="5819805"/>
                  <a:pt x="3576191" y="5826103"/>
                  <a:pt x="3577426" y="5829252"/>
                </a:cubicBezTo>
                <a:cubicBezTo>
                  <a:pt x="3578661" y="5832401"/>
                  <a:pt x="3583053" y="5834312"/>
                  <a:pt x="3584289" y="5837461"/>
                </a:cubicBezTo>
                <a:cubicBezTo>
                  <a:pt x="3567954" y="5832967"/>
                  <a:pt x="3557386" y="5815311"/>
                  <a:pt x="3538442" y="5822741"/>
                </a:cubicBezTo>
                <a:cubicBezTo>
                  <a:pt x="3536659" y="5808907"/>
                  <a:pt x="3559308" y="5810924"/>
                  <a:pt x="3549976" y="5796417"/>
                </a:cubicBezTo>
                <a:cubicBezTo>
                  <a:pt x="3551899" y="5792030"/>
                  <a:pt x="3549428" y="5785732"/>
                  <a:pt x="3543114" y="5788209"/>
                </a:cubicBezTo>
                <a:cubicBezTo>
                  <a:pt x="3531859" y="5778089"/>
                  <a:pt x="3520604" y="5767969"/>
                  <a:pt x="3504817" y="5774161"/>
                </a:cubicBezTo>
                <a:cubicBezTo>
                  <a:pt x="3502346" y="5767863"/>
                  <a:pt x="3496032" y="5770340"/>
                  <a:pt x="3488482" y="5769667"/>
                </a:cubicBezTo>
                <a:cubicBezTo>
                  <a:pt x="3494109" y="5774727"/>
                  <a:pt x="3498502" y="5776638"/>
                  <a:pt x="3506052" y="5777310"/>
                </a:cubicBezTo>
                <a:cubicBezTo>
                  <a:pt x="3502894" y="5778548"/>
                  <a:pt x="3507287" y="5780459"/>
                  <a:pt x="3508522" y="5783608"/>
                </a:cubicBezTo>
                <a:cubicBezTo>
                  <a:pt x="3514149" y="5788668"/>
                  <a:pt x="3527327" y="5794400"/>
                  <a:pt x="3523481" y="5803175"/>
                </a:cubicBezTo>
                <a:cubicBezTo>
                  <a:pt x="3520324" y="5804413"/>
                  <a:pt x="3518402" y="5808800"/>
                  <a:pt x="3518402" y="5808800"/>
                </a:cubicBezTo>
                <a:cubicBezTo>
                  <a:pt x="3505224" y="5803068"/>
                  <a:pt x="3497127" y="5791710"/>
                  <a:pt x="3485184" y="5789127"/>
                </a:cubicBezTo>
                <a:cubicBezTo>
                  <a:pt x="3460065" y="5780812"/>
                  <a:pt x="3457047" y="5763828"/>
                  <a:pt x="3454029" y="5746845"/>
                </a:cubicBezTo>
                <a:cubicBezTo>
                  <a:pt x="3452794" y="5743696"/>
                  <a:pt x="3451559" y="5740547"/>
                  <a:pt x="3450324" y="5737398"/>
                </a:cubicBezTo>
                <a:cubicBezTo>
                  <a:pt x="3447167" y="5738636"/>
                  <a:pt x="3444009" y="5739875"/>
                  <a:pt x="3439617" y="5737964"/>
                </a:cubicBezTo>
                <a:cubicBezTo>
                  <a:pt x="3440852" y="5741113"/>
                  <a:pt x="3437695" y="5742351"/>
                  <a:pt x="3434537" y="5743590"/>
                </a:cubicBezTo>
                <a:cubicBezTo>
                  <a:pt x="3407355" y="5757883"/>
                  <a:pt x="3388002" y="5736406"/>
                  <a:pt x="3371120" y="5721227"/>
                </a:cubicBezTo>
                <a:cubicBezTo>
                  <a:pt x="3369885" y="5718078"/>
                  <a:pt x="3373043" y="5716839"/>
                  <a:pt x="3376200" y="5715601"/>
                </a:cubicBezTo>
                <a:cubicBezTo>
                  <a:pt x="3379358" y="5714363"/>
                  <a:pt x="3382515" y="5713124"/>
                  <a:pt x="3382515" y="5713124"/>
                </a:cubicBezTo>
                <a:cubicBezTo>
                  <a:pt x="3388830" y="5710648"/>
                  <a:pt x="3387595" y="5707499"/>
                  <a:pt x="3390753" y="5706261"/>
                </a:cubicBezTo>
                <a:cubicBezTo>
                  <a:pt x="3389518" y="5703112"/>
                  <a:pt x="3389518" y="5703112"/>
                  <a:pt x="3388282" y="5699962"/>
                </a:cubicBezTo>
                <a:cubicBezTo>
                  <a:pt x="3387047" y="5696813"/>
                  <a:pt x="3383890" y="5698052"/>
                  <a:pt x="3380733" y="5699290"/>
                </a:cubicBezTo>
                <a:cubicBezTo>
                  <a:pt x="3372635" y="5687932"/>
                  <a:pt x="3360005" y="5692885"/>
                  <a:pt x="3348062" y="5690302"/>
                </a:cubicBezTo>
                <a:cubicBezTo>
                  <a:pt x="3344358" y="5680855"/>
                  <a:pt x="3343810" y="5670170"/>
                  <a:pt x="3329945" y="5671974"/>
                </a:cubicBezTo>
                <a:cubicBezTo>
                  <a:pt x="3321161" y="5668152"/>
                  <a:pt x="3314298" y="5659944"/>
                  <a:pt x="3300433" y="5661748"/>
                </a:cubicBezTo>
                <a:cubicBezTo>
                  <a:pt x="3294258" y="5646003"/>
                  <a:pt x="3286161" y="5634645"/>
                  <a:pt x="3269138" y="5637688"/>
                </a:cubicBezTo>
                <a:cubicBezTo>
                  <a:pt x="3271608" y="5643986"/>
                  <a:pt x="3272843" y="5647135"/>
                  <a:pt x="3275313" y="5653432"/>
                </a:cubicBezTo>
                <a:cubicBezTo>
                  <a:pt x="3275313" y="5653432"/>
                  <a:pt x="3276548" y="5656582"/>
                  <a:pt x="3276548" y="5656582"/>
                </a:cubicBezTo>
                <a:cubicBezTo>
                  <a:pt x="3274626" y="5660969"/>
                  <a:pt x="3277096" y="5667267"/>
                  <a:pt x="3278331" y="5670416"/>
                </a:cubicBezTo>
                <a:cubicBezTo>
                  <a:pt x="3253211" y="5662101"/>
                  <a:pt x="3233171" y="5648160"/>
                  <a:pt x="3213131" y="5634219"/>
                </a:cubicBezTo>
                <a:cubicBezTo>
                  <a:pt x="3219446" y="5631743"/>
                  <a:pt x="3222604" y="5630504"/>
                  <a:pt x="3225762" y="5629266"/>
                </a:cubicBezTo>
                <a:cubicBezTo>
                  <a:pt x="3228918" y="5628028"/>
                  <a:pt x="3228918" y="5628028"/>
                  <a:pt x="3228918" y="5628028"/>
                </a:cubicBezTo>
                <a:cubicBezTo>
                  <a:pt x="3232076" y="5626789"/>
                  <a:pt x="3235234" y="5625551"/>
                  <a:pt x="3241549" y="5623074"/>
                </a:cubicBezTo>
                <a:cubicBezTo>
                  <a:pt x="3232216" y="5608567"/>
                  <a:pt x="3226041" y="5592822"/>
                  <a:pt x="3203939" y="5601490"/>
                </a:cubicBezTo>
                <a:cubicBezTo>
                  <a:pt x="3201469" y="5595192"/>
                  <a:pt x="3193919" y="5594520"/>
                  <a:pt x="3189526" y="5592609"/>
                </a:cubicBezTo>
                <a:cubicBezTo>
                  <a:pt x="3185821" y="5583162"/>
                  <a:pt x="3180194" y="5578102"/>
                  <a:pt x="3169487" y="5578668"/>
                </a:cubicBezTo>
                <a:cubicBezTo>
                  <a:pt x="3148759" y="5572264"/>
                  <a:pt x="3137644" y="5543922"/>
                  <a:pt x="3111150" y="5550680"/>
                </a:cubicBezTo>
                <a:cubicBezTo>
                  <a:pt x="3095502" y="5538649"/>
                  <a:pt x="3095782" y="5502206"/>
                  <a:pt x="3063520" y="5522126"/>
                </a:cubicBezTo>
                <a:cubicBezTo>
                  <a:pt x="3064755" y="5525275"/>
                  <a:pt x="3065990" y="5528424"/>
                  <a:pt x="3067225" y="5531573"/>
                </a:cubicBezTo>
                <a:cubicBezTo>
                  <a:pt x="3068460" y="5534722"/>
                  <a:pt x="3069695" y="5537871"/>
                  <a:pt x="3070930" y="5541020"/>
                </a:cubicBezTo>
                <a:cubicBezTo>
                  <a:pt x="3073400" y="5547317"/>
                  <a:pt x="3074635" y="5550467"/>
                  <a:pt x="3077104" y="5556765"/>
                </a:cubicBezTo>
                <a:cubicBezTo>
                  <a:pt x="3057065" y="5542824"/>
                  <a:pt x="3038260" y="5532032"/>
                  <a:pt x="3022613" y="5520001"/>
                </a:cubicBezTo>
                <a:cubicBezTo>
                  <a:pt x="3010123" y="5506733"/>
                  <a:pt x="3008748" y="5521806"/>
                  <a:pt x="3001198" y="5521133"/>
                </a:cubicBezTo>
                <a:cubicBezTo>
                  <a:pt x="2998728" y="5514835"/>
                  <a:pt x="2995023" y="5505388"/>
                  <a:pt x="2992553" y="5499090"/>
                </a:cubicBezTo>
                <a:cubicBezTo>
                  <a:pt x="2988160" y="5497180"/>
                  <a:pt x="2986925" y="5494031"/>
                  <a:pt x="2980611" y="5496507"/>
                </a:cubicBezTo>
                <a:cubicBezTo>
                  <a:pt x="2976218" y="5494597"/>
                  <a:pt x="2973060" y="5495835"/>
                  <a:pt x="2966746" y="5498311"/>
                </a:cubicBezTo>
                <a:cubicBezTo>
                  <a:pt x="2954255" y="5485043"/>
                  <a:pt x="2932841" y="5486175"/>
                  <a:pt x="2928588" y="5466042"/>
                </a:cubicBezTo>
                <a:cubicBezTo>
                  <a:pt x="2922273" y="5468518"/>
                  <a:pt x="2917881" y="5466608"/>
                  <a:pt x="2914176" y="5457161"/>
                </a:cubicBezTo>
                <a:cubicBezTo>
                  <a:pt x="2891526" y="5455144"/>
                  <a:pt x="2869564" y="5445590"/>
                  <a:pt x="2851446" y="5427262"/>
                </a:cubicBezTo>
                <a:cubicBezTo>
                  <a:pt x="2850211" y="5424113"/>
                  <a:pt x="2850211" y="5424113"/>
                  <a:pt x="2850211" y="5424113"/>
                </a:cubicBezTo>
                <a:cubicBezTo>
                  <a:pt x="2830719" y="5420857"/>
                  <a:pt x="2813149" y="5413214"/>
                  <a:pt x="2804504" y="5391171"/>
                </a:cubicBezTo>
                <a:lnTo>
                  <a:pt x="2805739" y="5394320"/>
                </a:lnTo>
                <a:cubicBezTo>
                  <a:pt x="2783090" y="5392303"/>
                  <a:pt x="2765520" y="5384660"/>
                  <a:pt x="2753717" y="5363855"/>
                </a:cubicBezTo>
                <a:cubicBezTo>
                  <a:pt x="2735460" y="5363749"/>
                  <a:pt x="2722970" y="5350480"/>
                  <a:pt x="2705400" y="5342837"/>
                </a:cubicBezTo>
                <a:cubicBezTo>
                  <a:pt x="2709385" y="5315841"/>
                  <a:pt x="2701288" y="5304483"/>
                  <a:pt x="2679873" y="5305615"/>
                </a:cubicBezTo>
                <a:cubicBezTo>
                  <a:pt x="2673558" y="5308091"/>
                  <a:pt x="2676028" y="5314389"/>
                  <a:pt x="2677263" y="5317538"/>
                </a:cubicBezTo>
                <a:cubicBezTo>
                  <a:pt x="2678498" y="5320687"/>
                  <a:pt x="2681655" y="5319449"/>
                  <a:pt x="2681655" y="5319449"/>
                </a:cubicBezTo>
                <a:cubicBezTo>
                  <a:pt x="2682890" y="5322598"/>
                  <a:pt x="2682890" y="5322598"/>
                  <a:pt x="2682890" y="5322598"/>
                </a:cubicBezTo>
                <a:cubicBezTo>
                  <a:pt x="2686047" y="5321360"/>
                  <a:pt x="2684125" y="5325747"/>
                  <a:pt x="2684125" y="5325747"/>
                </a:cubicBezTo>
                <a:cubicBezTo>
                  <a:pt x="2680968" y="5326985"/>
                  <a:pt x="2682203" y="5330134"/>
                  <a:pt x="2679045" y="5331373"/>
                </a:cubicBezTo>
                <a:cubicBezTo>
                  <a:pt x="2677810" y="5328224"/>
                  <a:pt x="2677810" y="5328224"/>
                  <a:pt x="2677810" y="5328224"/>
                </a:cubicBezTo>
                <a:cubicBezTo>
                  <a:pt x="2676575" y="5325075"/>
                  <a:pt x="2675340" y="5321926"/>
                  <a:pt x="2674105" y="5318777"/>
                </a:cubicBezTo>
                <a:cubicBezTo>
                  <a:pt x="2647610" y="5325534"/>
                  <a:pt x="2639653" y="5295954"/>
                  <a:pt x="2617003" y="5293937"/>
                </a:cubicBezTo>
                <a:cubicBezTo>
                  <a:pt x="2615221" y="5280103"/>
                  <a:pt x="2636635" y="5278971"/>
                  <a:pt x="2629773" y="5270762"/>
                </a:cubicBezTo>
                <a:cubicBezTo>
                  <a:pt x="2619753" y="5263792"/>
                  <a:pt x="2605341" y="5254911"/>
                  <a:pt x="2594633" y="5255477"/>
                </a:cubicBezTo>
                <a:cubicBezTo>
                  <a:pt x="2583926" y="5256043"/>
                  <a:pt x="2597651" y="5272460"/>
                  <a:pt x="2589413" y="5279324"/>
                </a:cubicBezTo>
                <a:cubicBezTo>
                  <a:pt x="2563746" y="5260323"/>
                  <a:pt x="2537391" y="5248859"/>
                  <a:pt x="2509801" y="5234246"/>
                </a:cubicBezTo>
                <a:cubicBezTo>
                  <a:pt x="2475349" y="5211423"/>
                  <a:pt x="2437052" y="5197376"/>
                  <a:pt x="2407680" y="5168928"/>
                </a:cubicBezTo>
                <a:cubicBezTo>
                  <a:pt x="2373087" y="5164328"/>
                  <a:pt x="2350577" y="5144089"/>
                  <a:pt x="2322988" y="5129475"/>
                </a:cubicBezTo>
                <a:cubicBezTo>
                  <a:pt x="2298555" y="5113623"/>
                  <a:pt x="2269043" y="5103398"/>
                  <a:pt x="2245298" y="5080010"/>
                </a:cubicBezTo>
                <a:cubicBezTo>
                  <a:pt x="2225946" y="5058532"/>
                  <a:pt x="2188744" y="5065856"/>
                  <a:pt x="2178316" y="5029978"/>
                </a:cubicBezTo>
                <a:cubicBezTo>
                  <a:pt x="2173376" y="5017382"/>
                  <a:pt x="2159372" y="5037408"/>
                  <a:pt x="2154432" y="5024812"/>
                </a:cubicBezTo>
                <a:cubicBezTo>
                  <a:pt x="2150039" y="5022901"/>
                  <a:pt x="2145647" y="5020990"/>
                  <a:pt x="2141254" y="5019080"/>
                </a:cubicBezTo>
                <a:cubicBezTo>
                  <a:pt x="2122449" y="5008288"/>
                  <a:pt x="2100487" y="4998734"/>
                  <a:pt x="2081682" y="4987942"/>
                </a:cubicBezTo>
                <a:cubicBezTo>
                  <a:pt x="2077290" y="4986031"/>
                  <a:pt x="2072897" y="4984121"/>
                  <a:pt x="2068505" y="4982210"/>
                </a:cubicBezTo>
                <a:cubicBezTo>
                  <a:pt x="2049700" y="4971418"/>
                  <a:pt x="2027738" y="4961864"/>
                  <a:pt x="2014013" y="4945447"/>
                </a:cubicBezTo>
                <a:cubicBezTo>
                  <a:pt x="2000148" y="4947251"/>
                  <a:pt x="1992050" y="4935893"/>
                  <a:pt x="1983265" y="4932072"/>
                </a:cubicBezTo>
                <a:cubicBezTo>
                  <a:pt x="1968166" y="4930727"/>
                  <a:pt x="1958833" y="4916220"/>
                  <a:pt x="1948813" y="4909250"/>
                </a:cubicBezTo>
                <a:cubicBezTo>
                  <a:pt x="1946343" y="4902952"/>
                  <a:pt x="1945108" y="4899803"/>
                  <a:pt x="1942638" y="4893505"/>
                </a:cubicBezTo>
                <a:cubicBezTo>
                  <a:pt x="1938246" y="4891594"/>
                  <a:pt x="1936323" y="4895981"/>
                  <a:pt x="1934401" y="4900369"/>
                </a:cubicBezTo>
                <a:cubicBezTo>
                  <a:pt x="1906124" y="4893291"/>
                  <a:pt x="1879769" y="4881827"/>
                  <a:pt x="1868654" y="4853486"/>
                </a:cubicBezTo>
                <a:cubicBezTo>
                  <a:pt x="1873046" y="4855397"/>
                  <a:pt x="1876204" y="4854158"/>
                  <a:pt x="1880596" y="4856069"/>
                </a:cubicBezTo>
                <a:cubicBezTo>
                  <a:pt x="1884989" y="4857980"/>
                  <a:pt x="1892539" y="4858652"/>
                  <a:pt x="1896931" y="4860563"/>
                </a:cubicBezTo>
                <a:cubicBezTo>
                  <a:pt x="1901324" y="4862474"/>
                  <a:pt x="1904481" y="4861236"/>
                  <a:pt x="1908873" y="4863146"/>
                </a:cubicBezTo>
                <a:cubicBezTo>
                  <a:pt x="1910108" y="4866295"/>
                  <a:pt x="1910108" y="4866295"/>
                  <a:pt x="1911343" y="4869444"/>
                </a:cubicBezTo>
                <a:cubicBezTo>
                  <a:pt x="1912578" y="4872593"/>
                  <a:pt x="1915048" y="4878891"/>
                  <a:pt x="1921363" y="4876414"/>
                </a:cubicBezTo>
                <a:cubicBezTo>
                  <a:pt x="1921363" y="4876414"/>
                  <a:pt x="1921363" y="4876414"/>
                  <a:pt x="1924521" y="4875176"/>
                </a:cubicBezTo>
                <a:cubicBezTo>
                  <a:pt x="1924521" y="4875176"/>
                  <a:pt x="1925208" y="4867640"/>
                  <a:pt x="1928366" y="4866402"/>
                </a:cubicBezTo>
                <a:cubicBezTo>
                  <a:pt x="1921503" y="4858193"/>
                  <a:pt x="1914641" y="4849984"/>
                  <a:pt x="1903933" y="4850550"/>
                </a:cubicBezTo>
                <a:cubicBezTo>
                  <a:pt x="1895148" y="4846728"/>
                  <a:pt x="1878814" y="4842235"/>
                  <a:pt x="1871951" y="4834026"/>
                </a:cubicBezTo>
                <a:cubicBezTo>
                  <a:pt x="1848206" y="4810638"/>
                  <a:pt x="1832967" y="4827514"/>
                  <a:pt x="1814022" y="4834944"/>
                </a:cubicBezTo>
                <a:cubicBezTo>
                  <a:pt x="1805237" y="4831123"/>
                  <a:pt x="1799609" y="4826063"/>
                  <a:pt x="1793982" y="4821004"/>
                </a:cubicBezTo>
                <a:cubicBezTo>
                  <a:pt x="1792887" y="4799633"/>
                  <a:pt x="1822947" y="4820544"/>
                  <a:pt x="1816772" y="4804799"/>
                </a:cubicBezTo>
                <a:cubicBezTo>
                  <a:pt x="1814989" y="4790965"/>
                  <a:pt x="1800577" y="4782083"/>
                  <a:pt x="1782867" y="4792662"/>
                </a:cubicBezTo>
                <a:cubicBezTo>
                  <a:pt x="1771472" y="4800765"/>
                  <a:pt x="1765845" y="4795705"/>
                  <a:pt x="1755825" y="4788734"/>
                </a:cubicBezTo>
                <a:cubicBezTo>
                  <a:pt x="1746352" y="4792449"/>
                  <a:pt x="1739490" y="4784241"/>
                  <a:pt x="1731940" y="4783568"/>
                </a:cubicBezTo>
                <a:cubicBezTo>
                  <a:pt x="1723155" y="4779746"/>
                  <a:pt x="1717528" y="4774687"/>
                  <a:pt x="1711900" y="4769627"/>
                </a:cubicBezTo>
                <a:cubicBezTo>
                  <a:pt x="1717667" y="4756465"/>
                  <a:pt x="1729750" y="4740827"/>
                  <a:pt x="1707787" y="4731273"/>
                </a:cubicBezTo>
                <a:cubicBezTo>
                  <a:pt x="1694610" y="4725541"/>
                  <a:pt x="1692828" y="4711706"/>
                  <a:pt x="1676493" y="4707212"/>
                </a:cubicBezTo>
                <a:cubicBezTo>
                  <a:pt x="1667848" y="4685169"/>
                  <a:pt x="1653295" y="4694510"/>
                  <a:pt x="1637508" y="4700701"/>
                </a:cubicBezTo>
                <a:cubicBezTo>
                  <a:pt x="1637508" y="4700701"/>
                  <a:pt x="1638743" y="4703850"/>
                  <a:pt x="1638743" y="4703850"/>
                </a:cubicBezTo>
                <a:cubicBezTo>
                  <a:pt x="1643683" y="4716446"/>
                  <a:pt x="1654390" y="4715880"/>
                  <a:pt x="1663863" y="4712165"/>
                </a:cubicBezTo>
                <a:cubicBezTo>
                  <a:pt x="1667020" y="4710927"/>
                  <a:pt x="1667020" y="4710927"/>
                  <a:pt x="1667020" y="4710927"/>
                </a:cubicBezTo>
                <a:cubicBezTo>
                  <a:pt x="1668255" y="4714076"/>
                  <a:pt x="1668255" y="4714076"/>
                  <a:pt x="1668255" y="4714076"/>
                </a:cubicBezTo>
                <a:cubicBezTo>
                  <a:pt x="1669490" y="4717226"/>
                  <a:pt x="1669490" y="4717226"/>
                  <a:pt x="1670725" y="4720375"/>
                </a:cubicBezTo>
                <a:cubicBezTo>
                  <a:pt x="1670725" y="4720375"/>
                  <a:pt x="1671960" y="4723524"/>
                  <a:pt x="1673195" y="4726673"/>
                </a:cubicBezTo>
                <a:cubicBezTo>
                  <a:pt x="1677588" y="4728583"/>
                  <a:pt x="1677588" y="4728583"/>
                  <a:pt x="1685138" y="4729256"/>
                </a:cubicBezTo>
                <a:cubicBezTo>
                  <a:pt x="1687608" y="4735554"/>
                  <a:pt x="1688843" y="4738703"/>
                  <a:pt x="1688155" y="4746239"/>
                </a:cubicBezTo>
                <a:cubicBezTo>
                  <a:pt x="1689390" y="4749388"/>
                  <a:pt x="1686232" y="4750626"/>
                  <a:pt x="1684310" y="4755014"/>
                </a:cubicBezTo>
                <a:cubicBezTo>
                  <a:pt x="1658643" y="4736013"/>
                  <a:pt x="1622816" y="4728263"/>
                  <a:pt x="1602228" y="4703638"/>
                </a:cubicBezTo>
                <a:cubicBezTo>
                  <a:pt x="1562009" y="4693977"/>
                  <a:pt x="1547736" y="4666874"/>
                  <a:pt x="1535386" y="4635384"/>
                </a:cubicBezTo>
                <a:cubicBezTo>
                  <a:pt x="1532916" y="4629086"/>
                  <a:pt x="1531681" y="4625937"/>
                  <a:pt x="1530446" y="4622788"/>
                </a:cubicBezTo>
                <a:cubicBezTo>
                  <a:pt x="1531681" y="4625937"/>
                  <a:pt x="1528524" y="4627175"/>
                  <a:pt x="1529759" y="4630324"/>
                </a:cubicBezTo>
                <a:cubicBezTo>
                  <a:pt x="1526462" y="4649784"/>
                  <a:pt x="1515067" y="4657887"/>
                  <a:pt x="1491869" y="4645184"/>
                </a:cubicBezTo>
                <a:cubicBezTo>
                  <a:pt x="1490634" y="4642035"/>
                  <a:pt x="1495714" y="4636409"/>
                  <a:pt x="1500794" y="4630784"/>
                </a:cubicBezTo>
                <a:cubicBezTo>
                  <a:pt x="1502717" y="4626396"/>
                  <a:pt x="1504639" y="4622009"/>
                  <a:pt x="1506561" y="4617622"/>
                </a:cubicBezTo>
                <a:cubicBezTo>
                  <a:pt x="1505326" y="4614473"/>
                  <a:pt x="1504091" y="4611324"/>
                  <a:pt x="1502857" y="4608175"/>
                </a:cubicBezTo>
                <a:cubicBezTo>
                  <a:pt x="1502857" y="4608175"/>
                  <a:pt x="1502857" y="4608175"/>
                  <a:pt x="1499699" y="4609413"/>
                </a:cubicBezTo>
                <a:cubicBezTo>
                  <a:pt x="1495307" y="4607502"/>
                  <a:pt x="1492149" y="4608741"/>
                  <a:pt x="1484599" y="4608068"/>
                </a:cubicBezTo>
                <a:cubicBezTo>
                  <a:pt x="1473892" y="4608634"/>
                  <a:pt x="1463184" y="4609199"/>
                  <a:pt x="1451242" y="4606616"/>
                </a:cubicBezTo>
                <a:cubicBezTo>
                  <a:pt x="1443692" y="4605944"/>
                  <a:pt x="1432985" y="4606510"/>
                  <a:pt x="1426122" y="4598301"/>
                </a:cubicBezTo>
                <a:cubicBezTo>
                  <a:pt x="1414867" y="4588182"/>
                  <a:pt x="1400455" y="4579301"/>
                  <a:pt x="1387965" y="4566032"/>
                </a:cubicBezTo>
                <a:cubicBezTo>
                  <a:pt x="1389887" y="4561645"/>
                  <a:pt x="1391810" y="4557258"/>
                  <a:pt x="1396890" y="4551632"/>
                </a:cubicBezTo>
                <a:cubicBezTo>
                  <a:pt x="1401970" y="4546006"/>
                  <a:pt x="1408285" y="4543530"/>
                  <a:pt x="1414600" y="4541053"/>
                </a:cubicBezTo>
                <a:cubicBezTo>
                  <a:pt x="1417757" y="4539815"/>
                  <a:pt x="1420915" y="4538576"/>
                  <a:pt x="1424072" y="4537338"/>
                </a:cubicBezTo>
                <a:cubicBezTo>
                  <a:pt x="1426135" y="4514729"/>
                  <a:pt x="1418037" y="4503371"/>
                  <a:pt x="1397997" y="4489430"/>
                </a:cubicBezTo>
                <a:cubicBezTo>
                  <a:pt x="1372330" y="4470429"/>
                  <a:pt x="1338973" y="4468978"/>
                  <a:pt x="1316463" y="4448739"/>
                </a:cubicBezTo>
                <a:cubicBezTo>
                  <a:pt x="1312070" y="4446828"/>
                  <a:pt x="1312070" y="4446828"/>
                  <a:pt x="1307678" y="4444918"/>
                </a:cubicBezTo>
                <a:cubicBezTo>
                  <a:pt x="1282558" y="4436602"/>
                  <a:pt x="1263206" y="4415125"/>
                  <a:pt x="1234241" y="4415585"/>
                </a:cubicBezTo>
                <a:cubicBezTo>
                  <a:pt x="1234241" y="4415585"/>
                  <a:pt x="1233006" y="4412435"/>
                  <a:pt x="1231771" y="4409286"/>
                </a:cubicBezTo>
                <a:cubicBezTo>
                  <a:pt x="1231771" y="4409286"/>
                  <a:pt x="1228614" y="4410525"/>
                  <a:pt x="1227379" y="4407376"/>
                </a:cubicBezTo>
                <a:cubicBezTo>
                  <a:pt x="1222986" y="4405465"/>
                  <a:pt x="1217359" y="4400405"/>
                  <a:pt x="1212966" y="4398494"/>
                </a:cubicBezTo>
                <a:cubicBezTo>
                  <a:pt x="1207339" y="4393435"/>
                  <a:pt x="1206104" y="4390286"/>
                  <a:pt x="1202399" y="4380839"/>
                </a:cubicBezTo>
                <a:cubicBezTo>
                  <a:pt x="1191691" y="4381404"/>
                  <a:pt x="1183594" y="4370047"/>
                  <a:pt x="1169042" y="4379387"/>
                </a:cubicBezTo>
                <a:cubicBezTo>
                  <a:pt x="1167807" y="4376238"/>
                  <a:pt x="1166572" y="4373089"/>
                  <a:pt x="1163414" y="4374328"/>
                </a:cubicBezTo>
                <a:cubicBezTo>
                  <a:pt x="1159021" y="4372417"/>
                  <a:pt x="1159021" y="4372417"/>
                  <a:pt x="1155864" y="4373655"/>
                </a:cubicBezTo>
                <a:cubicBezTo>
                  <a:pt x="1150237" y="4368595"/>
                  <a:pt x="1149002" y="4365446"/>
                  <a:pt x="1141452" y="4364774"/>
                </a:cubicBezTo>
                <a:cubicBezTo>
                  <a:pt x="1135824" y="4359714"/>
                  <a:pt x="1130197" y="4354654"/>
                  <a:pt x="1119489" y="4355220"/>
                </a:cubicBezTo>
                <a:lnTo>
                  <a:pt x="1118254" y="4352071"/>
                </a:lnTo>
                <a:cubicBezTo>
                  <a:pt x="1115784" y="4345773"/>
                  <a:pt x="1111392" y="4343862"/>
                  <a:pt x="1105077" y="4346339"/>
                </a:cubicBezTo>
                <a:cubicBezTo>
                  <a:pt x="1103842" y="4343190"/>
                  <a:pt x="1103842" y="4343190"/>
                  <a:pt x="1102607" y="4340041"/>
                </a:cubicBezTo>
                <a:cubicBezTo>
                  <a:pt x="1102607" y="4340041"/>
                  <a:pt x="1101372" y="4336892"/>
                  <a:pt x="1101372" y="4336892"/>
                </a:cubicBezTo>
                <a:cubicBezTo>
                  <a:pt x="1098214" y="4338130"/>
                  <a:pt x="1095057" y="4339369"/>
                  <a:pt x="1091900" y="4340607"/>
                </a:cubicBezTo>
                <a:cubicBezTo>
                  <a:pt x="1086272" y="4335547"/>
                  <a:pt x="1083802" y="4329249"/>
                  <a:pt x="1077487" y="4331726"/>
                </a:cubicBezTo>
                <a:cubicBezTo>
                  <a:pt x="1075017" y="4325428"/>
                  <a:pt x="1069390" y="4320368"/>
                  <a:pt x="1066920" y="4314070"/>
                </a:cubicBezTo>
                <a:cubicBezTo>
                  <a:pt x="1065685" y="4310921"/>
                  <a:pt x="1063762" y="4315308"/>
                  <a:pt x="1063762" y="4315308"/>
                </a:cubicBezTo>
                <a:cubicBezTo>
                  <a:pt x="1063762" y="4315308"/>
                  <a:pt x="1063762" y="4315308"/>
                  <a:pt x="1060605" y="4316546"/>
                </a:cubicBezTo>
                <a:cubicBezTo>
                  <a:pt x="1060605" y="4316546"/>
                  <a:pt x="1059370" y="4313397"/>
                  <a:pt x="1057447" y="4317785"/>
                </a:cubicBezTo>
                <a:cubicBezTo>
                  <a:pt x="1048663" y="4313963"/>
                  <a:pt x="1041112" y="4313291"/>
                  <a:pt x="1036720" y="4311380"/>
                </a:cubicBezTo>
                <a:cubicBezTo>
                  <a:pt x="1031093" y="4306320"/>
                  <a:pt x="1029858" y="4303171"/>
                  <a:pt x="1027388" y="4296873"/>
                </a:cubicBezTo>
                <a:cubicBezTo>
                  <a:pt x="1022995" y="4294963"/>
                  <a:pt x="1022995" y="4294963"/>
                  <a:pt x="1021760" y="4291814"/>
                </a:cubicBezTo>
                <a:cubicBezTo>
                  <a:pt x="1019430" y="4267294"/>
                  <a:pt x="1004878" y="4276634"/>
                  <a:pt x="991013" y="4278438"/>
                </a:cubicBezTo>
                <a:cubicBezTo>
                  <a:pt x="987856" y="4279677"/>
                  <a:pt x="987856" y="4279677"/>
                  <a:pt x="984698" y="4280915"/>
                </a:cubicBezTo>
                <a:cubicBezTo>
                  <a:pt x="982228" y="4274617"/>
                  <a:pt x="973443" y="4270796"/>
                  <a:pt x="965893" y="4270123"/>
                </a:cubicBezTo>
                <a:lnTo>
                  <a:pt x="961501" y="4268213"/>
                </a:lnTo>
                <a:cubicBezTo>
                  <a:pt x="954638" y="4260004"/>
                  <a:pt x="947776" y="4251795"/>
                  <a:pt x="937068" y="4252361"/>
                </a:cubicBezTo>
                <a:cubicBezTo>
                  <a:pt x="931441" y="4247301"/>
                  <a:pt x="927048" y="4245390"/>
                  <a:pt x="921421" y="4240331"/>
                </a:cubicBezTo>
                <a:cubicBezTo>
                  <a:pt x="920185" y="4237182"/>
                  <a:pt x="915793" y="4235271"/>
                  <a:pt x="910166" y="4230211"/>
                </a:cubicBezTo>
                <a:cubicBezTo>
                  <a:pt x="910166" y="4230211"/>
                  <a:pt x="907009" y="4231449"/>
                  <a:pt x="907009" y="4231449"/>
                </a:cubicBezTo>
                <a:cubicBezTo>
                  <a:pt x="907009" y="4231449"/>
                  <a:pt x="903851" y="4232688"/>
                  <a:pt x="903851" y="4232688"/>
                </a:cubicBezTo>
                <a:cubicBezTo>
                  <a:pt x="899458" y="4230777"/>
                  <a:pt x="896301" y="4232015"/>
                  <a:pt x="889986" y="4234492"/>
                </a:cubicBezTo>
                <a:cubicBezTo>
                  <a:pt x="883124" y="4226283"/>
                  <a:pt x="876261" y="4218074"/>
                  <a:pt x="869399" y="4209865"/>
                </a:cubicBezTo>
                <a:cubicBezTo>
                  <a:pt x="869399" y="4209865"/>
                  <a:pt x="869399" y="4209865"/>
                  <a:pt x="866241" y="4211104"/>
                </a:cubicBezTo>
                <a:cubicBezTo>
                  <a:pt x="866929" y="4203567"/>
                  <a:pt x="868851" y="4199180"/>
                  <a:pt x="875166" y="4196704"/>
                </a:cubicBezTo>
                <a:cubicBezTo>
                  <a:pt x="875166" y="4196704"/>
                  <a:pt x="875166" y="4196704"/>
                  <a:pt x="879559" y="4198614"/>
                </a:cubicBezTo>
                <a:cubicBezTo>
                  <a:pt x="888344" y="4202436"/>
                  <a:pt x="897129" y="4206257"/>
                  <a:pt x="906601" y="4202542"/>
                </a:cubicBezTo>
                <a:cubicBezTo>
                  <a:pt x="906601" y="4202542"/>
                  <a:pt x="909759" y="4201304"/>
                  <a:pt x="912916" y="4200066"/>
                </a:cubicBezTo>
                <a:cubicBezTo>
                  <a:pt x="914151" y="4203215"/>
                  <a:pt x="915386" y="4206364"/>
                  <a:pt x="916621" y="4209513"/>
                </a:cubicBezTo>
                <a:cubicBezTo>
                  <a:pt x="916621" y="4209513"/>
                  <a:pt x="916621" y="4209513"/>
                  <a:pt x="917856" y="4212662"/>
                </a:cubicBezTo>
                <a:cubicBezTo>
                  <a:pt x="922248" y="4214573"/>
                  <a:pt x="925406" y="4213334"/>
                  <a:pt x="925406" y="4213334"/>
                </a:cubicBezTo>
                <a:cubicBezTo>
                  <a:pt x="931721" y="4210858"/>
                  <a:pt x="924859" y="4202649"/>
                  <a:pt x="922388" y="4196351"/>
                </a:cubicBezTo>
                <a:cubicBezTo>
                  <a:pt x="922388" y="4196351"/>
                  <a:pt x="919231" y="4197589"/>
                  <a:pt x="916073" y="4198827"/>
                </a:cubicBezTo>
                <a:cubicBezTo>
                  <a:pt x="907289" y="4195006"/>
                  <a:pt x="900426" y="4186797"/>
                  <a:pt x="891641" y="4182976"/>
                </a:cubicBezTo>
                <a:cubicBezTo>
                  <a:pt x="884779" y="4174767"/>
                  <a:pt x="897548" y="4151592"/>
                  <a:pt x="874211" y="4157111"/>
                </a:cubicBezTo>
                <a:cubicBezTo>
                  <a:pt x="863504" y="4157677"/>
                  <a:pt x="854719" y="4153856"/>
                  <a:pt x="845934" y="4150034"/>
                </a:cubicBezTo>
                <a:cubicBezTo>
                  <a:pt x="845934" y="4150034"/>
                  <a:pt x="844011" y="4154421"/>
                  <a:pt x="848404" y="4156332"/>
                </a:cubicBezTo>
                <a:cubicBezTo>
                  <a:pt x="848404" y="4156332"/>
                  <a:pt x="845246" y="4157570"/>
                  <a:pt x="845246" y="4157570"/>
                </a:cubicBezTo>
                <a:cubicBezTo>
                  <a:pt x="845246" y="4157570"/>
                  <a:pt x="845246" y="4157570"/>
                  <a:pt x="842089" y="4158809"/>
                </a:cubicBezTo>
                <a:cubicBezTo>
                  <a:pt x="840854" y="4155660"/>
                  <a:pt x="837697" y="4156898"/>
                  <a:pt x="834539" y="4158136"/>
                </a:cubicBezTo>
                <a:cubicBezTo>
                  <a:pt x="834539" y="4158136"/>
                  <a:pt x="837697" y="4156898"/>
                  <a:pt x="837697" y="4156898"/>
                </a:cubicBezTo>
                <a:cubicBezTo>
                  <a:pt x="832069" y="4151838"/>
                  <a:pt x="833991" y="4147451"/>
                  <a:pt x="831521" y="4141153"/>
                </a:cubicBezTo>
                <a:cubicBezTo>
                  <a:pt x="830286" y="4138004"/>
                  <a:pt x="830974" y="4130467"/>
                  <a:pt x="832897" y="4126080"/>
                </a:cubicBezTo>
                <a:cubicBezTo>
                  <a:pt x="803244" y="4134076"/>
                  <a:pt x="788972" y="4106973"/>
                  <a:pt x="767010" y="4097419"/>
                </a:cubicBezTo>
                <a:cubicBezTo>
                  <a:pt x="762617" y="4095509"/>
                  <a:pt x="761382" y="4092359"/>
                  <a:pt x="760147" y="4089210"/>
                </a:cubicBezTo>
                <a:cubicBezTo>
                  <a:pt x="753832" y="4091687"/>
                  <a:pt x="752597" y="4088538"/>
                  <a:pt x="746970" y="4083478"/>
                </a:cubicBezTo>
                <a:cubicBezTo>
                  <a:pt x="745734" y="4080329"/>
                  <a:pt x="740107" y="4075269"/>
                  <a:pt x="730635" y="4078984"/>
                </a:cubicBezTo>
                <a:cubicBezTo>
                  <a:pt x="733105" y="4085283"/>
                  <a:pt x="734340" y="4088432"/>
                  <a:pt x="736810" y="4094730"/>
                </a:cubicBezTo>
                <a:cubicBezTo>
                  <a:pt x="742437" y="4099789"/>
                  <a:pt x="743672" y="4102938"/>
                  <a:pt x="751222" y="4103611"/>
                </a:cubicBezTo>
                <a:cubicBezTo>
                  <a:pt x="751222" y="4103611"/>
                  <a:pt x="752457" y="4106760"/>
                  <a:pt x="752457" y="4106760"/>
                </a:cubicBezTo>
                <a:cubicBezTo>
                  <a:pt x="758084" y="4111820"/>
                  <a:pt x="763712" y="4116880"/>
                  <a:pt x="770575" y="4125088"/>
                </a:cubicBezTo>
                <a:cubicBezTo>
                  <a:pt x="792537" y="4134642"/>
                  <a:pt x="810654" y="4152970"/>
                  <a:pt x="834539" y="4158136"/>
                </a:cubicBezTo>
                <a:cubicBezTo>
                  <a:pt x="835774" y="4161285"/>
                  <a:pt x="840166" y="4163196"/>
                  <a:pt x="841401" y="4166345"/>
                </a:cubicBezTo>
                <a:cubicBezTo>
                  <a:pt x="844559" y="4165107"/>
                  <a:pt x="847717" y="4163868"/>
                  <a:pt x="850874" y="4162630"/>
                </a:cubicBezTo>
                <a:cubicBezTo>
                  <a:pt x="854579" y="4172077"/>
                  <a:pt x="855126" y="4182763"/>
                  <a:pt x="848124" y="4192776"/>
                </a:cubicBezTo>
                <a:cubicBezTo>
                  <a:pt x="848124" y="4192776"/>
                  <a:pt x="843732" y="4190865"/>
                  <a:pt x="843732" y="4190865"/>
                </a:cubicBezTo>
                <a:cubicBezTo>
                  <a:pt x="837416" y="4193341"/>
                  <a:pt x="833024" y="4191431"/>
                  <a:pt x="827397" y="4186371"/>
                </a:cubicBezTo>
                <a:cubicBezTo>
                  <a:pt x="823004" y="4184460"/>
                  <a:pt x="817376" y="4179401"/>
                  <a:pt x="809827" y="4178728"/>
                </a:cubicBezTo>
                <a:cubicBezTo>
                  <a:pt x="809827" y="4178728"/>
                  <a:pt x="809827" y="4178728"/>
                  <a:pt x="806669" y="4179966"/>
                </a:cubicBezTo>
                <a:cubicBezTo>
                  <a:pt x="806669" y="4179966"/>
                  <a:pt x="805434" y="4176817"/>
                  <a:pt x="804200" y="4173668"/>
                </a:cubicBezTo>
                <a:cubicBezTo>
                  <a:pt x="798572" y="4168609"/>
                  <a:pt x="791709" y="4160400"/>
                  <a:pt x="781002" y="4160966"/>
                </a:cubicBezTo>
                <a:cubicBezTo>
                  <a:pt x="779767" y="4157817"/>
                  <a:pt x="776609" y="4159055"/>
                  <a:pt x="776609" y="4159055"/>
                </a:cubicBezTo>
                <a:cubicBezTo>
                  <a:pt x="775374" y="4155906"/>
                  <a:pt x="775374" y="4155906"/>
                  <a:pt x="775374" y="4155906"/>
                </a:cubicBezTo>
                <a:cubicBezTo>
                  <a:pt x="770982" y="4153995"/>
                  <a:pt x="769747" y="4150846"/>
                  <a:pt x="767277" y="4144548"/>
                </a:cubicBezTo>
                <a:cubicBezTo>
                  <a:pt x="767277" y="4144548"/>
                  <a:pt x="766042" y="4141399"/>
                  <a:pt x="766042" y="4141399"/>
                </a:cubicBezTo>
                <a:cubicBezTo>
                  <a:pt x="766042" y="4141399"/>
                  <a:pt x="762885" y="4142637"/>
                  <a:pt x="761650" y="4139488"/>
                </a:cubicBezTo>
                <a:cubicBezTo>
                  <a:pt x="761650" y="4139488"/>
                  <a:pt x="758492" y="4140727"/>
                  <a:pt x="755335" y="4141965"/>
                </a:cubicBezTo>
                <a:cubicBezTo>
                  <a:pt x="751629" y="4132518"/>
                  <a:pt x="748472" y="4133756"/>
                  <a:pt x="740922" y="4133084"/>
                </a:cubicBezTo>
                <a:cubicBezTo>
                  <a:pt x="737217" y="4123637"/>
                  <a:pt x="724040" y="4117905"/>
                  <a:pt x="717177" y="4109696"/>
                </a:cubicBezTo>
                <a:cubicBezTo>
                  <a:pt x="715942" y="4106547"/>
                  <a:pt x="714708" y="4103398"/>
                  <a:pt x="713473" y="4100249"/>
                </a:cubicBezTo>
                <a:cubicBezTo>
                  <a:pt x="713473" y="4100249"/>
                  <a:pt x="713473" y="4100249"/>
                  <a:pt x="712238" y="4097100"/>
                </a:cubicBezTo>
                <a:cubicBezTo>
                  <a:pt x="709080" y="4098338"/>
                  <a:pt x="709080" y="4098338"/>
                  <a:pt x="705922" y="4099576"/>
                </a:cubicBezTo>
                <a:cubicBezTo>
                  <a:pt x="705922" y="4099576"/>
                  <a:pt x="705922" y="4099576"/>
                  <a:pt x="702765" y="4100815"/>
                </a:cubicBezTo>
                <a:cubicBezTo>
                  <a:pt x="704687" y="4096427"/>
                  <a:pt x="704687" y="4096427"/>
                  <a:pt x="704687" y="4096427"/>
                </a:cubicBezTo>
                <a:cubicBezTo>
                  <a:pt x="715675" y="4059418"/>
                  <a:pt x="707717" y="4029838"/>
                  <a:pt x="679580" y="4004540"/>
                </a:cubicBezTo>
                <a:cubicBezTo>
                  <a:pt x="679580" y="4004540"/>
                  <a:pt x="678345" y="4001391"/>
                  <a:pt x="678345" y="4001391"/>
                </a:cubicBezTo>
                <a:cubicBezTo>
                  <a:pt x="681502" y="4000152"/>
                  <a:pt x="681502" y="4000152"/>
                  <a:pt x="683425" y="3995765"/>
                </a:cubicBezTo>
                <a:cubicBezTo>
                  <a:pt x="685348" y="3991378"/>
                  <a:pt x="685348" y="3991378"/>
                  <a:pt x="684113" y="3988229"/>
                </a:cubicBezTo>
                <a:cubicBezTo>
                  <a:pt x="687270" y="3986990"/>
                  <a:pt x="687270" y="3986990"/>
                  <a:pt x="687270" y="3986990"/>
                </a:cubicBezTo>
                <a:cubicBezTo>
                  <a:pt x="687270" y="3986990"/>
                  <a:pt x="690428" y="3985752"/>
                  <a:pt x="690428" y="3985752"/>
                </a:cubicBezTo>
                <a:cubicBezTo>
                  <a:pt x="696743" y="3983275"/>
                  <a:pt x="699900" y="3982037"/>
                  <a:pt x="706215" y="3979561"/>
                </a:cubicBezTo>
                <a:cubicBezTo>
                  <a:pt x="702510" y="3970113"/>
                  <a:pt x="695648" y="3961905"/>
                  <a:pt x="686863" y="3958083"/>
                </a:cubicBezTo>
                <a:cubicBezTo>
                  <a:pt x="681923" y="3945487"/>
                  <a:pt x="666275" y="3933457"/>
                  <a:pt x="680280" y="3913431"/>
                </a:cubicBezTo>
                <a:cubicBezTo>
                  <a:pt x="696067" y="3907239"/>
                  <a:pt x="699913" y="3898465"/>
                  <a:pt x="684265" y="3886434"/>
                </a:cubicBezTo>
                <a:cubicBezTo>
                  <a:pt x="674933" y="3871928"/>
                  <a:pt x="664366" y="3854272"/>
                  <a:pt x="664505" y="3836050"/>
                </a:cubicBezTo>
                <a:cubicBezTo>
                  <a:pt x="667663" y="3834812"/>
                  <a:pt x="668350" y="3827275"/>
                  <a:pt x="670273" y="3822888"/>
                </a:cubicBezTo>
                <a:cubicBezTo>
                  <a:pt x="677275" y="3812875"/>
                  <a:pt x="674805" y="3806577"/>
                  <a:pt x="671100" y="3797130"/>
                </a:cubicBezTo>
                <a:cubicBezTo>
                  <a:pt x="674945" y="3788355"/>
                  <a:pt x="678790" y="3779581"/>
                  <a:pt x="675085" y="3770134"/>
                </a:cubicBezTo>
                <a:cubicBezTo>
                  <a:pt x="680853" y="3756972"/>
                  <a:pt x="668363" y="3743703"/>
                  <a:pt x="663423" y="3731107"/>
                </a:cubicBezTo>
                <a:cubicBezTo>
                  <a:pt x="662188" y="3727958"/>
                  <a:pt x="664110" y="3723571"/>
                  <a:pt x="662875" y="3720422"/>
                </a:cubicBezTo>
                <a:cubicBezTo>
                  <a:pt x="662875" y="3720422"/>
                  <a:pt x="664798" y="3716034"/>
                  <a:pt x="664798" y="3716034"/>
                </a:cubicBezTo>
                <a:cubicBezTo>
                  <a:pt x="692667" y="3694204"/>
                  <a:pt x="673315" y="3672727"/>
                  <a:pt x="675377" y="3650118"/>
                </a:cubicBezTo>
                <a:cubicBezTo>
                  <a:pt x="680458" y="3644492"/>
                  <a:pt x="689930" y="3640777"/>
                  <a:pt x="689382" y="3630092"/>
                </a:cubicBezTo>
                <a:cubicBezTo>
                  <a:pt x="714642" y="3620185"/>
                  <a:pt x="737840" y="3632888"/>
                  <a:pt x="762959" y="3641203"/>
                </a:cubicBezTo>
                <a:cubicBezTo>
                  <a:pt x="767352" y="3643114"/>
                  <a:pt x="771745" y="3645025"/>
                  <a:pt x="779294" y="3645697"/>
                </a:cubicBezTo>
                <a:cubicBezTo>
                  <a:pt x="790549" y="3655817"/>
                  <a:pt x="807572" y="3652774"/>
                  <a:pt x="821437" y="3650970"/>
                </a:cubicBezTo>
                <a:cubicBezTo>
                  <a:pt x="828299" y="3659179"/>
                  <a:pt x="835849" y="3659851"/>
                  <a:pt x="845321" y="3656136"/>
                </a:cubicBezTo>
                <a:cubicBezTo>
                  <a:pt x="915601" y="3686708"/>
                  <a:pt x="984645" y="3714130"/>
                  <a:pt x="1053002" y="3749089"/>
                </a:cubicBezTo>
                <a:cubicBezTo>
                  <a:pt x="1070572" y="3756732"/>
                  <a:pt x="1086767" y="3779448"/>
                  <a:pt x="1112027" y="3769541"/>
                </a:cubicBezTo>
                <a:cubicBezTo>
                  <a:pt x="1114497" y="3775839"/>
                  <a:pt x="1118889" y="3777750"/>
                  <a:pt x="1126439" y="3778422"/>
                </a:cubicBezTo>
                <a:cubicBezTo>
                  <a:pt x="1143869" y="3804287"/>
                  <a:pt x="1170912" y="3808215"/>
                  <a:pt x="1197954" y="3812143"/>
                </a:cubicBezTo>
                <a:cubicBezTo>
                  <a:pt x="1203581" y="3817203"/>
                  <a:pt x="1209209" y="3822263"/>
                  <a:pt x="1221151" y="3824846"/>
                </a:cubicBezTo>
                <a:cubicBezTo>
                  <a:pt x="1226091" y="3837442"/>
                  <a:pt x="1236798" y="3836876"/>
                  <a:pt x="1248741" y="3839459"/>
                </a:cubicBezTo>
                <a:cubicBezTo>
                  <a:pt x="1253681" y="3852055"/>
                  <a:pt x="1266858" y="3857787"/>
                  <a:pt x="1281958" y="3859132"/>
                </a:cubicBezTo>
                <a:cubicBezTo>
                  <a:pt x="1295823" y="3857328"/>
                  <a:pt x="1307078" y="3867448"/>
                  <a:pt x="1320255" y="3873180"/>
                </a:cubicBezTo>
                <a:cubicBezTo>
                  <a:pt x="1325883" y="3878239"/>
                  <a:pt x="1330275" y="3880150"/>
                  <a:pt x="1336590" y="3877674"/>
                </a:cubicBezTo>
                <a:cubicBezTo>
                  <a:pt x="1360335" y="3901061"/>
                  <a:pt x="1394927" y="3905662"/>
                  <a:pt x="1425674" y="3919037"/>
                </a:cubicBezTo>
                <a:cubicBezTo>
                  <a:pt x="1428144" y="3925335"/>
                  <a:pt x="1434460" y="3922859"/>
                  <a:pt x="1442009" y="3923531"/>
                </a:cubicBezTo>
                <a:cubicBezTo>
                  <a:pt x="1456970" y="3943097"/>
                  <a:pt x="1480854" y="3948264"/>
                  <a:pt x="1502816" y="3957817"/>
                </a:cubicBezTo>
                <a:cubicBezTo>
                  <a:pt x="1505286" y="3964116"/>
                  <a:pt x="1514072" y="3967937"/>
                  <a:pt x="1520386" y="3965460"/>
                </a:cubicBezTo>
                <a:cubicBezTo>
                  <a:pt x="1521621" y="3968609"/>
                  <a:pt x="1526014" y="3970520"/>
                  <a:pt x="1533564" y="3971192"/>
                </a:cubicBezTo>
                <a:lnTo>
                  <a:pt x="1536721" y="3969954"/>
                </a:lnTo>
                <a:cubicBezTo>
                  <a:pt x="1558683" y="3979508"/>
                  <a:pt x="1581881" y="3992210"/>
                  <a:pt x="1608236" y="4003675"/>
                </a:cubicBezTo>
                <a:cubicBezTo>
                  <a:pt x="1610706" y="4009973"/>
                  <a:pt x="1615098" y="4011884"/>
                  <a:pt x="1621413" y="4009407"/>
                </a:cubicBezTo>
                <a:cubicBezTo>
                  <a:pt x="1645846" y="4025259"/>
                  <a:pt x="1667121" y="4042349"/>
                  <a:pt x="1694162" y="4046276"/>
                </a:cubicBezTo>
                <a:cubicBezTo>
                  <a:pt x="1743027" y="4077980"/>
                  <a:pt x="1802052" y="4098432"/>
                  <a:pt x="1852839" y="4125748"/>
                </a:cubicBezTo>
                <a:cubicBezTo>
                  <a:pt x="1897999" y="4148004"/>
                  <a:pt x="1942611" y="4159575"/>
                  <a:pt x="1985848" y="4186219"/>
                </a:cubicBezTo>
                <a:cubicBezTo>
                  <a:pt x="2015908" y="4207130"/>
                  <a:pt x="2046655" y="4220505"/>
                  <a:pt x="2090032" y="4228927"/>
                </a:cubicBezTo>
                <a:cubicBezTo>
                  <a:pt x="2090720" y="4221390"/>
                  <a:pt x="2090172" y="4210705"/>
                  <a:pt x="2095252" y="4205079"/>
                </a:cubicBezTo>
                <a:cubicBezTo>
                  <a:pt x="2115572" y="4182577"/>
                  <a:pt x="2105005" y="4164921"/>
                  <a:pt x="2077962" y="4160993"/>
                </a:cubicBezTo>
                <a:cubicBezTo>
                  <a:pt x="2032663" y="4156959"/>
                  <a:pt x="1993818" y="4132226"/>
                  <a:pt x="1954286" y="4115029"/>
                </a:cubicBezTo>
                <a:cubicBezTo>
                  <a:pt x="1902811" y="4095250"/>
                  <a:pt x="1841176" y="4086721"/>
                  <a:pt x="1797392" y="4049392"/>
                </a:cubicBezTo>
                <a:cubicBezTo>
                  <a:pt x="1791077" y="4051869"/>
                  <a:pt x="1785449" y="4046809"/>
                  <a:pt x="1782979" y="4040511"/>
                </a:cubicBezTo>
                <a:cubicBezTo>
                  <a:pt x="1782979" y="4040511"/>
                  <a:pt x="1781745" y="4037362"/>
                  <a:pt x="1780510" y="4034213"/>
                </a:cubicBezTo>
                <a:cubicBezTo>
                  <a:pt x="1777352" y="4035451"/>
                  <a:pt x="1772959" y="4033541"/>
                  <a:pt x="1769802" y="4034779"/>
                </a:cubicBezTo>
                <a:cubicBezTo>
                  <a:pt x="1750310" y="4031523"/>
                  <a:pt x="1748527" y="4017689"/>
                  <a:pt x="1742352" y="4001944"/>
                </a:cubicBezTo>
                <a:cubicBezTo>
                  <a:pt x="1742352" y="4001944"/>
                  <a:pt x="1744275" y="3997556"/>
                  <a:pt x="1744275" y="3997556"/>
                </a:cubicBezTo>
                <a:cubicBezTo>
                  <a:pt x="1741805" y="3991258"/>
                  <a:pt x="1739335" y="3984960"/>
                  <a:pt x="1736865" y="3978662"/>
                </a:cubicBezTo>
                <a:cubicBezTo>
                  <a:pt x="1746337" y="3974947"/>
                  <a:pt x="1760202" y="3973143"/>
                  <a:pt x="1761578" y="3958071"/>
                </a:cubicBezTo>
                <a:cubicBezTo>
                  <a:pt x="1762952" y="3942998"/>
                  <a:pt x="1754167" y="3939176"/>
                  <a:pt x="1742225" y="3936593"/>
                </a:cubicBezTo>
                <a:cubicBezTo>
                  <a:pt x="1724795" y="3910729"/>
                  <a:pt x="1716010" y="3906907"/>
                  <a:pt x="1703240" y="3930082"/>
                </a:cubicBezTo>
                <a:cubicBezTo>
                  <a:pt x="1700082" y="3931320"/>
                  <a:pt x="1693768" y="3933797"/>
                  <a:pt x="1690610" y="3935035"/>
                </a:cubicBezTo>
                <a:cubicBezTo>
                  <a:pt x="1678668" y="3932452"/>
                  <a:pt x="1667960" y="3933018"/>
                  <a:pt x="1656018" y="3930435"/>
                </a:cubicBezTo>
                <a:cubicBezTo>
                  <a:pt x="1647373" y="3908392"/>
                  <a:pt x="1631038" y="3903898"/>
                  <a:pt x="1608388" y="3901881"/>
                </a:cubicBezTo>
                <a:cubicBezTo>
                  <a:pt x="1598368" y="3894910"/>
                  <a:pt x="1589583" y="3891089"/>
                  <a:pt x="1577641" y="3888506"/>
                </a:cubicBezTo>
                <a:cubicBezTo>
                  <a:pt x="1575171" y="3882207"/>
                  <a:pt x="1570778" y="3880297"/>
                  <a:pt x="1563229" y="3879624"/>
                </a:cubicBezTo>
                <a:cubicBezTo>
                  <a:pt x="1561994" y="3876475"/>
                  <a:pt x="1561994" y="3876475"/>
                  <a:pt x="1557601" y="3874565"/>
                </a:cubicBezTo>
                <a:cubicBezTo>
                  <a:pt x="1555819" y="3860730"/>
                  <a:pt x="1535639" y="3865011"/>
                  <a:pt x="1533856" y="3851177"/>
                </a:cubicBezTo>
                <a:cubicBezTo>
                  <a:pt x="1537014" y="3849938"/>
                  <a:pt x="1537014" y="3849938"/>
                  <a:pt x="1537014" y="3849938"/>
                </a:cubicBezTo>
                <a:cubicBezTo>
                  <a:pt x="1537014" y="3849938"/>
                  <a:pt x="1535779" y="3846789"/>
                  <a:pt x="1535779" y="3846789"/>
                </a:cubicBezTo>
                <a:cubicBezTo>
                  <a:pt x="1542094" y="3844313"/>
                  <a:pt x="1552801" y="3843747"/>
                  <a:pt x="1551019" y="3829913"/>
                </a:cubicBezTo>
                <a:cubicBezTo>
                  <a:pt x="1551019" y="3829913"/>
                  <a:pt x="1542234" y="3826091"/>
                  <a:pt x="1542234" y="3826091"/>
                </a:cubicBezTo>
                <a:cubicBezTo>
                  <a:pt x="1529604" y="3831044"/>
                  <a:pt x="1528916" y="3838581"/>
                  <a:pt x="1535779" y="3846789"/>
                </a:cubicBezTo>
                <a:cubicBezTo>
                  <a:pt x="1535779" y="3846789"/>
                  <a:pt x="1535779" y="3846789"/>
                  <a:pt x="1532621" y="3848028"/>
                </a:cubicBezTo>
                <a:cubicBezTo>
                  <a:pt x="1532621" y="3848028"/>
                  <a:pt x="1535779" y="3846789"/>
                  <a:pt x="1533856" y="3851177"/>
                </a:cubicBezTo>
                <a:cubicBezTo>
                  <a:pt x="1529464" y="3849266"/>
                  <a:pt x="1523149" y="3851743"/>
                  <a:pt x="1515599" y="3851070"/>
                </a:cubicBezTo>
                <a:cubicBezTo>
                  <a:pt x="1505579" y="3844100"/>
                  <a:pt x="1496794" y="3840278"/>
                  <a:pt x="1486087" y="3840844"/>
                </a:cubicBezTo>
                <a:cubicBezTo>
                  <a:pt x="1480459" y="3835784"/>
                  <a:pt x="1479224" y="3832635"/>
                  <a:pt x="1471674" y="3831963"/>
                </a:cubicBezTo>
                <a:cubicBezTo>
                  <a:pt x="1471057" y="3830388"/>
                  <a:pt x="1468552" y="3828646"/>
                  <a:pt x="1466682" y="3826200"/>
                </a:cubicBezTo>
                <a:lnTo>
                  <a:pt x="1465882" y="3819449"/>
                </a:lnTo>
                <a:lnTo>
                  <a:pt x="1466734" y="3819367"/>
                </a:lnTo>
                <a:lnTo>
                  <a:pt x="1465769" y="3818499"/>
                </a:lnTo>
                <a:lnTo>
                  <a:pt x="1465499" y="3816218"/>
                </a:lnTo>
                <a:lnTo>
                  <a:pt x="1461107" y="3814307"/>
                </a:lnTo>
                <a:lnTo>
                  <a:pt x="1465769" y="3818499"/>
                </a:lnTo>
                <a:lnTo>
                  <a:pt x="1465882" y="3819449"/>
                </a:lnTo>
                <a:lnTo>
                  <a:pt x="1442162" y="3821737"/>
                </a:lnTo>
                <a:cubicBezTo>
                  <a:pt x="1427750" y="3812856"/>
                  <a:pt x="1416495" y="3802736"/>
                  <a:pt x="1400847" y="3790706"/>
                </a:cubicBezTo>
                <a:cubicBezTo>
                  <a:pt x="1400847" y="3790706"/>
                  <a:pt x="1397690" y="3791944"/>
                  <a:pt x="1397690" y="3791944"/>
                </a:cubicBezTo>
                <a:cubicBezTo>
                  <a:pt x="1394532" y="3793183"/>
                  <a:pt x="1390140" y="3791272"/>
                  <a:pt x="1386982" y="3792510"/>
                </a:cubicBezTo>
                <a:cubicBezTo>
                  <a:pt x="1386982" y="3792510"/>
                  <a:pt x="1383825" y="3793748"/>
                  <a:pt x="1383825" y="3793748"/>
                </a:cubicBezTo>
                <a:cubicBezTo>
                  <a:pt x="1382590" y="3790599"/>
                  <a:pt x="1378198" y="3788689"/>
                  <a:pt x="1378198" y="3788689"/>
                </a:cubicBezTo>
                <a:cubicBezTo>
                  <a:pt x="1378198" y="3788689"/>
                  <a:pt x="1376963" y="3785540"/>
                  <a:pt x="1376963" y="3785540"/>
                </a:cubicBezTo>
                <a:cubicBezTo>
                  <a:pt x="1373805" y="3786778"/>
                  <a:pt x="1370648" y="3788016"/>
                  <a:pt x="1367490" y="3789255"/>
                </a:cubicBezTo>
                <a:cubicBezTo>
                  <a:pt x="1369413" y="3784867"/>
                  <a:pt x="1369413" y="3784867"/>
                  <a:pt x="1368177" y="3781718"/>
                </a:cubicBezTo>
                <a:cubicBezTo>
                  <a:pt x="1365708" y="3775420"/>
                  <a:pt x="1362003" y="3765973"/>
                  <a:pt x="1349373" y="3770926"/>
                </a:cubicBezTo>
                <a:cubicBezTo>
                  <a:pt x="1339353" y="3763956"/>
                  <a:pt x="1326175" y="3758224"/>
                  <a:pt x="1314233" y="3755640"/>
                </a:cubicBezTo>
                <a:cubicBezTo>
                  <a:pt x="1309840" y="3753730"/>
                  <a:pt x="1306683" y="3754968"/>
                  <a:pt x="1302291" y="3753057"/>
                </a:cubicBezTo>
                <a:cubicBezTo>
                  <a:pt x="1302291" y="3753057"/>
                  <a:pt x="1301056" y="3749908"/>
                  <a:pt x="1301056" y="3749908"/>
                </a:cubicBezTo>
                <a:cubicBezTo>
                  <a:pt x="1299821" y="3746759"/>
                  <a:pt x="1299821" y="3746759"/>
                  <a:pt x="1299821" y="3746759"/>
                </a:cubicBezTo>
                <a:cubicBezTo>
                  <a:pt x="1299821" y="3746759"/>
                  <a:pt x="1299821" y="3746759"/>
                  <a:pt x="1298586" y="3743610"/>
                </a:cubicBezTo>
                <a:cubicBezTo>
                  <a:pt x="1298586" y="3743610"/>
                  <a:pt x="1295428" y="3744849"/>
                  <a:pt x="1295428" y="3744849"/>
                </a:cubicBezTo>
                <a:cubicBezTo>
                  <a:pt x="1292271" y="3746087"/>
                  <a:pt x="1292271" y="3746087"/>
                  <a:pt x="1289113" y="3747325"/>
                </a:cubicBezTo>
                <a:cubicBezTo>
                  <a:pt x="1286643" y="3741027"/>
                  <a:pt x="1282251" y="3739116"/>
                  <a:pt x="1274701" y="3738444"/>
                </a:cubicBezTo>
                <a:cubicBezTo>
                  <a:pt x="1269073" y="3733384"/>
                  <a:pt x="1264681" y="3731473"/>
                  <a:pt x="1259054" y="3726414"/>
                </a:cubicBezTo>
                <a:cubicBezTo>
                  <a:pt x="1250956" y="3715056"/>
                  <a:pt x="1239701" y="3704936"/>
                  <a:pt x="1224601" y="3703592"/>
                </a:cubicBezTo>
                <a:cubicBezTo>
                  <a:pt x="1220209" y="3701681"/>
                  <a:pt x="1215816" y="3699770"/>
                  <a:pt x="1212659" y="3701008"/>
                </a:cubicBezTo>
                <a:cubicBezTo>
                  <a:pt x="1211424" y="3697859"/>
                  <a:pt x="1208266" y="3699098"/>
                  <a:pt x="1207031" y="3695949"/>
                </a:cubicBezTo>
                <a:cubicBezTo>
                  <a:pt x="1205796" y="3692800"/>
                  <a:pt x="1204561" y="3689651"/>
                  <a:pt x="1200169" y="3687740"/>
                </a:cubicBezTo>
                <a:cubicBezTo>
                  <a:pt x="1210329" y="3676489"/>
                  <a:pt x="1227211" y="3691668"/>
                  <a:pt x="1238606" y="3683566"/>
                </a:cubicBezTo>
                <a:cubicBezTo>
                  <a:pt x="1240529" y="3679178"/>
                  <a:pt x="1242451" y="3674791"/>
                  <a:pt x="1244373" y="3670404"/>
                </a:cubicBezTo>
                <a:cubicBezTo>
                  <a:pt x="1224881" y="3667148"/>
                  <a:pt x="1209782" y="3665803"/>
                  <a:pt x="1190976" y="3655011"/>
                </a:cubicBezTo>
                <a:cubicBezTo>
                  <a:pt x="1193446" y="3661309"/>
                  <a:pt x="1194681" y="3664458"/>
                  <a:pt x="1197151" y="3670757"/>
                </a:cubicBezTo>
                <a:cubicBezTo>
                  <a:pt x="1198386" y="3673906"/>
                  <a:pt x="1200856" y="3680204"/>
                  <a:pt x="1198934" y="3684591"/>
                </a:cubicBezTo>
                <a:cubicBezTo>
                  <a:pt x="1198934" y="3684591"/>
                  <a:pt x="1200169" y="3687740"/>
                  <a:pt x="1200169" y="3687740"/>
                </a:cubicBezTo>
                <a:cubicBezTo>
                  <a:pt x="1197012" y="3688978"/>
                  <a:pt x="1192619" y="3687068"/>
                  <a:pt x="1189461" y="3688306"/>
                </a:cubicBezTo>
                <a:cubicBezTo>
                  <a:pt x="1186304" y="3689544"/>
                  <a:pt x="1183147" y="3690782"/>
                  <a:pt x="1183147" y="3690782"/>
                </a:cubicBezTo>
                <a:cubicBezTo>
                  <a:pt x="1177519" y="3685723"/>
                  <a:pt x="1173126" y="3683812"/>
                  <a:pt x="1165577" y="3683140"/>
                </a:cubicBezTo>
                <a:cubicBezTo>
                  <a:pt x="1164342" y="3679990"/>
                  <a:pt x="1164342" y="3679990"/>
                  <a:pt x="1163107" y="3676841"/>
                </a:cubicBezTo>
                <a:cubicBezTo>
                  <a:pt x="1163107" y="3676841"/>
                  <a:pt x="1163107" y="3676841"/>
                  <a:pt x="1161872" y="3673692"/>
                </a:cubicBezTo>
                <a:cubicBezTo>
                  <a:pt x="1157479" y="3671782"/>
                  <a:pt x="1153087" y="3669871"/>
                  <a:pt x="1144302" y="3666050"/>
                </a:cubicBezTo>
                <a:cubicBezTo>
                  <a:pt x="1139909" y="3664139"/>
                  <a:pt x="1135517" y="3662228"/>
                  <a:pt x="1131124" y="3660317"/>
                </a:cubicBezTo>
                <a:cubicBezTo>
                  <a:pt x="1122340" y="3656496"/>
                  <a:pt x="1116712" y="3651436"/>
                  <a:pt x="1114242" y="3645138"/>
                </a:cubicBezTo>
                <a:cubicBezTo>
                  <a:pt x="1109849" y="3643227"/>
                  <a:pt x="1108614" y="3640078"/>
                  <a:pt x="1107380" y="3636929"/>
                </a:cubicBezTo>
                <a:cubicBezTo>
                  <a:pt x="1097907" y="3640644"/>
                  <a:pt x="1087200" y="3641210"/>
                  <a:pt x="1083495" y="3631763"/>
                </a:cubicBezTo>
                <a:cubicBezTo>
                  <a:pt x="1079102" y="3629852"/>
                  <a:pt x="1075945" y="3631091"/>
                  <a:pt x="1071552" y="3629180"/>
                </a:cubicBezTo>
                <a:cubicBezTo>
                  <a:pt x="1068395" y="3630418"/>
                  <a:pt x="1064003" y="3628508"/>
                  <a:pt x="1060845" y="3629746"/>
                </a:cubicBezTo>
                <a:cubicBezTo>
                  <a:pt x="1060845" y="3629746"/>
                  <a:pt x="1060845" y="3629746"/>
                  <a:pt x="1059610" y="3626597"/>
                </a:cubicBezTo>
                <a:cubicBezTo>
                  <a:pt x="1049590" y="3619626"/>
                  <a:pt x="1036412" y="3613894"/>
                  <a:pt x="1023235" y="3608162"/>
                </a:cubicBezTo>
                <a:cubicBezTo>
                  <a:pt x="1020765" y="3601864"/>
                  <a:pt x="1016373" y="3599953"/>
                  <a:pt x="1008823" y="3599281"/>
                </a:cubicBezTo>
                <a:cubicBezTo>
                  <a:pt x="1007588" y="3596132"/>
                  <a:pt x="1003195" y="3594221"/>
                  <a:pt x="995645" y="3593549"/>
                </a:cubicBezTo>
                <a:cubicBezTo>
                  <a:pt x="995645" y="3593549"/>
                  <a:pt x="994410" y="3590400"/>
                  <a:pt x="994410" y="3590400"/>
                </a:cubicBezTo>
                <a:cubicBezTo>
                  <a:pt x="993175" y="3587251"/>
                  <a:pt x="991940" y="3584101"/>
                  <a:pt x="991940" y="3584101"/>
                </a:cubicBezTo>
                <a:cubicBezTo>
                  <a:pt x="987548" y="3582191"/>
                  <a:pt x="984391" y="3583429"/>
                  <a:pt x="981233" y="3584667"/>
                </a:cubicBezTo>
                <a:cubicBezTo>
                  <a:pt x="961193" y="3570726"/>
                  <a:pt x="948155" y="3546773"/>
                  <a:pt x="919191" y="3547232"/>
                </a:cubicBezTo>
                <a:cubicBezTo>
                  <a:pt x="917956" y="3544083"/>
                  <a:pt x="913563" y="3542172"/>
                  <a:pt x="910406" y="3543410"/>
                </a:cubicBezTo>
                <a:cubicBezTo>
                  <a:pt x="919471" y="3510789"/>
                  <a:pt x="919471" y="3510789"/>
                  <a:pt x="892569" y="3488639"/>
                </a:cubicBezTo>
                <a:cubicBezTo>
                  <a:pt x="886941" y="3483579"/>
                  <a:pt x="882549" y="3481668"/>
                  <a:pt x="878156" y="3479757"/>
                </a:cubicBezTo>
                <a:cubicBezTo>
                  <a:pt x="869371" y="3475936"/>
                  <a:pt x="862509" y="3467727"/>
                  <a:pt x="851801" y="3468293"/>
                </a:cubicBezTo>
                <a:cubicBezTo>
                  <a:pt x="842469" y="3453786"/>
                  <a:pt x="829291" y="3448054"/>
                  <a:pt x="814192" y="3446709"/>
                </a:cubicBezTo>
                <a:cubicBezTo>
                  <a:pt x="806642" y="3446037"/>
                  <a:pt x="799779" y="3437828"/>
                  <a:pt x="792777" y="3447841"/>
                </a:cubicBezTo>
                <a:cubicBezTo>
                  <a:pt x="787696" y="3453467"/>
                  <a:pt x="790167" y="3459765"/>
                  <a:pt x="794559" y="3461676"/>
                </a:cubicBezTo>
                <a:cubicBezTo>
                  <a:pt x="795794" y="3464825"/>
                  <a:pt x="795794" y="3464825"/>
                  <a:pt x="792637" y="3466063"/>
                </a:cubicBezTo>
                <a:cubicBezTo>
                  <a:pt x="774379" y="3465957"/>
                  <a:pt x="756122" y="3465850"/>
                  <a:pt x="742397" y="3449432"/>
                </a:cubicBezTo>
                <a:cubicBezTo>
                  <a:pt x="735535" y="3441224"/>
                  <a:pt x="727985" y="3440551"/>
                  <a:pt x="718512" y="3444266"/>
                </a:cubicBezTo>
                <a:cubicBezTo>
                  <a:pt x="714807" y="3434819"/>
                  <a:pt x="709180" y="3429759"/>
                  <a:pt x="698472" y="3430325"/>
                </a:cubicBezTo>
                <a:cubicBezTo>
                  <a:pt x="696002" y="3424027"/>
                  <a:pt x="690375" y="3418967"/>
                  <a:pt x="684060" y="3421444"/>
                </a:cubicBezTo>
                <a:cubicBezTo>
                  <a:pt x="677197" y="3413235"/>
                  <a:pt x="667178" y="3406265"/>
                  <a:pt x="660315" y="3398056"/>
                </a:cubicBezTo>
                <a:cubicBezTo>
                  <a:pt x="655923" y="3396145"/>
                  <a:pt x="655923" y="3396145"/>
                  <a:pt x="652765" y="3397383"/>
                </a:cubicBezTo>
                <a:cubicBezTo>
                  <a:pt x="649608" y="3398622"/>
                  <a:pt x="649608" y="3398622"/>
                  <a:pt x="649608" y="3398622"/>
                </a:cubicBezTo>
                <a:cubicBezTo>
                  <a:pt x="643981" y="3393562"/>
                  <a:pt x="639588" y="3391651"/>
                  <a:pt x="636430" y="3392890"/>
                </a:cubicBezTo>
                <a:cubicBezTo>
                  <a:pt x="630803" y="3387830"/>
                  <a:pt x="625176" y="3382770"/>
                  <a:pt x="617626" y="3382098"/>
                </a:cubicBezTo>
                <a:lnTo>
                  <a:pt x="620783" y="3380859"/>
                </a:lnTo>
                <a:lnTo>
                  <a:pt x="619548" y="3377710"/>
                </a:lnTo>
                <a:cubicBezTo>
                  <a:pt x="618313" y="3374561"/>
                  <a:pt x="618313" y="3374561"/>
                  <a:pt x="618313" y="3374561"/>
                </a:cubicBezTo>
                <a:cubicBezTo>
                  <a:pt x="621471" y="3373323"/>
                  <a:pt x="623393" y="3368936"/>
                  <a:pt x="622158" y="3365787"/>
                </a:cubicBezTo>
                <a:cubicBezTo>
                  <a:pt x="622158" y="3365787"/>
                  <a:pt x="620923" y="3362637"/>
                  <a:pt x="620923" y="3362637"/>
                </a:cubicBezTo>
                <a:cubicBezTo>
                  <a:pt x="627238" y="3360161"/>
                  <a:pt x="633553" y="3357684"/>
                  <a:pt x="639868" y="3355208"/>
                </a:cubicBezTo>
                <a:cubicBezTo>
                  <a:pt x="639868" y="3355208"/>
                  <a:pt x="643026" y="3353969"/>
                  <a:pt x="641791" y="3350820"/>
                </a:cubicBezTo>
                <a:cubicBezTo>
                  <a:pt x="640556" y="3347671"/>
                  <a:pt x="639321" y="3344522"/>
                  <a:pt x="641243" y="3340135"/>
                </a:cubicBezTo>
                <a:cubicBezTo>
                  <a:pt x="631223" y="3333164"/>
                  <a:pt x="626283" y="3320568"/>
                  <a:pt x="616263" y="3313598"/>
                </a:cubicBezTo>
                <a:cubicBezTo>
                  <a:pt x="600616" y="3301568"/>
                  <a:pt x="587985" y="3306521"/>
                  <a:pt x="584688" y="3325981"/>
                </a:cubicBezTo>
                <a:cubicBezTo>
                  <a:pt x="592238" y="3326653"/>
                  <a:pt x="596631" y="3328564"/>
                  <a:pt x="602259" y="3333624"/>
                </a:cubicBezTo>
                <a:cubicBezTo>
                  <a:pt x="612278" y="3340594"/>
                  <a:pt x="619140" y="3348803"/>
                  <a:pt x="620923" y="3362637"/>
                </a:cubicBezTo>
                <a:cubicBezTo>
                  <a:pt x="615843" y="3368263"/>
                  <a:pt x="611450" y="3366352"/>
                  <a:pt x="605136" y="3368829"/>
                </a:cubicBezTo>
                <a:cubicBezTo>
                  <a:pt x="600743" y="3366918"/>
                  <a:pt x="591958" y="3363097"/>
                  <a:pt x="587566" y="3361186"/>
                </a:cubicBezTo>
                <a:cubicBezTo>
                  <a:pt x="586331" y="3358037"/>
                  <a:pt x="581939" y="3356127"/>
                  <a:pt x="580703" y="3352977"/>
                </a:cubicBezTo>
                <a:cubicBezTo>
                  <a:pt x="579468" y="3349828"/>
                  <a:pt x="578233" y="3346679"/>
                  <a:pt x="576999" y="3343530"/>
                </a:cubicBezTo>
                <a:cubicBezTo>
                  <a:pt x="576999" y="3343530"/>
                  <a:pt x="573841" y="3344769"/>
                  <a:pt x="573841" y="3344769"/>
                </a:cubicBezTo>
                <a:cubicBezTo>
                  <a:pt x="573841" y="3344769"/>
                  <a:pt x="573841" y="3344769"/>
                  <a:pt x="570683" y="3346007"/>
                </a:cubicBezTo>
                <a:cubicBezTo>
                  <a:pt x="570683" y="3346007"/>
                  <a:pt x="569448" y="3342858"/>
                  <a:pt x="566291" y="3344096"/>
                </a:cubicBezTo>
                <a:cubicBezTo>
                  <a:pt x="566291" y="3344096"/>
                  <a:pt x="565056" y="3340947"/>
                  <a:pt x="565056" y="3340947"/>
                </a:cubicBezTo>
                <a:cubicBezTo>
                  <a:pt x="565056" y="3340947"/>
                  <a:pt x="563821" y="3337798"/>
                  <a:pt x="563821" y="3337798"/>
                </a:cubicBezTo>
                <a:cubicBezTo>
                  <a:pt x="562586" y="3334649"/>
                  <a:pt x="558194" y="3332738"/>
                  <a:pt x="556959" y="3329589"/>
                </a:cubicBezTo>
                <a:cubicBezTo>
                  <a:pt x="552566" y="3327679"/>
                  <a:pt x="549408" y="3328917"/>
                  <a:pt x="546251" y="3330155"/>
                </a:cubicBezTo>
                <a:cubicBezTo>
                  <a:pt x="543781" y="3323857"/>
                  <a:pt x="539389" y="3321946"/>
                  <a:pt x="533074" y="3324423"/>
                </a:cubicBezTo>
                <a:cubicBezTo>
                  <a:pt x="530604" y="3318125"/>
                  <a:pt x="526899" y="3308678"/>
                  <a:pt x="524429" y="3302380"/>
                </a:cubicBezTo>
                <a:cubicBezTo>
                  <a:pt x="521271" y="3303618"/>
                  <a:pt x="521271" y="3303618"/>
                  <a:pt x="518114" y="3304856"/>
                </a:cubicBezTo>
                <a:cubicBezTo>
                  <a:pt x="514957" y="3306095"/>
                  <a:pt x="514957" y="3306095"/>
                  <a:pt x="514957" y="3306095"/>
                </a:cubicBezTo>
                <a:cubicBezTo>
                  <a:pt x="509329" y="3301035"/>
                  <a:pt x="506171" y="3302273"/>
                  <a:pt x="498622" y="3301601"/>
                </a:cubicBezTo>
                <a:cubicBezTo>
                  <a:pt x="492994" y="3296541"/>
                  <a:pt x="489836" y="3297780"/>
                  <a:pt x="485444" y="3295869"/>
                </a:cubicBezTo>
                <a:lnTo>
                  <a:pt x="484209" y="3292720"/>
                </a:lnTo>
                <a:cubicBezTo>
                  <a:pt x="482974" y="3289571"/>
                  <a:pt x="477347" y="3284511"/>
                  <a:pt x="469797" y="3283838"/>
                </a:cubicBezTo>
                <a:cubicBezTo>
                  <a:pt x="468562" y="3280689"/>
                  <a:pt x="467327" y="3277540"/>
                  <a:pt x="464169" y="3278779"/>
                </a:cubicBezTo>
                <a:cubicBezTo>
                  <a:pt x="460464" y="3269332"/>
                  <a:pt x="457994" y="3263034"/>
                  <a:pt x="453602" y="3261123"/>
                </a:cubicBezTo>
                <a:cubicBezTo>
                  <a:pt x="452367" y="3257974"/>
                  <a:pt x="452367" y="3257974"/>
                  <a:pt x="452367" y="3257974"/>
                </a:cubicBezTo>
                <a:cubicBezTo>
                  <a:pt x="446740" y="3252914"/>
                  <a:pt x="439189" y="3252242"/>
                  <a:pt x="431640" y="3251569"/>
                </a:cubicBezTo>
                <a:lnTo>
                  <a:pt x="430405" y="3248420"/>
                </a:lnTo>
                <a:lnTo>
                  <a:pt x="427935" y="3242122"/>
                </a:lnTo>
                <a:lnTo>
                  <a:pt x="424777" y="3243361"/>
                </a:lnTo>
                <a:cubicBezTo>
                  <a:pt x="423542" y="3240212"/>
                  <a:pt x="421072" y="3233913"/>
                  <a:pt x="413522" y="3233241"/>
                </a:cubicBezTo>
                <a:cubicBezTo>
                  <a:pt x="409817" y="3223794"/>
                  <a:pt x="402267" y="3223122"/>
                  <a:pt x="393482" y="3219300"/>
                </a:cubicBezTo>
                <a:cubicBezTo>
                  <a:pt x="392247" y="3216151"/>
                  <a:pt x="391012" y="3213002"/>
                  <a:pt x="389777" y="3209853"/>
                </a:cubicBezTo>
                <a:cubicBezTo>
                  <a:pt x="389777" y="3209853"/>
                  <a:pt x="385385" y="3207943"/>
                  <a:pt x="382227" y="3209181"/>
                </a:cubicBezTo>
                <a:cubicBezTo>
                  <a:pt x="379757" y="3202883"/>
                  <a:pt x="374130" y="3197823"/>
                  <a:pt x="371660" y="3191525"/>
                </a:cubicBezTo>
                <a:cubicBezTo>
                  <a:pt x="366032" y="3186465"/>
                  <a:pt x="364797" y="3183316"/>
                  <a:pt x="362327" y="3177018"/>
                </a:cubicBezTo>
                <a:cubicBezTo>
                  <a:pt x="348603" y="3160600"/>
                  <a:pt x="331720" y="3145421"/>
                  <a:pt x="319918" y="3124616"/>
                </a:cubicBezTo>
                <a:cubicBezTo>
                  <a:pt x="317448" y="3118318"/>
                  <a:pt x="318135" y="3110782"/>
                  <a:pt x="315665" y="3104484"/>
                </a:cubicBezTo>
                <a:cubicBezTo>
                  <a:pt x="318823" y="3103245"/>
                  <a:pt x="321980" y="3102007"/>
                  <a:pt x="323903" y="3097620"/>
                </a:cubicBezTo>
                <a:cubicBezTo>
                  <a:pt x="332140" y="3090756"/>
                  <a:pt x="342847" y="3090190"/>
                  <a:pt x="349023" y="3105935"/>
                </a:cubicBezTo>
                <a:cubicBezTo>
                  <a:pt x="357668" y="3127979"/>
                  <a:pt x="375785" y="3146307"/>
                  <a:pt x="378115" y="3170826"/>
                </a:cubicBezTo>
                <a:cubicBezTo>
                  <a:pt x="385665" y="3171499"/>
                  <a:pt x="387587" y="3167112"/>
                  <a:pt x="393902" y="3164635"/>
                </a:cubicBezTo>
                <a:cubicBezTo>
                  <a:pt x="398982" y="3159009"/>
                  <a:pt x="402140" y="3157771"/>
                  <a:pt x="404062" y="3153384"/>
                </a:cubicBezTo>
                <a:cubicBezTo>
                  <a:pt x="374690" y="3124936"/>
                  <a:pt x="351633" y="3094012"/>
                  <a:pt x="358915" y="3047555"/>
                </a:cubicBezTo>
                <a:cubicBezTo>
                  <a:pt x="361525" y="3035631"/>
                  <a:pt x="357820" y="3026184"/>
                  <a:pt x="349723" y="3014827"/>
                </a:cubicBezTo>
                <a:cubicBezTo>
                  <a:pt x="343548" y="2999081"/>
                  <a:pt x="334215" y="2984574"/>
                  <a:pt x="341905" y="2967025"/>
                </a:cubicBezTo>
                <a:cubicBezTo>
                  <a:pt x="348908" y="2957012"/>
                  <a:pt x="340810" y="2945655"/>
                  <a:pt x="330790" y="2938684"/>
                </a:cubicBezTo>
                <a:cubicBezTo>
                  <a:pt x="332713" y="2934297"/>
                  <a:pt x="331478" y="2931148"/>
                  <a:pt x="330243" y="2927999"/>
                </a:cubicBezTo>
                <a:cubicBezTo>
                  <a:pt x="340402" y="2916747"/>
                  <a:pt x="331070" y="2902240"/>
                  <a:pt x="330523" y="2891555"/>
                </a:cubicBezTo>
                <a:cubicBezTo>
                  <a:pt x="342198" y="2847009"/>
                  <a:pt x="340008" y="2804268"/>
                  <a:pt x="325875" y="2758943"/>
                </a:cubicBezTo>
                <a:cubicBezTo>
                  <a:pt x="327798" y="2754556"/>
                  <a:pt x="328486" y="2747020"/>
                  <a:pt x="330408" y="2742632"/>
                </a:cubicBezTo>
                <a:cubicBezTo>
                  <a:pt x="341803" y="2734530"/>
                  <a:pt x="345648" y="2725755"/>
                  <a:pt x="345100" y="2715070"/>
                </a:cubicBezTo>
                <a:cubicBezTo>
                  <a:pt x="341809" y="2692744"/>
                  <a:pt x="345243" y="2675955"/>
                  <a:pt x="354237" y="2662890"/>
                </a:cubicBezTo>
                <a:lnTo>
                  <a:pt x="394762" y="2634435"/>
                </a:lnTo>
                <a:lnTo>
                  <a:pt x="437994" y="2639580"/>
                </a:lnTo>
                <a:cubicBezTo>
                  <a:pt x="452699" y="2641079"/>
                  <a:pt x="467490" y="2641637"/>
                  <a:pt x="482934" y="2639214"/>
                </a:cubicBezTo>
                <a:cubicBezTo>
                  <a:pt x="496659" y="2655631"/>
                  <a:pt x="524936" y="2662708"/>
                  <a:pt x="562138" y="2655385"/>
                </a:cubicBezTo>
                <a:cubicBezTo>
                  <a:pt x="578473" y="2659879"/>
                  <a:pt x="591651" y="2665611"/>
                  <a:pt x="609221" y="2673254"/>
                </a:cubicBezTo>
                <a:cubicBezTo>
                  <a:pt x="621711" y="2686522"/>
                  <a:pt x="641890" y="2682241"/>
                  <a:pt x="657678" y="2676050"/>
                </a:cubicBezTo>
                <a:cubicBezTo>
                  <a:pt x="676483" y="2686842"/>
                  <a:pt x="692130" y="2698872"/>
                  <a:pt x="712310" y="2694591"/>
                </a:cubicBezTo>
                <a:cubicBezTo>
                  <a:pt x="729192" y="2709771"/>
                  <a:pt x="748684" y="2713026"/>
                  <a:pt x="768865" y="2708745"/>
                </a:cubicBezTo>
                <a:cubicBezTo>
                  <a:pt x="776962" y="2720103"/>
                  <a:pt x="785747" y="2723925"/>
                  <a:pt x="798377" y="2718971"/>
                </a:cubicBezTo>
                <a:cubicBezTo>
                  <a:pt x="805239" y="2727180"/>
                  <a:pt x="814711" y="2723465"/>
                  <a:pt x="822262" y="2724138"/>
                </a:cubicBezTo>
                <a:cubicBezTo>
                  <a:pt x="827889" y="2729197"/>
                  <a:pt x="832281" y="2731108"/>
                  <a:pt x="835439" y="2729870"/>
                </a:cubicBezTo>
                <a:cubicBezTo>
                  <a:pt x="841067" y="2734930"/>
                  <a:pt x="845459" y="2736840"/>
                  <a:pt x="853009" y="2737513"/>
                </a:cubicBezTo>
                <a:cubicBezTo>
                  <a:pt x="855479" y="2743811"/>
                  <a:pt x="861794" y="2741334"/>
                  <a:pt x="868109" y="2738858"/>
                </a:cubicBezTo>
                <a:cubicBezTo>
                  <a:pt x="897621" y="2749084"/>
                  <a:pt x="922741" y="2757399"/>
                  <a:pt x="952253" y="2767625"/>
                </a:cubicBezTo>
                <a:cubicBezTo>
                  <a:pt x="965431" y="2773357"/>
                  <a:pt x="976685" y="2783477"/>
                  <a:pt x="990550" y="2781673"/>
                </a:cubicBezTo>
                <a:cubicBezTo>
                  <a:pt x="994943" y="2783583"/>
                  <a:pt x="999335" y="2785494"/>
                  <a:pt x="1005650" y="2783017"/>
                </a:cubicBezTo>
                <a:cubicBezTo>
                  <a:pt x="1057672" y="2813482"/>
                  <a:pt x="1112992" y="2824487"/>
                  <a:pt x="1167624" y="2843029"/>
                </a:cubicBezTo>
                <a:cubicBezTo>
                  <a:pt x="1171329" y="2852476"/>
                  <a:pt x="1182036" y="2851910"/>
                  <a:pt x="1188352" y="2849433"/>
                </a:cubicBezTo>
                <a:cubicBezTo>
                  <a:pt x="1193979" y="2854493"/>
                  <a:pt x="1198371" y="2856404"/>
                  <a:pt x="1204686" y="2853927"/>
                </a:cubicBezTo>
                <a:cubicBezTo>
                  <a:pt x="1210314" y="2858987"/>
                  <a:pt x="1214706" y="2860898"/>
                  <a:pt x="1221021" y="2858421"/>
                </a:cubicBezTo>
                <a:cubicBezTo>
                  <a:pt x="1257396" y="2876855"/>
                  <a:pt x="1291848" y="2899678"/>
                  <a:pt x="1332756" y="2901802"/>
                </a:cubicBezTo>
                <a:cubicBezTo>
                  <a:pt x="1335225" y="2908100"/>
                  <a:pt x="1342775" y="2908772"/>
                  <a:pt x="1350325" y="2909445"/>
                </a:cubicBezTo>
                <a:cubicBezTo>
                  <a:pt x="1351560" y="2912594"/>
                  <a:pt x="1355953" y="2914505"/>
                  <a:pt x="1363503" y="2915177"/>
                </a:cubicBezTo>
                <a:cubicBezTo>
                  <a:pt x="1379150" y="2927207"/>
                  <a:pt x="1396720" y="2934850"/>
                  <a:pt x="1420057" y="2929330"/>
                </a:cubicBezTo>
                <a:cubicBezTo>
                  <a:pt x="1411412" y="2907287"/>
                  <a:pt x="1414710" y="2887828"/>
                  <a:pt x="1411692" y="2870844"/>
                </a:cubicBezTo>
                <a:cubicBezTo>
                  <a:pt x="1429402" y="2860265"/>
                  <a:pt x="1423227" y="2844520"/>
                  <a:pt x="1417052" y="2828775"/>
                </a:cubicBezTo>
                <a:cubicBezTo>
                  <a:pt x="1420210" y="2827537"/>
                  <a:pt x="1418975" y="2824388"/>
                  <a:pt x="1414583" y="2822477"/>
                </a:cubicBezTo>
                <a:cubicBezTo>
                  <a:pt x="1421585" y="2812464"/>
                  <a:pt x="1422272" y="2804928"/>
                  <a:pt x="1418567" y="2795480"/>
                </a:cubicBezTo>
                <a:cubicBezTo>
                  <a:pt x="1425022" y="2774782"/>
                  <a:pt x="1406905" y="2756454"/>
                  <a:pt x="1407045" y="2738232"/>
                </a:cubicBezTo>
                <a:cubicBezTo>
                  <a:pt x="1413360" y="2735755"/>
                  <a:pt x="1415282" y="2731368"/>
                  <a:pt x="1415970" y="2723832"/>
                </a:cubicBezTo>
                <a:cubicBezTo>
                  <a:pt x="1424207" y="2716968"/>
                  <a:pt x="1432445" y="2710104"/>
                  <a:pt x="1429975" y="2703806"/>
                </a:cubicBezTo>
                <a:cubicBezTo>
                  <a:pt x="1422017" y="2674226"/>
                  <a:pt x="1436022" y="2654200"/>
                  <a:pt x="1441242" y="2630353"/>
                </a:cubicBezTo>
                <a:cubicBezTo>
                  <a:pt x="1444400" y="2629115"/>
                  <a:pt x="1446322" y="2624727"/>
                  <a:pt x="1449479" y="2623489"/>
                </a:cubicBezTo>
                <a:cubicBezTo>
                  <a:pt x="1448244" y="2620340"/>
                  <a:pt x="1447010" y="2617191"/>
                  <a:pt x="1445775" y="2614042"/>
                </a:cubicBezTo>
                <a:cubicBezTo>
                  <a:pt x="1445775" y="2614042"/>
                  <a:pt x="1448932" y="2612804"/>
                  <a:pt x="1448932" y="2612804"/>
                </a:cubicBezTo>
                <a:cubicBezTo>
                  <a:pt x="1461562" y="2607851"/>
                  <a:pt x="1474192" y="2602897"/>
                  <a:pt x="1486822" y="2597944"/>
                </a:cubicBezTo>
                <a:cubicBezTo>
                  <a:pt x="1493136" y="2595468"/>
                  <a:pt x="1495059" y="2591080"/>
                  <a:pt x="1496982" y="2586693"/>
                </a:cubicBezTo>
                <a:cubicBezTo>
                  <a:pt x="1495747" y="2583544"/>
                  <a:pt x="1488884" y="2575335"/>
                  <a:pt x="1487649" y="2572186"/>
                </a:cubicBezTo>
                <a:cubicBezTo>
                  <a:pt x="1483944" y="2562739"/>
                  <a:pt x="1492181" y="2555875"/>
                  <a:pt x="1497262" y="2550249"/>
                </a:cubicBezTo>
                <a:cubicBezTo>
                  <a:pt x="1499184" y="2545862"/>
                  <a:pt x="1499184" y="2545862"/>
                  <a:pt x="1501106" y="2541475"/>
                </a:cubicBezTo>
                <a:cubicBezTo>
                  <a:pt x="1489852" y="2531355"/>
                  <a:pt x="1476674" y="2525623"/>
                  <a:pt x="1466654" y="2518652"/>
                </a:cubicBezTo>
                <a:cubicBezTo>
                  <a:pt x="1447850" y="2507860"/>
                  <a:pt x="1418745" y="2526542"/>
                  <a:pt x="1405160" y="2491903"/>
                </a:cubicBezTo>
                <a:cubicBezTo>
                  <a:pt x="1400220" y="2479306"/>
                  <a:pt x="1381275" y="2486736"/>
                  <a:pt x="1377977" y="2506196"/>
                </a:cubicBezTo>
                <a:cubicBezTo>
                  <a:pt x="1370428" y="2505524"/>
                  <a:pt x="1360955" y="2509239"/>
                  <a:pt x="1354640" y="2511715"/>
                </a:cubicBezTo>
                <a:cubicBezTo>
                  <a:pt x="1352170" y="2505417"/>
                  <a:pt x="1347778" y="2503506"/>
                  <a:pt x="1341463" y="2505983"/>
                </a:cubicBezTo>
                <a:cubicBezTo>
                  <a:pt x="1334600" y="2497774"/>
                  <a:pt x="1330896" y="2488327"/>
                  <a:pt x="1320188" y="2488893"/>
                </a:cubicBezTo>
                <a:cubicBezTo>
                  <a:pt x="1317171" y="2471910"/>
                  <a:pt x="1305228" y="2469326"/>
                  <a:pt x="1292598" y="2474280"/>
                </a:cubicBezTo>
                <a:cubicBezTo>
                  <a:pt x="1286971" y="2469220"/>
                  <a:pt x="1282578" y="2467309"/>
                  <a:pt x="1276263" y="2469786"/>
                </a:cubicBezTo>
                <a:lnTo>
                  <a:pt x="1271871" y="2467875"/>
                </a:lnTo>
                <a:lnTo>
                  <a:pt x="1269948" y="2472262"/>
                </a:lnTo>
                <a:cubicBezTo>
                  <a:pt x="1258693" y="2462143"/>
                  <a:pt x="1247438" y="2452024"/>
                  <a:pt x="1232339" y="2450679"/>
                </a:cubicBezTo>
                <a:cubicBezTo>
                  <a:pt x="1224241" y="2439321"/>
                  <a:pt x="1225616" y="2424248"/>
                  <a:pt x="1210516" y="2422903"/>
                </a:cubicBezTo>
                <a:cubicBezTo>
                  <a:pt x="1209281" y="2419754"/>
                  <a:pt x="1208046" y="2416605"/>
                  <a:pt x="1206811" y="2413456"/>
                </a:cubicBezTo>
                <a:cubicBezTo>
                  <a:pt x="1216971" y="2402205"/>
                  <a:pt x="1213266" y="2392758"/>
                  <a:pt x="1203246" y="2385788"/>
                </a:cubicBezTo>
                <a:cubicBezTo>
                  <a:pt x="1187599" y="2373757"/>
                  <a:pt x="1184302" y="2393217"/>
                  <a:pt x="1176064" y="2400081"/>
                </a:cubicBezTo>
                <a:cubicBezTo>
                  <a:pt x="1177299" y="2403230"/>
                  <a:pt x="1177299" y="2403230"/>
                  <a:pt x="1174142" y="2404468"/>
                </a:cubicBezTo>
                <a:cubicBezTo>
                  <a:pt x="1172219" y="2408856"/>
                  <a:pt x="1173454" y="2412005"/>
                  <a:pt x="1170297" y="2413243"/>
                </a:cubicBezTo>
                <a:cubicBezTo>
                  <a:pt x="1167139" y="2414482"/>
                  <a:pt x="1162747" y="2412571"/>
                  <a:pt x="1159589" y="2413809"/>
                </a:cubicBezTo>
                <a:lnTo>
                  <a:pt x="1158354" y="2410660"/>
                </a:lnTo>
                <a:lnTo>
                  <a:pt x="1153962" y="2408749"/>
                </a:lnTo>
                <a:cubicBezTo>
                  <a:pt x="1151492" y="2402451"/>
                  <a:pt x="1147099" y="2400541"/>
                  <a:pt x="1139549" y="2399868"/>
                </a:cubicBezTo>
                <a:cubicBezTo>
                  <a:pt x="1138314" y="2396719"/>
                  <a:pt x="1137079" y="2393570"/>
                  <a:pt x="1135844" y="2390421"/>
                </a:cubicBezTo>
                <a:cubicBezTo>
                  <a:pt x="1131452" y="2388510"/>
                  <a:pt x="1127059" y="2386600"/>
                  <a:pt x="1122667" y="2384689"/>
                </a:cubicBezTo>
                <a:cubicBezTo>
                  <a:pt x="1119510" y="2385927"/>
                  <a:pt x="1116352" y="2387166"/>
                  <a:pt x="1108802" y="2386493"/>
                </a:cubicBezTo>
                <a:cubicBezTo>
                  <a:pt x="1107567" y="2383344"/>
                  <a:pt x="1103175" y="2381433"/>
                  <a:pt x="1095625" y="2380761"/>
                </a:cubicBezTo>
                <a:cubicBezTo>
                  <a:pt x="1094390" y="2377612"/>
                  <a:pt x="1093155" y="2374463"/>
                  <a:pt x="1088762" y="2372552"/>
                </a:cubicBezTo>
                <a:cubicBezTo>
                  <a:pt x="1087527" y="2369403"/>
                  <a:pt x="1083135" y="2367492"/>
                  <a:pt x="1075585" y="2366820"/>
                </a:cubicBezTo>
                <a:cubicBezTo>
                  <a:pt x="1074350" y="2363671"/>
                  <a:pt x="1071192" y="2364909"/>
                  <a:pt x="1064877" y="2367386"/>
                </a:cubicBezTo>
                <a:cubicBezTo>
                  <a:pt x="1062407" y="2361088"/>
                  <a:pt x="1056780" y="2356028"/>
                  <a:pt x="1050465" y="2358505"/>
                </a:cubicBezTo>
                <a:lnTo>
                  <a:pt x="1049230" y="2355356"/>
                </a:lnTo>
                <a:lnTo>
                  <a:pt x="1044838" y="2353445"/>
                </a:lnTo>
                <a:cubicBezTo>
                  <a:pt x="1045525" y="2345909"/>
                  <a:pt x="1037975" y="2345236"/>
                  <a:pt x="1031660" y="2347713"/>
                </a:cubicBezTo>
                <a:lnTo>
                  <a:pt x="1030425" y="2344564"/>
                </a:lnTo>
                <a:cubicBezTo>
                  <a:pt x="1029190" y="2341415"/>
                  <a:pt x="1027955" y="2338266"/>
                  <a:pt x="1026720" y="2335117"/>
                </a:cubicBezTo>
                <a:cubicBezTo>
                  <a:pt x="1039350" y="2330164"/>
                  <a:pt x="1047588" y="2323299"/>
                  <a:pt x="1050197" y="2311376"/>
                </a:cubicBezTo>
                <a:cubicBezTo>
                  <a:pt x="1052120" y="2306988"/>
                  <a:pt x="1054043" y="2302601"/>
                  <a:pt x="1052808" y="2299452"/>
                </a:cubicBezTo>
                <a:cubicBezTo>
                  <a:pt x="1051573" y="2296303"/>
                  <a:pt x="1047180" y="2294392"/>
                  <a:pt x="1045945" y="2291243"/>
                </a:cubicBezTo>
                <a:cubicBezTo>
                  <a:pt x="1041553" y="2289333"/>
                  <a:pt x="1037160" y="2287422"/>
                  <a:pt x="1029610" y="2286749"/>
                </a:cubicBezTo>
                <a:cubicBezTo>
                  <a:pt x="1026453" y="2287987"/>
                  <a:pt x="1026453" y="2287987"/>
                  <a:pt x="1022060" y="2286077"/>
                </a:cubicBezTo>
                <a:cubicBezTo>
                  <a:pt x="1018903" y="2287315"/>
                  <a:pt x="1020138" y="2290464"/>
                  <a:pt x="1020138" y="2290464"/>
                </a:cubicBezTo>
                <a:cubicBezTo>
                  <a:pt x="1018215" y="2294852"/>
                  <a:pt x="1016293" y="2299239"/>
                  <a:pt x="1021920" y="2304299"/>
                </a:cubicBezTo>
                <a:cubicBezTo>
                  <a:pt x="1034410" y="2317567"/>
                  <a:pt x="1026173" y="2324431"/>
                  <a:pt x="1013543" y="2329384"/>
                </a:cubicBezTo>
                <a:cubicBezTo>
                  <a:pt x="1009150" y="2327474"/>
                  <a:pt x="1005993" y="2328712"/>
                  <a:pt x="1002835" y="2329950"/>
                </a:cubicBezTo>
                <a:cubicBezTo>
                  <a:pt x="1002835" y="2329950"/>
                  <a:pt x="1001600" y="2326801"/>
                  <a:pt x="998443" y="2328040"/>
                </a:cubicBezTo>
                <a:cubicBezTo>
                  <a:pt x="984030" y="2319158"/>
                  <a:pt x="972776" y="2309039"/>
                  <a:pt x="958363" y="2300157"/>
                </a:cubicBezTo>
                <a:cubicBezTo>
                  <a:pt x="958363" y="2300157"/>
                  <a:pt x="955206" y="2301396"/>
                  <a:pt x="955206" y="2301396"/>
                </a:cubicBezTo>
                <a:cubicBezTo>
                  <a:pt x="951501" y="2291949"/>
                  <a:pt x="942716" y="2288128"/>
                  <a:pt x="935166" y="2287455"/>
                </a:cubicBezTo>
                <a:cubicBezTo>
                  <a:pt x="932696" y="2281157"/>
                  <a:pt x="930226" y="2274859"/>
                  <a:pt x="925834" y="2272948"/>
                </a:cubicBezTo>
                <a:cubicBezTo>
                  <a:pt x="922676" y="2274186"/>
                  <a:pt x="921441" y="2271037"/>
                  <a:pt x="921441" y="2271037"/>
                </a:cubicBezTo>
                <a:cubicBezTo>
                  <a:pt x="917048" y="2269127"/>
                  <a:pt x="913891" y="2270365"/>
                  <a:pt x="906341" y="2269693"/>
                </a:cubicBezTo>
                <a:cubicBezTo>
                  <a:pt x="903871" y="2263395"/>
                  <a:pt x="901401" y="2257097"/>
                  <a:pt x="895774" y="2252037"/>
                </a:cubicBezTo>
                <a:cubicBezTo>
                  <a:pt x="894539" y="2248888"/>
                  <a:pt x="893304" y="2245739"/>
                  <a:pt x="892068" y="2242590"/>
                </a:cubicBezTo>
                <a:cubicBezTo>
                  <a:pt x="888911" y="2243828"/>
                  <a:pt x="888911" y="2243828"/>
                  <a:pt x="888911" y="2243828"/>
                </a:cubicBezTo>
                <a:cubicBezTo>
                  <a:pt x="885754" y="2245066"/>
                  <a:pt x="884519" y="2241917"/>
                  <a:pt x="884519" y="2241917"/>
                </a:cubicBezTo>
                <a:cubicBezTo>
                  <a:pt x="882049" y="2235619"/>
                  <a:pt x="874499" y="2234947"/>
                  <a:pt x="871341" y="2236185"/>
                </a:cubicBezTo>
                <a:cubicBezTo>
                  <a:pt x="858852" y="2222916"/>
                  <a:pt x="850754" y="2211559"/>
                  <a:pt x="856521" y="2198397"/>
                </a:cubicBezTo>
                <a:cubicBezTo>
                  <a:pt x="859679" y="2197159"/>
                  <a:pt x="858444" y="2194010"/>
                  <a:pt x="861601" y="2192771"/>
                </a:cubicBezTo>
                <a:cubicBezTo>
                  <a:pt x="859131" y="2186473"/>
                  <a:pt x="857896" y="2183324"/>
                  <a:pt x="856661" y="2180175"/>
                </a:cubicBezTo>
                <a:cubicBezTo>
                  <a:pt x="855426" y="2177026"/>
                  <a:pt x="855426" y="2177026"/>
                  <a:pt x="855426" y="2177026"/>
                </a:cubicBezTo>
                <a:cubicBezTo>
                  <a:pt x="855426" y="2177026"/>
                  <a:pt x="854191" y="2173877"/>
                  <a:pt x="854191" y="2173877"/>
                </a:cubicBezTo>
                <a:cubicBezTo>
                  <a:pt x="857349" y="2172639"/>
                  <a:pt x="857349" y="2172639"/>
                  <a:pt x="857349" y="2172639"/>
                </a:cubicBezTo>
                <a:cubicBezTo>
                  <a:pt x="857349" y="2172639"/>
                  <a:pt x="857349" y="2172639"/>
                  <a:pt x="856114" y="2169490"/>
                </a:cubicBezTo>
                <a:cubicBezTo>
                  <a:pt x="859271" y="2168251"/>
                  <a:pt x="859271" y="2168251"/>
                  <a:pt x="862429" y="2167013"/>
                </a:cubicBezTo>
                <a:cubicBezTo>
                  <a:pt x="864351" y="2162626"/>
                  <a:pt x="863116" y="2159477"/>
                  <a:pt x="865039" y="2155089"/>
                </a:cubicBezTo>
                <a:lnTo>
                  <a:pt x="869431" y="2157000"/>
                </a:lnTo>
                <a:lnTo>
                  <a:pt x="872589" y="2155762"/>
                </a:lnTo>
                <a:cubicBezTo>
                  <a:pt x="872589" y="2155762"/>
                  <a:pt x="880139" y="2156434"/>
                  <a:pt x="878904" y="2153285"/>
                </a:cubicBezTo>
                <a:cubicBezTo>
                  <a:pt x="889751" y="2134498"/>
                  <a:pt x="903756" y="2114471"/>
                  <a:pt x="878089" y="2095471"/>
                </a:cubicBezTo>
                <a:cubicBezTo>
                  <a:pt x="891546" y="2064759"/>
                  <a:pt x="880431" y="2036418"/>
                  <a:pt x="864924" y="2006167"/>
                </a:cubicBezTo>
                <a:cubicBezTo>
                  <a:pt x="863689" y="2003018"/>
                  <a:pt x="864377" y="1995481"/>
                  <a:pt x="863142" y="1992332"/>
                </a:cubicBezTo>
                <a:cubicBezTo>
                  <a:pt x="882226" y="1966681"/>
                  <a:pt x="870424" y="1945876"/>
                  <a:pt x="868094" y="1921356"/>
                </a:cubicBezTo>
                <a:cubicBezTo>
                  <a:pt x="879489" y="1913254"/>
                  <a:pt x="885256" y="1900092"/>
                  <a:pt x="869609" y="1888061"/>
                </a:cubicBezTo>
                <a:cubicBezTo>
                  <a:pt x="859589" y="1881091"/>
                  <a:pt x="854649" y="1868495"/>
                  <a:pt x="857259" y="1856571"/>
                </a:cubicBezTo>
                <a:cubicBezTo>
                  <a:pt x="870577" y="1844082"/>
                  <a:pt x="897071" y="1837324"/>
                  <a:pt x="876484" y="1812698"/>
                </a:cubicBezTo>
                <a:cubicBezTo>
                  <a:pt x="865917" y="1795042"/>
                  <a:pt x="876077" y="1783791"/>
                  <a:pt x="881844" y="1770628"/>
                </a:cubicBezTo>
                <a:cubicBezTo>
                  <a:pt x="891316" y="1766914"/>
                  <a:pt x="900789" y="1763199"/>
                  <a:pt x="910261" y="1759484"/>
                </a:cubicBezTo>
                <a:cubicBezTo>
                  <a:pt x="929066" y="1770276"/>
                  <a:pt x="947183" y="1788604"/>
                  <a:pt x="970521" y="1783085"/>
                </a:cubicBezTo>
                <a:cubicBezTo>
                  <a:pt x="985481" y="1802652"/>
                  <a:pt x="1004425" y="1795222"/>
                  <a:pt x="1021448" y="1792179"/>
                </a:cubicBezTo>
                <a:cubicBezTo>
                  <a:pt x="1037095" y="1804209"/>
                  <a:pt x="1069217" y="1802512"/>
                  <a:pt x="1079097" y="1827704"/>
                </a:cubicBezTo>
                <a:cubicBezTo>
                  <a:pt x="1079097" y="1827704"/>
                  <a:pt x="1088570" y="1823989"/>
                  <a:pt x="1094884" y="1821512"/>
                </a:cubicBezTo>
                <a:cubicBezTo>
                  <a:pt x="1114924" y="1835454"/>
                  <a:pt x="1140732" y="1836232"/>
                  <a:pt x="1165851" y="1844548"/>
                </a:cubicBezTo>
                <a:cubicBezTo>
                  <a:pt x="1173949" y="1855905"/>
                  <a:pt x="1180812" y="1864114"/>
                  <a:pt x="1195912" y="1865459"/>
                </a:cubicBezTo>
                <a:cubicBezTo>
                  <a:pt x="1204009" y="1876817"/>
                  <a:pt x="1214029" y="1883788"/>
                  <a:pt x="1227894" y="1881983"/>
                </a:cubicBezTo>
                <a:cubicBezTo>
                  <a:pt x="1239149" y="1892102"/>
                  <a:pt x="1255484" y="1896597"/>
                  <a:pt x="1270584" y="1897941"/>
                </a:cubicBezTo>
                <a:cubicBezTo>
                  <a:pt x="1276211" y="1903001"/>
                  <a:pt x="1280603" y="1904912"/>
                  <a:pt x="1288153" y="1905584"/>
                </a:cubicBezTo>
                <a:cubicBezTo>
                  <a:pt x="1319448" y="1929644"/>
                  <a:pt x="1319448" y="1929644"/>
                  <a:pt x="1355008" y="1890265"/>
                </a:cubicBezTo>
                <a:cubicBezTo>
                  <a:pt x="1377110" y="1881597"/>
                  <a:pt x="1380408" y="1862137"/>
                  <a:pt x="1366683" y="1845719"/>
                </a:cubicBezTo>
                <a:cubicBezTo>
                  <a:pt x="1361743" y="1833123"/>
                  <a:pt x="1347330" y="1824242"/>
                  <a:pt x="1353098" y="1811080"/>
                </a:cubicBezTo>
                <a:cubicBezTo>
                  <a:pt x="1366555" y="1780369"/>
                  <a:pt x="1344045" y="1760130"/>
                  <a:pt x="1332243" y="1739325"/>
                </a:cubicBezTo>
                <a:lnTo>
                  <a:pt x="1334166" y="1734938"/>
                </a:lnTo>
                <a:lnTo>
                  <a:pt x="1332931" y="1731789"/>
                </a:lnTo>
                <a:cubicBezTo>
                  <a:pt x="1339933" y="1721776"/>
                  <a:pt x="1346935" y="1711763"/>
                  <a:pt x="1345153" y="1697928"/>
                </a:cubicBezTo>
                <a:cubicBezTo>
                  <a:pt x="1355313" y="1686677"/>
                  <a:pt x="1342823" y="1673408"/>
                  <a:pt x="1339118" y="1663961"/>
                </a:cubicBezTo>
                <a:cubicBezTo>
                  <a:pt x="1362595" y="1640220"/>
                  <a:pt x="1335006" y="1625607"/>
                  <a:pt x="1330753" y="1605475"/>
                </a:cubicBezTo>
                <a:cubicBezTo>
                  <a:pt x="1332675" y="1601087"/>
                  <a:pt x="1332675" y="1601087"/>
                  <a:pt x="1328283" y="1599177"/>
                </a:cubicBezTo>
                <a:cubicBezTo>
                  <a:pt x="1337348" y="1566555"/>
                  <a:pt x="1370298" y="1539099"/>
                  <a:pt x="1351085" y="1499400"/>
                </a:cubicBezTo>
                <a:cubicBezTo>
                  <a:pt x="1357400" y="1496923"/>
                  <a:pt x="1358088" y="1489387"/>
                  <a:pt x="1356853" y="1486238"/>
                </a:cubicBezTo>
                <a:cubicBezTo>
                  <a:pt x="1363168" y="1483761"/>
                  <a:pt x="1365090" y="1479374"/>
                  <a:pt x="1365778" y="1471837"/>
                </a:cubicBezTo>
                <a:cubicBezTo>
                  <a:pt x="1387332" y="1452484"/>
                  <a:pt x="1410122" y="1436280"/>
                  <a:pt x="1441010" y="1431433"/>
                </a:cubicBezTo>
                <a:cubicBezTo>
                  <a:pt x="1461190" y="1427152"/>
                  <a:pt x="1488919" y="1423544"/>
                  <a:pt x="1507317" y="1405429"/>
                </a:cubicBezTo>
                <a:cubicBezTo>
                  <a:pt x="1539986" y="1414416"/>
                  <a:pt x="1572656" y="1423404"/>
                  <a:pt x="1604918" y="1403485"/>
                </a:cubicBezTo>
                <a:cubicBezTo>
                  <a:pt x="1618643" y="1419902"/>
                  <a:pt x="1638276" y="1404936"/>
                  <a:pt x="1656533" y="1405043"/>
                </a:cubicBezTo>
                <a:cubicBezTo>
                  <a:pt x="1687280" y="1418418"/>
                  <a:pt x="1718715" y="1424256"/>
                  <a:pt x="1753995" y="1421320"/>
                </a:cubicBezTo>
                <a:cubicBezTo>
                  <a:pt x="1787352" y="1422772"/>
                  <a:pt x="1820709" y="1424223"/>
                  <a:pt x="1845689" y="1450760"/>
                </a:cubicBezTo>
                <a:cubicBezTo>
                  <a:pt x="1851316" y="1455820"/>
                  <a:pt x="1854474" y="1454581"/>
                  <a:pt x="1863946" y="1450867"/>
                </a:cubicBezTo>
                <a:cubicBezTo>
                  <a:pt x="1894286" y="1435334"/>
                  <a:pt x="1928191" y="1447471"/>
                  <a:pt x="1957703" y="1457697"/>
                </a:cubicBezTo>
                <a:cubicBezTo>
                  <a:pt x="2009866" y="1469941"/>
                  <a:pt x="2059418" y="1494108"/>
                  <a:pt x="2112955" y="1491278"/>
                </a:cubicBezTo>
                <a:cubicBezTo>
                  <a:pt x="2120505" y="1491951"/>
                  <a:pt x="2129977" y="1488236"/>
                  <a:pt x="2135605" y="1493295"/>
                </a:cubicBezTo>
                <a:cubicBezTo>
                  <a:pt x="2219061" y="1529599"/>
                  <a:pt x="2309661" y="1537668"/>
                  <a:pt x="2395727" y="1562048"/>
                </a:cubicBezTo>
                <a:cubicBezTo>
                  <a:pt x="2493737" y="1589011"/>
                  <a:pt x="2594216" y="1622273"/>
                  <a:pt x="2692225" y="1649236"/>
                </a:cubicBezTo>
                <a:cubicBezTo>
                  <a:pt x="2699088" y="1657445"/>
                  <a:pt x="2702105" y="1674428"/>
                  <a:pt x="2717345" y="1657551"/>
                </a:cubicBezTo>
                <a:cubicBezTo>
                  <a:pt x="2723660" y="1655074"/>
                  <a:pt x="2732445" y="1658896"/>
                  <a:pt x="2738073" y="1663955"/>
                </a:cubicBezTo>
                <a:cubicBezTo>
                  <a:pt x="2745622" y="1664628"/>
                  <a:pt x="2751937" y="1662152"/>
                  <a:pt x="2753860" y="1657764"/>
                </a:cubicBezTo>
                <a:cubicBezTo>
                  <a:pt x="2757017" y="1656526"/>
                  <a:pt x="2755782" y="1653377"/>
                  <a:pt x="2755782" y="1653377"/>
                </a:cubicBezTo>
                <a:cubicBezTo>
                  <a:pt x="2757705" y="1648989"/>
                  <a:pt x="2757705" y="1648989"/>
                  <a:pt x="2756470" y="1645840"/>
                </a:cubicBezTo>
                <a:lnTo>
                  <a:pt x="2755235" y="1642691"/>
                </a:lnTo>
                <a:cubicBezTo>
                  <a:pt x="2752077" y="1643930"/>
                  <a:pt x="2752077" y="1643930"/>
                  <a:pt x="2750842" y="1640781"/>
                </a:cubicBezTo>
                <a:cubicBezTo>
                  <a:pt x="2744527" y="1643257"/>
                  <a:pt x="2738900" y="1638198"/>
                  <a:pt x="2736430" y="1631900"/>
                </a:cubicBezTo>
                <a:cubicBezTo>
                  <a:pt x="2736430" y="1631900"/>
                  <a:pt x="2733272" y="1633138"/>
                  <a:pt x="2730115" y="1634376"/>
                </a:cubicBezTo>
                <a:cubicBezTo>
                  <a:pt x="2730115" y="1634376"/>
                  <a:pt x="2726958" y="1635614"/>
                  <a:pt x="2726958" y="1635614"/>
                </a:cubicBezTo>
                <a:cubicBezTo>
                  <a:pt x="2722565" y="1633704"/>
                  <a:pt x="2721330" y="1630555"/>
                  <a:pt x="2720095" y="1627406"/>
                </a:cubicBezTo>
                <a:cubicBezTo>
                  <a:pt x="2712545" y="1626733"/>
                  <a:pt x="2708153" y="1624822"/>
                  <a:pt x="2704448" y="1615375"/>
                </a:cubicBezTo>
                <a:cubicBezTo>
                  <a:pt x="2664368" y="1587493"/>
                  <a:pt x="2608361" y="1584025"/>
                  <a:pt x="2568969" y="1548607"/>
                </a:cubicBezTo>
                <a:cubicBezTo>
                  <a:pt x="2564576" y="1546696"/>
                  <a:pt x="2561419" y="1547934"/>
                  <a:pt x="2557026" y="1546023"/>
                </a:cubicBezTo>
                <a:cubicBezTo>
                  <a:pt x="2552634" y="1544113"/>
                  <a:pt x="2552634" y="1544113"/>
                  <a:pt x="2552634" y="1544113"/>
                </a:cubicBezTo>
                <a:cubicBezTo>
                  <a:pt x="2548242" y="1542202"/>
                  <a:pt x="2542614" y="1537142"/>
                  <a:pt x="2541379" y="1533993"/>
                </a:cubicBezTo>
                <a:cubicBezTo>
                  <a:pt x="2536986" y="1532083"/>
                  <a:pt x="2536986" y="1532083"/>
                  <a:pt x="2535751" y="1528934"/>
                </a:cubicBezTo>
                <a:cubicBezTo>
                  <a:pt x="2523809" y="1526350"/>
                  <a:pt x="2512554" y="1516231"/>
                  <a:pt x="2505692" y="1508022"/>
                </a:cubicBezTo>
                <a:cubicBezTo>
                  <a:pt x="2481947" y="1484634"/>
                  <a:pt x="2486479" y="1468323"/>
                  <a:pt x="2515584" y="1449642"/>
                </a:cubicBezTo>
                <a:cubicBezTo>
                  <a:pt x="2514349" y="1446493"/>
                  <a:pt x="2517507" y="1445255"/>
                  <a:pt x="2517507" y="1445255"/>
                </a:cubicBezTo>
                <a:cubicBezTo>
                  <a:pt x="2525744" y="1438391"/>
                  <a:pt x="2525197" y="1427705"/>
                  <a:pt x="2522727" y="1421407"/>
                </a:cubicBezTo>
                <a:cubicBezTo>
                  <a:pt x="2508594" y="1376082"/>
                  <a:pt x="2531664" y="1323435"/>
                  <a:pt x="2497352" y="1282391"/>
                </a:cubicBezTo>
                <a:cubicBezTo>
                  <a:pt x="2494882" y="1276093"/>
                  <a:pt x="2491177" y="1266646"/>
                  <a:pt x="2496257" y="1261020"/>
                </a:cubicBezTo>
                <a:cubicBezTo>
                  <a:pt x="2525502" y="1224117"/>
                  <a:pt x="2506289" y="1184418"/>
                  <a:pt x="2495862" y="1148540"/>
                </a:cubicBezTo>
                <a:cubicBezTo>
                  <a:pt x="2491469" y="1146630"/>
                  <a:pt x="2488312" y="1147868"/>
                  <a:pt x="2483919" y="1145957"/>
                </a:cubicBezTo>
                <a:cubicBezTo>
                  <a:pt x="2476370" y="1145285"/>
                  <a:pt x="2464427" y="1142702"/>
                  <a:pt x="2452484" y="1140119"/>
                </a:cubicBezTo>
                <a:cubicBezTo>
                  <a:pt x="2451249" y="1136970"/>
                  <a:pt x="2451249" y="1136970"/>
                  <a:pt x="2448092" y="1138208"/>
                </a:cubicBezTo>
                <a:cubicBezTo>
                  <a:pt x="2446857" y="1135059"/>
                  <a:pt x="2443700" y="1136297"/>
                  <a:pt x="2442465" y="1133148"/>
                </a:cubicBezTo>
                <a:cubicBezTo>
                  <a:pt x="2442465" y="1133148"/>
                  <a:pt x="2439307" y="1134386"/>
                  <a:pt x="2439307" y="1134386"/>
                </a:cubicBezTo>
                <a:cubicBezTo>
                  <a:pt x="2427365" y="1131803"/>
                  <a:pt x="2412265" y="1130459"/>
                  <a:pt x="2402245" y="1123488"/>
                </a:cubicBezTo>
                <a:cubicBezTo>
                  <a:pt x="2401010" y="1120339"/>
                  <a:pt x="2396617" y="1118428"/>
                  <a:pt x="2395382" y="1115279"/>
                </a:cubicBezTo>
                <a:cubicBezTo>
                  <a:pt x="2360790" y="1110679"/>
                  <a:pt x="2328808" y="1094155"/>
                  <a:pt x="2298748" y="1073243"/>
                </a:cubicBezTo>
                <a:cubicBezTo>
                  <a:pt x="2306986" y="1066379"/>
                  <a:pt x="2315223" y="1059515"/>
                  <a:pt x="2322773" y="1060188"/>
                </a:cubicBezTo>
                <a:cubicBezTo>
                  <a:pt x="2353660" y="1055341"/>
                  <a:pt x="2341171" y="1042073"/>
                  <a:pt x="2333073" y="1030715"/>
                </a:cubicBezTo>
                <a:cubicBezTo>
                  <a:pt x="2346391" y="1018225"/>
                  <a:pt x="2349688" y="998765"/>
                  <a:pt x="2342825" y="990556"/>
                </a:cubicBezTo>
                <a:cubicBezTo>
                  <a:pt x="2325943" y="975377"/>
                  <a:pt x="2341183" y="958500"/>
                  <a:pt x="2335008" y="942755"/>
                </a:cubicBezTo>
                <a:cubicBezTo>
                  <a:pt x="2342011" y="932742"/>
                  <a:pt x="2340228" y="918908"/>
                  <a:pt x="2331443" y="915086"/>
                </a:cubicBezTo>
                <a:cubicBezTo>
                  <a:pt x="2311403" y="901145"/>
                  <a:pt x="2315936" y="884834"/>
                  <a:pt x="2319233" y="865374"/>
                </a:cubicBezTo>
                <a:cubicBezTo>
                  <a:pt x="2329393" y="854123"/>
                  <a:pt x="2316903" y="840854"/>
                  <a:pt x="2316356" y="830169"/>
                </a:cubicBezTo>
                <a:cubicBezTo>
                  <a:pt x="2335440" y="804517"/>
                  <a:pt x="2319246" y="781802"/>
                  <a:pt x="2313758" y="758521"/>
                </a:cubicBezTo>
                <a:cubicBezTo>
                  <a:pt x="2320761" y="748507"/>
                  <a:pt x="2314586" y="732762"/>
                  <a:pt x="2327216" y="727809"/>
                </a:cubicBezTo>
                <a:cubicBezTo>
                  <a:pt x="2352476" y="717903"/>
                  <a:pt x="2327355" y="709587"/>
                  <a:pt x="2328043" y="702051"/>
                </a:cubicBezTo>
                <a:cubicBezTo>
                  <a:pt x="2336280" y="695187"/>
                  <a:pt x="2333810" y="688889"/>
                  <a:pt x="2330105" y="679442"/>
                </a:cubicBezTo>
                <a:cubicBezTo>
                  <a:pt x="2338343" y="672578"/>
                  <a:pt x="2343423" y="666952"/>
                  <a:pt x="2342876" y="656267"/>
                </a:cubicBezTo>
                <a:cubicBezTo>
                  <a:pt x="2342876" y="656267"/>
                  <a:pt x="2342876" y="656267"/>
                  <a:pt x="2341641" y="653118"/>
                </a:cubicBezTo>
                <a:cubicBezTo>
                  <a:pt x="2341641" y="653118"/>
                  <a:pt x="2341641" y="653118"/>
                  <a:pt x="2340406" y="649969"/>
                </a:cubicBezTo>
                <a:cubicBezTo>
                  <a:pt x="2340406" y="649969"/>
                  <a:pt x="2340406" y="649969"/>
                  <a:pt x="2339171" y="646820"/>
                </a:cubicBezTo>
                <a:cubicBezTo>
                  <a:pt x="2348643" y="643105"/>
                  <a:pt x="2357428" y="646926"/>
                  <a:pt x="2364978" y="647599"/>
                </a:cubicBezTo>
                <a:cubicBezTo>
                  <a:pt x="2368135" y="646361"/>
                  <a:pt x="2372528" y="648271"/>
                  <a:pt x="2375685" y="647033"/>
                </a:cubicBezTo>
                <a:cubicBezTo>
                  <a:pt x="2375685" y="647033"/>
                  <a:pt x="2375685" y="647033"/>
                  <a:pt x="2374450" y="643884"/>
                </a:cubicBezTo>
                <a:cubicBezTo>
                  <a:pt x="2380765" y="641407"/>
                  <a:pt x="2382688" y="637020"/>
                  <a:pt x="2387768" y="631394"/>
                </a:cubicBezTo>
                <a:cubicBezTo>
                  <a:pt x="2390925" y="630156"/>
                  <a:pt x="2389690" y="627007"/>
                  <a:pt x="2392847" y="625769"/>
                </a:cubicBezTo>
                <a:cubicBezTo>
                  <a:pt x="2385985" y="617560"/>
                  <a:pt x="2387360" y="602487"/>
                  <a:pt x="2373495" y="604291"/>
                </a:cubicBezTo>
                <a:cubicBezTo>
                  <a:pt x="2373495" y="604291"/>
                  <a:pt x="2370885" y="616215"/>
                  <a:pt x="2365805" y="621841"/>
                </a:cubicBezTo>
                <a:cubicBezTo>
                  <a:pt x="2355098" y="622407"/>
                  <a:pt x="2344390" y="622973"/>
                  <a:pt x="2330526" y="624777"/>
                </a:cubicBezTo>
                <a:cubicBezTo>
                  <a:pt x="2328056" y="618479"/>
                  <a:pt x="2314191" y="620283"/>
                  <a:pt x="2311721" y="613985"/>
                </a:cubicBezTo>
                <a:cubicBezTo>
                  <a:pt x="2313643" y="609597"/>
                  <a:pt x="2313643" y="609597"/>
                  <a:pt x="2316801" y="608359"/>
                </a:cubicBezTo>
                <a:cubicBezTo>
                  <a:pt x="2323116" y="605882"/>
                  <a:pt x="2329431" y="603406"/>
                  <a:pt x="2322568" y="595197"/>
                </a:cubicBezTo>
                <a:cubicBezTo>
                  <a:pt x="2318176" y="593286"/>
                  <a:pt x="2311174" y="603299"/>
                  <a:pt x="2313643" y="609597"/>
                </a:cubicBezTo>
                <a:cubicBezTo>
                  <a:pt x="2310486" y="610836"/>
                  <a:pt x="2310486" y="610836"/>
                  <a:pt x="2310486" y="610836"/>
                </a:cubicBezTo>
                <a:cubicBezTo>
                  <a:pt x="2295386" y="609491"/>
                  <a:pt x="2282208" y="603759"/>
                  <a:pt x="2266421" y="609950"/>
                </a:cubicBezTo>
                <a:cubicBezTo>
                  <a:pt x="2262029" y="608039"/>
                  <a:pt x="2257636" y="606129"/>
                  <a:pt x="2251321" y="608605"/>
                </a:cubicBezTo>
                <a:cubicBezTo>
                  <a:pt x="2248851" y="602307"/>
                  <a:pt x="2246381" y="596009"/>
                  <a:pt x="2240754" y="590950"/>
                </a:cubicBezTo>
                <a:cubicBezTo>
                  <a:pt x="2237596" y="592188"/>
                  <a:pt x="2233204" y="590277"/>
                  <a:pt x="2230046" y="591515"/>
                </a:cubicBezTo>
                <a:cubicBezTo>
                  <a:pt x="2219339" y="592081"/>
                  <a:pt x="2210554" y="588260"/>
                  <a:pt x="2203692" y="580051"/>
                </a:cubicBezTo>
                <a:cubicBezTo>
                  <a:pt x="2203692" y="580051"/>
                  <a:pt x="2202457" y="576902"/>
                  <a:pt x="2202457" y="576902"/>
                </a:cubicBezTo>
                <a:cubicBezTo>
                  <a:pt x="2195454" y="586915"/>
                  <a:pt x="2184747" y="587481"/>
                  <a:pt x="2175962" y="583659"/>
                </a:cubicBezTo>
                <a:cubicBezTo>
                  <a:pt x="2152765" y="570957"/>
                  <a:pt x="2128192" y="573327"/>
                  <a:pt x="2104855" y="578846"/>
                </a:cubicBezTo>
                <a:cubicBezTo>
                  <a:pt x="2093600" y="568727"/>
                  <a:pt x="2080423" y="562994"/>
                  <a:pt x="2064635" y="569186"/>
                </a:cubicBezTo>
                <a:cubicBezTo>
                  <a:pt x="2060243" y="567275"/>
                  <a:pt x="2057773" y="560977"/>
                  <a:pt x="2048300" y="564692"/>
                </a:cubicBezTo>
                <a:lnTo>
                  <a:pt x="2047065" y="561543"/>
                </a:lnTo>
                <a:lnTo>
                  <a:pt x="2041985" y="567169"/>
                </a:lnTo>
                <a:cubicBezTo>
                  <a:pt x="2039515" y="560871"/>
                  <a:pt x="2031965" y="560198"/>
                  <a:pt x="2025651" y="562675"/>
                </a:cubicBezTo>
                <a:cubicBezTo>
                  <a:pt x="2012473" y="556943"/>
                  <a:pt x="2001218" y="546823"/>
                  <a:pt x="1984195" y="549866"/>
                </a:cubicBezTo>
                <a:cubicBezTo>
                  <a:pt x="1975411" y="546044"/>
                  <a:pt x="1964703" y="546610"/>
                  <a:pt x="1955918" y="542788"/>
                </a:cubicBezTo>
                <a:lnTo>
                  <a:pt x="1952761" y="544027"/>
                </a:lnTo>
                <a:cubicBezTo>
                  <a:pt x="1940271" y="530758"/>
                  <a:pt x="1928876" y="538861"/>
                  <a:pt x="1919404" y="542575"/>
                </a:cubicBezTo>
                <a:cubicBezTo>
                  <a:pt x="1888656" y="529200"/>
                  <a:pt x="1860379" y="522124"/>
                  <a:pt x="1826334" y="528208"/>
                </a:cubicBezTo>
                <a:cubicBezTo>
                  <a:pt x="1825099" y="525059"/>
                  <a:pt x="1820707" y="523149"/>
                  <a:pt x="1816315" y="521238"/>
                </a:cubicBezTo>
                <a:cubicBezTo>
                  <a:pt x="1749600" y="518335"/>
                  <a:pt x="1682478" y="486525"/>
                  <a:pt x="1613153" y="495546"/>
                </a:cubicBezTo>
                <a:cubicBezTo>
                  <a:pt x="1602446" y="496112"/>
                  <a:pt x="1587346" y="494767"/>
                  <a:pt x="1576091" y="484648"/>
                </a:cubicBezTo>
                <a:cubicBezTo>
                  <a:pt x="1570464" y="479588"/>
                  <a:pt x="1564836" y="474528"/>
                  <a:pt x="1555364" y="478243"/>
                </a:cubicBezTo>
                <a:cubicBezTo>
                  <a:pt x="1505532" y="490520"/>
                  <a:pt x="1453510" y="460055"/>
                  <a:pt x="1401755" y="476719"/>
                </a:cubicBezTo>
                <a:cubicBezTo>
                  <a:pt x="1395440" y="479195"/>
                  <a:pt x="1391048" y="477284"/>
                  <a:pt x="1387890" y="478523"/>
                </a:cubicBezTo>
                <a:cubicBezTo>
                  <a:pt x="1346296" y="483935"/>
                  <a:pt x="1341215" y="489561"/>
                  <a:pt x="1320615" y="548507"/>
                </a:cubicBezTo>
                <a:cubicBezTo>
                  <a:pt x="1309628" y="585516"/>
                  <a:pt x="1295483" y="623764"/>
                  <a:pt x="1302753" y="660880"/>
                </a:cubicBezTo>
                <a:cubicBezTo>
                  <a:pt x="1298908" y="669655"/>
                  <a:pt x="1296986" y="674042"/>
                  <a:pt x="1291906" y="679668"/>
                </a:cubicBezTo>
                <a:cubicBezTo>
                  <a:pt x="1288748" y="680906"/>
                  <a:pt x="1286826" y="685293"/>
                  <a:pt x="1280511" y="687770"/>
                </a:cubicBezTo>
                <a:cubicBezTo>
                  <a:pt x="1262801" y="698349"/>
                  <a:pt x="1270898" y="709707"/>
                  <a:pt x="1284076" y="715439"/>
                </a:cubicBezTo>
                <a:cubicBezTo>
                  <a:pt x="1284076" y="715439"/>
                  <a:pt x="1288468" y="717349"/>
                  <a:pt x="1288468" y="717349"/>
                </a:cubicBezTo>
                <a:cubicBezTo>
                  <a:pt x="1295878" y="736244"/>
                  <a:pt x="1302053" y="751989"/>
                  <a:pt x="1308228" y="767734"/>
                </a:cubicBezTo>
                <a:cubicBezTo>
                  <a:pt x="1301226" y="777747"/>
                  <a:pt x="1300538" y="785283"/>
                  <a:pt x="1299851" y="792819"/>
                </a:cubicBezTo>
                <a:cubicBezTo>
                  <a:pt x="1300398" y="803505"/>
                  <a:pt x="1304103" y="812952"/>
                  <a:pt x="1303416" y="820488"/>
                </a:cubicBezTo>
                <a:cubicBezTo>
                  <a:pt x="1301353" y="843097"/>
                  <a:pt x="1322628" y="860187"/>
                  <a:pt x="1305466" y="881452"/>
                </a:cubicBezTo>
                <a:cubicBezTo>
                  <a:pt x="1305466" y="881452"/>
                  <a:pt x="1305466" y="881452"/>
                  <a:pt x="1302308" y="882690"/>
                </a:cubicBezTo>
                <a:cubicBezTo>
                  <a:pt x="1299838" y="876392"/>
                  <a:pt x="1298603" y="873243"/>
                  <a:pt x="1296133" y="866945"/>
                </a:cubicBezTo>
                <a:cubicBezTo>
                  <a:pt x="1296133" y="866945"/>
                  <a:pt x="1294898" y="863796"/>
                  <a:pt x="1293663" y="860647"/>
                </a:cubicBezTo>
                <a:cubicBezTo>
                  <a:pt x="1289271" y="858736"/>
                  <a:pt x="1288036" y="855587"/>
                  <a:pt x="1281721" y="858064"/>
                </a:cubicBezTo>
                <a:cubicBezTo>
                  <a:pt x="1272249" y="861778"/>
                  <a:pt x="1273484" y="864927"/>
                  <a:pt x="1275954" y="871225"/>
                </a:cubicBezTo>
                <a:cubicBezTo>
                  <a:pt x="1277189" y="874375"/>
                  <a:pt x="1278424" y="877524"/>
                  <a:pt x="1279659" y="880673"/>
                </a:cubicBezTo>
                <a:cubicBezTo>
                  <a:pt x="1276501" y="881911"/>
                  <a:pt x="1277736" y="885060"/>
                  <a:pt x="1277736" y="885060"/>
                </a:cubicBezTo>
                <a:cubicBezTo>
                  <a:pt x="1272656" y="890686"/>
                  <a:pt x="1263871" y="886864"/>
                  <a:pt x="1256321" y="886192"/>
                </a:cubicBezTo>
                <a:cubicBezTo>
                  <a:pt x="1253851" y="879894"/>
                  <a:pt x="1249459" y="877983"/>
                  <a:pt x="1243144" y="880460"/>
                </a:cubicBezTo>
                <a:cubicBezTo>
                  <a:pt x="1241909" y="877311"/>
                  <a:pt x="1241909" y="877311"/>
                  <a:pt x="1241909" y="877311"/>
                </a:cubicBezTo>
                <a:cubicBezTo>
                  <a:pt x="1236281" y="872251"/>
                  <a:pt x="1228731" y="871578"/>
                  <a:pt x="1223104" y="866519"/>
                </a:cubicBezTo>
                <a:cubicBezTo>
                  <a:pt x="1221869" y="863370"/>
                  <a:pt x="1220634" y="860221"/>
                  <a:pt x="1219399" y="857072"/>
                </a:cubicBezTo>
                <a:cubicBezTo>
                  <a:pt x="1216929" y="850774"/>
                  <a:pt x="1215694" y="847625"/>
                  <a:pt x="1214459" y="844476"/>
                </a:cubicBezTo>
                <a:cubicBezTo>
                  <a:pt x="1217617" y="843237"/>
                  <a:pt x="1217617" y="843237"/>
                  <a:pt x="1220774" y="841999"/>
                </a:cubicBezTo>
                <a:cubicBezTo>
                  <a:pt x="1233404" y="837046"/>
                  <a:pt x="1247269" y="835241"/>
                  <a:pt x="1227916" y="813764"/>
                </a:cubicBezTo>
                <a:lnTo>
                  <a:pt x="1256334" y="802619"/>
                </a:lnTo>
                <a:lnTo>
                  <a:pt x="1256334" y="802619"/>
                </a:lnTo>
                <a:cubicBezTo>
                  <a:pt x="1259491" y="801381"/>
                  <a:pt x="1259491" y="801381"/>
                  <a:pt x="1259491" y="801381"/>
                </a:cubicBezTo>
                <a:lnTo>
                  <a:pt x="1256334" y="802619"/>
                </a:lnTo>
                <a:lnTo>
                  <a:pt x="1255099" y="799470"/>
                </a:lnTo>
                <a:cubicBezTo>
                  <a:pt x="1246314" y="795649"/>
                  <a:pt x="1232449" y="797453"/>
                  <a:pt x="1224211" y="804317"/>
                </a:cubicBezTo>
                <a:cubicBezTo>
                  <a:pt x="1224211" y="804317"/>
                  <a:pt x="1224211" y="804317"/>
                  <a:pt x="1225446" y="807466"/>
                </a:cubicBezTo>
                <a:cubicBezTo>
                  <a:pt x="1225446" y="807466"/>
                  <a:pt x="1226681" y="810615"/>
                  <a:pt x="1227916" y="813764"/>
                </a:cubicBezTo>
                <a:cubicBezTo>
                  <a:pt x="1227916" y="813764"/>
                  <a:pt x="1227916" y="813764"/>
                  <a:pt x="1224759" y="815003"/>
                </a:cubicBezTo>
                <a:cubicBezTo>
                  <a:pt x="1218444" y="817479"/>
                  <a:pt x="1215286" y="818717"/>
                  <a:pt x="1208972" y="821194"/>
                </a:cubicBezTo>
                <a:cubicBezTo>
                  <a:pt x="1205814" y="822432"/>
                  <a:pt x="1205814" y="822432"/>
                  <a:pt x="1205814" y="822432"/>
                </a:cubicBezTo>
                <a:cubicBezTo>
                  <a:pt x="1204579" y="819283"/>
                  <a:pt x="1204579" y="819283"/>
                  <a:pt x="1204579" y="819283"/>
                </a:cubicBezTo>
                <a:cubicBezTo>
                  <a:pt x="1204579" y="819283"/>
                  <a:pt x="1203344" y="816134"/>
                  <a:pt x="1203344" y="816134"/>
                </a:cubicBezTo>
                <a:cubicBezTo>
                  <a:pt x="1203344" y="816134"/>
                  <a:pt x="1200186" y="817373"/>
                  <a:pt x="1200186" y="817373"/>
                </a:cubicBezTo>
                <a:cubicBezTo>
                  <a:pt x="1197029" y="818611"/>
                  <a:pt x="1190714" y="821088"/>
                  <a:pt x="1186321" y="819177"/>
                </a:cubicBezTo>
                <a:cubicBezTo>
                  <a:pt x="1183164" y="820415"/>
                  <a:pt x="1183164" y="820415"/>
                  <a:pt x="1180007" y="821653"/>
                </a:cubicBezTo>
                <a:cubicBezTo>
                  <a:pt x="1156810" y="808951"/>
                  <a:pt x="1158872" y="786342"/>
                  <a:pt x="1150227" y="764298"/>
                </a:cubicBezTo>
                <a:cubicBezTo>
                  <a:pt x="1143365" y="756090"/>
                  <a:pt x="1142817" y="745404"/>
                  <a:pt x="1130875" y="742821"/>
                </a:cubicBezTo>
                <a:cubicBezTo>
                  <a:pt x="1130875" y="742821"/>
                  <a:pt x="1126482" y="740910"/>
                  <a:pt x="1120167" y="743387"/>
                </a:cubicBezTo>
                <a:cubicBezTo>
                  <a:pt x="1118932" y="740238"/>
                  <a:pt x="1118932" y="740238"/>
                  <a:pt x="1117697" y="737089"/>
                </a:cubicBezTo>
                <a:cubicBezTo>
                  <a:pt x="1117150" y="726404"/>
                  <a:pt x="1117150" y="726404"/>
                  <a:pt x="1131014" y="724599"/>
                </a:cubicBezTo>
                <a:cubicBezTo>
                  <a:pt x="1155587" y="722229"/>
                  <a:pt x="1136782" y="711437"/>
                  <a:pt x="1137469" y="703901"/>
                </a:cubicBezTo>
                <a:cubicBezTo>
                  <a:pt x="1142549" y="698275"/>
                  <a:pt x="1147629" y="692650"/>
                  <a:pt x="1151474" y="683875"/>
                </a:cubicBezTo>
                <a:cubicBezTo>
                  <a:pt x="1151474" y="683875"/>
                  <a:pt x="1150239" y="680726"/>
                  <a:pt x="1150239" y="680726"/>
                </a:cubicBezTo>
                <a:cubicBezTo>
                  <a:pt x="1150239" y="680726"/>
                  <a:pt x="1149004" y="677577"/>
                  <a:pt x="1149004" y="677577"/>
                </a:cubicBezTo>
                <a:cubicBezTo>
                  <a:pt x="1152162" y="676339"/>
                  <a:pt x="1150927" y="673190"/>
                  <a:pt x="1150927" y="673190"/>
                </a:cubicBezTo>
                <a:cubicBezTo>
                  <a:pt x="1146534" y="671279"/>
                  <a:pt x="1137750" y="667458"/>
                  <a:pt x="1133357" y="665547"/>
                </a:cubicBezTo>
                <a:cubicBezTo>
                  <a:pt x="1128417" y="652951"/>
                  <a:pt x="1119632" y="649129"/>
                  <a:pt x="1112629" y="659142"/>
                </a:cubicBezTo>
                <a:cubicBezTo>
                  <a:pt x="1109472" y="660381"/>
                  <a:pt x="1109472" y="660381"/>
                  <a:pt x="1110707" y="663530"/>
                </a:cubicBezTo>
                <a:cubicBezTo>
                  <a:pt x="1109472" y="660381"/>
                  <a:pt x="1108237" y="657232"/>
                  <a:pt x="1103845" y="655321"/>
                </a:cubicBezTo>
                <a:lnTo>
                  <a:pt x="1105767" y="650933"/>
                </a:lnTo>
                <a:lnTo>
                  <a:pt x="1104532" y="647784"/>
                </a:lnTo>
                <a:cubicBezTo>
                  <a:pt x="1106454" y="643397"/>
                  <a:pt x="1107142" y="635861"/>
                  <a:pt x="1109065" y="631473"/>
                </a:cubicBezTo>
                <a:cubicBezTo>
                  <a:pt x="1112909" y="622699"/>
                  <a:pt x="1112362" y="612013"/>
                  <a:pt x="1109892" y="605715"/>
                </a:cubicBezTo>
                <a:cubicBezTo>
                  <a:pt x="1111815" y="601328"/>
                  <a:pt x="1110580" y="598179"/>
                  <a:pt x="1109345" y="595030"/>
                </a:cubicBezTo>
                <a:cubicBezTo>
                  <a:pt x="1109345" y="595030"/>
                  <a:pt x="1112502" y="593792"/>
                  <a:pt x="1112502" y="593792"/>
                </a:cubicBezTo>
                <a:cubicBezTo>
                  <a:pt x="1111267" y="590643"/>
                  <a:pt x="1114425" y="589404"/>
                  <a:pt x="1114425" y="589404"/>
                </a:cubicBezTo>
                <a:cubicBezTo>
                  <a:pt x="1150392" y="578932"/>
                  <a:pt x="1150392" y="578932"/>
                  <a:pt x="1131727" y="549918"/>
                </a:cubicBezTo>
                <a:cubicBezTo>
                  <a:pt x="1127335" y="548008"/>
                  <a:pt x="1126100" y="544859"/>
                  <a:pt x="1124864" y="541710"/>
                </a:cubicBezTo>
                <a:cubicBezTo>
                  <a:pt x="1123629" y="538561"/>
                  <a:pt x="1123629" y="538561"/>
                  <a:pt x="1120472" y="539799"/>
                </a:cubicBezTo>
                <a:cubicBezTo>
                  <a:pt x="1107435" y="515845"/>
                  <a:pt x="1117047" y="493908"/>
                  <a:pt x="1129817" y="470733"/>
                </a:cubicBezTo>
                <a:cubicBezTo>
                  <a:pt x="1111152" y="441720"/>
                  <a:pt x="1124609" y="411008"/>
                  <a:pt x="1124202" y="382101"/>
                </a:cubicBezTo>
                <a:cubicBezTo>
                  <a:pt x="1126684" y="304827"/>
                  <a:pt x="1121617" y="226880"/>
                  <a:pt x="1139200" y="150951"/>
                </a:cubicBezTo>
                <a:cubicBezTo>
                  <a:pt x="1130007" y="118222"/>
                  <a:pt x="1170774" y="138568"/>
                  <a:pt x="1175994" y="114720"/>
                </a:cubicBezTo>
                <a:cubicBezTo>
                  <a:pt x="1180527" y="98409"/>
                  <a:pt x="1159252" y="81319"/>
                  <a:pt x="1174492" y="64442"/>
                </a:cubicBezTo>
                <a:cubicBezTo>
                  <a:pt x="1177649" y="63204"/>
                  <a:pt x="1183964" y="60727"/>
                  <a:pt x="1188357" y="62638"/>
                </a:cubicBezTo>
                <a:cubicBezTo>
                  <a:pt x="1194672" y="60161"/>
                  <a:pt x="1197829" y="58923"/>
                  <a:pt x="1200986" y="57685"/>
                </a:cubicBezTo>
                <a:cubicBezTo>
                  <a:pt x="1221994" y="27646"/>
                  <a:pt x="1248489" y="20889"/>
                  <a:pt x="1279236" y="34264"/>
                </a:cubicBezTo>
                <a:cubicBezTo>
                  <a:pt x="1291866" y="29311"/>
                  <a:pt x="1298321" y="8612"/>
                  <a:pt x="1320283" y="18166"/>
                </a:cubicBezTo>
                <a:cubicBezTo>
                  <a:pt x="1339088" y="28958"/>
                  <a:pt x="1349936" y="10170"/>
                  <a:pt x="1362566" y="5217"/>
                </a:cubicBezTo>
                <a:cubicBezTo>
                  <a:pt x="1372725" y="-6035"/>
                  <a:pt x="1380823" y="5323"/>
                  <a:pt x="1388373" y="5996"/>
                </a:cubicBezTo>
                <a:cubicBezTo>
                  <a:pt x="1399080" y="5430"/>
                  <a:pt x="1407865" y="9251"/>
                  <a:pt x="1418572" y="8685"/>
                </a:cubicBezTo>
                <a:cubicBezTo>
                  <a:pt x="1421730" y="7447"/>
                  <a:pt x="1424887" y="6209"/>
                  <a:pt x="1424887" y="6209"/>
                </a:cubicBezTo>
                <a:cubicBezTo>
                  <a:pt x="1430893" y="2945"/>
                  <a:pt x="1436573" y="1172"/>
                  <a:pt x="1442088" y="428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14082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9209314" cy="10145833"/>
          </a:xfrm>
          <a:custGeom>
            <a:avLst/>
            <a:gdLst>
              <a:gd name="connsiteX0" fmla="*/ 966500 w 9209314"/>
              <a:gd name="connsiteY0" fmla="*/ 9735000 h 10145833"/>
              <a:gd name="connsiteX1" fmla="*/ 968165 w 9209314"/>
              <a:gd name="connsiteY1" fmla="*/ 9736379 h 10145833"/>
              <a:gd name="connsiteX2" fmla="*/ 966724 w 9209314"/>
              <a:gd name="connsiteY2" fmla="*/ 9737871 h 10145833"/>
              <a:gd name="connsiteX3" fmla="*/ 3183133 w 9209314"/>
              <a:gd name="connsiteY3" fmla="*/ 9578526 h 10145833"/>
              <a:gd name="connsiteX4" fmla="*/ 3183658 w 9209314"/>
              <a:gd name="connsiteY4" fmla="*/ 9579541 h 10145833"/>
              <a:gd name="connsiteX5" fmla="*/ 3176832 w 9209314"/>
              <a:gd name="connsiteY5" fmla="*/ 9585158 h 10145833"/>
              <a:gd name="connsiteX6" fmla="*/ 2066491 w 9209314"/>
              <a:gd name="connsiteY6" fmla="*/ 9396398 h 10145833"/>
              <a:gd name="connsiteX7" fmla="*/ 2068200 w 9209314"/>
              <a:gd name="connsiteY7" fmla="*/ 9397052 h 10145833"/>
              <a:gd name="connsiteX8" fmla="*/ 2063828 w 9209314"/>
              <a:gd name="connsiteY8" fmla="*/ 9403813 h 10145833"/>
              <a:gd name="connsiteX9" fmla="*/ 1214765 w 9209314"/>
              <a:gd name="connsiteY9" fmla="*/ 8945676 h 10145833"/>
              <a:gd name="connsiteX10" fmla="*/ 1214368 w 9209314"/>
              <a:gd name="connsiteY10" fmla="*/ 8947003 h 10145833"/>
              <a:gd name="connsiteX11" fmla="*/ 1212976 w 9209314"/>
              <a:gd name="connsiteY11" fmla="*/ 8947018 h 10145833"/>
              <a:gd name="connsiteX12" fmla="*/ 1214765 w 9209314"/>
              <a:gd name="connsiteY12" fmla="*/ 8945676 h 10145833"/>
              <a:gd name="connsiteX13" fmla="*/ 5591063 w 9209314"/>
              <a:gd name="connsiteY13" fmla="*/ 7919318 h 10145833"/>
              <a:gd name="connsiteX14" fmla="*/ 5597622 w 9209314"/>
              <a:gd name="connsiteY14" fmla="*/ 7926042 h 10145833"/>
              <a:gd name="connsiteX15" fmla="*/ 5593641 w 9209314"/>
              <a:gd name="connsiteY15" fmla="*/ 7930777 h 10145833"/>
              <a:gd name="connsiteX16" fmla="*/ 5019956 w 9209314"/>
              <a:gd name="connsiteY16" fmla="*/ 7423202 h 10145833"/>
              <a:gd name="connsiteX17" fmla="*/ 5021239 w 9209314"/>
              <a:gd name="connsiteY17" fmla="*/ 7424918 h 10145833"/>
              <a:gd name="connsiteX18" fmla="*/ 5018059 w 9209314"/>
              <a:gd name="connsiteY18" fmla="*/ 7424918 h 10145833"/>
              <a:gd name="connsiteX19" fmla="*/ 4274569 w 9209314"/>
              <a:gd name="connsiteY19" fmla="*/ 7113998 h 10145833"/>
              <a:gd name="connsiteX20" fmla="*/ 4276452 w 9209314"/>
              <a:gd name="connsiteY20" fmla="*/ 7118600 h 10145833"/>
              <a:gd name="connsiteX21" fmla="*/ 4277116 w 9209314"/>
              <a:gd name="connsiteY21" fmla="*/ 7129039 h 10145833"/>
              <a:gd name="connsiteX22" fmla="*/ 5923460 w 9209314"/>
              <a:gd name="connsiteY22" fmla="*/ 7017724 h 10145833"/>
              <a:gd name="connsiteX23" fmla="*/ 5927543 w 9209314"/>
              <a:gd name="connsiteY23" fmla="*/ 7024049 h 10145833"/>
              <a:gd name="connsiteX24" fmla="*/ 5921183 w 9209314"/>
              <a:gd name="connsiteY24" fmla="*/ 7024049 h 10145833"/>
              <a:gd name="connsiteX25" fmla="*/ 5011699 w 9209314"/>
              <a:gd name="connsiteY25" fmla="*/ 6868155 h 10145833"/>
              <a:gd name="connsiteX26" fmla="*/ 5011230 w 9209314"/>
              <a:gd name="connsiteY26" fmla="*/ 6872480 h 10145833"/>
              <a:gd name="connsiteX27" fmla="*/ 5009494 w 9209314"/>
              <a:gd name="connsiteY27" fmla="*/ 6871014 h 10145833"/>
              <a:gd name="connsiteX28" fmla="*/ 5011699 w 9209314"/>
              <a:gd name="connsiteY28" fmla="*/ 6868155 h 10145833"/>
              <a:gd name="connsiteX29" fmla="*/ 3897434 w 9209314"/>
              <a:gd name="connsiteY29" fmla="*/ 6775596 h 10145833"/>
              <a:gd name="connsiteX30" fmla="*/ 3905055 w 9209314"/>
              <a:gd name="connsiteY30" fmla="*/ 6775892 h 10145833"/>
              <a:gd name="connsiteX31" fmla="*/ 3898695 w 9209314"/>
              <a:gd name="connsiteY31" fmla="*/ 6779073 h 10145833"/>
              <a:gd name="connsiteX32" fmla="*/ 7099733 w 9209314"/>
              <a:gd name="connsiteY32" fmla="*/ 6013680 h 10145833"/>
              <a:gd name="connsiteX33" fmla="*/ 7100967 w 9209314"/>
              <a:gd name="connsiteY33" fmla="*/ 6015513 h 10145833"/>
              <a:gd name="connsiteX34" fmla="*/ 7097786 w 9209314"/>
              <a:gd name="connsiteY34" fmla="*/ 6015513 h 10145833"/>
              <a:gd name="connsiteX35" fmla="*/ 7365472 w 9209314"/>
              <a:gd name="connsiteY35" fmla="*/ 5049476 h 10145833"/>
              <a:gd name="connsiteX36" fmla="*/ 7365404 w 9209314"/>
              <a:gd name="connsiteY36" fmla="*/ 5049828 h 10145833"/>
              <a:gd name="connsiteX37" fmla="*/ 7358548 w 9209314"/>
              <a:gd name="connsiteY37" fmla="*/ 5051518 h 10145833"/>
              <a:gd name="connsiteX38" fmla="*/ 7422645 w 9209314"/>
              <a:gd name="connsiteY38" fmla="*/ 4628080 h 10145833"/>
              <a:gd name="connsiteX39" fmla="*/ 7422148 w 9209314"/>
              <a:gd name="connsiteY39" fmla="*/ 4631559 h 10145833"/>
              <a:gd name="connsiteX40" fmla="*/ 7422213 w 9209314"/>
              <a:gd name="connsiteY40" fmla="*/ 4628170 h 10145833"/>
              <a:gd name="connsiteX41" fmla="*/ 8209162 w 9209314"/>
              <a:gd name="connsiteY41" fmla="*/ 3618834 h 10145833"/>
              <a:gd name="connsiteX42" fmla="*/ 8218244 w 9209314"/>
              <a:gd name="connsiteY42" fmla="*/ 3621631 h 10145833"/>
              <a:gd name="connsiteX43" fmla="*/ 8210791 w 9209314"/>
              <a:gd name="connsiteY43" fmla="*/ 3638931 h 10145833"/>
              <a:gd name="connsiteX44" fmla="*/ 0 w 9209314"/>
              <a:gd name="connsiteY44" fmla="*/ 0 h 10145833"/>
              <a:gd name="connsiteX45" fmla="*/ 9085940 w 9209314"/>
              <a:gd name="connsiteY45" fmla="*/ 0 h 10145833"/>
              <a:gd name="connsiteX46" fmla="*/ 9081021 w 9209314"/>
              <a:gd name="connsiteY46" fmla="*/ 14056 h 10145833"/>
              <a:gd name="connsiteX47" fmla="*/ 9085294 w 9209314"/>
              <a:gd name="connsiteY47" fmla="*/ 50196 h 10145833"/>
              <a:gd name="connsiteX48" fmla="*/ 9158434 w 9209314"/>
              <a:gd name="connsiteY48" fmla="*/ 66103 h 10145833"/>
              <a:gd name="connsiteX49" fmla="*/ 9209314 w 9209314"/>
              <a:gd name="connsiteY49" fmla="*/ 145641 h 10145833"/>
              <a:gd name="connsiteX50" fmla="*/ 9209314 w 9209314"/>
              <a:gd name="connsiteY50" fmla="*/ 1730029 h 10145833"/>
              <a:gd name="connsiteX51" fmla="*/ 9161614 w 9209314"/>
              <a:gd name="connsiteY51" fmla="*/ 1717303 h 10145833"/>
              <a:gd name="connsiteX52" fmla="*/ 9209314 w 9209314"/>
              <a:gd name="connsiteY52" fmla="*/ 1730029 h 10145833"/>
              <a:gd name="connsiteX53" fmla="*/ 9209314 w 9209314"/>
              <a:gd name="connsiteY53" fmla="*/ 1774570 h 10145833"/>
              <a:gd name="connsiteX54" fmla="*/ 9107554 w 9209314"/>
              <a:gd name="connsiteY54" fmla="*/ 1758663 h 10145833"/>
              <a:gd name="connsiteX55" fmla="*/ 9053493 w 9209314"/>
              <a:gd name="connsiteY55" fmla="*/ 1901830 h 10145833"/>
              <a:gd name="connsiteX56" fmla="*/ 9139354 w 9209314"/>
              <a:gd name="connsiteY56" fmla="*/ 1870015 h 10145833"/>
              <a:gd name="connsiteX57" fmla="*/ 9180694 w 9209314"/>
              <a:gd name="connsiteY57" fmla="*/ 1860471 h 10145833"/>
              <a:gd name="connsiteX58" fmla="*/ 9209314 w 9209314"/>
              <a:gd name="connsiteY58" fmla="*/ 1819111 h 10145833"/>
              <a:gd name="connsiteX59" fmla="*/ 9209314 w 9209314"/>
              <a:gd name="connsiteY59" fmla="*/ 2204073 h 10145833"/>
              <a:gd name="connsiteX60" fmla="*/ 9199774 w 9209314"/>
              <a:gd name="connsiteY60" fmla="*/ 2207255 h 10145833"/>
              <a:gd name="connsiteX61" fmla="*/ 9113914 w 9209314"/>
              <a:gd name="connsiteY61" fmla="*/ 2229525 h 10145833"/>
              <a:gd name="connsiteX62" fmla="*/ 9209314 w 9209314"/>
              <a:gd name="connsiteY62" fmla="*/ 2369511 h 10145833"/>
              <a:gd name="connsiteX63" fmla="*/ 9209314 w 9209314"/>
              <a:gd name="connsiteY63" fmla="*/ 2385419 h 10145833"/>
              <a:gd name="connsiteX64" fmla="*/ 9209314 w 9209314"/>
              <a:gd name="connsiteY64" fmla="*/ 2547675 h 10145833"/>
              <a:gd name="connsiteX65" fmla="*/ 9209314 w 9209314"/>
              <a:gd name="connsiteY65" fmla="*/ 2668572 h 10145833"/>
              <a:gd name="connsiteX66" fmla="*/ 9142534 w 9209314"/>
              <a:gd name="connsiteY66" fmla="*/ 2652665 h 10145833"/>
              <a:gd name="connsiteX67" fmla="*/ 9174334 w 9209314"/>
              <a:gd name="connsiteY67" fmla="*/ 2627213 h 10145833"/>
              <a:gd name="connsiteX68" fmla="*/ 9120274 w 9209314"/>
              <a:gd name="connsiteY68" fmla="*/ 2589035 h 10145833"/>
              <a:gd name="connsiteX69" fmla="*/ 8983533 w 9209314"/>
              <a:gd name="connsiteY69" fmla="*/ 2519042 h 10145833"/>
              <a:gd name="connsiteX70" fmla="*/ 8910393 w 9209314"/>
              <a:gd name="connsiteY70" fmla="*/ 2525405 h 10145833"/>
              <a:gd name="connsiteX71" fmla="*/ 8970813 w 9209314"/>
              <a:gd name="connsiteY71" fmla="*/ 2738565 h 10145833"/>
              <a:gd name="connsiteX72" fmla="*/ 9072573 w 9209314"/>
              <a:gd name="connsiteY72" fmla="*/ 2939000 h 10145833"/>
              <a:gd name="connsiteX73" fmla="*/ 8738672 w 9209314"/>
              <a:gd name="connsiteY73" fmla="*/ 2716295 h 10145833"/>
              <a:gd name="connsiteX74" fmla="*/ 8601932 w 9209314"/>
              <a:gd name="connsiteY74" fmla="*/ 2802196 h 10145833"/>
              <a:gd name="connsiteX75" fmla="*/ 8531971 w 9209314"/>
              <a:gd name="connsiteY75" fmla="*/ 2977178 h 10145833"/>
              <a:gd name="connsiteX76" fmla="*/ 8398411 w 9209314"/>
              <a:gd name="connsiteY76" fmla="*/ 3164887 h 10145833"/>
              <a:gd name="connsiteX77" fmla="*/ 8380695 w 9209314"/>
              <a:gd name="connsiteY77" fmla="*/ 3145004 h 10145833"/>
              <a:gd name="connsiteX78" fmla="*/ 8380679 w 9209314"/>
              <a:gd name="connsiteY78" fmla="*/ 3144723 h 10145833"/>
              <a:gd name="connsiteX79" fmla="*/ 8376801 w 9209314"/>
              <a:gd name="connsiteY79" fmla="*/ 3140633 h 10145833"/>
              <a:gd name="connsiteX80" fmla="*/ 8380695 w 9209314"/>
              <a:gd name="connsiteY80" fmla="*/ 3145004 h 10145833"/>
              <a:gd name="connsiteX81" fmla="*/ 8381865 w 9209314"/>
              <a:gd name="connsiteY81" fmla="*/ 3165334 h 10145833"/>
              <a:gd name="connsiteX82" fmla="*/ 8318911 w 9209314"/>
              <a:gd name="connsiteY82" fmla="*/ 3180794 h 10145833"/>
              <a:gd name="connsiteX83" fmla="*/ 8248951 w 9209314"/>
              <a:gd name="connsiteY83" fmla="*/ 3171250 h 10145833"/>
              <a:gd name="connsiteX84" fmla="*/ 8252131 w 9209314"/>
              <a:gd name="connsiteY84" fmla="*/ 3273058 h 10145833"/>
              <a:gd name="connsiteX85" fmla="*/ 8207611 w 9209314"/>
              <a:gd name="connsiteY85" fmla="*/ 3397136 h 10145833"/>
              <a:gd name="connsiteX86" fmla="*/ 8208437 w 9209314"/>
              <a:gd name="connsiteY86" fmla="*/ 3609881 h 10145833"/>
              <a:gd name="connsiteX87" fmla="*/ 8209162 w 9209314"/>
              <a:gd name="connsiteY87" fmla="*/ 3618834 h 10145833"/>
              <a:gd name="connsiteX88" fmla="*/ 8183624 w 9209314"/>
              <a:gd name="connsiteY88" fmla="*/ 3610968 h 10145833"/>
              <a:gd name="connsiteX89" fmla="*/ 8029530 w 9209314"/>
              <a:gd name="connsiteY89" fmla="*/ 3448041 h 10145833"/>
              <a:gd name="connsiteX90" fmla="*/ 8029530 w 9209314"/>
              <a:gd name="connsiteY90" fmla="*/ 3448041 h 10145833"/>
              <a:gd name="connsiteX91" fmla="*/ 8058150 w 9209314"/>
              <a:gd name="connsiteY91" fmla="*/ 3292147 h 10145833"/>
              <a:gd name="connsiteX92" fmla="*/ 7962750 w 9209314"/>
              <a:gd name="connsiteY92" fmla="*/ 3298510 h 10145833"/>
              <a:gd name="connsiteX93" fmla="*/ 7924590 w 9209314"/>
              <a:gd name="connsiteY93" fmla="*/ 3409862 h 10145833"/>
              <a:gd name="connsiteX94" fmla="*/ 7803749 w 9209314"/>
              <a:gd name="connsiteY94" fmla="*/ 3524397 h 10145833"/>
              <a:gd name="connsiteX95" fmla="*/ 7892790 w 9209314"/>
              <a:gd name="connsiteY95" fmla="*/ 3651657 h 10145833"/>
              <a:gd name="connsiteX96" fmla="*/ 7813290 w 9209314"/>
              <a:gd name="connsiteY96" fmla="*/ 3791643 h 10145833"/>
              <a:gd name="connsiteX97" fmla="*/ 7918230 w 9209314"/>
              <a:gd name="connsiteY97" fmla="*/ 4494755 h 10145833"/>
              <a:gd name="connsiteX98" fmla="*/ 7864170 w 9209314"/>
              <a:gd name="connsiteY98" fmla="*/ 4501118 h 10145833"/>
              <a:gd name="connsiteX99" fmla="*/ 7965930 w 9209314"/>
              <a:gd name="connsiteY99" fmla="*/ 4822450 h 10145833"/>
              <a:gd name="connsiteX100" fmla="*/ 7895970 w 9209314"/>
              <a:gd name="connsiteY100" fmla="*/ 4921076 h 10145833"/>
              <a:gd name="connsiteX101" fmla="*/ 7651108 w 9209314"/>
              <a:gd name="connsiteY101" fmla="*/ 4831994 h 10145833"/>
              <a:gd name="connsiteX102" fmla="*/ 7533448 w 9209314"/>
              <a:gd name="connsiteY102" fmla="*/ 4615652 h 10145833"/>
              <a:gd name="connsiteX103" fmla="*/ 7514368 w 9209314"/>
              <a:gd name="connsiteY103" fmla="*/ 4440669 h 10145833"/>
              <a:gd name="connsiteX104" fmla="*/ 7463488 w 9209314"/>
              <a:gd name="connsiteY104" fmla="*/ 4243416 h 10145833"/>
              <a:gd name="connsiteX105" fmla="*/ 7352188 w 9209314"/>
              <a:gd name="connsiteY105" fmla="*/ 4431125 h 10145833"/>
              <a:gd name="connsiteX106" fmla="*/ 7423316 w 9209314"/>
              <a:gd name="connsiteY106" fmla="*/ 4570490 h 10145833"/>
              <a:gd name="connsiteX107" fmla="*/ 7422213 w 9209314"/>
              <a:gd name="connsiteY107" fmla="*/ 4628170 h 10145833"/>
              <a:gd name="connsiteX108" fmla="*/ 7402273 w 9209314"/>
              <a:gd name="connsiteY108" fmla="*/ 4632355 h 10145833"/>
              <a:gd name="connsiteX109" fmla="*/ 7396708 w 9209314"/>
              <a:gd name="connsiteY109" fmla="*/ 4723823 h 10145833"/>
              <a:gd name="connsiteX110" fmla="*/ 7562069 w 9209314"/>
              <a:gd name="connsiteY110" fmla="*/ 4863809 h 10145833"/>
              <a:gd name="connsiteX111" fmla="*/ 7460308 w 9209314"/>
              <a:gd name="connsiteY111" fmla="*/ 5029247 h 10145833"/>
              <a:gd name="connsiteX112" fmla="*/ 7417378 w 9209314"/>
              <a:gd name="connsiteY112" fmla="*/ 5034169 h 10145833"/>
              <a:gd name="connsiteX113" fmla="*/ 7365472 w 9209314"/>
              <a:gd name="connsiteY113" fmla="*/ 5049476 h 10145833"/>
              <a:gd name="connsiteX114" fmla="*/ 7370472 w 9209314"/>
              <a:gd name="connsiteY114" fmla="*/ 5023680 h 10145833"/>
              <a:gd name="connsiteX115" fmla="*/ 7368087 w 9209314"/>
              <a:gd name="connsiteY115" fmla="*/ 4943347 h 10145833"/>
              <a:gd name="connsiteX116" fmla="*/ 7234527 w 9209314"/>
              <a:gd name="connsiteY116" fmla="*/ 5131055 h 10145833"/>
              <a:gd name="connsiteX117" fmla="*/ 7199547 w 9209314"/>
              <a:gd name="connsiteY117" fmla="*/ 5159689 h 10145833"/>
              <a:gd name="connsiteX118" fmla="*/ 7148667 w 9209314"/>
              <a:gd name="connsiteY118" fmla="*/ 5302856 h 10145833"/>
              <a:gd name="connsiteX119" fmla="*/ 7040547 w 9209314"/>
              <a:gd name="connsiteY119" fmla="*/ 5382394 h 10145833"/>
              <a:gd name="connsiteX120" fmla="*/ 7151847 w 9209314"/>
              <a:gd name="connsiteY120" fmla="*/ 5964609 h 10145833"/>
              <a:gd name="connsiteX121" fmla="*/ 7099733 w 9209314"/>
              <a:gd name="connsiteY121" fmla="*/ 6013680 h 10145833"/>
              <a:gd name="connsiteX122" fmla="*/ 7095114 w 9209314"/>
              <a:gd name="connsiteY122" fmla="*/ 6006815 h 10145833"/>
              <a:gd name="connsiteX123" fmla="*/ 6881546 w 9209314"/>
              <a:gd name="connsiteY123" fmla="*/ 5605099 h 10145833"/>
              <a:gd name="connsiteX124" fmla="*/ 6922886 w 9209314"/>
              <a:gd name="connsiteY124" fmla="*/ 5802352 h 10145833"/>
              <a:gd name="connsiteX125" fmla="*/ 6961046 w 9209314"/>
              <a:gd name="connsiteY125" fmla="*/ 6056872 h 10145833"/>
              <a:gd name="connsiteX126" fmla="*/ 7059626 w 9209314"/>
              <a:gd name="connsiteY126" fmla="*/ 6215947 h 10145833"/>
              <a:gd name="connsiteX127" fmla="*/ 7037367 w 9209314"/>
              <a:gd name="connsiteY127" fmla="*/ 6333663 h 10145833"/>
              <a:gd name="connsiteX128" fmla="*/ 6983307 w 9209314"/>
              <a:gd name="connsiteY128" fmla="*/ 6257307 h 10145833"/>
              <a:gd name="connsiteX129" fmla="*/ 7002387 w 9209314"/>
              <a:gd name="connsiteY129" fmla="*/ 6387748 h 10145833"/>
              <a:gd name="connsiteX130" fmla="*/ 7031006 w 9209314"/>
              <a:gd name="connsiteY130" fmla="*/ 6330481 h 10145833"/>
              <a:gd name="connsiteX131" fmla="*/ 7018287 w 9209314"/>
              <a:gd name="connsiteY131" fmla="*/ 6425927 h 10145833"/>
              <a:gd name="connsiteX132" fmla="*/ 6973766 w 9209314"/>
              <a:gd name="connsiteY132" fmla="*/ 6737714 h 10145833"/>
              <a:gd name="connsiteX133" fmla="*/ 6808405 w 9209314"/>
              <a:gd name="connsiteY133" fmla="*/ 6718625 h 10145833"/>
              <a:gd name="connsiteX134" fmla="*/ 6849746 w 9209314"/>
              <a:gd name="connsiteY134" fmla="*/ 6550005 h 10145833"/>
              <a:gd name="connsiteX135" fmla="*/ 6684385 w 9209314"/>
              <a:gd name="connsiteY135" fmla="*/ 6371841 h 10145833"/>
              <a:gd name="connsiteX136" fmla="*/ 6658945 w 9209314"/>
              <a:gd name="connsiteY136" fmla="*/ 6359115 h 10145833"/>
              <a:gd name="connsiteX137" fmla="*/ 6611245 w 9209314"/>
              <a:gd name="connsiteY137" fmla="*/ 6311392 h 10145833"/>
              <a:gd name="connsiteX138" fmla="*/ 6528565 w 9209314"/>
              <a:gd name="connsiteY138" fmla="*/ 6311392 h 10145833"/>
              <a:gd name="connsiteX139" fmla="*/ 6636685 w 9209314"/>
              <a:gd name="connsiteY139" fmla="*/ 6788618 h 10145833"/>
              <a:gd name="connsiteX140" fmla="*/ 6620785 w 9209314"/>
              <a:gd name="connsiteY140" fmla="*/ 6912696 h 10145833"/>
              <a:gd name="connsiteX141" fmla="*/ 6487224 w 9209314"/>
              <a:gd name="connsiteY141" fmla="*/ 6696354 h 10145833"/>
              <a:gd name="connsiteX142" fmla="*/ 6407724 w 9209314"/>
              <a:gd name="connsiteY142" fmla="*/ 6483194 h 10145833"/>
              <a:gd name="connsiteX143" fmla="*/ 6286883 w 9209314"/>
              <a:gd name="connsiteY143" fmla="*/ 6495920 h 10145833"/>
              <a:gd name="connsiteX144" fmla="*/ 6213744 w 9209314"/>
              <a:gd name="connsiteY144" fmla="*/ 6406837 h 10145833"/>
              <a:gd name="connsiteX145" fmla="*/ 6172404 w 9209314"/>
              <a:gd name="connsiteY145" fmla="*/ 6371841 h 10145833"/>
              <a:gd name="connsiteX146" fmla="*/ 6191484 w 9209314"/>
              <a:gd name="connsiteY146" fmla="*/ 6534098 h 10145833"/>
              <a:gd name="connsiteX147" fmla="*/ 6035663 w 9209314"/>
              <a:gd name="connsiteY147" fmla="*/ 6896789 h 10145833"/>
              <a:gd name="connsiteX148" fmla="*/ 6061103 w 9209314"/>
              <a:gd name="connsiteY148" fmla="*/ 6721806 h 10145833"/>
              <a:gd name="connsiteX149" fmla="*/ 6150143 w 9209314"/>
              <a:gd name="connsiteY149" fmla="*/ 6591365 h 10145833"/>
              <a:gd name="connsiteX150" fmla="*/ 5930722 w 9209314"/>
              <a:gd name="connsiteY150" fmla="*/ 6925422 h 10145833"/>
              <a:gd name="connsiteX151" fmla="*/ 5930275 w 9209314"/>
              <a:gd name="connsiteY151" fmla="*/ 6998796 h 10145833"/>
              <a:gd name="connsiteX152" fmla="*/ 5923460 w 9209314"/>
              <a:gd name="connsiteY152" fmla="*/ 7017724 h 10145833"/>
              <a:gd name="connsiteX153" fmla="*/ 5908791 w 9209314"/>
              <a:gd name="connsiteY153" fmla="*/ 6994993 h 10145833"/>
              <a:gd name="connsiteX154" fmla="*/ 5809882 w 9209314"/>
              <a:gd name="connsiteY154" fmla="*/ 6979508 h 10145833"/>
              <a:gd name="connsiteX155" fmla="*/ 5708121 w 9209314"/>
              <a:gd name="connsiteY155" fmla="*/ 6912696 h 10145833"/>
              <a:gd name="connsiteX156" fmla="*/ 5673142 w 9209314"/>
              <a:gd name="connsiteY156" fmla="*/ 7036775 h 10145833"/>
              <a:gd name="connsiteX157" fmla="*/ 5689042 w 9209314"/>
              <a:gd name="connsiteY157" fmla="*/ 7199032 h 10145833"/>
              <a:gd name="connsiteX158" fmla="*/ 5765362 w 9209314"/>
              <a:gd name="connsiteY158" fmla="*/ 7558541 h 10145833"/>
              <a:gd name="connsiteX159" fmla="*/ 5959343 w 9209314"/>
              <a:gd name="connsiteY159" fmla="*/ 8264835 h 10145833"/>
              <a:gd name="connsiteX160" fmla="*/ 5813062 w 9209314"/>
              <a:gd name="connsiteY160" fmla="*/ 8000770 h 10145833"/>
              <a:gd name="connsiteX161" fmla="*/ 5730381 w 9209314"/>
              <a:gd name="connsiteY161" fmla="*/ 7984863 h 10145833"/>
              <a:gd name="connsiteX162" fmla="*/ 5615901 w 9209314"/>
              <a:gd name="connsiteY162" fmla="*/ 7781247 h 10145833"/>
              <a:gd name="connsiteX163" fmla="*/ 5589489 w 9209314"/>
              <a:gd name="connsiteY163" fmla="*/ 7912321 h 10145833"/>
              <a:gd name="connsiteX164" fmla="*/ 5591063 w 9209314"/>
              <a:gd name="connsiteY164" fmla="*/ 7919318 h 10145833"/>
              <a:gd name="connsiteX165" fmla="*/ 5590312 w 9209314"/>
              <a:gd name="connsiteY165" fmla="*/ 7918549 h 10145833"/>
              <a:gd name="connsiteX166" fmla="*/ 5495061 w 9209314"/>
              <a:gd name="connsiteY166" fmla="*/ 7778065 h 10145833"/>
              <a:gd name="connsiteX167" fmla="*/ 5491881 w 9209314"/>
              <a:gd name="connsiteY167" fmla="*/ 7736705 h 10145833"/>
              <a:gd name="connsiteX168" fmla="*/ 5345600 w 9209314"/>
              <a:gd name="connsiteY168" fmla="*/ 7539452 h 10145833"/>
              <a:gd name="connsiteX169" fmla="*/ 5332880 w 9209314"/>
              <a:gd name="connsiteY169" fmla="*/ 7545815 h 10145833"/>
              <a:gd name="connsiteX170" fmla="*/ 5316980 w 9209314"/>
              <a:gd name="connsiteY170" fmla="*/ 7354925 h 10145833"/>
              <a:gd name="connsiteX171" fmla="*/ 5247020 w 9209314"/>
              <a:gd name="connsiteY171" fmla="*/ 7186306 h 10145833"/>
              <a:gd name="connsiteX172" fmla="*/ 5167519 w 9209314"/>
              <a:gd name="connsiteY172" fmla="*/ 7262662 h 10145833"/>
              <a:gd name="connsiteX173" fmla="*/ 5132540 w 9209314"/>
              <a:gd name="connsiteY173" fmla="*/ 7409011 h 10145833"/>
              <a:gd name="connsiteX174" fmla="*/ 5043549 w 9209314"/>
              <a:gd name="connsiteY174" fmla="*/ 7401852 h 10145833"/>
              <a:gd name="connsiteX175" fmla="*/ 5019956 w 9209314"/>
              <a:gd name="connsiteY175" fmla="*/ 7423202 h 10145833"/>
              <a:gd name="connsiteX176" fmla="*/ 5002805 w 9209314"/>
              <a:gd name="connsiteY176" fmla="*/ 7400262 h 10145833"/>
              <a:gd name="connsiteX177" fmla="*/ 4957639 w 9209314"/>
              <a:gd name="connsiteY177" fmla="*/ 7307203 h 10145833"/>
              <a:gd name="connsiteX178" fmla="*/ 5053039 w 9209314"/>
              <a:gd name="connsiteY178" fmla="*/ 7361288 h 10145833"/>
              <a:gd name="connsiteX179" fmla="*/ 5088019 w 9209314"/>
              <a:gd name="connsiteY179" fmla="*/ 7113131 h 10145833"/>
              <a:gd name="connsiteX180" fmla="*/ 5116640 w 9209314"/>
              <a:gd name="connsiteY180" fmla="*/ 7017686 h 10145833"/>
              <a:gd name="connsiteX181" fmla="*/ 5008382 w 9209314"/>
              <a:gd name="connsiteY181" fmla="*/ 6898721 h 10145833"/>
              <a:gd name="connsiteX182" fmla="*/ 5011230 w 9209314"/>
              <a:gd name="connsiteY182" fmla="*/ 6872480 h 10145833"/>
              <a:gd name="connsiteX183" fmla="*/ 5015525 w 9209314"/>
              <a:gd name="connsiteY183" fmla="*/ 6876109 h 10145833"/>
              <a:gd name="connsiteX184" fmla="*/ 5084839 w 9209314"/>
              <a:gd name="connsiteY184" fmla="*/ 6861792 h 10145833"/>
              <a:gd name="connsiteX185" fmla="*/ 4944919 w 9209314"/>
              <a:gd name="connsiteY185" fmla="*/ 6581820 h 10145833"/>
              <a:gd name="connsiteX186" fmla="*/ 4874959 w 9209314"/>
              <a:gd name="connsiteY186" fmla="*/ 6814070 h 10145833"/>
              <a:gd name="connsiteX187" fmla="*/ 4750938 w 9209314"/>
              <a:gd name="connsiteY187" fmla="*/ 7087679 h 10145833"/>
              <a:gd name="connsiteX188" fmla="*/ 4735038 w 9209314"/>
              <a:gd name="connsiteY188" fmla="*/ 7167217 h 10145833"/>
              <a:gd name="connsiteX189" fmla="*/ 4617378 w 9209314"/>
              <a:gd name="connsiteY189" fmla="*/ 7278569 h 10145833"/>
              <a:gd name="connsiteX190" fmla="*/ 4617378 w 9209314"/>
              <a:gd name="connsiteY190" fmla="*/ 7472641 h 10145833"/>
              <a:gd name="connsiteX191" fmla="*/ 4556958 w 9209314"/>
              <a:gd name="connsiteY191" fmla="*/ 7304021 h 10145833"/>
              <a:gd name="connsiteX192" fmla="*/ 4601478 w 9209314"/>
              <a:gd name="connsiteY192" fmla="*/ 7179943 h 10145833"/>
              <a:gd name="connsiteX193" fmla="*/ 4731858 w 9209314"/>
              <a:gd name="connsiteY193" fmla="*/ 7004960 h 10145833"/>
              <a:gd name="connsiteX194" fmla="*/ 4741398 w 9209314"/>
              <a:gd name="connsiteY194" fmla="*/ 6887244 h 10145833"/>
              <a:gd name="connsiteX195" fmla="*/ 4725498 w 9209314"/>
              <a:gd name="connsiteY195" fmla="*/ 6922241 h 10145833"/>
              <a:gd name="connsiteX196" fmla="*/ 4630097 w 9209314"/>
              <a:gd name="connsiteY196" fmla="*/ 6737714 h 10145833"/>
              <a:gd name="connsiteX197" fmla="*/ 4436117 w 9209314"/>
              <a:gd name="connsiteY197" fmla="*/ 6515009 h 10145833"/>
              <a:gd name="connsiteX198" fmla="*/ 4289837 w 9209314"/>
              <a:gd name="connsiteY198" fmla="*/ 6530916 h 10145833"/>
              <a:gd name="connsiteX199" fmla="*/ 4232596 w 9209314"/>
              <a:gd name="connsiteY199" fmla="*/ 6556368 h 10145833"/>
              <a:gd name="connsiteX200" fmla="*/ 4273937 w 9209314"/>
              <a:gd name="connsiteY200" fmla="*/ 6699536 h 10145833"/>
              <a:gd name="connsiteX201" fmla="*/ 4273482 w 9209314"/>
              <a:gd name="connsiteY201" fmla="*/ 7107578 h 10145833"/>
              <a:gd name="connsiteX202" fmla="*/ 4274569 w 9209314"/>
              <a:gd name="connsiteY202" fmla="*/ 7113998 h 10145833"/>
              <a:gd name="connsiteX203" fmla="*/ 4265837 w 9209314"/>
              <a:gd name="connsiteY203" fmla="*/ 7092651 h 10145833"/>
              <a:gd name="connsiteX204" fmla="*/ 4070415 w 9209314"/>
              <a:gd name="connsiteY204" fmla="*/ 6861792 h 10145833"/>
              <a:gd name="connsiteX205" fmla="*/ 3860411 w 9209314"/>
              <a:gd name="connsiteY205" fmla="*/ 6673501 h 10145833"/>
              <a:gd name="connsiteX206" fmla="*/ 3897434 w 9209314"/>
              <a:gd name="connsiteY206" fmla="*/ 6775596 h 10145833"/>
              <a:gd name="connsiteX207" fmla="*/ 3879070 w 9209314"/>
              <a:gd name="connsiteY207" fmla="*/ 6774882 h 10145833"/>
              <a:gd name="connsiteX208" fmla="*/ 3653834 w 9209314"/>
              <a:gd name="connsiteY208" fmla="*/ 6505464 h 10145833"/>
              <a:gd name="connsiteX209" fmla="*/ 3688814 w 9209314"/>
              <a:gd name="connsiteY209" fmla="*/ 6654995 h 10145833"/>
              <a:gd name="connsiteX210" fmla="*/ 3777854 w 9209314"/>
              <a:gd name="connsiteY210" fmla="*/ 6992234 h 10145833"/>
              <a:gd name="connsiteX211" fmla="*/ 3787394 w 9209314"/>
              <a:gd name="connsiteY211" fmla="*/ 7138583 h 10145833"/>
              <a:gd name="connsiteX212" fmla="*/ 3717434 w 9209314"/>
              <a:gd name="connsiteY212" fmla="*/ 6976326 h 10145833"/>
              <a:gd name="connsiteX213" fmla="*/ 3513913 w 9209314"/>
              <a:gd name="connsiteY213" fmla="*/ 6922241 h 10145833"/>
              <a:gd name="connsiteX214" fmla="*/ 3625214 w 9209314"/>
              <a:gd name="connsiteY214" fmla="*/ 7673075 h 10145833"/>
              <a:gd name="connsiteX215" fmla="*/ 3625214 w 9209314"/>
              <a:gd name="connsiteY215" fmla="*/ 7943503 h 10145833"/>
              <a:gd name="connsiteX216" fmla="*/ 3679274 w 9209314"/>
              <a:gd name="connsiteY216" fmla="*/ 8258472 h 10145833"/>
              <a:gd name="connsiteX217" fmla="*/ 3412153 w 9209314"/>
              <a:gd name="connsiteY217" fmla="*/ 8067582 h 10145833"/>
              <a:gd name="connsiteX218" fmla="*/ 3316753 w 9209314"/>
              <a:gd name="connsiteY218" fmla="*/ 7959411 h 10145833"/>
              <a:gd name="connsiteX219" fmla="*/ 3326293 w 9209314"/>
              <a:gd name="connsiteY219" fmla="*/ 7762158 h 10145833"/>
              <a:gd name="connsiteX220" fmla="*/ 3189552 w 9209314"/>
              <a:gd name="connsiteY220" fmla="*/ 7653986 h 10145833"/>
              <a:gd name="connsiteX221" fmla="*/ 3180012 w 9209314"/>
              <a:gd name="connsiteY221" fmla="*/ 7806699 h 10145833"/>
              <a:gd name="connsiteX222" fmla="*/ 3326293 w 9209314"/>
              <a:gd name="connsiteY222" fmla="*/ 8089852 h 10145833"/>
              <a:gd name="connsiteX223" fmla="*/ 3339013 w 9209314"/>
              <a:gd name="connsiteY223" fmla="*/ 8172571 h 10145833"/>
              <a:gd name="connsiteX224" fmla="*/ 3269052 w 9209314"/>
              <a:gd name="connsiteY224" fmla="*/ 8169390 h 10145833"/>
              <a:gd name="connsiteX225" fmla="*/ 3297673 w 9209314"/>
              <a:gd name="connsiteY225" fmla="*/ 8408002 h 10145833"/>
              <a:gd name="connsiteX226" fmla="*/ 3380353 w 9209314"/>
              <a:gd name="connsiteY226" fmla="*/ 8341191 h 10145833"/>
              <a:gd name="connsiteX227" fmla="*/ 3358093 w 9209314"/>
              <a:gd name="connsiteY227" fmla="*/ 8408002 h 10145833"/>
              <a:gd name="connsiteX228" fmla="*/ 3316753 w 9209314"/>
              <a:gd name="connsiteY228" fmla="*/ 8471633 h 10145833"/>
              <a:gd name="connsiteX229" fmla="*/ 3393073 w 9209314"/>
              <a:gd name="connsiteY229" fmla="*/ 8554352 h 10145833"/>
              <a:gd name="connsiteX230" fmla="*/ 3275412 w 9209314"/>
              <a:gd name="connsiteY230" fmla="*/ 8576622 h 10145833"/>
              <a:gd name="connsiteX231" fmla="*/ 3269052 w 9209314"/>
              <a:gd name="connsiteY231" fmla="*/ 8691156 h 10145833"/>
              <a:gd name="connsiteX232" fmla="*/ 3192732 w 9209314"/>
              <a:gd name="connsiteY232" fmla="*/ 8732516 h 10145833"/>
              <a:gd name="connsiteX233" fmla="*/ 3234073 w 9209314"/>
              <a:gd name="connsiteY233" fmla="*/ 8815235 h 10145833"/>
              <a:gd name="connsiteX234" fmla="*/ 3164112 w 9209314"/>
              <a:gd name="connsiteY234" fmla="*/ 8894772 h 10145833"/>
              <a:gd name="connsiteX235" fmla="*/ 3208632 w 9209314"/>
              <a:gd name="connsiteY235" fmla="*/ 9098389 h 10145833"/>
              <a:gd name="connsiteX236" fmla="*/ 3240432 w 9209314"/>
              <a:gd name="connsiteY236" fmla="*/ 9518347 h 10145833"/>
              <a:gd name="connsiteX237" fmla="*/ 3207440 w 9209314"/>
              <a:gd name="connsiteY237" fmla="*/ 9552945 h 10145833"/>
              <a:gd name="connsiteX238" fmla="*/ 3183133 w 9209314"/>
              <a:gd name="connsiteY238" fmla="*/ 9578526 h 10145833"/>
              <a:gd name="connsiteX239" fmla="*/ 3176584 w 9209314"/>
              <a:gd name="connsiteY239" fmla="*/ 9565870 h 10145833"/>
              <a:gd name="connsiteX240" fmla="*/ 3132312 w 9209314"/>
              <a:gd name="connsiteY240" fmla="*/ 9581977 h 10145833"/>
              <a:gd name="connsiteX241" fmla="*/ 3284953 w 9209314"/>
              <a:gd name="connsiteY241" fmla="*/ 10100562 h 10145833"/>
              <a:gd name="connsiteX242" fmla="*/ 2852471 w 9209314"/>
              <a:gd name="connsiteY242" fmla="*/ 9486532 h 10145833"/>
              <a:gd name="connsiteX243" fmla="*/ 2903351 w 9209314"/>
              <a:gd name="connsiteY243" fmla="*/ 9352909 h 10145833"/>
              <a:gd name="connsiteX244" fmla="*/ 2699830 w 9209314"/>
              <a:gd name="connsiteY244" fmla="*/ 9098389 h 10145833"/>
              <a:gd name="connsiteX245" fmla="*/ 2811131 w 9209314"/>
              <a:gd name="connsiteY245" fmla="*/ 9146111 h 10145833"/>
              <a:gd name="connsiteX246" fmla="*/ 2734810 w 9209314"/>
              <a:gd name="connsiteY246" fmla="*/ 8948858 h 10145833"/>
              <a:gd name="connsiteX247" fmla="*/ 2509030 w 9209314"/>
              <a:gd name="connsiteY247" fmla="*/ 8961584 h 10145833"/>
              <a:gd name="connsiteX248" fmla="*/ 2610790 w 9209314"/>
              <a:gd name="connsiteY248" fmla="*/ 8761149 h 10145833"/>
              <a:gd name="connsiteX249" fmla="*/ 2553550 w 9209314"/>
              <a:gd name="connsiteY249" fmla="*/ 8544807 h 10145833"/>
              <a:gd name="connsiteX250" fmla="*/ 2146508 w 9209314"/>
              <a:gd name="connsiteY250" fmla="*/ 8341191 h 10145833"/>
              <a:gd name="connsiteX251" fmla="*/ 2022488 w 9209314"/>
              <a:gd name="connsiteY251" fmla="*/ 8458907 h 10145833"/>
              <a:gd name="connsiteX252" fmla="*/ 1939807 w 9209314"/>
              <a:gd name="connsiteY252" fmla="*/ 8672067 h 10145833"/>
              <a:gd name="connsiteX253" fmla="*/ 2068864 w 9209314"/>
              <a:gd name="connsiteY253" fmla="*/ 9389793 h 10145833"/>
              <a:gd name="connsiteX254" fmla="*/ 2066491 w 9209314"/>
              <a:gd name="connsiteY254" fmla="*/ 9396398 h 10145833"/>
              <a:gd name="connsiteX255" fmla="*/ 2047282 w 9209314"/>
              <a:gd name="connsiteY255" fmla="*/ 9389048 h 10145833"/>
              <a:gd name="connsiteX256" fmla="*/ 2012948 w 9209314"/>
              <a:gd name="connsiteY256" fmla="*/ 9368816 h 10145833"/>
              <a:gd name="connsiteX257" fmla="*/ 1950789 w 9209314"/>
              <a:gd name="connsiteY257" fmla="*/ 9391634 h 10145833"/>
              <a:gd name="connsiteX258" fmla="*/ 1961608 w 9209314"/>
              <a:gd name="connsiteY258" fmla="*/ 9412471 h 10145833"/>
              <a:gd name="connsiteX259" fmla="*/ 1958888 w 9209314"/>
              <a:gd name="connsiteY259" fmla="*/ 9413357 h 10145833"/>
              <a:gd name="connsiteX260" fmla="*/ 1962068 w 9209314"/>
              <a:gd name="connsiteY260" fmla="*/ 9413357 h 10145833"/>
              <a:gd name="connsiteX261" fmla="*/ 1961608 w 9209314"/>
              <a:gd name="connsiteY261" fmla="*/ 9412471 h 10145833"/>
              <a:gd name="connsiteX262" fmla="*/ 1984081 w 9209314"/>
              <a:gd name="connsiteY262" fmla="*/ 9405152 h 10145833"/>
              <a:gd name="connsiteX263" fmla="*/ 1831687 w 9209314"/>
              <a:gd name="connsiteY263" fmla="*/ 9165200 h 10145833"/>
              <a:gd name="connsiteX264" fmla="*/ 1764907 w 9209314"/>
              <a:gd name="connsiteY264" fmla="*/ 9107933 h 10145833"/>
              <a:gd name="connsiteX265" fmla="*/ 1764907 w 9209314"/>
              <a:gd name="connsiteY265" fmla="*/ 9187471 h 10145833"/>
              <a:gd name="connsiteX266" fmla="*/ 1621806 w 9209314"/>
              <a:gd name="connsiteY266" fmla="*/ 9235193 h 10145833"/>
              <a:gd name="connsiteX267" fmla="*/ 1437366 w 9209314"/>
              <a:gd name="connsiteY267" fmla="*/ 9146111 h 10145833"/>
              <a:gd name="connsiteX268" fmla="*/ 1351505 w 9209314"/>
              <a:gd name="connsiteY268" fmla="*/ 9203378 h 10145833"/>
              <a:gd name="connsiteX269" fmla="*/ 1265645 w 9209314"/>
              <a:gd name="connsiteY269" fmla="*/ 9082481 h 10145833"/>
              <a:gd name="connsiteX270" fmla="*/ 1205082 w 9209314"/>
              <a:gd name="connsiteY270" fmla="*/ 8978044 h 10145833"/>
              <a:gd name="connsiteX271" fmla="*/ 1214368 w 9209314"/>
              <a:gd name="connsiteY271" fmla="*/ 8947003 h 10145833"/>
              <a:gd name="connsiteX272" fmla="*/ 1226690 w 9209314"/>
              <a:gd name="connsiteY272" fmla="*/ 8946869 h 10145833"/>
              <a:gd name="connsiteX273" fmla="*/ 1243385 w 9209314"/>
              <a:gd name="connsiteY273" fmla="*/ 8917043 h 10145833"/>
              <a:gd name="connsiteX274" fmla="*/ 1132085 w 9209314"/>
              <a:gd name="connsiteY274" fmla="*/ 8923406 h 10145833"/>
              <a:gd name="connsiteX275" fmla="*/ 1198865 w 9209314"/>
              <a:gd name="connsiteY275" fmla="*/ 9276553 h 10145833"/>
              <a:gd name="connsiteX276" fmla="*/ 1262465 w 9209314"/>
              <a:gd name="connsiteY276" fmla="*/ 9521528 h 10145833"/>
              <a:gd name="connsiteX277" fmla="*/ 1173425 w 9209314"/>
              <a:gd name="connsiteY277" fmla="*/ 9422902 h 10145833"/>
              <a:gd name="connsiteX278" fmla="*/ 1058944 w 9209314"/>
              <a:gd name="connsiteY278" fmla="*/ 9426083 h 10145833"/>
              <a:gd name="connsiteX279" fmla="*/ 950824 w 9209314"/>
              <a:gd name="connsiteY279" fmla="*/ 9419720 h 10145833"/>
              <a:gd name="connsiteX280" fmla="*/ 969904 w 9209314"/>
              <a:gd name="connsiteY280" fmla="*/ 9607429 h 10145833"/>
              <a:gd name="connsiteX281" fmla="*/ 963469 w 9209314"/>
              <a:gd name="connsiteY281" fmla="*/ 9696120 h 10145833"/>
              <a:gd name="connsiteX282" fmla="*/ 966500 w 9209314"/>
              <a:gd name="connsiteY282" fmla="*/ 9735000 h 10145833"/>
              <a:gd name="connsiteX283" fmla="*/ 957948 w 9209314"/>
              <a:gd name="connsiteY283" fmla="*/ 9727916 h 10145833"/>
              <a:gd name="connsiteX284" fmla="*/ 858604 w 9209314"/>
              <a:gd name="connsiteY284" fmla="*/ 9384724 h 10145833"/>
              <a:gd name="connsiteX285" fmla="*/ 753663 w 9209314"/>
              <a:gd name="connsiteY285" fmla="*/ 9445172 h 10145833"/>
              <a:gd name="connsiteX286" fmla="*/ 747303 w 9209314"/>
              <a:gd name="connsiteY286" fmla="*/ 9527891 h 10145833"/>
              <a:gd name="connsiteX287" fmla="*/ 696423 w 9209314"/>
              <a:gd name="connsiteY287" fmla="*/ 9356090 h 10145833"/>
              <a:gd name="connsiteX288" fmla="*/ 645543 w 9209314"/>
              <a:gd name="connsiteY288" fmla="*/ 9368816 h 10145833"/>
              <a:gd name="connsiteX289" fmla="*/ 572402 w 9209314"/>
              <a:gd name="connsiteY289" fmla="*/ 9308368 h 10145833"/>
              <a:gd name="connsiteX290" fmla="*/ 505622 w 9209314"/>
              <a:gd name="connsiteY290" fmla="*/ 9095207 h 10145833"/>
              <a:gd name="connsiteX291" fmla="*/ 521522 w 9209314"/>
              <a:gd name="connsiteY291" fmla="*/ 9209741 h 10145833"/>
              <a:gd name="connsiteX292" fmla="*/ 451562 w 9209314"/>
              <a:gd name="connsiteY292" fmla="*/ 9200197 h 10145833"/>
              <a:gd name="connsiteX293" fmla="*/ 263941 w 9209314"/>
              <a:gd name="connsiteY293" fmla="*/ 8936132 h 10145833"/>
              <a:gd name="connsiteX294" fmla="*/ 203521 w 9209314"/>
              <a:gd name="connsiteY294" fmla="*/ 8700701 h 10145833"/>
              <a:gd name="connsiteX295" fmla="*/ 203521 w 9209314"/>
              <a:gd name="connsiteY295" fmla="*/ 8958402 h 10145833"/>
              <a:gd name="connsiteX296" fmla="*/ 44520 w 9209314"/>
              <a:gd name="connsiteY296" fmla="*/ 8544807 h 10145833"/>
              <a:gd name="connsiteX297" fmla="*/ 0 w 9209314"/>
              <a:gd name="connsiteY297" fmla="*/ 8509811 h 10145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</a:cxnLst>
            <a:rect l="l" t="t" r="r" b="b"/>
            <a:pathLst>
              <a:path w="9209314" h="10145833">
                <a:moveTo>
                  <a:pt x="966500" y="9735000"/>
                </a:moveTo>
                <a:lnTo>
                  <a:pt x="968165" y="9736379"/>
                </a:lnTo>
                <a:cubicBezTo>
                  <a:pt x="972885" y="9739064"/>
                  <a:pt x="973084" y="9737075"/>
                  <a:pt x="966724" y="9737871"/>
                </a:cubicBezTo>
                <a:close/>
                <a:moveTo>
                  <a:pt x="3183133" y="9578526"/>
                </a:moveTo>
                <a:lnTo>
                  <a:pt x="3183658" y="9579541"/>
                </a:lnTo>
                <a:cubicBezTo>
                  <a:pt x="3183987" y="9583020"/>
                  <a:pt x="3182000" y="9585158"/>
                  <a:pt x="3176832" y="9585158"/>
                </a:cubicBezTo>
                <a:close/>
                <a:moveTo>
                  <a:pt x="2066491" y="9396398"/>
                </a:moveTo>
                <a:lnTo>
                  <a:pt x="2068200" y="9397052"/>
                </a:lnTo>
                <a:cubicBezTo>
                  <a:pt x="2077343" y="9399836"/>
                  <a:pt x="2076548" y="9399041"/>
                  <a:pt x="2063828" y="9403813"/>
                </a:cubicBezTo>
                <a:close/>
                <a:moveTo>
                  <a:pt x="1214765" y="8945676"/>
                </a:moveTo>
                <a:lnTo>
                  <a:pt x="1214368" y="8947003"/>
                </a:lnTo>
                <a:lnTo>
                  <a:pt x="1212976" y="8947018"/>
                </a:lnTo>
                <a:cubicBezTo>
                  <a:pt x="1210194" y="8946471"/>
                  <a:pt x="1209995" y="8945676"/>
                  <a:pt x="1214765" y="8945676"/>
                </a:cubicBezTo>
                <a:close/>
                <a:moveTo>
                  <a:pt x="5591063" y="7919318"/>
                </a:moveTo>
                <a:lnTo>
                  <a:pt x="5597622" y="7926042"/>
                </a:lnTo>
                <a:cubicBezTo>
                  <a:pt x="5598361" y="7928043"/>
                  <a:pt x="5597219" y="7929584"/>
                  <a:pt x="5593641" y="7930777"/>
                </a:cubicBezTo>
                <a:close/>
                <a:moveTo>
                  <a:pt x="5019956" y="7423202"/>
                </a:moveTo>
                <a:lnTo>
                  <a:pt x="5021239" y="7424918"/>
                </a:lnTo>
                <a:cubicBezTo>
                  <a:pt x="5021239" y="7424918"/>
                  <a:pt x="5021239" y="7424918"/>
                  <a:pt x="5018059" y="7424918"/>
                </a:cubicBezTo>
                <a:close/>
                <a:moveTo>
                  <a:pt x="4274569" y="7113998"/>
                </a:moveTo>
                <a:lnTo>
                  <a:pt x="4276452" y="7118600"/>
                </a:lnTo>
                <a:cubicBezTo>
                  <a:pt x="4278408" y="7124913"/>
                  <a:pt x="4278706" y="7128642"/>
                  <a:pt x="4277116" y="7129039"/>
                </a:cubicBezTo>
                <a:close/>
                <a:moveTo>
                  <a:pt x="5923460" y="7017724"/>
                </a:moveTo>
                <a:lnTo>
                  <a:pt x="5927543" y="7024049"/>
                </a:lnTo>
                <a:cubicBezTo>
                  <a:pt x="5927543" y="7024049"/>
                  <a:pt x="5927543" y="7024049"/>
                  <a:pt x="5921183" y="7024049"/>
                </a:cubicBezTo>
                <a:close/>
                <a:moveTo>
                  <a:pt x="5011699" y="6868155"/>
                </a:moveTo>
                <a:lnTo>
                  <a:pt x="5011230" y="6872480"/>
                </a:lnTo>
                <a:lnTo>
                  <a:pt x="5009494" y="6871014"/>
                </a:lnTo>
                <a:cubicBezTo>
                  <a:pt x="5008718" y="6869597"/>
                  <a:pt x="5009314" y="6868553"/>
                  <a:pt x="5011699" y="6868155"/>
                </a:cubicBezTo>
                <a:close/>
                <a:moveTo>
                  <a:pt x="3897434" y="6775596"/>
                </a:moveTo>
                <a:lnTo>
                  <a:pt x="3905055" y="6775892"/>
                </a:lnTo>
                <a:cubicBezTo>
                  <a:pt x="3905055" y="6775892"/>
                  <a:pt x="3905055" y="6775892"/>
                  <a:pt x="3898695" y="6779073"/>
                </a:cubicBezTo>
                <a:close/>
                <a:moveTo>
                  <a:pt x="7099733" y="6013680"/>
                </a:moveTo>
                <a:lnTo>
                  <a:pt x="7100967" y="6015513"/>
                </a:lnTo>
                <a:cubicBezTo>
                  <a:pt x="7100967" y="6015513"/>
                  <a:pt x="7100967" y="6015513"/>
                  <a:pt x="7097786" y="6015513"/>
                </a:cubicBezTo>
                <a:close/>
                <a:moveTo>
                  <a:pt x="7365472" y="5049476"/>
                </a:moveTo>
                <a:lnTo>
                  <a:pt x="7365404" y="5049828"/>
                </a:lnTo>
                <a:cubicBezTo>
                  <a:pt x="7363317" y="5055097"/>
                  <a:pt x="7360933" y="5056290"/>
                  <a:pt x="7358548" y="5051518"/>
                </a:cubicBezTo>
                <a:close/>
                <a:moveTo>
                  <a:pt x="7422645" y="4628080"/>
                </a:moveTo>
                <a:cubicBezTo>
                  <a:pt x="7427316" y="4628775"/>
                  <a:pt x="7428508" y="4630764"/>
                  <a:pt x="7422148" y="4631559"/>
                </a:cubicBezTo>
                <a:lnTo>
                  <a:pt x="7422213" y="4628170"/>
                </a:lnTo>
                <a:close/>
                <a:moveTo>
                  <a:pt x="8209162" y="3618834"/>
                </a:moveTo>
                <a:lnTo>
                  <a:pt x="8218244" y="3621631"/>
                </a:lnTo>
                <a:cubicBezTo>
                  <a:pt x="8235038" y="3627796"/>
                  <a:pt x="8237026" y="3632568"/>
                  <a:pt x="8210791" y="3638931"/>
                </a:cubicBezTo>
                <a:close/>
                <a:moveTo>
                  <a:pt x="0" y="0"/>
                </a:moveTo>
                <a:lnTo>
                  <a:pt x="9085940" y="0"/>
                </a:lnTo>
                <a:lnTo>
                  <a:pt x="9081021" y="14056"/>
                </a:lnTo>
                <a:cubicBezTo>
                  <a:pt x="9081518" y="22159"/>
                  <a:pt x="9083704" y="33493"/>
                  <a:pt x="9085294" y="50196"/>
                </a:cubicBezTo>
                <a:cubicBezTo>
                  <a:pt x="9091654" y="126552"/>
                  <a:pt x="9078934" y="117007"/>
                  <a:pt x="9158434" y="66103"/>
                </a:cubicBezTo>
                <a:cubicBezTo>
                  <a:pt x="9132994" y="266538"/>
                  <a:pt x="9183874" y="228360"/>
                  <a:pt x="9209314" y="145641"/>
                </a:cubicBezTo>
                <a:lnTo>
                  <a:pt x="9209314" y="1730029"/>
                </a:lnTo>
                <a:cubicBezTo>
                  <a:pt x="9196594" y="1714122"/>
                  <a:pt x="9183874" y="1679125"/>
                  <a:pt x="9161614" y="1717303"/>
                </a:cubicBezTo>
                <a:cubicBezTo>
                  <a:pt x="9145714" y="1755481"/>
                  <a:pt x="9183874" y="1739574"/>
                  <a:pt x="9209314" y="1730029"/>
                </a:cubicBezTo>
                <a:lnTo>
                  <a:pt x="9209314" y="1774570"/>
                </a:lnTo>
                <a:cubicBezTo>
                  <a:pt x="9187054" y="1790478"/>
                  <a:pt x="9177514" y="1780933"/>
                  <a:pt x="9107554" y="1758663"/>
                </a:cubicBezTo>
                <a:cubicBezTo>
                  <a:pt x="9053493" y="1828656"/>
                  <a:pt x="8999433" y="1876378"/>
                  <a:pt x="9053493" y="1901830"/>
                </a:cubicBezTo>
                <a:cubicBezTo>
                  <a:pt x="9126634" y="1936827"/>
                  <a:pt x="9142534" y="1679125"/>
                  <a:pt x="9139354" y="1870015"/>
                </a:cubicBezTo>
                <a:cubicBezTo>
                  <a:pt x="9155254" y="1866834"/>
                  <a:pt x="9167974" y="1866834"/>
                  <a:pt x="9180694" y="1860471"/>
                </a:cubicBezTo>
                <a:cubicBezTo>
                  <a:pt x="9193414" y="1850926"/>
                  <a:pt x="9196594" y="1828656"/>
                  <a:pt x="9209314" y="1819111"/>
                </a:cubicBezTo>
                <a:lnTo>
                  <a:pt x="9209314" y="2204073"/>
                </a:lnTo>
                <a:lnTo>
                  <a:pt x="9199774" y="2207255"/>
                </a:lnTo>
                <a:cubicBezTo>
                  <a:pt x="9145714" y="2134080"/>
                  <a:pt x="9085294" y="2188166"/>
                  <a:pt x="9113914" y="2229525"/>
                </a:cubicBezTo>
                <a:cubicBezTo>
                  <a:pt x="9167974" y="2302700"/>
                  <a:pt x="8993073" y="2286792"/>
                  <a:pt x="9209314" y="2369511"/>
                </a:cubicBezTo>
                <a:lnTo>
                  <a:pt x="9209314" y="2385419"/>
                </a:lnTo>
                <a:cubicBezTo>
                  <a:pt x="9177514" y="2436323"/>
                  <a:pt x="9190234" y="2496771"/>
                  <a:pt x="9209314" y="2547675"/>
                </a:cubicBezTo>
                <a:lnTo>
                  <a:pt x="9209314" y="2668572"/>
                </a:lnTo>
                <a:cubicBezTo>
                  <a:pt x="9183874" y="2690843"/>
                  <a:pt x="9164794" y="2713113"/>
                  <a:pt x="9142534" y="2652665"/>
                </a:cubicBezTo>
                <a:cubicBezTo>
                  <a:pt x="9117094" y="2662209"/>
                  <a:pt x="9158434" y="2649483"/>
                  <a:pt x="9174334" y="2627213"/>
                </a:cubicBezTo>
                <a:cubicBezTo>
                  <a:pt x="9199774" y="2598579"/>
                  <a:pt x="9187054" y="2528586"/>
                  <a:pt x="9120274" y="2589035"/>
                </a:cubicBezTo>
                <a:cubicBezTo>
                  <a:pt x="8964453" y="2242251"/>
                  <a:pt x="9018513" y="2506316"/>
                  <a:pt x="8983533" y="2519042"/>
                </a:cubicBezTo>
                <a:cubicBezTo>
                  <a:pt x="8830893" y="2391782"/>
                  <a:pt x="8792732" y="2528586"/>
                  <a:pt x="8910393" y="2525405"/>
                </a:cubicBezTo>
                <a:cubicBezTo>
                  <a:pt x="8843613" y="2783107"/>
                  <a:pt x="8989893" y="2579490"/>
                  <a:pt x="8970813" y="2738565"/>
                </a:cubicBezTo>
                <a:cubicBezTo>
                  <a:pt x="8951733" y="2735384"/>
                  <a:pt x="9098014" y="2932637"/>
                  <a:pt x="9072573" y="2939000"/>
                </a:cubicBezTo>
                <a:cubicBezTo>
                  <a:pt x="8869053" y="2856281"/>
                  <a:pt x="8935833" y="3349414"/>
                  <a:pt x="8738672" y="2716295"/>
                </a:cubicBezTo>
                <a:cubicBezTo>
                  <a:pt x="8700512" y="2697206"/>
                  <a:pt x="8706872" y="2716295"/>
                  <a:pt x="8601932" y="2802196"/>
                </a:cubicBezTo>
                <a:cubicBezTo>
                  <a:pt x="8671892" y="2900822"/>
                  <a:pt x="8671892" y="2913548"/>
                  <a:pt x="8531971" y="2977178"/>
                </a:cubicBezTo>
                <a:cubicBezTo>
                  <a:pt x="8506531" y="3155342"/>
                  <a:pt x="8640092" y="3193520"/>
                  <a:pt x="8398411" y="3164887"/>
                </a:cubicBezTo>
                <a:lnTo>
                  <a:pt x="8380695" y="3145004"/>
                </a:lnTo>
                <a:lnTo>
                  <a:pt x="8380679" y="3144723"/>
                </a:lnTo>
                <a:cubicBezTo>
                  <a:pt x="8369136" y="3112091"/>
                  <a:pt x="8323509" y="3078829"/>
                  <a:pt x="8376801" y="3140633"/>
                </a:cubicBezTo>
                <a:lnTo>
                  <a:pt x="8380695" y="3145004"/>
                </a:lnTo>
                <a:lnTo>
                  <a:pt x="8381865" y="3165334"/>
                </a:lnTo>
                <a:cubicBezTo>
                  <a:pt x="8377344" y="3177613"/>
                  <a:pt x="8360251" y="3185567"/>
                  <a:pt x="8318911" y="3180794"/>
                </a:cubicBezTo>
                <a:cubicBezTo>
                  <a:pt x="8150371" y="2919911"/>
                  <a:pt x="8061330" y="3145798"/>
                  <a:pt x="8248951" y="3171250"/>
                </a:cubicBezTo>
                <a:cubicBezTo>
                  <a:pt x="8182171" y="3298510"/>
                  <a:pt x="8178991" y="3276239"/>
                  <a:pt x="8252131" y="3273058"/>
                </a:cubicBezTo>
                <a:cubicBezTo>
                  <a:pt x="8233051" y="3314417"/>
                  <a:pt x="8271211" y="3371684"/>
                  <a:pt x="8207611" y="3397136"/>
                </a:cubicBezTo>
                <a:cubicBezTo>
                  <a:pt x="8257696" y="3564166"/>
                  <a:pt x="8210393" y="3553378"/>
                  <a:pt x="8208437" y="3609881"/>
                </a:cubicBezTo>
                <a:lnTo>
                  <a:pt x="8209162" y="3618834"/>
                </a:lnTo>
                <a:lnTo>
                  <a:pt x="8183624" y="3610968"/>
                </a:lnTo>
                <a:cubicBezTo>
                  <a:pt x="8113005" y="3590214"/>
                  <a:pt x="7991768" y="3551440"/>
                  <a:pt x="8029530" y="3448041"/>
                </a:cubicBezTo>
                <a:cubicBezTo>
                  <a:pt x="8048610" y="3435314"/>
                  <a:pt x="8045430" y="3428951"/>
                  <a:pt x="8029530" y="3448041"/>
                </a:cubicBezTo>
                <a:cubicBezTo>
                  <a:pt x="7975470" y="3397136"/>
                  <a:pt x="8007270" y="3387592"/>
                  <a:pt x="8058150" y="3292147"/>
                </a:cubicBezTo>
                <a:cubicBezTo>
                  <a:pt x="8019990" y="3273058"/>
                  <a:pt x="7991370" y="3301691"/>
                  <a:pt x="7962750" y="3298510"/>
                </a:cubicBezTo>
                <a:cubicBezTo>
                  <a:pt x="7864170" y="3422588"/>
                  <a:pt x="7950030" y="3400318"/>
                  <a:pt x="7924590" y="3409862"/>
                </a:cubicBezTo>
                <a:cubicBezTo>
                  <a:pt x="7816470" y="3362140"/>
                  <a:pt x="7695629" y="3734376"/>
                  <a:pt x="7803749" y="3524397"/>
                </a:cubicBezTo>
                <a:cubicBezTo>
                  <a:pt x="7864170" y="3565756"/>
                  <a:pt x="7880070" y="3632568"/>
                  <a:pt x="7892790" y="3651657"/>
                </a:cubicBezTo>
                <a:cubicBezTo>
                  <a:pt x="7857809" y="3848910"/>
                  <a:pt x="7991370" y="3858454"/>
                  <a:pt x="7813290" y="3791643"/>
                </a:cubicBezTo>
                <a:cubicBezTo>
                  <a:pt x="7816470" y="3855273"/>
                  <a:pt x="8169451" y="4968799"/>
                  <a:pt x="7918230" y="4494755"/>
                </a:cubicBezTo>
                <a:cubicBezTo>
                  <a:pt x="7908689" y="4478847"/>
                  <a:pt x="7870529" y="4478847"/>
                  <a:pt x="7864170" y="4501118"/>
                </a:cubicBezTo>
                <a:cubicBezTo>
                  <a:pt x="7841909" y="4555203"/>
                  <a:pt x="7921409" y="4644285"/>
                  <a:pt x="7965930" y="4822450"/>
                </a:cubicBezTo>
                <a:cubicBezTo>
                  <a:pt x="7895970" y="4835176"/>
                  <a:pt x="7911870" y="4812905"/>
                  <a:pt x="7895970" y="4921076"/>
                </a:cubicBezTo>
                <a:cubicBezTo>
                  <a:pt x="7867350" y="4921076"/>
                  <a:pt x="7663829" y="4831994"/>
                  <a:pt x="7651108" y="4831994"/>
                </a:cubicBezTo>
                <a:cubicBezTo>
                  <a:pt x="7654289" y="4755638"/>
                  <a:pt x="7612949" y="4590200"/>
                  <a:pt x="7533448" y="4615652"/>
                </a:cubicBezTo>
                <a:cubicBezTo>
                  <a:pt x="7504828" y="4577474"/>
                  <a:pt x="7562069" y="4602926"/>
                  <a:pt x="7514368" y="4440669"/>
                </a:cubicBezTo>
                <a:cubicBezTo>
                  <a:pt x="7600228" y="4303865"/>
                  <a:pt x="7508008" y="4154334"/>
                  <a:pt x="7463488" y="4243416"/>
                </a:cubicBezTo>
                <a:cubicBezTo>
                  <a:pt x="7412608" y="4348406"/>
                  <a:pt x="7383988" y="4243416"/>
                  <a:pt x="7352188" y="4431125"/>
                </a:cubicBezTo>
                <a:cubicBezTo>
                  <a:pt x="7343840" y="4481233"/>
                  <a:pt x="7415838" y="4450959"/>
                  <a:pt x="7423316" y="4570490"/>
                </a:cubicBezTo>
                <a:lnTo>
                  <a:pt x="7422213" y="4628170"/>
                </a:lnTo>
                <a:lnTo>
                  <a:pt x="7402273" y="4632355"/>
                </a:lnTo>
                <a:cubicBezTo>
                  <a:pt x="7387168" y="4641104"/>
                  <a:pt x="7374448" y="4664965"/>
                  <a:pt x="7396708" y="4723823"/>
                </a:cubicBezTo>
                <a:cubicBezTo>
                  <a:pt x="7597049" y="4615652"/>
                  <a:pt x="7444408" y="4723823"/>
                  <a:pt x="7562069" y="4863809"/>
                </a:cubicBezTo>
                <a:cubicBezTo>
                  <a:pt x="7609769" y="4860628"/>
                  <a:pt x="7749689" y="4701552"/>
                  <a:pt x="7460308" y="5029247"/>
                </a:cubicBezTo>
                <a:cubicBezTo>
                  <a:pt x="7474618" y="5034020"/>
                  <a:pt x="7463886" y="5024475"/>
                  <a:pt x="7417378" y="5034169"/>
                </a:cubicBezTo>
                <a:lnTo>
                  <a:pt x="7365472" y="5049476"/>
                </a:lnTo>
                <a:lnTo>
                  <a:pt x="7370472" y="5023680"/>
                </a:lnTo>
                <a:cubicBezTo>
                  <a:pt x="7372857" y="5000614"/>
                  <a:pt x="7372857" y="4968799"/>
                  <a:pt x="7368087" y="4943347"/>
                </a:cubicBezTo>
                <a:cubicBezTo>
                  <a:pt x="7288588" y="5013340"/>
                  <a:pt x="7228167" y="5105603"/>
                  <a:pt x="7234527" y="5131055"/>
                </a:cubicBezTo>
                <a:cubicBezTo>
                  <a:pt x="7298127" y="5395120"/>
                  <a:pt x="7272688" y="5353760"/>
                  <a:pt x="7199547" y="5159689"/>
                </a:cubicBezTo>
                <a:cubicBezTo>
                  <a:pt x="7037367" y="5258315"/>
                  <a:pt x="7065987" y="5382394"/>
                  <a:pt x="7148667" y="5302856"/>
                </a:cubicBezTo>
                <a:cubicBezTo>
                  <a:pt x="7167747" y="5347397"/>
                  <a:pt x="7097786" y="5484202"/>
                  <a:pt x="7040547" y="5382394"/>
                </a:cubicBezTo>
                <a:cubicBezTo>
                  <a:pt x="6824305" y="5026066"/>
                  <a:pt x="7151847" y="5948701"/>
                  <a:pt x="7151847" y="5964609"/>
                </a:cubicBezTo>
                <a:lnTo>
                  <a:pt x="7099733" y="6013680"/>
                </a:lnTo>
                <a:lnTo>
                  <a:pt x="7095114" y="6006815"/>
                </a:lnTo>
                <a:cubicBezTo>
                  <a:pt x="7057813" y="5944563"/>
                  <a:pt x="6905396" y="5614047"/>
                  <a:pt x="6881546" y="5605099"/>
                </a:cubicBezTo>
                <a:cubicBezTo>
                  <a:pt x="6865646" y="5678273"/>
                  <a:pt x="6903806" y="5633732"/>
                  <a:pt x="6922886" y="5802352"/>
                </a:cubicBezTo>
                <a:cubicBezTo>
                  <a:pt x="6945146" y="5964609"/>
                  <a:pt x="7069167" y="5948701"/>
                  <a:pt x="6961046" y="6056872"/>
                </a:cubicBezTo>
                <a:cubicBezTo>
                  <a:pt x="7011926" y="6101413"/>
                  <a:pt x="7015106" y="6168225"/>
                  <a:pt x="7059626" y="6215947"/>
                </a:cubicBezTo>
                <a:cubicBezTo>
                  <a:pt x="7097786" y="6257307"/>
                  <a:pt x="7081887" y="6292303"/>
                  <a:pt x="7037367" y="6333663"/>
                </a:cubicBezTo>
                <a:cubicBezTo>
                  <a:pt x="7015106" y="6311392"/>
                  <a:pt x="6999207" y="6285940"/>
                  <a:pt x="6983307" y="6257307"/>
                </a:cubicBezTo>
                <a:cubicBezTo>
                  <a:pt x="6935606" y="6324118"/>
                  <a:pt x="6935606" y="6324118"/>
                  <a:pt x="7002387" y="6387748"/>
                </a:cubicBezTo>
                <a:cubicBezTo>
                  <a:pt x="7015106" y="6368659"/>
                  <a:pt x="7024647" y="6346389"/>
                  <a:pt x="7031006" y="6330481"/>
                </a:cubicBezTo>
                <a:cubicBezTo>
                  <a:pt x="7205907" y="6775892"/>
                  <a:pt x="6992846" y="6591365"/>
                  <a:pt x="7018287" y="6425927"/>
                </a:cubicBezTo>
                <a:cubicBezTo>
                  <a:pt x="6916526" y="6473649"/>
                  <a:pt x="7031006" y="6887244"/>
                  <a:pt x="6973766" y="6737714"/>
                </a:cubicBezTo>
                <a:cubicBezTo>
                  <a:pt x="6929246" y="6623180"/>
                  <a:pt x="6887906" y="6667721"/>
                  <a:pt x="6808405" y="6718625"/>
                </a:cubicBezTo>
                <a:cubicBezTo>
                  <a:pt x="6811585" y="6667721"/>
                  <a:pt x="6798866" y="6670902"/>
                  <a:pt x="6849746" y="6550005"/>
                </a:cubicBezTo>
                <a:cubicBezTo>
                  <a:pt x="6906986" y="6400474"/>
                  <a:pt x="6684385" y="6397293"/>
                  <a:pt x="6684385" y="6371841"/>
                </a:cubicBezTo>
                <a:cubicBezTo>
                  <a:pt x="6678025" y="6352752"/>
                  <a:pt x="6678025" y="6352752"/>
                  <a:pt x="6658945" y="6359115"/>
                </a:cubicBezTo>
                <a:cubicBezTo>
                  <a:pt x="6646225" y="6343207"/>
                  <a:pt x="6630325" y="6327300"/>
                  <a:pt x="6611245" y="6311392"/>
                </a:cubicBezTo>
                <a:cubicBezTo>
                  <a:pt x="6576265" y="6365478"/>
                  <a:pt x="6595345" y="6365478"/>
                  <a:pt x="6528565" y="6311392"/>
                </a:cubicBezTo>
                <a:cubicBezTo>
                  <a:pt x="6426804" y="6400474"/>
                  <a:pt x="6770246" y="6610454"/>
                  <a:pt x="6636685" y="6788618"/>
                </a:cubicBezTo>
                <a:cubicBezTo>
                  <a:pt x="6576265" y="6871337"/>
                  <a:pt x="6646225" y="6909515"/>
                  <a:pt x="6620785" y="6912696"/>
                </a:cubicBezTo>
                <a:cubicBezTo>
                  <a:pt x="6515845" y="6880881"/>
                  <a:pt x="6646225" y="6696354"/>
                  <a:pt x="6487224" y="6696354"/>
                </a:cubicBezTo>
                <a:cubicBezTo>
                  <a:pt x="6566725" y="6546824"/>
                  <a:pt x="6490404" y="6368659"/>
                  <a:pt x="6407724" y="6483194"/>
                </a:cubicBezTo>
                <a:cubicBezTo>
                  <a:pt x="6347304" y="6515009"/>
                  <a:pt x="6388644" y="6394111"/>
                  <a:pt x="6286883" y="6495920"/>
                </a:cubicBezTo>
                <a:cubicBezTo>
                  <a:pt x="6258264" y="6473649"/>
                  <a:pt x="6226464" y="6451379"/>
                  <a:pt x="6213744" y="6406837"/>
                </a:cubicBezTo>
                <a:cubicBezTo>
                  <a:pt x="6210564" y="6394111"/>
                  <a:pt x="6185123" y="6384567"/>
                  <a:pt x="6172404" y="6371841"/>
                </a:cubicBezTo>
                <a:cubicBezTo>
                  <a:pt x="6143783" y="6327300"/>
                  <a:pt x="6175584" y="6454560"/>
                  <a:pt x="6191484" y="6534098"/>
                </a:cubicBezTo>
                <a:cubicBezTo>
                  <a:pt x="6312324" y="6600909"/>
                  <a:pt x="6048383" y="6858611"/>
                  <a:pt x="6035663" y="6896789"/>
                </a:cubicBezTo>
                <a:cubicBezTo>
                  <a:pt x="5797162" y="6766347"/>
                  <a:pt x="6124703" y="6893607"/>
                  <a:pt x="6061103" y="6721806"/>
                </a:cubicBezTo>
                <a:cubicBezTo>
                  <a:pt x="6022943" y="6731351"/>
                  <a:pt x="6216923" y="6654995"/>
                  <a:pt x="6150143" y="6591365"/>
                </a:cubicBezTo>
                <a:cubicBezTo>
                  <a:pt x="6118343" y="6559550"/>
                  <a:pt x="5793982" y="6820433"/>
                  <a:pt x="5930722" y="6925422"/>
                </a:cubicBezTo>
                <a:cubicBezTo>
                  <a:pt x="5949803" y="6937353"/>
                  <a:pt x="5940263" y="6970759"/>
                  <a:pt x="5930275" y="6998796"/>
                </a:cubicBezTo>
                <a:lnTo>
                  <a:pt x="5923460" y="7017724"/>
                </a:lnTo>
                <a:lnTo>
                  <a:pt x="5908791" y="6994993"/>
                </a:lnTo>
                <a:cubicBezTo>
                  <a:pt x="5873184" y="6937055"/>
                  <a:pt x="5887792" y="6946102"/>
                  <a:pt x="5809882" y="6979508"/>
                </a:cubicBezTo>
                <a:cubicBezTo>
                  <a:pt x="5749462" y="6915878"/>
                  <a:pt x="5857582" y="6737714"/>
                  <a:pt x="5708121" y="6912696"/>
                </a:cubicBezTo>
                <a:cubicBezTo>
                  <a:pt x="5676321" y="6947693"/>
                  <a:pt x="5695401" y="6998597"/>
                  <a:pt x="5673142" y="7036775"/>
                </a:cubicBezTo>
                <a:cubicBezTo>
                  <a:pt x="5631802" y="7116313"/>
                  <a:pt x="5682682" y="7157672"/>
                  <a:pt x="5689042" y="7199032"/>
                </a:cubicBezTo>
                <a:cubicBezTo>
                  <a:pt x="5606361" y="7307203"/>
                  <a:pt x="5701762" y="7494911"/>
                  <a:pt x="5765362" y="7558541"/>
                </a:cubicBezTo>
                <a:cubicBezTo>
                  <a:pt x="5863942" y="7660349"/>
                  <a:pt x="6064283" y="8700701"/>
                  <a:pt x="5959343" y="8264835"/>
                </a:cubicBezTo>
                <a:cubicBezTo>
                  <a:pt x="5940263" y="8185297"/>
                  <a:pt x="5892563" y="8191660"/>
                  <a:pt x="5813062" y="8000770"/>
                </a:cubicBezTo>
                <a:cubicBezTo>
                  <a:pt x="5619081" y="7526726"/>
                  <a:pt x="5736742" y="7968955"/>
                  <a:pt x="5730381" y="7984863"/>
                </a:cubicBezTo>
                <a:cubicBezTo>
                  <a:pt x="5701762" y="7997589"/>
                  <a:pt x="5663601" y="7911688"/>
                  <a:pt x="5615901" y="7781247"/>
                </a:cubicBezTo>
                <a:cubicBezTo>
                  <a:pt x="5329700" y="7110148"/>
                  <a:pt x="5554972" y="7781247"/>
                  <a:pt x="5589489" y="7912321"/>
                </a:cubicBezTo>
                <a:lnTo>
                  <a:pt x="5591063" y="7919318"/>
                </a:lnTo>
                <a:lnTo>
                  <a:pt x="5590312" y="7918549"/>
                </a:lnTo>
                <a:cubicBezTo>
                  <a:pt x="5566611" y="7900355"/>
                  <a:pt x="5495061" y="7861580"/>
                  <a:pt x="5495061" y="7778065"/>
                </a:cubicBezTo>
                <a:cubicBezTo>
                  <a:pt x="5495061" y="7762158"/>
                  <a:pt x="5498241" y="7739887"/>
                  <a:pt x="5491881" y="7736705"/>
                </a:cubicBezTo>
                <a:cubicBezTo>
                  <a:pt x="5386941" y="7647623"/>
                  <a:pt x="5495061" y="7507637"/>
                  <a:pt x="5345600" y="7539452"/>
                </a:cubicBezTo>
                <a:cubicBezTo>
                  <a:pt x="5332880" y="7514000"/>
                  <a:pt x="5332880" y="7514000"/>
                  <a:pt x="5332880" y="7545815"/>
                </a:cubicBezTo>
                <a:cubicBezTo>
                  <a:pt x="5262920" y="7564904"/>
                  <a:pt x="5348780" y="7456733"/>
                  <a:pt x="5316980" y="7354925"/>
                </a:cubicBezTo>
                <a:cubicBezTo>
                  <a:pt x="5256560" y="7119494"/>
                  <a:pt x="5129360" y="7431281"/>
                  <a:pt x="5247020" y="7186306"/>
                </a:cubicBezTo>
                <a:cubicBezTo>
                  <a:pt x="5145260" y="7046319"/>
                  <a:pt x="5180240" y="7249936"/>
                  <a:pt x="5167519" y="7262662"/>
                </a:cubicBezTo>
                <a:cubicBezTo>
                  <a:pt x="5100740" y="7310384"/>
                  <a:pt x="5154799" y="7409011"/>
                  <a:pt x="5132540" y="7409011"/>
                </a:cubicBezTo>
                <a:cubicBezTo>
                  <a:pt x="5101534" y="7392308"/>
                  <a:pt x="5070529" y="7386343"/>
                  <a:pt x="5043549" y="7401852"/>
                </a:cubicBezTo>
                <a:lnTo>
                  <a:pt x="5019956" y="7423202"/>
                </a:lnTo>
                <a:lnTo>
                  <a:pt x="5002805" y="7400262"/>
                </a:lnTo>
                <a:cubicBezTo>
                  <a:pt x="4988644" y="7372821"/>
                  <a:pt x="4983874" y="7338222"/>
                  <a:pt x="4957639" y="7307203"/>
                </a:cubicBezTo>
                <a:cubicBezTo>
                  <a:pt x="4998979" y="7332655"/>
                  <a:pt x="5030779" y="7348562"/>
                  <a:pt x="5053039" y="7361288"/>
                </a:cubicBezTo>
                <a:cubicBezTo>
                  <a:pt x="5145260" y="7291295"/>
                  <a:pt x="5129360" y="7144946"/>
                  <a:pt x="5088019" y="7113131"/>
                </a:cubicBezTo>
                <a:cubicBezTo>
                  <a:pt x="5043499" y="7074953"/>
                  <a:pt x="5116640" y="7036775"/>
                  <a:pt x="5116640" y="7017686"/>
                </a:cubicBezTo>
                <a:cubicBezTo>
                  <a:pt x="5124987" y="6948091"/>
                  <a:pt x="5016469" y="6958878"/>
                  <a:pt x="5008382" y="6898721"/>
                </a:cubicBezTo>
                <a:lnTo>
                  <a:pt x="5011230" y="6872480"/>
                </a:lnTo>
                <a:lnTo>
                  <a:pt x="5015525" y="6876109"/>
                </a:lnTo>
                <a:cubicBezTo>
                  <a:pt x="5034158" y="6887444"/>
                  <a:pt x="5087224" y="6902357"/>
                  <a:pt x="5084839" y="6861792"/>
                </a:cubicBezTo>
                <a:cubicBezTo>
                  <a:pt x="5084839" y="6842703"/>
                  <a:pt x="5033959" y="6645450"/>
                  <a:pt x="4944919" y="6581820"/>
                </a:cubicBezTo>
                <a:cubicBezTo>
                  <a:pt x="4868598" y="6788618"/>
                  <a:pt x="4935378" y="6763166"/>
                  <a:pt x="4874959" y="6814070"/>
                </a:cubicBezTo>
                <a:cubicBezTo>
                  <a:pt x="4859059" y="6826796"/>
                  <a:pt x="4760478" y="7065408"/>
                  <a:pt x="4750938" y="7087679"/>
                </a:cubicBezTo>
                <a:cubicBezTo>
                  <a:pt x="4677798" y="7116313"/>
                  <a:pt x="4677798" y="7100405"/>
                  <a:pt x="4735038" y="7167217"/>
                </a:cubicBezTo>
                <a:cubicBezTo>
                  <a:pt x="4709598" y="7214939"/>
                  <a:pt x="4544238" y="7192669"/>
                  <a:pt x="4617378" y="7278569"/>
                </a:cubicBezTo>
                <a:cubicBezTo>
                  <a:pt x="4722318" y="7396285"/>
                  <a:pt x="4633277" y="8019859"/>
                  <a:pt x="4617378" y="7472641"/>
                </a:cubicBezTo>
                <a:cubicBezTo>
                  <a:pt x="4614197" y="7310384"/>
                  <a:pt x="4547417" y="7329473"/>
                  <a:pt x="4556958" y="7304021"/>
                </a:cubicBezTo>
                <a:cubicBezTo>
                  <a:pt x="4585578" y="7199032"/>
                  <a:pt x="4448837" y="7132220"/>
                  <a:pt x="4601478" y="7179943"/>
                </a:cubicBezTo>
                <a:cubicBezTo>
                  <a:pt x="4658718" y="7141765"/>
                  <a:pt x="4668258" y="7033593"/>
                  <a:pt x="4731858" y="7004960"/>
                </a:cubicBezTo>
                <a:cubicBezTo>
                  <a:pt x="4779558" y="6982689"/>
                  <a:pt x="4817718" y="6753621"/>
                  <a:pt x="4741398" y="6887244"/>
                </a:cubicBezTo>
                <a:cubicBezTo>
                  <a:pt x="4738218" y="6896789"/>
                  <a:pt x="4750938" y="6915878"/>
                  <a:pt x="4725498" y="6922241"/>
                </a:cubicBezTo>
                <a:cubicBezTo>
                  <a:pt x="4677798" y="6849066"/>
                  <a:pt x="4884498" y="6766347"/>
                  <a:pt x="4630097" y="6737714"/>
                </a:cubicBezTo>
                <a:cubicBezTo>
                  <a:pt x="4531517" y="6569094"/>
                  <a:pt x="4429757" y="6359115"/>
                  <a:pt x="4436117" y="6515009"/>
                </a:cubicBezTo>
                <a:cubicBezTo>
                  <a:pt x="4436117" y="6610454"/>
                  <a:pt x="4369337" y="6327300"/>
                  <a:pt x="4289837" y="6530916"/>
                </a:cubicBezTo>
                <a:cubicBezTo>
                  <a:pt x="4270757" y="6537279"/>
                  <a:pt x="4216696" y="6518190"/>
                  <a:pt x="4232596" y="6556368"/>
                </a:cubicBezTo>
                <a:cubicBezTo>
                  <a:pt x="4251676" y="6604091"/>
                  <a:pt x="4232596" y="6642269"/>
                  <a:pt x="4273937" y="6699536"/>
                </a:cubicBezTo>
                <a:cubicBezTo>
                  <a:pt x="4414056" y="7203606"/>
                  <a:pt x="4266297" y="7019799"/>
                  <a:pt x="4273482" y="7107578"/>
                </a:cubicBezTo>
                <a:lnTo>
                  <a:pt x="4274569" y="7113998"/>
                </a:lnTo>
                <a:lnTo>
                  <a:pt x="4265837" y="7092651"/>
                </a:lnTo>
                <a:cubicBezTo>
                  <a:pt x="4235578" y="7028225"/>
                  <a:pt x="4153891" y="6897585"/>
                  <a:pt x="4070415" y="6861792"/>
                </a:cubicBezTo>
                <a:cubicBezTo>
                  <a:pt x="4037622" y="6453169"/>
                  <a:pt x="3702975" y="6195541"/>
                  <a:pt x="3860411" y="6673501"/>
                </a:cubicBezTo>
                <a:lnTo>
                  <a:pt x="3897434" y="6775596"/>
                </a:lnTo>
                <a:lnTo>
                  <a:pt x="3879070" y="6774882"/>
                </a:lnTo>
                <a:cubicBezTo>
                  <a:pt x="3775693" y="6801120"/>
                  <a:pt x="4047360" y="7260077"/>
                  <a:pt x="3653834" y="6505464"/>
                </a:cubicBezTo>
                <a:cubicBezTo>
                  <a:pt x="3615674" y="6515009"/>
                  <a:pt x="3641114" y="6559550"/>
                  <a:pt x="3688814" y="6654995"/>
                </a:cubicBezTo>
                <a:cubicBezTo>
                  <a:pt x="3733334" y="6763166"/>
                  <a:pt x="3663374" y="6766347"/>
                  <a:pt x="3777854" y="6992234"/>
                </a:cubicBezTo>
                <a:cubicBezTo>
                  <a:pt x="3841455" y="7116313"/>
                  <a:pt x="3838275" y="7113131"/>
                  <a:pt x="3787394" y="7138583"/>
                </a:cubicBezTo>
                <a:cubicBezTo>
                  <a:pt x="3777854" y="7030412"/>
                  <a:pt x="3720614" y="6989052"/>
                  <a:pt x="3717434" y="6976326"/>
                </a:cubicBezTo>
                <a:cubicBezTo>
                  <a:pt x="3669734" y="6740895"/>
                  <a:pt x="3431233" y="6759984"/>
                  <a:pt x="3513913" y="6922241"/>
                </a:cubicBezTo>
                <a:cubicBezTo>
                  <a:pt x="3491653" y="6842703"/>
                  <a:pt x="3491653" y="7603082"/>
                  <a:pt x="3625214" y="7673075"/>
                </a:cubicBezTo>
                <a:cubicBezTo>
                  <a:pt x="3558434" y="7778065"/>
                  <a:pt x="3657014" y="7803517"/>
                  <a:pt x="3625214" y="7943503"/>
                </a:cubicBezTo>
                <a:cubicBezTo>
                  <a:pt x="3609314" y="8000770"/>
                  <a:pt x="3812834" y="8156664"/>
                  <a:pt x="3679274" y="8258472"/>
                </a:cubicBezTo>
                <a:cubicBezTo>
                  <a:pt x="3517093" y="8385732"/>
                  <a:pt x="3558434" y="7972137"/>
                  <a:pt x="3412153" y="8067582"/>
                </a:cubicBezTo>
                <a:cubicBezTo>
                  <a:pt x="3370813" y="7984863"/>
                  <a:pt x="3370813" y="7984863"/>
                  <a:pt x="3316753" y="7959411"/>
                </a:cubicBezTo>
                <a:cubicBezTo>
                  <a:pt x="3316753" y="7889418"/>
                  <a:pt x="3408973" y="7943503"/>
                  <a:pt x="3326293" y="7762158"/>
                </a:cubicBezTo>
                <a:cubicBezTo>
                  <a:pt x="3262692" y="7790791"/>
                  <a:pt x="3186372" y="7701709"/>
                  <a:pt x="3189552" y="7653986"/>
                </a:cubicBezTo>
                <a:cubicBezTo>
                  <a:pt x="3189552" y="7564904"/>
                  <a:pt x="2992391" y="7208576"/>
                  <a:pt x="3180012" y="7806699"/>
                </a:cubicBezTo>
                <a:cubicBezTo>
                  <a:pt x="3246792" y="8026222"/>
                  <a:pt x="3202272" y="8143938"/>
                  <a:pt x="3326293" y="8089852"/>
                </a:cubicBezTo>
                <a:cubicBezTo>
                  <a:pt x="3377173" y="8067582"/>
                  <a:pt x="3370813" y="8035767"/>
                  <a:pt x="3339013" y="8172571"/>
                </a:cubicBezTo>
                <a:cubicBezTo>
                  <a:pt x="3284953" y="8178934"/>
                  <a:pt x="3300853" y="8178934"/>
                  <a:pt x="3269052" y="8169390"/>
                </a:cubicBezTo>
                <a:cubicBezTo>
                  <a:pt x="3227712" y="8210749"/>
                  <a:pt x="3281772" y="8366643"/>
                  <a:pt x="3297673" y="8408002"/>
                </a:cubicBezTo>
                <a:cubicBezTo>
                  <a:pt x="3339013" y="8363461"/>
                  <a:pt x="3339013" y="8363461"/>
                  <a:pt x="3380353" y="8341191"/>
                </a:cubicBezTo>
                <a:cubicBezTo>
                  <a:pt x="3399433" y="8376187"/>
                  <a:pt x="3354913" y="8385732"/>
                  <a:pt x="3358093" y="8408002"/>
                </a:cubicBezTo>
                <a:cubicBezTo>
                  <a:pt x="3367633" y="8442999"/>
                  <a:pt x="3335833" y="8446181"/>
                  <a:pt x="3316753" y="8471633"/>
                </a:cubicBezTo>
                <a:cubicBezTo>
                  <a:pt x="3339013" y="8630708"/>
                  <a:pt x="3424873" y="8497085"/>
                  <a:pt x="3393073" y="8554352"/>
                </a:cubicBezTo>
                <a:cubicBezTo>
                  <a:pt x="3304033" y="8716608"/>
                  <a:pt x="3316753" y="8516174"/>
                  <a:pt x="3275412" y="8576622"/>
                </a:cubicBezTo>
                <a:cubicBezTo>
                  <a:pt x="3249972" y="8611619"/>
                  <a:pt x="3240432" y="8649797"/>
                  <a:pt x="3269052" y="8691156"/>
                </a:cubicBezTo>
                <a:cubicBezTo>
                  <a:pt x="3240432" y="8707064"/>
                  <a:pt x="3218173" y="8719790"/>
                  <a:pt x="3192732" y="8732516"/>
                </a:cubicBezTo>
                <a:cubicBezTo>
                  <a:pt x="3189552" y="8840687"/>
                  <a:pt x="3176832" y="8824779"/>
                  <a:pt x="3234073" y="8815235"/>
                </a:cubicBezTo>
                <a:cubicBezTo>
                  <a:pt x="3249972" y="8878865"/>
                  <a:pt x="3208632" y="8882046"/>
                  <a:pt x="3164112" y="8894772"/>
                </a:cubicBezTo>
                <a:cubicBezTo>
                  <a:pt x="3138672" y="9012488"/>
                  <a:pt x="3256332" y="9085663"/>
                  <a:pt x="3208632" y="9098389"/>
                </a:cubicBezTo>
                <a:cubicBezTo>
                  <a:pt x="3176832" y="9098389"/>
                  <a:pt x="3227712" y="9521528"/>
                  <a:pt x="3240432" y="9518347"/>
                </a:cubicBezTo>
                <a:cubicBezTo>
                  <a:pt x="3229302" y="9529482"/>
                  <a:pt x="3218172" y="9541412"/>
                  <a:pt x="3207440" y="9552945"/>
                </a:cubicBezTo>
                <a:lnTo>
                  <a:pt x="3183133" y="9578526"/>
                </a:lnTo>
                <a:lnTo>
                  <a:pt x="3176584" y="9565870"/>
                </a:lnTo>
                <a:cubicBezTo>
                  <a:pt x="3151988" y="9533658"/>
                  <a:pt x="3075072" y="9481760"/>
                  <a:pt x="3132312" y="9581977"/>
                </a:cubicBezTo>
                <a:cubicBezTo>
                  <a:pt x="3192732" y="9693329"/>
                  <a:pt x="3154572" y="9842860"/>
                  <a:pt x="3284953" y="10100562"/>
                </a:cubicBezTo>
                <a:cubicBezTo>
                  <a:pt x="3100512" y="10399623"/>
                  <a:pt x="3011471" y="9104752"/>
                  <a:pt x="2852471" y="9486532"/>
                </a:cubicBezTo>
                <a:cubicBezTo>
                  <a:pt x="2827031" y="9492895"/>
                  <a:pt x="2820671" y="9464261"/>
                  <a:pt x="2903351" y="9352909"/>
                </a:cubicBezTo>
                <a:cubicBezTo>
                  <a:pt x="2811131" y="8996580"/>
                  <a:pt x="2839751" y="9368816"/>
                  <a:pt x="2699830" y="9098389"/>
                </a:cubicBezTo>
                <a:cubicBezTo>
                  <a:pt x="2779331" y="9066573"/>
                  <a:pt x="2753891" y="9174745"/>
                  <a:pt x="2811131" y="9146111"/>
                </a:cubicBezTo>
                <a:cubicBezTo>
                  <a:pt x="2862011" y="9123841"/>
                  <a:pt x="2753891" y="9006125"/>
                  <a:pt x="2734810" y="8948858"/>
                </a:cubicBezTo>
                <a:cubicBezTo>
                  <a:pt x="2661670" y="9041121"/>
                  <a:pt x="2629870" y="8917043"/>
                  <a:pt x="2509030" y="8961584"/>
                </a:cubicBezTo>
                <a:cubicBezTo>
                  <a:pt x="2582170" y="8850231"/>
                  <a:pt x="2753891" y="8827961"/>
                  <a:pt x="2610790" y="8761149"/>
                </a:cubicBezTo>
                <a:cubicBezTo>
                  <a:pt x="2537650" y="8726153"/>
                  <a:pt x="2648950" y="8525718"/>
                  <a:pt x="2553550" y="8544807"/>
                </a:cubicBezTo>
                <a:cubicBezTo>
                  <a:pt x="2311869" y="8611619"/>
                  <a:pt x="2254629" y="8258472"/>
                  <a:pt x="2146508" y="8341191"/>
                </a:cubicBezTo>
                <a:cubicBezTo>
                  <a:pt x="2089268" y="8388913"/>
                  <a:pt x="2070188" y="8312557"/>
                  <a:pt x="2022488" y="8458907"/>
                </a:cubicBezTo>
                <a:cubicBezTo>
                  <a:pt x="2006588" y="8512992"/>
                  <a:pt x="1904827" y="8554352"/>
                  <a:pt x="1939807" y="8672067"/>
                </a:cubicBezTo>
                <a:cubicBezTo>
                  <a:pt x="1951733" y="8713824"/>
                  <a:pt x="2083840" y="9286868"/>
                  <a:pt x="2068864" y="9389793"/>
                </a:cubicBezTo>
                <a:lnTo>
                  <a:pt x="2066491" y="9396398"/>
                </a:lnTo>
                <a:lnTo>
                  <a:pt x="2047282" y="9389048"/>
                </a:lnTo>
                <a:cubicBezTo>
                  <a:pt x="2037990" y="9384724"/>
                  <a:pt x="2026463" y="9378361"/>
                  <a:pt x="2012948" y="9368816"/>
                </a:cubicBezTo>
                <a:cubicBezTo>
                  <a:pt x="1974788" y="9340183"/>
                  <a:pt x="1949149" y="9367027"/>
                  <a:pt x="1950789" y="9391634"/>
                </a:cubicBezTo>
                <a:lnTo>
                  <a:pt x="1961608" y="9412471"/>
                </a:lnTo>
                <a:lnTo>
                  <a:pt x="1958888" y="9413357"/>
                </a:lnTo>
                <a:cubicBezTo>
                  <a:pt x="1971608" y="9457898"/>
                  <a:pt x="1987508" y="9492895"/>
                  <a:pt x="1962068" y="9413357"/>
                </a:cubicBezTo>
                <a:lnTo>
                  <a:pt x="1961608" y="9412471"/>
                </a:lnTo>
                <a:lnTo>
                  <a:pt x="1984081" y="9405152"/>
                </a:lnTo>
                <a:cubicBezTo>
                  <a:pt x="2096088" y="9392628"/>
                  <a:pt x="2001619" y="9776645"/>
                  <a:pt x="1831687" y="9165200"/>
                </a:cubicBezTo>
                <a:cubicBezTo>
                  <a:pt x="1812607" y="9111115"/>
                  <a:pt x="1768087" y="9120659"/>
                  <a:pt x="1764907" y="9107933"/>
                </a:cubicBezTo>
                <a:cubicBezTo>
                  <a:pt x="1777627" y="9123841"/>
                  <a:pt x="1768087" y="9165200"/>
                  <a:pt x="1764907" y="9187471"/>
                </a:cubicBezTo>
                <a:cubicBezTo>
                  <a:pt x="1752187" y="9276553"/>
                  <a:pt x="1752187" y="9257464"/>
                  <a:pt x="1621806" y="9235193"/>
                </a:cubicBezTo>
                <a:cubicBezTo>
                  <a:pt x="1593186" y="9489713"/>
                  <a:pt x="1548666" y="9432446"/>
                  <a:pt x="1437366" y="9146111"/>
                </a:cubicBezTo>
                <a:cubicBezTo>
                  <a:pt x="1370585" y="9152474"/>
                  <a:pt x="1602726" y="9750597"/>
                  <a:pt x="1351505" y="9203378"/>
                </a:cubicBezTo>
                <a:cubicBezTo>
                  <a:pt x="1332425" y="9152474"/>
                  <a:pt x="1306985" y="9107933"/>
                  <a:pt x="1265645" y="9082481"/>
                </a:cubicBezTo>
                <a:cubicBezTo>
                  <a:pt x="1304600" y="8907100"/>
                  <a:pt x="1199908" y="9026456"/>
                  <a:pt x="1205082" y="8978044"/>
                </a:cubicBezTo>
                <a:lnTo>
                  <a:pt x="1214368" y="8947003"/>
                </a:lnTo>
                <a:lnTo>
                  <a:pt x="1226690" y="8946869"/>
                </a:lnTo>
                <a:cubicBezTo>
                  <a:pt x="1237820" y="8944881"/>
                  <a:pt x="1249745" y="8937722"/>
                  <a:pt x="1243385" y="8917043"/>
                </a:cubicBezTo>
                <a:cubicBezTo>
                  <a:pt x="1208405" y="8767512"/>
                  <a:pt x="1049404" y="8875683"/>
                  <a:pt x="1132085" y="8923406"/>
                </a:cubicBezTo>
                <a:cubicBezTo>
                  <a:pt x="1141625" y="8929769"/>
                  <a:pt x="1138444" y="9228830"/>
                  <a:pt x="1198865" y="9276553"/>
                </a:cubicBezTo>
                <a:cubicBezTo>
                  <a:pt x="1224305" y="9298823"/>
                  <a:pt x="1297445" y="9521528"/>
                  <a:pt x="1262465" y="9521528"/>
                </a:cubicBezTo>
                <a:cubicBezTo>
                  <a:pt x="1249745" y="9473806"/>
                  <a:pt x="1192505" y="9467443"/>
                  <a:pt x="1173425" y="9422902"/>
                </a:cubicBezTo>
                <a:cubicBezTo>
                  <a:pt x="1138444" y="9438809"/>
                  <a:pt x="1100284" y="9464261"/>
                  <a:pt x="1058944" y="9426083"/>
                </a:cubicBezTo>
                <a:cubicBezTo>
                  <a:pt x="1011244" y="9384724"/>
                  <a:pt x="1036684" y="9432446"/>
                  <a:pt x="950824" y="9419720"/>
                </a:cubicBezTo>
                <a:cubicBezTo>
                  <a:pt x="938104" y="9505621"/>
                  <a:pt x="1020784" y="9553343"/>
                  <a:pt x="969904" y="9607429"/>
                </a:cubicBezTo>
                <a:cubicBezTo>
                  <a:pt x="955991" y="9615780"/>
                  <a:pt x="956687" y="9611952"/>
                  <a:pt x="963469" y="9696120"/>
                </a:cubicBezTo>
                <a:lnTo>
                  <a:pt x="966500" y="9735000"/>
                </a:lnTo>
                <a:lnTo>
                  <a:pt x="957948" y="9727916"/>
                </a:lnTo>
                <a:cubicBezTo>
                  <a:pt x="936116" y="9704863"/>
                  <a:pt x="892391" y="9629302"/>
                  <a:pt x="858604" y="9384724"/>
                </a:cubicBezTo>
                <a:cubicBezTo>
                  <a:pt x="766383" y="9352909"/>
                  <a:pt x="791823" y="9343364"/>
                  <a:pt x="753663" y="9445172"/>
                </a:cubicBezTo>
                <a:cubicBezTo>
                  <a:pt x="890404" y="9655151"/>
                  <a:pt x="779103" y="9951031"/>
                  <a:pt x="747303" y="9527891"/>
                </a:cubicBezTo>
                <a:cubicBezTo>
                  <a:pt x="740943" y="9467443"/>
                  <a:pt x="712323" y="9410176"/>
                  <a:pt x="696423" y="9356090"/>
                </a:cubicBezTo>
                <a:cubicBezTo>
                  <a:pt x="664623" y="9330638"/>
                  <a:pt x="655083" y="9368816"/>
                  <a:pt x="645543" y="9368816"/>
                </a:cubicBezTo>
                <a:cubicBezTo>
                  <a:pt x="473822" y="9384724"/>
                  <a:pt x="467462" y="9206560"/>
                  <a:pt x="572402" y="9308368"/>
                </a:cubicBezTo>
                <a:cubicBezTo>
                  <a:pt x="585122" y="9270190"/>
                  <a:pt x="531062" y="9120659"/>
                  <a:pt x="505622" y="9095207"/>
                </a:cubicBezTo>
                <a:cubicBezTo>
                  <a:pt x="464282" y="9168382"/>
                  <a:pt x="464282" y="9146111"/>
                  <a:pt x="521522" y="9209741"/>
                </a:cubicBezTo>
                <a:cubicBezTo>
                  <a:pt x="508802" y="9273371"/>
                  <a:pt x="464282" y="9232012"/>
                  <a:pt x="451562" y="9200197"/>
                </a:cubicBezTo>
                <a:cubicBezTo>
                  <a:pt x="352982" y="8923406"/>
                  <a:pt x="298921" y="9136567"/>
                  <a:pt x="263941" y="8936132"/>
                </a:cubicBezTo>
                <a:cubicBezTo>
                  <a:pt x="419762" y="9006125"/>
                  <a:pt x="222601" y="8713427"/>
                  <a:pt x="203521" y="8700701"/>
                </a:cubicBezTo>
                <a:cubicBezTo>
                  <a:pt x="6360" y="8592530"/>
                  <a:pt x="232141" y="8824779"/>
                  <a:pt x="203521" y="8958402"/>
                </a:cubicBezTo>
                <a:cubicBezTo>
                  <a:pt x="127201" y="8996580"/>
                  <a:pt x="69960" y="8630708"/>
                  <a:pt x="44520" y="8544807"/>
                </a:cubicBezTo>
                <a:cubicBezTo>
                  <a:pt x="38160" y="8528900"/>
                  <a:pt x="15900" y="8500266"/>
                  <a:pt x="0" y="8509811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49469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988250" y="0"/>
            <a:ext cx="9299750" cy="10287000"/>
          </a:xfrm>
          <a:custGeom>
            <a:avLst/>
            <a:gdLst>
              <a:gd name="connsiteX0" fmla="*/ 1367249 w 9299750"/>
              <a:gd name="connsiteY0" fmla="*/ 0 h 10287000"/>
              <a:gd name="connsiteX1" fmla="*/ 9299750 w 9299750"/>
              <a:gd name="connsiteY1" fmla="*/ 0 h 10287000"/>
              <a:gd name="connsiteX2" fmla="*/ 9299750 w 9299750"/>
              <a:gd name="connsiteY2" fmla="*/ 10287000 h 10287000"/>
              <a:gd name="connsiteX3" fmla="*/ 1154688 w 9299750"/>
              <a:gd name="connsiteY3" fmla="*/ 10287000 h 10287000"/>
              <a:gd name="connsiteX4" fmla="*/ 1144872 w 9299750"/>
              <a:gd name="connsiteY4" fmla="*/ 10268572 h 10287000"/>
              <a:gd name="connsiteX5" fmla="*/ 1023439 w 9299750"/>
              <a:gd name="connsiteY5" fmla="*/ 10202711 h 10287000"/>
              <a:gd name="connsiteX6" fmla="*/ 1023439 w 9299750"/>
              <a:gd name="connsiteY6" fmla="*/ 10102637 h 10287000"/>
              <a:gd name="connsiteX7" fmla="*/ 1071412 w 9299750"/>
              <a:gd name="connsiteY7" fmla="*/ 10050599 h 10287000"/>
              <a:gd name="connsiteX8" fmla="*/ 1051422 w 9299750"/>
              <a:gd name="connsiteY8" fmla="*/ 10034587 h 10287000"/>
              <a:gd name="connsiteX9" fmla="*/ 811554 w 9299750"/>
              <a:gd name="connsiteY9" fmla="*/ 10034587 h 10287000"/>
              <a:gd name="connsiteX10" fmla="*/ 751587 w 9299750"/>
              <a:gd name="connsiteY10" fmla="*/ 9978545 h 10287000"/>
              <a:gd name="connsiteX11" fmla="*/ 651642 w 9299750"/>
              <a:gd name="connsiteY11" fmla="*/ 9978545 h 10287000"/>
              <a:gd name="connsiteX12" fmla="*/ 583679 w 9299750"/>
              <a:gd name="connsiteY12" fmla="*/ 9894483 h 10287000"/>
              <a:gd name="connsiteX13" fmla="*/ 583679 w 9299750"/>
              <a:gd name="connsiteY13" fmla="*/ 9806419 h 10287000"/>
              <a:gd name="connsiteX14" fmla="*/ 383789 w 9299750"/>
              <a:gd name="connsiteY14" fmla="*/ 9662312 h 10287000"/>
              <a:gd name="connsiteX15" fmla="*/ 383789 w 9299750"/>
              <a:gd name="connsiteY15" fmla="*/ 9558236 h 10287000"/>
              <a:gd name="connsiteX16" fmla="*/ 575684 w 9299750"/>
              <a:gd name="connsiteY16" fmla="*/ 9366094 h 10287000"/>
              <a:gd name="connsiteX17" fmla="*/ 483734 w 9299750"/>
              <a:gd name="connsiteY17" fmla="*/ 9266020 h 10287000"/>
              <a:gd name="connsiteX18" fmla="*/ 631653 w 9299750"/>
              <a:gd name="connsiteY18" fmla="*/ 9133923 h 10287000"/>
              <a:gd name="connsiteX19" fmla="*/ 707611 w 9299750"/>
              <a:gd name="connsiteY19" fmla="*/ 9189964 h 10287000"/>
              <a:gd name="connsiteX20" fmla="*/ 1143372 w 9299750"/>
              <a:gd name="connsiteY20" fmla="*/ 9189964 h 10287000"/>
              <a:gd name="connsiteX21" fmla="*/ 1187348 w 9299750"/>
              <a:gd name="connsiteY21" fmla="*/ 9149934 h 10287000"/>
              <a:gd name="connsiteX22" fmla="*/ 1335267 w 9299750"/>
              <a:gd name="connsiteY22" fmla="*/ 9149934 h 10287000"/>
              <a:gd name="connsiteX23" fmla="*/ 1383241 w 9299750"/>
              <a:gd name="connsiteY23" fmla="*/ 9097896 h 10287000"/>
              <a:gd name="connsiteX24" fmla="*/ 1519166 w 9299750"/>
              <a:gd name="connsiteY24" fmla="*/ 9097896 h 10287000"/>
              <a:gd name="connsiteX25" fmla="*/ 1591126 w 9299750"/>
              <a:gd name="connsiteY25" fmla="*/ 9045858 h 10287000"/>
              <a:gd name="connsiteX26" fmla="*/ 1735047 w 9299750"/>
              <a:gd name="connsiteY26" fmla="*/ 9045858 h 10287000"/>
              <a:gd name="connsiteX27" fmla="*/ 1787018 w 9299750"/>
              <a:gd name="connsiteY27" fmla="*/ 8989816 h 10287000"/>
              <a:gd name="connsiteX28" fmla="*/ 1982911 w 9299750"/>
              <a:gd name="connsiteY28" fmla="*/ 8989816 h 10287000"/>
              <a:gd name="connsiteX29" fmla="*/ 2026887 w 9299750"/>
              <a:gd name="connsiteY29" fmla="*/ 8945784 h 10287000"/>
              <a:gd name="connsiteX30" fmla="*/ 2174806 w 9299750"/>
              <a:gd name="connsiteY30" fmla="*/ 8945784 h 10287000"/>
              <a:gd name="connsiteX31" fmla="*/ 2226777 w 9299750"/>
              <a:gd name="connsiteY31" fmla="*/ 8993819 h 10287000"/>
              <a:gd name="connsiteX32" fmla="*/ 2266755 w 9299750"/>
              <a:gd name="connsiteY32" fmla="*/ 8949787 h 10287000"/>
              <a:gd name="connsiteX33" fmla="*/ 2514619 w 9299750"/>
              <a:gd name="connsiteY33" fmla="*/ 8949787 h 10287000"/>
              <a:gd name="connsiteX34" fmla="*/ 2562592 w 9299750"/>
              <a:gd name="connsiteY34" fmla="*/ 8901751 h 10287000"/>
              <a:gd name="connsiteX35" fmla="*/ 2610566 w 9299750"/>
              <a:gd name="connsiteY35" fmla="*/ 8937778 h 10287000"/>
              <a:gd name="connsiteX36" fmla="*/ 2694520 w 9299750"/>
              <a:gd name="connsiteY36" fmla="*/ 8889743 h 10287000"/>
              <a:gd name="connsiteX37" fmla="*/ 2766480 w 9299750"/>
              <a:gd name="connsiteY37" fmla="*/ 8941781 h 10287000"/>
              <a:gd name="connsiteX38" fmla="*/ 2814454 w 9299750"/>
              <a:gd name="connsiteY38" fmla="*/ 8897749 h 10287000"/>
              <a:gd name="connsiteX39" fmla="*/ 3058320 w 9299750"/>
              <a:gd name="connsiteY39" fmla="*/ 8897749 h 10287000"/>
              <a:gd name="connsiteX40" fmla="*/ 3110292 w 9299750"/>
              <a:gd name="connsiteY40" fmla="*/ 8941781 h 10287000"/>
              <a:gd name="connsiteX41" fmla="*/ 3122285 w 9299750"/>
              <a:gd name="connsiteY41" fmla="*/ 8853716 h 10287000"/>
              <a:gd name="connsiteX42" fmla="*/ 2286744 w 9299750"/>
              <a:gd name="connsiteY42" fmla="*/ 8853716 h 10287000"/>
              <a:gd name="connsiteX43" fmla="*/ 2218782 w 9299750"/>
              <a:gd name="connsiteY43" fmla="*/ 8797675 h 10287000"/>
              <a:gd name="connsiteX44" fmla="*/ 1878968 w 9299750"/>
              <a:gd name="connsiteY44" fmla="*/ 8797675 h 10287000"/>
              <a:gd name="connsiteX45" fmla="*/ 1826997 w 9299750"/>
              <a:gd name="connsiteY45" fmla="*/ 8745636 h 10287000"/>
              <a:gd name="connsiteX46" fmla="*/ 1631104 w 9299750"/>
              <a:gd name="connsiteY46" fmla="*/ 8745636 h 10287000"/>
              <a:gd name="connsiteX47" fmla="*/ 1587128 w 9299750"/>
              <a:gd name="connsiteY47" fmla="*/ 8701604 h 10287000"/>
              <a:gd name="connsiteX48" fmla="*/ 1439210 w 9299750"/>
              <a:gd name="connsiteY48" fmla="*/ 8701604 h 10287000"/>
              <a:gd name="connsiteX49" fmla="*/ 1387238 w 9299750"/>
              <a:gd name="connsiteY49" fmla="*/ 8749639 h 10287000"/>
              <a:gd name="connsiteX50" fmla="*/ 947481 w 9299750"/>
              <a:gd name="connsiteY50" fmla="*/ 8749639 h 10287000"/>
              <a:gd name="connsiteX51" fmla="*/ 907502 w 9299750"/>
              <a:gd name="connsiteY51" fmla="*/ 8789669 h 10287000"/>
              <a:gd name="connsiteX52" fmla="*/ 799561 w 9299750"/>
              <a:gd name="connsiteY52" fmla="*/ 8797675 h 10287000"/>
              <a:gd name="connsiteX53" fmla="*/ 751587 w 9299750"/>
              <a:gd name="connsiteY53" fmla="*/ 8749639 h 10287000"/>
              <a:gd name="connsiteX54" fmla="*/ 407776 w 9299750"/>
              <a:gd name="connsiteY54" fmla="*/ 8749639 h 10287000"/>
              <a:gd name="connsiteX55" fmla="*/ 431763 w 9299750"/>
              <a:gd name="connsiteY55" fmla="*/ 8625548 h 10287000"/>
              <a:gd name="connsiteX56" fmla="*/ 311829 w 9299750"/>
              <a:gd name="connsiteY56" fmla="*/ 8601530 h 10287000"/>
              <a:gd name="connsiteX57" fmla="*/ 227875 w 9299750"/>
              <a:gd name="connsiteY57" fmla="*/ 8529477 h 10287000"/>
              <a:gd name="connsiteX58" fmla="*/ 295838 w 9299750"/>
              <a:gd name="connsiteY58" fmla="*/ 8369359 h 10287000"/>
              <a:gd name="connsiteX59" fmla="*/ 439758 w 9299750"/>
              <a:gd name="connsiteY59" fmla="*/ 8309315 h 10287000"/>
              <a:gd name="connsiteX60" fmla="*/ 567688 w 9299750"/>
              <a:gd name="connsiteY60" fmla="*/ 8261279 h 10287000"/>
              <a:gd name="connsiteX61" fmla="*/ 699616 w 9299750"/>
              <a:gd name="connsiteY61" fmla="*/ 8161205 h 10287000"/>
              <a:gd name="connsiteX62" fmla="*/ 895508 w 9299750"/>
              <a:gd name="connsiteY62" fmla="*/ 8161205 h 10287000"/>
              <a:gd name="connsiteX63" fmla="*/ 947481 w 9299750"/>
              <a:gd name="connsiteY63" fmla="*/ 8205238 h 10287000"/>
              <a:gd name="connsiteX64" fmla="*/ 1011444 w 9299750"/>
              <a:gd name="connsiteY64" fmla="*/ 8149197 h 10287000"/>
              <a:gd name="connsiteX65" fmla="*/ 1107392 w 9299750"/>
              <a:gd name="connsiteY65" fmla="*/ 8205238 h 10287000"/>
              <a:gd name="connsiteX66" fmla="*/ 1123383 w 9299750"/>
              <a:gd name="connsiteY66" fmla="*/ 8129182 h 10287000"/>
              <a:gd name="connsiteX67" fmla="*/ 1351258 w 9299750"/>
              <a:gd name="connsiteY67" fmla="*/ 8101161 h 10287000"/>
              <a:gd name="connsiteX68" fmla="*/ 1391236 w 9299750"/>
              <a:gd name="connsiteY68" fmla="*/ 8057129 h 10287000"/>
              <a:gd name="connsiteX69" fmla="*/ 1415223 w 9299750"/>
              <a:gd name="connsiteY69" fmla="*/ 8117173 h 10287000"/>
              <a:gd name="connsiteX70" fmla="*/ 1443207 w 9299750"/>
              <a:gd name="connsiteY70" fmla="*/ 8165208 h 10287000"/>
              <a:gd name="connsiteX71" fmla="*/ 1471192 w 9299750"/>
              <a:gd name="connsiteY71" fmla="*/ 8073140 h 10287000"/>
              <a:gd name="connsiteX72" fmla="*/ 1639100 w 9299750"/>
              <a:gd name="connsiteY72" fmla="*/ 8061132 h 10287000"/>
              <a:gd name="connsiteX73" fmla="*/ 1763032 w 9299750"/>
              <a:gd name="connsiteY73" fmla="*/ 8061132 h 10287000"/>
              <a:gd name="connsiteX74" fmla="*/ 1902955 w 9299750"/>
              <a:gd name="connsiteY74" fmla="*/ 7989078 h 10287000"/>
              <a:gd name="connsiteX75" fmla="*/ 1627106 w 9299750"/>
              <a:gd name="connsiteY75" fmla="*/ 7969064 h 10287000"/>
              <a:gd name="connsiteX76" fmla="*/ 1591126 w 9299750"/>
              <a:gd name="connsiteY76" fmla="*/ 8005090 h 10287000"/>
              <a:gd name="connsiteX77" fmla="*/ 1559144 w 9299750"/>
              <a:gd name="connsiteY77" fmla="*/ 7933037 h 10287000"/>
              <a:gd name="connsiteX78" fmla="*/ 1539155 w 9299750"/>
              <a:gd name="connsiteY78" fmla="*/ 7917025 h 10287000"/>
              <a:gd name="connsiteX79" fmla="*/ 1299286 w 9299750"/>
              <a:gd name="connsiteY79" fmla="*/ 7917025 h 10287000"/>
              <a:gd name="connsiteX80" fmla="*/ 1023439 w 9299750"/>
              <a:gd name="connsiteY80" fmla="*/ 7736893 h 10287000"/>
              <a:gd name="connsiteX81" fmla="*/ 1023439 w 9299750"/>
              <a:gd name="connsiteY81" fmla="*/ 7636819 h 10287000"/>
              <a:gd name="connsiteX82" fmla="*/ 879517 w 9299750"/>
              <a:gd name="connsiteY82" fmla="*/ 7540748 h 10287000"/>
              <a:gd name="connsiteX83" fmla="*/ 831543 w 9299750"/>
              <a:gd name="connsiteY83" fmla="*/ 7436671 h 10287000"/>
              <a:gd name="connsiteX84" fmla="*/ 923493 w 9299750"/>
              <a:gd name="connsiteY84" fmla="*/ 7328591 h 10287000"/>
              <a:gd name="connsiteX85" fmla="*/ 739595 w 9299750"/>
              <a:gd name="connsiteY85" fmla="*/ 7164471 h 10287000"/>
              <a:gd name="connsiteX86" fmla="*/ 651642 w 9299750"/>
              <a:gd name="connsiteY86" fmla="*/ 6928297 h 10287000"/>
              <a:gd name="connsiteX87" fmla="*/ 607666 w 9299750"/>
              <a:gd name="connsiteY87" fmla="*/ 6928297 h 10287000"/>
              <a:gd name="connsiteX88" fmla="*/ 431763 w 9299750"/>
              <a:gd name="connsiteY88" fmla="*/ 6760173 h 10287000"/>
              <a:gd name="connsiteX89" fmla="*/ 431763 w 9299750"/>
              <a:gd name="connsiteY89" fmla="*/ 6604057 h 10287000"/>
              <a:gd name="connsiteX90" fmla="*/ 567688 w 9299750"/>
              <a:gd name="connsiteY90" fmla="*/ 6403910 h 10287000"/>
              <a:gd name="connsiteX91" fmla="*/ 427765 w 9299750"/>
              <a:gd name="connsiteY91" fmla="*/ 6387898 h 10287000"/>
              <a:gd name="connsiteX92" fmla="*/ 235870 w 9299750"/>
              <a:gd name="connsiteY92" fmla="*/ 6259804 h 10287000"/>
              <a:gd name="connsiteX93" fmla="*/ 235870 w 9299750"/>
              <a:gd name="connsiteY93" fmla="*/ 6115697 h 10287000"/>
              <a:gd name="connsiteX94" fmla="*/ 163911 w 9299750"/>
              <a:gd name="connsiteY94" fmla="*/ 6043644 h 10287000"/>
              <a:gd name="connsiteX95" fmla="*/ 63965 w 9299750"/>
              <a:gd name="connsiteY95" fmla="*/ 6043644 h 10287000"/>
              <a:gd name="connsiteX96" fmla="*/ 0 w 9299750"/>
              <a:gd name="connsiteY96" fmla="*/ 5915550 h 10287000"/>
              <a:gd name="connsiteX97" fmla="*/ 139923 w 9299750"/>
              <a:gd name="connsiteY97" fmla="*/ 5767441 h 10287000"/>
              <a:gd name="connsiteX98" fmla="*/ 139923 w 9299750"/>
              <a:gd name="connsiteY98" fmla="*/ 5671370 h 10287000"/>
              <a:gd name="connsiteX99" fmla="*/ 263855 w 9299750"/>
              <a:gd name="connsiteY99" fmla="*/ 5607323 h 10287000"/>
              <a:gd name="connsiteX100" fmla="*/ 311829 w 9299750"/>
              <a:gd name="connsiteY100" fmla="*/ 5647352 h 10287000"/>
              <a:gd name="connsiteX101" fmla="*/ 351807 w 9299750"/>
              <a:gd name="connsiteY101" fmla="*/ 5607323 h 10287000"/>
              <a:gd name="connsiteX102" fmla="*/ 511719 w 9299750"/>
              <a:gd name="connsiteY102" fmla="*/ 5595314 h 10287000"/>
              <a:gd name="connsiteX103" fmla="*/ 579682 w 9299750"/>
              <a:gd name="connsiteY103" fmla="*/ 5455210 h 10287000"/>
              <a:gd name="connsiteX104" fmla="*/ 671631 w 9299750"/>
              <a:gd name="connsiteY104" fmla="*/ 5423187 h 10287000"/>
              <a:gd name="connsiteX105" fmla="*/ 579682 w 9299750"/>
              <a:gd name="connsiteY105" fmla="*/ 5455210 h 10287000"/>
              <a:gd name="connsiteX106" fmla="*/ 495728 w 9299750"/>
              <a:gd name="connsiteY106" fmla="*/ 5403172 h 10287000"/>
              <a:gd name="connsiteX107" fmla="*/ 431763 w 9299750"/>
              <a:gd name="connsiteY107" fmla="*/ 5403172 h 10287000"/>
              <a:gd name="connsiteX108" fmla="*/ 431763 w 9299750"/>
              <a:gd name="connsiteY108" fmla="*/ 5331119 h 10287000"/>
              <a:gd name="connsiteX109" fmla="*/ 551697 w 9299750"/>
              <a:gd name="connsiteY109" fmla="*/ 5351134 h 10287000"/>
              <a:gd name="connsiteX110" fmla="*/ 603668 w 9299750"/>
              <a:gd name="connsiteY110" fmla="*/ 5307101 h 10287000"/>
              <a:gd name="connsiteX111" fmla="*/ 747589 w 9299750"/>
              <a:gd name="connsiteY111" fmla="*/ 5307101 h 10287000"/>
              <a:gd name="connsiteX112" fmla="*/ 799561 w 9299750"/>
              <a:gd name="connsiteY112" fmla="*/ 5355137 h 10287000"/>
              <a:gd name="connsiteX113" fmla="*/ 843538 w 9299750"/>
              <a:gd name="connsiteY113" fmla="*/ 5311104 h 10287000"/>
              <a:gd name="connsiteX114" fmla="*/ 1095398 w 9299750"/>
              <a:gd name="connsiteY114" fmla="*/ 5303098 h 10287000"/>
              <a:gd name="connsiteX115" fmla="*/ 1159363 w 9299750"/>
              <a:gd name="connsiteY115" fmla="*/ 5247057 h 10287000"/>
              <a:gd name="connsiteX116" fmla="*/ 1255310 w 9299750"/>
              <a:gd name="connsiteY116" fmla="*/ 5303098 h 10287000"/>
              <a:gd name="connsiteX117" fmla="*/ 1387238 w 9299750"/>
              <a:gd name="connsiteY117" fmla="*/ 5303098 h 10287000"/>
              <a:gd name="connsiteX118" fmla="*/ 1439210 w 9299750"/>
              <a:gd name="connsiteY118" fmla="*/ 5259066 h 10287000"/>
              <a:gd name="connsiteX119" fmla="*/ 1571137 w 9299750"/>
              <a:gd name="connsiteY119" fmla="*/ 5259066 h 10287000"/>
              <a:gd name="connsiteX120" fmla="*/ 1683076 w 9299750"/>
              <a:gd name="connsiteY120" fmla="*/ 5207027 h 10287000"/>
              <a:gd name="connsiteX121" fmla="*/ 1735047 w 9299750"/>
              <a:gd name="connsiteY121" fmla="*/ 5255063 h 10287000"/>
              <a:gd name="connsiteX122" fmla="*/ 1767030 w 9299750"/>
              <a:gd name="connsiteY122" fmla="*/ 5223039 h 10287000"/>
              <a:gd name="connsiteX123" fmla="*/ 2018891 w 9299750"/>
              <a:gd name="connsiteY123" fmla="*/ 5183010 h 10287000"/>
              <a:gd name="connsiteX124" fmla="*/ 1858979 w 9299750"/>
              <a:gd name="connsiteY124" fmla="*/ 5130971 h 10287000"/>
              <a:gd name="connsiteX125" fmla="*/ 1695069 w 9299750"/>
              <a:gd name="connsiteY125" fmla="*/ 5110957 h 10287000"/>
              <a:gd name="connsiteX126" fmla="*/ 1551148 w 9299750"/>
              <a:gd name="connsiteY126" fmla="*/ 5110957 h 10287000"/>
              <a:gd name="connsiteX127" fmla="*/ 1391236 w 9299750"/>
              <a:gd name="connsiteY127" fmla="*/ 5110957 h 10287000"/>
              <a:gd name="connsiteX128" fmla="*/ 1411226 w 9299750"/>
              <a:gd name="connsiteY128" fmla="*/ 4982862 h 10287000"/>
              <a:gd name="connsiteX129" fmla="*/ 1319275 w 9299750"/>
              <a:gd name="connsiteY129" fmla="*/ 4966850 h 10287000"/>
              <a:gd name="connsiteX130" fmla="*/ 1159363 w 9299750"/>
              <a:gd name="connsiteY130" fmla="*/ 4830750 h 10287000"/>
              <a:gd name="connsiteX131" fmla="*/ 1235322 w 9299750"/>
              <a:gd name="connsiteY131" fmla="*/ 4686644 h 10287000"/>
              <a:gd name="connsiteX132" fmla="*/ 1335267 w 9299750"/>
              <a:gd name="connsiteY132" fmla="*/ 4622596 h 10287000"/>
              <a:gd name="connsiteX133" fmla="*/ 1459199 w 9299750"/>
              <a:gd name="connsiteY133" fmla="*/ 4590573 h 10287000"/>
              <a:gd name="connsiteX134" fmla="*/ 1391236 w 9299750"/>
              <a:gd name="connsiteY134" fmla="*/ 4522523 h 10287000"/>
              <a:gd name="connsiteX135" fmla="*/ 1323273 w 9299750"/>
              <a:gd name="connsiteY135" fmla="*/ 4478490 h 10287000"/>
              <a:gd name="connsiteX136" fmla="*/ 1395234 w 9299750"/>
              <a:gd name="connsiteY136" fmla="*/ 4466481 h 10287000"/>
              <a:gd name="connsiteX137" fmla="*/ 1511170 w 9299750"/>
              <a:gd name="connsiteY137" fmla="*/ 4322375 h 10287000"/>
              <a:gd name="connsiteX138" fmla="*/ 1599122 w 9299750"/>
              <a:gd name="connsiteY138" fmla="*/ 4362405 h 10287000"/>
              <a:gd name="connsiteX139" fmla="*/ 1691071 w 9299750"/>
              <a:gd name="connsiteY139" fmla="*/ 4310366 h 10287000"/>
              <a:gd name="connsiteX140" fmla="*/ 1755036 w 9299750"/>
              <a:gd name="connsiteY140" fmla="*/ 4258328 h 10287000"/>
              <a:gd name="connsiteX141" fmla="*/ 1775025 w 9299750"/>
              <a:gd name="connsiteY141" fmla="*/ 4126230 h 10287000"/>
              <a:gd name="connsiteX142" fmla="*/ 1826997 w 9299750"/>
              <a:gd name="connsiteY142" fmla="*/ 4170263 h 10287000"/>
              <a:gd name="connsiteX143" fmla="*/ 1942933 w 9299750"/>
              <a:gd name="connsiteY143" fmla="*/ 4106216 h 10287000"/>
              <a:gd name="connsiteX144" fmla="*/ 1958924 w 9299750"/>
              <a:gd name="connsiteY144" fmla="*/ 4062183 h 10287000"/>
              <a:gd name="connsiteX145" fmla="*/ 1886964 w 9299750"/>
              <a:gd name="connsiteY145" fmla="*/ 3982124 h 10287000"/>
              <a:gd name="connsiteX146" fmla="*/ 1587128 w 9299750"/>
              <a:gd name="connsiteY146" fmla="*/ 3982124 h 10287000"/>
              <a:gd name="connsiteX147" fmla="*/ 1539155 w 9299750"/>
              <a:gd name="connsiteY147" fmla="*/ 3934089 h 10287000"/>
              <a:gd name="connsiteX148" fmla="*/ 767578 w 9299750"/>
              <a:gd name="connsiteY148" fmla="*/ 3934089 h 10287000"/>
              <a:gd name="connsiteX149" fmla="*/ 535706 w 9299750"/>
              <a:gd name="connsiteY149" fmla="*/ 3753956 h 10287000"/>
              <a:gd name="connsiteX150" fmla="*/ 475739 w 9299750"/>
              <a:gd name="connsiteY150" fmla="*/ 3561814 h 10287000"/>
              <a:gd name="connsiteX151" fmla="*/ 243866 w 9299750"/>
              <a:gd name="connsiteY151" fmla="*/ 3433720 h 10287000"/>
              <a:gd name="connsiteX152" fmla="*/ 183899 w 9299750"/>
              <a:gd name="connsiteY152" fmla="*/ 3233572 h 10287000"/>
              <a:gd name="connsiteX153" fmla="*/ 331818 w 9299750"/>
              <a:gd name="connsiteY153" fmla="*/ 3121490 h 10287000"/>
              <a:gd name="connsiteX154" fmla="*/ 331818 w 9299750"/>
              <a:gd name="connsiteY154" fmla="*/ 2973380 h 10287000"/>
              <a:gd name="connsiteX155" fmla="*/ 383789 w 9299750"/>
              <a:gd name="connsiteY155" fmla="*/ 2921342 h 10287000"/>
              <a:gd name="connsiteX156" fmla="*/ 335816 w 9299750"/>
              <a:gd name="connsiteY156" fmla="*/ 2821268 h 10287000"/>
              <a:gd name="connsiteX157" fmla="*/ 335816 w 9299750"/>
              <a:gd name="connsiteY157" fmla="*/ 2673159 h 10287000"/>
              <a:gd name="connsiteX158" fmla="*/ 455750 w 9299750"/>
              <a:gd name="connsiteY158" fmla="*/ 2501032 h 10287000"/>
              <a:gd name="connsiteX159" fmla="*/ 555695 w 9299750"/>
              <a:gd name="connsiteY159" fmla="*/ 2501032 h 10287000"/>
              <a:gd name="connsiteX160" fmla="*/ 531708 w 9299750"/>
              <a:gd name="connsiteY160" fmla="*/ 2424976 h 10287000"/>
              <a:gd name="connsiteX161" fmla="*/ 531708 w 9299750"/>
              <a:gd name="connsiteY161" fmla="*/ 2336911 h 10287000"/>
              <a:gd name="connsiteX162" fmla="*/ 291840 w 9299750"/>
              <a:gd name="connsiteY162" fmla="*/ 2200811 h 10287000"/>
              <a:gd name="connsiteX163" fmla="*/ 291840 w 9299750"/>
              <a:gd name="connsiteY163" fmla="*/ 2040693 h 10287000"/>
              <a:gd name="connsiteX164" fmla="*/ 379791 w 9299750"/>
              <a:gd name="connsiteY164" fmla="*/ 1872569 h 10287000"/>
              <a:gd name="connsiteX165" fmla="*/ 383789 w 9299750"/>
              <a:gd name="connsiteY165" fmla="*/ 1796513 h 10287000"/>
              <a:gd name="connsiteX166" fmla="*/ 471741 w 9299750"/>
              <a:gd name="connsiteY166" fmla="*/ 1656409 h 10287000"/>
              <a:gd name="connsiteX167" fmla="*/ 555695 w 9299750"/>
              <a:gd name="connsiteY167" fmla="*/ 1712451 h 10287000"/>
              <a:gd name="connsiteX168" fmla="*/ 707611 w 9299750"/>
              <a:gd name="connsiteY168" fmla="*/ 1660412 h 10287000"/>
              <a:gd name="connsiteX169" fmla="*/ 875519 w 9299750"/>
              <a:gd name="connsiteY169" fmla="*/ 1540324 h 10287000"/>
              <a:gd name="connsiteX170" fmla="*/ 1119385 w 9299750"/>
              <a:gd name="connsiteY170" fmla="*/ 1420235 h 10287000"/>
              <a:gd name="connsiteX171" fmla="*/ 899506 w 9299750"/>
              <a:gd name="connsiteY171" fmla="*/ 1420235 h 10287000"/>
              <a:gd name="connsiteX172" fmla="*/ 847534 w 9299750"/>
              <a:gd name="connsiteY172" fmla="*/ 1468271 h 10287000"/>
              <a:gd name="connsiteX173" fmla="*/ 635652 w 9299750"/>
              <a:gd name="connsiteY173" fmla="*/ 1476276 h 10287000"/>
              <a:gd name="connsiteX174" fmla="*/ 619660 w 9299750"/>
              <a:gd name="connsiteY174" fmla="*/ 1540324 h 10287000"/>
              <a:gd name="connsiteX175" fmla="*/ 471741 w 9299750"/>
              <a:gd name="connsiteY175" fmla="*/ 1656409 h 10287000"/>
              <a:gd name="connsiteX176" fmla="*/ 355805 w 9299750"/>
              <a:gd name="connsiteY176" fmla="*/ 1712451 h 10287000"/>
              <a:gd name="connsiteX177" fmla="*/ 343811 w 9299750"/>
              <a:gd name="connsiteY177" fmla="*/ 1632392 h 10287000"/>
              <a:gd name="connsiteX178" fmla="*/ 379791 w 9299750"/>
              <a:gd name="connsiteY178" fmla="*/ 1572347 h 10287000"/>
              <a:gd name="connsiteX179" fmla="*/ 431763 w 9299750"/>
              <a:gd name="connsiteY179" fmla="*/ 1496291 h 10287000"/>
              <a:gd name="connsiteX180" fmla="*/ 479737 w 9299750"/>
              <a:gd name="connsiteY180" fmla="*/ 1444253 h 10287000"/>
              <a:gd name="connsiteX181" fmla="*/ 551697 w 9299750"/>
              <a:gd name="connsiteY181" fmla="*/ 1376203 h 10287000"/>
              <a:gd name="connsiteX182" fmla="*/ 607666 w 9299750"/>
              <a:gd name="connsiteY182" fmla="*/ 1368197 h 10287000"/>
              <a:gd name="connsiteX183" fmla="*/ 679627 w 9299750"/>
              <a:gd name="connsiteY183" fmla="*/ 1272126 h 10287000"/>
              <a:gd name="connsiteX184" fmla="*/ 799561 w 9299750"/>
              <a:gd name="connsiteY184" fmla="*/ 1272126 h 10287000"/>
              <a:gd name="connsiteX185" fmla="*/ 851532 w 9299750"/>
              <a:gd name="connsiteY185" fmla="*/ 1224090 h 10287000"/>
              <a:gd name="connsiteX186" fmla="*/ 1003449 w 9299750"/>
              <a:gd name="connsiteY186" fmla="*/ 1224090 h 10287000"/>
              <a:gd name="connsiteX187" fmla="*/ 1031434 w 9299750"/>
              <a:gd name="connsiteY187" fmla="*/ 1140029 h 10287000"/>
              <a:gd name="connsiteX188" fmla="*/ 1219330 w 9299750"/>
              <a:gd name="connsiteY188" fmla="*/ 1055967 h 10287000"/>
              <a:gd name="connsiteX189" fmla="*/ 1219330 w 9299750"/>
              <a:gd name="connsiteY189" fmla="*/ 835804 h 10287000"/>
              <a:gd name="connsiteX190" fmla="*/ 1343262 w 9299750"/>
              <a:gd name="connsiteY190" fmla="*/ 827798 h 10287000"/>
              <a:gd name="connsiteX191" fmla="*/ 1495179 w 9299750"/>
              <a:gd name="connsiteY191" fmla="*/ 723721 h 10287000"/>
              <a:gd name="connsiteX192" fmla="*/ 1511170 w 9299750"/>
              <a:gd name="connsiteY192" fmla="*/ 671683 h 10287000"/>
              <a:gd name="connsiteX193" fmla="*/ 1719056 w 9299750"/>
              <a:gd name="connsiteY193" fmla="*/ 655671 h 10287000"/>
              <a:gd name="connsiteX194" fmla="*/ 1639100 w 9299750"/>
              <a:gd name="connsiteY194" fmla="*/ 591624 h 10287000"/>
              <a:gd name="connsiteX195" fmla="*/ 1511170 w 9299750"/>
              <a:gd name="connsiteY195" fmla="*/ 671683 h 10287000"/>
              <a:gd name="connsiteX196" fmla="*/ 1391236 w 9299750"/>
              <a:gd name="connsiteY196" fmla="*/ 683692 h 10287000"/>
              <a:gd name="connsiteX197" fmla="*/ 1339264 w 9299750"/>
              <a:gd name="connsiteY197" fmla="*/ 635657 h 10287000"/>
              <a:gd name="connsiteX198" fmla="*/ 1235322 w 9299750"/>
              <a:gd name="connsiteY198" fmla="*/ 675686 h 10287000"/>
              <a:gd name="connsiteX199" fmla="*/ 1211335 w 9299750"/>
              <a:gd name="connsiteY199" fmla="*/ 563603 h 10287000"/>
              <a:gd name="connsiteX200" fmla="*/ 1395234 w 9299750"/>
              <a:gd name="connsiteY200" fmla="*/ 387473 h 10287000"/>
              <a:gd name="connsiteX201" fmla="*/ 1635102 w 9299750"/>
              <a:gd name="connsiteY201" fmla="*/ 387473 h 10287000"/>
              <a:gd name="connsiteX202" fmla="*/ 1735047 w 9299750"/>
              <a:gd name="connsiteY202" fmla="*/ 483544 h 10287000"/>
              <a:gd name="connsiteX203" fmla="*/ 1779023 w 9299750"/>
              <a:gd name="connsiteY203" fmla="*/ 439512 h 10287000"/>
              <a:gd name="connsiteX204" fmla="*/ 2122834 w 9299750"/>
              <a:gd name="connsiteY204" fmla="*/ 439512 h 10287000"/>
              <a:gd name="connsiteX205" fmla="*/ 2166811 w 9299750"/>
              <a:gd name="connsiteY205" fmla="*/ 395479 h 10287000"/>
              <a:gd name="connsiteX206" fmla="*/ 2402680 w 9299750"/>
              <a:gd name="connsiteY206" fmla="*/ 371462 h 10287000"/>
              <a:gd name="connsiteX207" fmla="*/ 2378694 w 9299750"/>
              <a:gd name="connsiteY207" fmla="*/ 343441 h 10287000"/>
              <a:gd name="connsiteX208" fmla="*/ 2358704 w 9299750"/>
              <a:gd name="connsiteY208" fmla="*/ 339438 h 10287000"/>
              <a:gd name="connsiteX209" fmla="*/ 1627106 w 9299750"/>
              <a:gd name="connsiteY209" fmla="*/ 339438 h 10287000"/>
              <a:gd name="connsiteX210" fmla="*/ 1539155 w 9299750"/>
              <a:gd name="connsiteY210" fmla="*/ 199335 h 10287000"/>
              <a:gd name="connsiteX211" fmla="*/ 1367249 w 9299750"/>
              <a:gd name="connsiteY211" fmla="*/ 79246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</a:cxnLst>
            <a:rect l="l" t="t" r="r" b="b"/>
            <a:pathLst>
              <a:path w="9299750" h="10287000">
                <a:moveTo>
                  <a:pt x="1367249" y="0"/>
                </a:moveTo>
                <a:lnTo>
                  <a:pt x="9299750" y="0"/>
                </a:lnTo>
                <a:lnTo>
                  <a:pt x="9299750" y="10287000"/>
                </a:lnTo>
                <a:lnTo>
                  <a:pt x="1154688" y="10287000"/>
                </a:lnTo>
                <a:lnTo>
                  <a:pt x="1144872" y="10268572"/>
                </a:lnTo>
                <a:cubicBezTo>
                  <a:pt x="1113389" y="10236485"/>
                  <a:pt x="1059419" y="10229731"/>
                  <a:pt x="1023439" y="10202711"/>
                </a:cubicBezTo>
                <a:lnTo>
                  <a:pt x="1023439" y="10102637"/>
                </a:lnTo>
                <a:cubicBezTo>
                  <a:pt x="1035431" y="10086625"/>
                  <a:pt x="1051422" y="10070613"/>
                  <a:pt x="1071412" y="10050599"/>
                </a:cubicBezTo>
                <a:cubicBezTo>
                  <a:pt x="1063416" y="10046596"/>
                  <a:pt x="1059418" y="10034587"/>
                  <a:pt x="1051422" y="10034587"/>
                </a:cubicBezTo>
                <a:cubicBezTo>
                  <a:pt x="971466" y="10034587"/>
                  <a:pt x="891511" y="10034587"/>
                  <a:pt x="811554" y="10034587"/>
                </a:cubicBezTo>
                <a:cubicBezTo>
                  <a:pt x="787567" y="10014572"/>
                  <a:pt x="771576" y="9998560"/>
                  <a:pt x="751587" y="9978545"/>
                </a:cubicBezTo>
                <a:lnTo>
                  <a:pt x="651642" y="9978545"/>
                </a:lnTo>
                <a:cubicBezTo>
                  <a:pt x="631653" y="9958531"/>
                  <a:pt x="611664" y="9934513"/>
                  <a:pt x="583679" y="9894483"/>
                </a:cubicBezTo>
                <a:lnTo>
                  <a:pt x="583679" y="9806419"/>
                </a:lnTo>
                <a:cubicBezTo>
                  <a:pt x="515717" y="9758383"/>
                  <a:pt x="447754" y="9710348"/>
                  <a:pt x="383789" y="9662312"/>
                </a:cubicBezTo>
                <a:lnTo>
                  <a:pt x="383789" y="9558236"/>
                </a:lnTo>
                <a:cubicBezTo>
                  <a:pt x="451752" y="9490185"/>
                  <a:pt x="519715" y="9422135"/>
                  <a:pt x="575684" y="9366094"/>
                </a:cubicBezTo>
                <a:cubicBezTo>
                  <a:pt x="591675" y="9266020"/>
                  <a:pt x="499726" y="9310053"/>
                  <a:pt x="483734" y="9266020"/>
                </a:cubicBezTo>
                <a:cubicBezTo>
                  <a:pt x="527710" y="9225991"/>
                  <a:pt x="559694" y="9165946"/>
                  <a:pt x="631653" y="9133923"/>
                </a:cubicBezTo>
                <a:cubicBezTo>
                  <a:pt x="655640" y="9153937"/>
                  <a:pt x="679627" y="9169949"/>
                  <a:pt x="707611" y="9189964"/>
                </a:cubicBezTo>
                <a:cubicBezTo>
                  <a:pt x="847534" y="9189964"/>
                  <a:pt x="995454" y="9189964"/>
                  <a:pt x="1143372" y="9189964"/>
                </a:cubicBezTo>
                <a:cubicBezTo>
                  <a:pt x="1155367" y="9181958"/>
                  <a:pt x="1167359" y="9169949"/>
                  <a:pt x="1187348" y="9149934"/>
                </a:cubicBezTo>
                <a:lnTo>
                  <a:pt x="1335267" y="9149934"/>
                </a:lnTo>
                <a:cubicBezTo>
                  <a:pt x="1355256" y="9125917"/>
                  <a:pt x="1367249" y="9117911"/>
                  <a:pt x="1383241" y="9097896"/>
                </a:cubicBezTo>
                <a:lnTo>
                  <a:pt x="1519166" y="9097896"/>
                </a:lnTo>
                <a:cubicBezTo>
                  <a:pt x="1543152" y="9081884"/>
                  <a:pt x="1559144" y="9069875"/>
                  <a:pt x="1591126" y="9045858"/>
                </a:cubicBezTo>
                <a:lnTo>
                  <a:pt x="1735047" y="9045858"/>
                </a:lnTo>
                <a:cubicBezTo>
                  <a:pt x="1755036" y="9021840"/>
                  <a:pt x="1767030" y="9013834"/>
                  <a:pt x="1787018" y="8989816"/>
                </a:cubicBezTo>
                <a:lnTo>
                  <a:pt x="1982911" y="8989816"/>
                </a:lnTo>
                <a:cubicBezTo>
                  <a:pt x="2002900" y="8969802"/>
                  <a:pt x="2014893" y="8961796"/>
                  <a:pt x="2026887" y="8945784"/>
                </a:cubicBezTo>
                <a:lnTo>
                  <a:pt x="2174806" y="8945784"/>
                </a:lnTo>
                <a:cubicBezTo>
                  <a:pt x="2190797" y="8961796"/>
                  <a:pt x="2206788" y="8977808"/>
                  <a:pt x="2226777" y="8993819"/>
                </a:cubicBezTo>
                <a:cubicBezTo>
                  <a:pt x="2234772" y="8981810"/>
                  <a:pt x="2246766" y="8969802"/>
                  <a:pt x="2266755" y="8949787"/>
                </a:cubicBezTo>
                <a:lnTo>
                  <a:pt x="2514619" y="8949787"/>
                </a:lnTo>
                <a:cubicBezTo>
                  <a:pt x="2534608" y="8929772"/>
                  <a:pt x="2546601" y="8917763"/>
                  <a:pt x="2562592" y="8901751"/>
                </a:cubicBezTo>
                <a:cubicBezTo>
                  <a:pt x="2578584" y="8913760"/>
                  <a:pt x="2594575" y="8925769"/>
                  <a:pt x="2610566" y="8937778"/>
                </a:cubicBezTo>
                <a:cubicBezTo>
                  <a:pt x="2634553" y="8925769"/>
                  <a:pt x="2658541" y="8909757"/>
                  <a:pt x="2694520" y="8889743"/>
                </a:cubicBezTo>
                <a:cubicBezTo>
                  <a:pt x="2714509" y="8905754"/>
                  <a:pt x="2738496" y="8921766"/>
                  <a:pt x="2766480" y="8941781"/>
                </a:cubicBezTo>
                <a:cubicBezTo>
                  <a:pt x="2782472" y="8929772"/>
                  <a:pt x="2798463" y="8913760"/>
                  <a:pt x="2814454" y="8897749"/>
                </a:cubicBezTo>
                <a:lnTo>
                  <a:pt x="3058320" y="8897749"/>
                </a:lnTo>
                <a:cubicBezTo>
                  <a:pt x="3078309" y="8913760"/>
                  <a:pt x="3094300" y="8929772"/>
                  <a:pt x="3110292" y="8941781"/>
                </a:cubicBezTo>
                <a:cubicBezTo>
                  <a:pt x="3142274" y="8917763"/>
                  <a:pt x="3138276" y="8889743"/>
                  <a:pt x="3122285" y="8853716"/>
                </a:cubicBezTo>
                <a:lnTo>
                  <a:pt x="2286744" y="8853716"/>
                </a:lnTo>
                <a:cubicBezTo>
                  <a:pt x="2266755" y="8837704"/>
                  <a:pt x="2250764" y="8821692"/>
                  <a:pt x="2218782" y="8797675"/>
                </a:cubicBezTo>
                <a:lnTo>
                  <a:pt x="1878968" y="8797675"/>
                </a:lnTo>
                <a:cubicBezTo>
                  <a:pt x="1858979" y="8777660"/>
                  <a:pt x="1846986" y="8765651"/>
                  <a:pt x="1826997" y="8745636"/>
                </a:cubicBezTo>
                <a:lnTo>
                  <a:pt x="1631104" y="8745636"/>
                </a:lnTo>
                <a:cubicBezTo>
                  <a:pt x="1611115" y="8725622"/>
                  <a:pt x="1599122" y="8713613"/>
                  <a:pt x="1587128" y="8701604"/>
                </a:cubicBezTo>
                <a:lnTo>
                  <a:pt x="1439210" y="8701604"/>
                </a:lnTo>
                <a:cubicBezTo>
                  <a:pt x="1423218" y="8717616"/>
                  <a:pt x="1407227" y="8733627"/>
                  <a:pt x="1387238" y="8749639"/>
                </a:cubicBezTo>
                <a:lnTo>
                  <a:pt x="947481" y="8749639"/>
                </a:lnTo>
                <a:cubicBezTo>
                  <a:pt x="935486" y="8761648"/>
                  <a:pt x="923493" y="8773657"/>
                  <a:pt x="907502" y="8789669"/>
                </a:cubicBezTo>
                <a:cubicBezTo>
                  <a:pt x="875519" y="8813687"/>
                  <a:pt x="835541" y="8789669"/>
                  <a:pt x="799561" y="8797675"/>
                </a:cubicBezTo>
                <a:cubicBezTo>
                  <a:pt x="783570" y="8781663"/>
                  <a:pt x="771576" y="8769654"/>
                  <a:pt x="751587" y="8749639"/>
                </a:cubicBezTo>
                <a:lnTo>
                  <a:pt x="407776" y="8749639"/>
                </a:lnTo>
                <a:cubicBezTo>
                  <a:pt x="343811" y="8685592"/>
                  <a:pt x="407776" y="8661574"/>
                  <a:pt x="431763" y="8625548"/>
                </a:cubicBezTo>
                <a:cubicBezTo>
                  <a:pt x="395783" y="8585518"/>
                  <a:pt x="351807" y="8609536"/>
                  <a:pt x="311829" y="8601530"/>
                </a:cubicBezTo>
                <a:cubicBezTo>
                  <a:pt x="283844" y="8577512"/>
                  <a:pt x="251862" y="8553495"/>
                  <a:pt x="227875" y="8529477"/>
                </a:cubicBezTo>
                <a:cubicBezTo>
                  <a:pt x="255859" y="8465430"/>
                  <a:pt x="275848" y="8417394"/>
                  <a:pt x="295838" y="8369359"/>
                </a:cubicBezTo>
                <a:cubicBezTo>
                  <a:pt x="343811" y="8349344"/>
                  <a:pt x="391785" y="8313318"/>
                  <a:pt x="439758" y="8309315"/>
                </a:cubicBezTo>
                <a:cubicBezTo>
                  <a:pt x="495728" y="8309315"/>
                  <a:pt x="527710" y="8265282"/>
                  <a:pt x="567688" y="8261279"/>
                </a:cubicBezTo>
                <a:cubicBezTo>
                  <a:pt x="635652" y="8253273"/>
                  <a:pt x="655640" y="8189226"/>
                  <a:pt x="699616" y="8161205"/>
                </a:cubicBezTo>
                <a:lnTo>
                  <a:pt x="895508" y="8161205"/>
                </a:lnTo>
                <a:cubicBezTo>
                  <a:pt x="915497" y="8173214"/>
                  <a:pt x="931488" y="8189226"/>
                  <a:pt x="947481" y="8205238"/>
                </a:cubicBezTo>
                <a:cubicBezTo>
                  <a:pt x="967469" y="8189226"/>
                  <a:pt x="983460" y="8173214"/>
                  <a:pt x="1011444" y="8149197"/>
                </a:cubicBezTo>
                <a:cubicBezTo>
                  <a:pt x="1039429" y="8165208"/>
                  <a:pt x="1071412" y="8185223"/>
                  <a:pt x="1107392" y="8205238"/>
                </a:cubicBezTo>
                <a:cubicBezTo>
                  <a:pt x="1115387" y="8181220"/>
                  <a:pt x="1119385" y="8157202"/>
                  <a:pt x="1123383" y="8129182"/>
                </a:cubicBezTo>
                <a:cubicBezTo>
                  <a:pt x="1191346" y="8085149"/>
                  <a:pt x="1275300" y="8129182"/>
                  <a:pt x="1351258" y="8101161"/>
                </a:cubicBezTo>
                <a:cubicBezTo>
                  <a:pt x="1363251" y="8089152"/>
                  <a:pt x="1375245" y="8077143"/>
                  <a:pt x="1391236" y="8057129"/>
                </a:cubicBezTo>
                <a:cubicBezTo>
                  <a:pt x="1399232" y="8081146"/>
                  <a:pt x="1407227" y="8101161"/>
                  <a:pt x="1415223" y="8117173"/>
                </a:cubicBezTo>
                <a:cubicBezTo>
                  <a:pt x="1419220" y="8133185"/>
                  <a:pt x="1431214" y="8145194"/>
                  <a:pt x="1443207" y="8165208"/>
                </a:cubicBezTo>
                <a:cubicBezTo>
                  <a:pt x="1455201" y="8133185"/>
                  <a:pt x="1463196" y="8105164"/>
                  <a:pt x="1471192" y="8073140"/>
                </a:cubicBezTo>
                <a:cubicBezTo>
                  <a:pt x="1523164" y="8045120"/>
                  <a:pt x="1583130" y="8065135"/>
                  <a:pt x="1639100" y="8061132"/>
                </a:cubicBezTo>
                <a:cubicBezTo>
                  <a:pt x="1687073" y="8057129"/>
                  <a:pt x="1735047" y="8061132"/>
                  <a:pt x="1763032" y="8061132"/>
                </a:cubicBezTo>
                <a:cubicBezTo>
                  <a:pt x="1822999" y="8029108"/>
                  <a:pt x="1862977" y="8009093"/>
                  <a:pt x="1902955" y="7989078"/>
                </a:cubicBezTo>
                <a:cubicBezTo>
                  <a:pt x="1882967" y="7961058"/>
                  <a:pt x="1882967" y="7961058"/>
                  <a:pt x="1627106" y="7969064"/>
                </a:cubicBezTo>
                <a:cubicBezTo>
                  <a:pt x="1615113" y="7981073"/>
                  <a:pt x="1603120" y="7993081"/>
                  <a:pt x="1591126" y="8005090"/>
                </a:cubicBezTo>
                <a:cubicBezTo>
                  <a:pt x="1563142" y="7973067"/>
                  <a:pt x="1563142" y="7973067"/>
                  <a:pt x="1559144" y="7933037"/>
                </a:cubicBezTo>
                <a:cubicBezTo>
                  <a:pt x="1551148" y="7929034"/>
                  <a:pt x="1547150" y="7917025"/>
                  <a:pt x="1539155" y="7917025"/>
                </a:cubicBezTo>
                <a:cubicBezTo>
                  <a:pt x="1459199" y="7917025"/>
                  <a:pt x="1379242" y="7917025"/>
                  <a:pt x="1299286" y="7917025"/>
                </a:cubicBezTo>
                <a:cubicBezTo>
                  <a:pt x="1215332" y="7840969"/>
                  <a:pt x="1091401" y="7836966"/>
                  <a:pt x="1023439" y="7736893"/>
                </a:cubicBezTo>
                <a:lnTo>
                  <a:pt x="1023439" y="7636819"/>
                </a:lnTo>
                <a:cubicBezTo>
                  <a:pt x="983460" y="7608798"/>
                  <a:pt x="935486" y="7576774"/>
                  <a:pt x="879517" y="7540748"/>
                </a:cubicBezTo>
                <a:cubicBezTo>
                  <a:pt x="871521" y="7516730"/>
                  <a:pt x="851532" y="7476701"/>
                  <a:pt x="831543" y="7436671"/>
                </a:cubicBezTo>
                <a:cubicBezTo>
                  <a:pt x="859528" y="7400645"/>
                  <a:pt x="907502" y="7376627"/>
                  <a:pt x="923493" y="7328591"/>
                </a:cubicBezTo>
                <a:cubicBezTo>
                  <a:pt x="911499" y="7216509"/>
                  <a:pt x="783570" y="7236524"/>
                  <a:pt x="739595" y="7164471"/>
                </a:cubicBezTo>
                <a:cubicBezTo>
                  <a:pt x="727600" y="7080409"/>
                  <a:pt x="695618" y="7000350"/>
                  <a:pt x="651642" y="6928297"/>
                </a:cubicBezTo>
                <a:lnTo>
                  <a:pt x="607666" y="6928297"/>
                </a:lnTo>
                <a:cubicBezTo>
                  <a:pt x="547699" y="6868252"/>
                  <a:pt x="487732" y="6812211"/>
                  <a:pt x="431763" y="6760173"/>
                </a:cubicBezTo>
                <a:lnTo>
                  <a:pt x="431763" y="6604057"/>
                </a:lnTo>
                <a:cubicBezTo>
                  <a:pt x="503723" y="6556022"/>
                  <a:pt x="539704" y="6479966"/>
                  <a:pt x="567688" y="6403910"/>
                </a:cubicBezTo>
                <a:cubicBezTo>
                  <a:pt x="523712" y="6375889"/>
                  <a:pt x="475739" y="6391901"/>
                  <a:pt x="427765" y="6387898"/>
                </a:cubicBezTo>
                <a:cubicBezTo>
                  <a:pt x="359802" y="6347869"/>
                  <a:pt x="279846" y="6335860"/>
                  <a:pt x="235870" y="6259804"/>
                </a:cubicBezTo>
                <a:lnTo>
                  <a:pt x="235870" y="6115697"/>
                </a:lnTo>
                <a:cubicBezTo>
                  <a:pt x="207886" y="6091680"/>
                  <a:pt x="187897" y="6067662"/>
                  <a:pt x="163911" y="6043644"/>
                </a:cubicBezTo>
                <a:lnTo>
                  <a:pt x="63965" y="6043644"/>
                </a:lnTo>
                <a:cubicBezTo>
                  <a:pt x="43976" y="6003615"/>
                  <a:pt x="23987" y="5963585"/>
                  <a:pt x="0" y="5915550"/>
                </a:cubicBezTo>
                <a:cubicBezTo>
                  <a:pt x="39978" y="5871517"/>
                  <a:pt x="87952" y="5819479"/>
                  <a:pt x="139923" y="5767441"/>
                </a:cubicBezTo>
                <a:lnTo>
                  <a:pt x="139923" y="5671370"/>
                </a:lnTo>
                <a:cubicBezTo>
                  <a:pt x="179901" y="5651355"/>
                  <a:pt x="219879" y="5631340"/>
                  <a:pt x="263855" y="5607323"/>
                </a:cubicBezTo>
                <a:cubicBezTo>
                  <a:pt x="275848" y="5619331"/>
                  <a:pt x="291840" y="5635343"/>
                  <a:pt x="311829" y="5647352"/>
                </a:cubicBezTo>
                <a:cubicBezTo>
                  <a:pt x="319824" y="5639346"/>
                  <a:pt x="331818" y="5627337"/>
                  <a:pt x="351807" y="5607323"/>
                </a:cubicBezTo>
                <a:cubicBezTo>
                  <a:pt x="399780" y="5603320"/>
                  <a:pt x="455750" y="5599317"/>
                  <a:pt x="511719" y="5595314"/>
                </a:cubicBezTo>
                <a:cubicBezTo>
                  <a:pt x="531708" y="5551281"/>
                  <a:pt x="555695" y="5503246"/>
                  <a:pt x="579682" y="5455210"/>
                </a:cubicBezTo>
                <a:cubicBezTo>
                  <a:pt x="611664" y="5443202"/>
                  <a:pt x="655640" y="5479228"/>
                  <a:pt x="671631" y="5423187"/>
                </a:cubicBezTo>
                <a:cubicBezTo>
                  <a:pt x="607666" y="5403172"/>
                  <a:pt x="607666" y="5403172"/>
                  <a:pt x="579682" y="5455210"/>
                </a:cubicBezTo>
                <a:cubicBezTo>
                  <a:pt x="551697" y="5439199"/>
                  <a:pt x="527710" y="5423187"/>
                  <a:pt x="495728" y="5403172"/>
                </a:cubicBezTo>
                <a:lnTo>
                  <a:pt x="431763" y="5403172"/>
                </a:lnTo>
                <a:cubicBezTo>
                  <a:pt x="431763" y="5379154"/>
                  <a:pt x="431763" y="5355137"/>
                  <a:pt x="431763" y="5331119"/>
                </a:cubicBezTo>
                <a:cubicBezTo>
                  <a:pt x="479737" y="5275078"/>
                  <a:pt x="515717" y="5315107"/>
                  <a:pt x="551697" y="5351134"/>
                </a:cubicBezTo>
                <a:cubicBezTo>
                  <a:pt x="567688" y="5339125"/>
                  <a:pt x="583679" y="5323113"/>
                  <a:pt x="603668" y="5307101"/>
                </a:cubicBezTo>
                <a:lnTo>
                  <a:pt x="747589" y="5307101"/>
                </a:lnTo>
                <a:cubicBezTo>
                  <a:pt x="767578" y="5323113"/>
                  <a:pt x="783570" y="5339125"/>
                  <a:pt x="799561" y="5355137"/>
                </a:cubicBezTo>
                <a:cubicBezTo>
                  <a:pt x="811554" y="5343128"/>
                  <a:pt x="823548" y="5331119"/>
                  <a:pt x="843538" y="5311104"/>
                </a:cubicBezTo>
                <a:cubicBezTo>
                  <a:pt x="923493" y="5299095"/>
                  <a:pt x="1011444" y="5311104"/>
                  <a:pt x="1095398" y="5303098"/>
                </a:cubicBezTo>
                <a:cubicBezTo>
                  <a:pt x="1115387" y="5287086"/>
                  <a:pt x="1135376" y="5271075"/>
                  <a:pt x="1159363" y="5247057"/>
                </a:cubicBezTo>
                <a:cubicBezTo>
                  <a:pt x="1183350" y="5263069"/>
                  <a:pt x="1211335" y="5279080"/>
                  <a:pt x="1255310" y="5303098"/>
                </a:cubicBezTo>
                <a:lnTo>
                  <a:pt x="1387238" y="5303098"/>
                </a:lnTo>
                <a:cubicBezTo>
                  <a:pt x="1399232" y="5295092"/>
                  <a:pt x="1415223" y="5279080"/>
                  <a:pt x="1439210" y="5259066"/>
                </a:cubicBezTo>
                <a:lnTo>
                  <a:pt x="1571137" y="5259066"/>
                </a:lnTo>
                <a:cubicBezTo>
                  <a:pt x="1615113" y="5243054"/>
                  <a:pt x="1631104" y="5191016"/>
                  <a:pt x="1683076" y="5207027"/>
                </a:cubicBezTo>
                <a:cubicBezTo>
                  <a:pt x="1699067" y="5223039"/>
                  <a:pt x="1715058" y="5239051"/>
                  <a:pt x="1735047" y="5255063"/>
                </a:cubicBezTo>
                <a:cubicBezTo>
                  <a:pt x="1747040" y="5243054"/>
                  <a:pt x="1755036" y="5235048"/>
                  <a:pt x="1767030" y="5223039"/>
                </a:cubicBezTo>
                <a:cubicBezTo>
                  <a:pt x="1838990" y="5183010"/>
                  <a:pt x="1926942" y="5235048"/>
                  <a:pt x="2018891" y="5183010"/>
                </a:cubicBezTo>
                <a:cubicBezTo>
                  <a:pt x="1954926" y="5162995"/>
                  <a:pt x="1898957" y="5162995"/>
                  <a:pt x="1858979" y="5130971"/>
                </a:cubicBezTo>
                <a:cubicBezTo>
                  <a:pt x="1807009" y="5090942"/>
                  <a:pt x="1751038" y="5114959"/>
                  <a:pt x="1695069" y="5110957"/>
                </a:cubicBezTo>
                <a:cubicBezTo>
                  <a:pt x="1647095" y="5106954"/>
                  <a:pt x="1599122" y="5110957"/>
                  <a:pt x="1551148" y="5110957"/>
                </a:cubicBezTo>
                <a:lnTo>
                  <a:pt x="1391236" y="5110957"/>
                </a:lnTo>
                <a:cubicBezTo>
                  <a:pt x="1315278" y="5042906"/>
                  <a:pt x="1399232" y="5022892"/>
                  <a:pt x="1411226" y="4982862"/>
                </a:cubicBezTo>
                <a:cubicBezTo>
                  <a:pt x="1379242" y="4942833"/>
                  <a:pt x="1335267" y="4970853"/>
                  <a:pt x="1319275" y="4966850"/>
                </a:cubicBezTo>
                <a:cubicBezTo>
                  <a:pt x="1255310" y="4914812"/>
                  <a:pt x="1207337" y="4870779"/>
                  <a:pt x="1159363" y="4830750"/>
                </a:cubicBezTo>
                <a:cubicBezTo>
                  <a:pt x="1187348" y="4778712"/>
                  <a:pt x="1207337" y="4738682"/>
                  <a:pt x="1235322" y="4686644"/>
                </a:cubicBezTo>
                <a:cubicBezTo>
                  <a:pt x="1255310" y="4670632"/>
                  <a:pt x="1295289" y="4646614"/>
                  <a:pt x="1335267" y="4622596"/>
                </a:cubicBezTo>
                <a:cubicBezTo>
                  <a:pt x="1371247" y="4598579"/>
                  <a:pt x="1431214" y="4646614"/>
                  <a:pt x="1459199" y="4590573"/>
                </a:cubicBezTo>
                <a:lnTo>
                  <a:pt x="1391236" y="4522523"/>
                </a:lnTo>
                <a:cubicBezTo>
                  <a:pt x="1367249" y="4510514"/>
                  <a:pt x="1327271" y="4538534"/>
                  <a:pt x="1323273" y="4478490"/>
                </a:cubicBezTo>
                <a:cubicBezTo>
                  <a:pt x="1347260" y="4474487"/>
                  <a:pt x="1367249" y="4470484"/>
                  <a:pt x="1395234" y="4466481"/>
                </a:cubicBezTo>
                <a:cubicBezTo>
                  <a:pt x="1427216" y="4414443"/>
                  <a:pt x="1499177" y="4394428"/>
                  <a:pt x="1511170" y="4322375"/>
                </a:cubicBezTo>
                <a:cubicBezTo>
                  <a:pt x="1531159" y="4330381"/>
                  <a:pt x="1555146" y="4342390"/>
                  <a:pt x="1599122" y="4362405"/>
                </a:cubicBezTo>
                <a:cubicBezTo>
                  <a:pt x="1619111" y="4366408"/>
                  <a:pt x="1639100" y="4306363"/>
                  <a:pt x="1691071" y="4310366"/>
                </a:cubicBezTo>
                <a:cubicBezTo>
                  <a:pt x="1711060" y="4314369"/>
                  <a:pt x="1739045" y="4274340"/>
                  <a:pt x="1755036" y="4258328"/>
                </a:cubicBezTo>
                <a:cubicBezTo>
                  <a:pt x="1763032" y="4206289"/>
                  <a:pt x="1743043" y="4166260"/>
                  <a:pt x="1775025" y="4126230"/>
                </a:cubicBezTo>
                <a:cubicBezTo>
                  <a:pt x="1795014" y="4142242"/>
                  <a:pt x="1811005" y="4158254"/>
                  <a:pt x="1826997" y="4170263"/>
                </a:cubicBezTo>
                <a:cubicBezTo>
                  <a:pt x="1858979" y="4150248"/>
                  <a:pt x="1890961" y="4134236"/>
                  <a:pt x="1942933" y="4106216"/>
                </a:cubicBezTo>
                <a:cubicBezTo>
                  <a:pt x="1942933" y="4106216"/>
                  <a:pt x="1950928" y="4086201"/>
                  <a:pt x="1958924" y="4062183"/>
                </a:cubicBezTo>
                <a:cubicBezTo>
                  <a:pt x="1934937" y="4034163"/>
                  <a:pt x="1914948" y="4010145"/>
                  <a:pt x="1886964" y="3982124"/>
                </a:cubicBezTo>
                <a:lnTo>
                  <a:pt x="1587128" y="3982124"/>
                </a:lnTo>
                <a:cubicBezTo>
                  <a:pt x="1567139" y="3962109"/>
                  <a:pt x="1555146" y="3950101"/>
                  <a:pt x="1539155" y="3934089"/>
                </a:cubicBezTo>
                <a:lnTo>
                  <a:pt x="767578" y="3934089"/>
                </a:lnTo>
                <a:cubicBezTo>
                  <a:pt x="683625" y="3878047"/>
                  <a:pt x="591675" y="3846024"/>
                  <a:pt x="535706" y="3753956"/>
                </a:cubicBezTo>
                <a:cubicBezTo>
                  <a:pt x="551697" y="3685906"/>
                  <a:pt x="491730" y="3633867"/>
                  <a:pt x="475739" y="3561814"/>
                </a:cubicBezTo>
                <a:cubicBezTo>
                  <a:pt x="399780" y="3521785"/>
                  <a:pt x="323822" y="3477752"/>
                  <a:pt x="243866" y="3433720"/>
                </a:cubicBezTo>
                <a:cubicBezTo>
                  <a:pt x="243866" y="3353661"/>
                  <a:pt x="215881" y="3289614"/>
                  <a:pt x="183899" y="3233572"/>
                </a:cubicBezTo>
                <a:cubicBezTo>
                  <a:pt x="207886" y="3157516"/>
                  <a:pt x="279846" y="3153513"/>
                  <a:pt x="331818" y="3121490"/>
                </a:cubicBezTo>
                <a:lnTo>
                  <a:pt x="331818" y="2973380"/>
                </a:lnTo>
                <a:cubicBezTo>
                  <a:pt x="347809" y="2957369"/>
                  <a:pt x="363800" y="2937354"/>
                  <a:pt x="383789" y="2921342"/>
                </a:cubicBezTo>
                <a:cubicBezTo>
                  <a:pt x="399780" y="2869304"/>
                  <a:pt x="355805" y="2849289"/>
                  <a:pt x="335816" y="2821268"/>
                </a:cubicBezTo>
                <a:lnTo>
                  <a:pt x="335816" y="2673159"/>
                </a:lnTo>
                <a:cubicBezTo>
                  <a:pt x="383789" y="2621121"/>
                  <a:pt x="443756" y="2577088"/>
                  <a:pt x="455750" y="2501032"/>
                </a:cubicBezTo>
                <a:lnTo>
                  <a:pt x="555695" y="2501032"/>
                </a:lnTo>
                <a:cubicBezTo>
                  <a:pt x="599671" y="2461003"/>
                  <a:pt x="539704" y="2452997"/>
                  <a:pt x="531708" y="2424976"/>
                </a:cubicBezTo>
                <a:lnTo>
                  <a:pt x="531708" y="2336911"/>
                </a:lnTo>
                <a:cubicBezTo>
                  <a:pt x="451752" y="2292879"/>
                  <a:pt x="371796" y="2248846"/>
                  <a:pt x="291840" y="2200811"/>
                </a:cubicBezTo>
                <a:lnTo>
                  <a:pt x="291840" y="2040693"/>
                </a:lnTo>
                <a:cubicBezTo>
                  <a:pt x="315827" y="1992657"/>
                  <a:pt x="351807" y="1932613"/>
                  <a:pt x="379791" y="1872569"/>
                </a:cubicBezTo>
                <a:cubicBezTo>
                  <a:pt x="391785" y="1848551"/>
                  <a:pt x="383789" y="1820530"/>
                  <a:pt x="383789" y="1796513"/>
                </a:cubicBezTo>
                <a:cubicBezTo>
                  <a:pt x="403778" y="1744474"/>
                  <a:pt x="471741" y="1728463"/>
                  <a:pt x="471741" y="1656409"/>
                </a:cubicBezTo>
                <a:cubicBezTo>
                  <a:pt x="507721" y="1676424"/>
                  <a:pt x="531708" y="1696439"/>
                  <a:pt x="555695" y="1712451"/>
                </a:cubicBezTo>
                <a:cubicBezTo>
                  <a:pt x="591675" y="1652406"/>
                  <a:pt x="655640" y="1672421"/>
                  <a:pt x="707611" y="1660412"/>
                </a:cubicBezTo>
                <a:cubicBezTo>
                  <a:pt x="755585" y="1608374"/>
                  <a:pt x="807556" y="1564342"/>
                  <a:pt x="875519" y="1540324"/>
                </a:cubicBezTo>
                <a:cubicBezTo>
                  <a:pt x="943482" y="1512303"/>
                  <a:pt x="1003449" y="1476276"/>
                  <a:pt x="1119385" y="1420235"/>
                </a:cubicBezTo>
                <a:cubicBezTo>
                  <a:pt x="1007447" y="1420235"/>
                  <a:pt x="951477" y="1420235"/>
                  <a:pt x="899506" y="1420235"/>
                </a:cubicBezTo>
                <a:cubicBezTo>
                  <a:pt x="879517" y="1436247"/>
                  <a:pt x="863526" y="1452259"/>
                  <a:pt x="847534" y="1468271"/>
                </a:cubicBezTo>
                <a:cubicBezTo>
                  <a:pt x="775574" y="1472273"/>
                  <a:pt x="703614" y="1460265"/>
                  <a:pt x="635652" y="1476276"/>
                </a:cubicBezTo>
                <a:cubicBezTo>
                  <a:pt x="627655" y="1512303"/>
                  <a:pt x="623658" y="1532318"/>
                  <a:pt x="619660" y="1540324"/>
                </a:cubicBezTo>
                <a:cubicBezTo>
                  <a:pt x="567688" y="1576350"/>
                  <a:pt x="519715" y="1604371"/>
                  <a:pt x="471741" y="1656409"/>
                </a:cubicBezTo>
                <a:cubicBezTo>
                  <a:pt x="431763" y="1656409"/>
                  <a:pt x="387787" y="1672421"/>
                  <a:pt x="355805" y="1712451"/>
                </a:cubicBezTo>
                <a:cubicBezTo>
                  <a:pt x="327820" y="1688433"/>
                  <a:pt x="323822" y="1660412"/>
                  <a:pt x="343811" y="1632392"/>
                </a:cubicBezTo>
                <a:cubicBezTo>
                  <a:pt x="355805" y="1612377"/>
                  <a:pt x="379791" y="1592362"/>
                  <a:pt x="379791" y="1572347"/>
                </a:cubicBezTo>
                <a:cubicBezTo>
                  <a:pt x="379791" y="1532318"/>
                  <a:pt x="411774" y="1520309"/>
                  <a:pt x="431763" y="1496291"/>
                </a:cubicBezTo>
                <a:cubicBezTo>
                  <a:pt x="447754" y="1476276"/>
                  <a:pt x="463745" y="1460265"/>
                  <a:pt x="479737" y="1444253"/>
                </a:cubicBezTo>
                <a:lnTo>
                  <a:pt x="551697" y="1376203"/>
                </a:lnTo>
                <a:cubicBezTo>
                  <a:pt x="563690" y="1372200"/>
                  <a:pt x="579682" y="1372200"/>
                  <a:pt x="607666" y="1368197"/>
                </a:cubicBezTo>
                <a:cubicBezTo>
                  <a:pt x="631653" y="1340176"/>
                  <a:pt x="659638" y="1300146"/>
                  <a:pt x="679627" y="1272126"/>
                </a:cubicBezTo>
                <a:lnTo>
                  <a:pt x="799561" y="1272126"/>
                </a:lnTo>
                <a:cubicBezTo>
                  <a:pt x="815553" y="1256114"/>
                  <a:pt x="831543" y="1240102"/>
                  <a:pt x="851532" y="1224090"/>
                </a:cubicBezTo>
                <a:lnTo>
                  <a:pt x="1003449" y="1224090"/>
                </a:lnTo>
                <a:cubicBezTo>
                  <a:pt x="1011444" y="1196070"/>
                  <a:pt x="1019440" y="1168049"/>
                  <a:pt x="1031434" y="1140029"/>
                </a:cubicBezTo>
                <a:cubicBezTo>
                  <a:pt x="1091401" y="1112008"/>
                  <a:pt x="1151368" y="1083987"/>
                  <a:pt x="1219330" y="1055967"/>
                </a:cubicBezTo>
                <a:lnTo>
                  <a:pt x="1219330" y="835804"/>
                </a:lnTo>
                <a:cubicBezTo>
                  <a:pt x="1267304" y="831801"/>
                  <a:pt x="1303284" y="827798"/>
                  <a:pt x="1343262" y="827798"/>
                </a:cubicBezTo>
                <a:cubicBezTo>
                  <a:pt x="1391236" y="783766"/>
                  <a:pt x="1423218" y="727724"/>
                  <a:pt x="1495179" y="723721"/>
                </a:cubicBezTo>
                <a:cubicBezTo>
                  <a:pt x="1503174" y="723721"/>
                  <a:pt x="1507172" y="695701"/>
                  <a:pt x="1511170" y="671683"/>
                </a:cubicBezTo>
                <a:cubicBezTo>
                  <a:pt x="1575135" y="667680"/>
                  <a:pt x="1639100" y="703707"/>
                  <a:pt x="1719056" y="655671"/>
                </a:cubicBezTo>
                <a:cubicBezTo>
                  <a:pt x="1687073" y="631654"/>
                  <a:pt x="1659089" y="607636"/>
                  <a:pt x="1639100" y="591624"/>
                </a:cubicBezTo>
                <a:cubicBezTo>
                  <a:pt x="1591126" y="615642"/>
                  <a:pt x="1551148" y="635657"/>
                  <a:pt x="1511170" y="671683"/>
                </a:cubicBezTo>
                <a:cubicBezTo>
                  <a:pt x="1471192" y="683692"/>
                  <a:pt x="1431214" y="683692"/>
                  <a:pt x="1391236" y="683692"/>
                </a:cubicBezTo>
                <a:cubicBezTo>
                  <a:pt x="1371247" y="667680"/>
                  <a:pt x="1355256" y="651668"/>
                  <a:pt x="1339264" y="635657"/>
                </a:cubicBezTo>
                <a:cubicBezTo>
                  <a:pt x="1311280" y="663677"/>
                  <a:pt x="1287293" y="699704"/>
                  <a:pt x="1235322" y="675686"/>
                </a:cubicBezTo>
                <a:cubicBezTo>
                  <a:pt x="1199341" y="643662"/>
                  <a:pt x="1231325" y="599630"/>
                  <a:pt x="1211335" y="563603"/>
                </a:cubicBezTo>
                <a:cubicBezTo>
                  <a:pt x="1275300" y="503559"/>
                  <a:pt x="1331269" y="447518"/>
                  <a:pt x="1395234" y="387473"/>
                </a:cubicBezTo>
                <a:lnTo>
                  <a:pt x="1635102" y="387473"/>
                </a:lnTo>
                <a:cubicBezTo>
                  <a:pt x="1667084" y="419497"/>
                  <a:pt x="1699067" y="451521"/>
                  <a:pt x="1735047" y="483544"/>
                </a:cubicBezTo>
                <a:cubicBezTo>
                  <a:pt x="1747040" y="471536"/>
                  <a:pt x="1759034" y="459527"/>
                  <a:pt x="1779023" y="439512"/>
                </a:cubicBezTo>
                <a:lnTo>
                  <a:pt x="2122834" y="439512"/>
                </a:lnTo>
                <a:cubicBezTo>
                  <a:pt x="2142823" y="419497"/>
                  <a:pt x="2154816" y="407488"/>
                  <a:pt x="2166811" y="395479"/>
                </a:cubicBezTo>
                <a:cubicBezTo>
                  <a:pt x="2242769" y="371462"/>
                  <a:pt x="2322724" y="403485"/>
                  <a:pt x="2402680" y="371462"/>
                </a:cubicBezTo>
                <a:cubicBezTo>
                  <a:pt x="2390687" y="355450"/>
                  <a:pt x="2386689" y="347444"/>
                  <a:pt x="2378694" y="343441"/>
                </a:cubicBezTo>
                <a:cubicBezTo>
                  <a:pt x="2370698" y="339438"/>
                  <a:pt x="2362702" y="339438"/>
                  <a:pt x="2358704" y="339438"/>
                </a:cubicBezTo>
                <a:cubicBezTo>
                  <a:pt x="2114838" y="339438"/>
                  <a:pt x="1870972" y="339438"/>
                  <a:pt x="1627106" y="339438"/>
                </a:cubicBezTo>
                <a:cubicBezTo>
                  <a:pt x="1607117" y="279394"/>
                  <a:pt x="1595124" y="203338"/>
                  <a:pt x="1539155" y="199335"/>
                </a:cubicBezTo>
                <a:cubicBezTo>
                  <a:pt x="1451203" y="187326"/>
                  <a:pt x="1431214" y="107267"/>
                  <a:pt x="1367249" y="79246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29927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946076" cy="10287000"/>
          </a:xfrm>
          <a:custGeom>
            <a:avLst/>
            <a:gdLst>
              <a:gd name="connsiteX0" fmla="*/ 0 w 9946076"/>
              <a:gd name="connsiteY0" fmla="*/ 0 h 10287000"/>
              <a:gd name="connsiteX1" fmla="*/ 7666658 w 9946076"/>
              <a:gd name="connsiteY1" fmla="*/ 0 h 10287000"/>
              <a:gd name="connsiteX2" fmla="*/ 7674824 w 9946076"/>
              <a:gd name="connsiteY2" fmla="*/ 15757 h 10287000"/>
              <a:gd name="connsiteX3" fmla="*/ 7643341 w 9946076"/>
              <a:gd name="connsiteY3" fmla="*/ 57586 h 10287000"/>
              <a:gd name="connsiteX4" fmla="*/ 7707306 w 9946076"/>
              <a:gd name="connsiteY4" fmla="*/ 129124 h 10287000"/>
              <a:gd name="connsiteX5" fmla="*/ 7807251 w 9946076"/>
              <a:gd name="connsiteY5" fmla="*/ 83942 h 10287000"/>
              <a:gd name="connsiteX6" fmla="*/ 7899200 w 9946076"/>
              <a:gd name="connsiteY6" fmla="*/ 170541 h 10287000"/>
              <a:gd name="connsiteX7" fmla="*/ 8019134 w 9946076"/>
              <a:gd name="connsiteY7" fmla="*/ 181837 h 10287000"/>
              <a:gd name="connsiteX8" fmla="*/ 8023132 w 9946076"/>
              <a:gd name="connsiteY8" fmla="*/ 245845 h 10287000"/>
              <a:gd name="connsiteX9" fmla="*/ 7887207 w 9946076"/>
              <a:gd name="connsiteY9" fmla="*/ 328679 h 10287000"/>
              <a:gd name="connsiteX10" fmla="*/ 7991150 w 9946076"/>
              <a:gd name="connsiteY10" fmla="*/ 407748 h 10287000"/>
              <a:gd name="connsiteX11" fmla="*/ 8147064 w 9946076"/>
              <a:gd name="connsiteY11" fmla="*/ 407748 h 10287000"/>
              <a:gd name="connsiteX12" fmla="*/ 8223022 w 9946076"/>
              <a:gd name="connsiteY12" fmla="*/ 475521 h 10287000"/>
              <a:gd name="connsiteX13" fmla="*/ 8055115 w 9946076"/>
              <a:gd name="connsiteY13" fmla="*/ 565885 h 10287000"/>
              <a:gd name="connsiteX14" fmla="*/ 8175049 w 9946076"/>
              <a:gd name="connsiteY14" fmla="*/ 652484 h 10287000"/>
              <a:gd name="connsiteX15" fmla="*/ 8163055 w 9946076"/>
              <a:gd name="connsiteY15" fmla="*/ 671310 h 10287000"/>
              <a:gd name="connsiteX16" fmla="*/ 7951172 w 9946076"/>
              <a:gd name="connsiteY16" fmla="*/ 735319 h 10287000"/>
              <a:gd name="connsiteX17" fmla="*/ 7871216 w 9946076"/>
              <a:gd name="connsiteY17" fmla="*/ 803092 h 10287000"/>
              <a:gd name="connsiteX18" fmla="*/ 7963165 w 9946076"/>
              <a:gd name="connsiteY18" fmla="*/ 833213 h 10287000"/>
              <a:gd name="connsiteX19" fmla="*/ 7999145 w 9946076"/>
              <a:gd name="connsiteY19" fmla="*/ 867100 h 10287000"/>
              <a:gd name="connsiteX20" fmla="*/ 8243011 w 9946076"/>
              <a:gd name="connsiteY20" fmla="*/ 867100 h 10287000"/>
              <a:gd name="connsiteX21" fmla="*/ 8298981 w 9946076"/>
              <a:gd name="connsiteY21" fmla="*/ 916047 h 10287000"/>
              <a:gd name="connsiteX22" fmla="*/ 8430908 w 9946076"/>
              <a:gd name="connsiteY22" fmla="*/ 916047 h 10287000"/>
              <a:gd name="connsiteX23" fmla="*/ 8602814 w 9946076"/>
              <a:gd name="connsiteY23" fmla="*/ 1006412 h 10287000"/>
              <a:gd name="connsiteX24" fmla="*/ 8718750 w 9946076"/>
              <a:gd name="connsiteY24" fmla="*/ 1006412 h 10287000"/>
              <a:gd name="connsiteX25" fmla="*/ 8958618 w 9946076"/>
              <a:gd name="connsiteY25" fmla="*/ 1126898 h 10287000"/>
              <a:gd name="connsiteX26" fmla="*/ 8862671 w 9946076"/>
              <a:gd name="connsiteY26" fmla="*/ 1168315 h 10287000"/>
              <a:gd name="connsiteX27" fmla="*/ 8886658 w 9946076"/>
              <a:gd name="connsiteY27" fmla="*/ 1190906 h 10287000"/>
              <a:gd name="connsiteX28" fmla="*/ 9142517 w 9946076"/>
              <a:gd name="connsiteY28" fmla="*/ 1194671 h 10287000"/>
              <a:gd name="connsiteX29" fmla="*/ 9158509 w 9946076"/>
              <a:gd name="connsiteY29" fmla="*/ 1269975 h 10287000"/>
              <a:gd name="connsiteX30" fmla="*/ 9062561 w 9946076"/>
              <a:gd name="connsiteY30" fmla="*/ 1300096 h 10287000"/>
              <a:gd name="connsiteX31" fmla="*/ 9206482 w 9946076"/>
              <a:gd name="connsiteY31" fmla="*/ 1401756 h 10287000"/>
              <a:gd name="connsiteX32" fmla="*/ 9170502 w 9946076"/>
              <a:gd name="connsiteY32" fmla="*/ 1484590 h 10287000"/>
              <a:gd name="connsiteX33" fmla="*/ 9138520 w 9946076"/>
              <a:gd name="connsiteY33" fmla="*/ 1559893 h 10287000"/>
              <a:gd name="connsiteX34" fmla="*/ 9086548 w 9946076"/>
              <a:gd name="connsiteY34" fmla="*/ 1563659 h 10287000"/>
              <a:gd name="connsiteX35" fmla="*/ 8982605 w 9946076"/>
              <a:gd name="connsiteY35" fmla="*/ 1657788 h 10287000"/>
              <a:gd name="connsiteX36" fmla="*/ 8826691 w 9946076"/>
              <a:gd name="connsiteY36" fmla="*/ 1702971 h 10287000"/>
              <a:gd name="connsiteX37" fmla="*/ 8650787 w 9946076"/>
              <a:gd name="connsiteY37" fmla="*/ 1748153 h 10287000"/>
              <a:gd name="connsiteX38" fmla="*/ 8494873 w 9946076"/>
              <a:gd name="connsiteY38" fmla="*/ 1748153 h 10287000"/>
              <a:gd name="connsiteX39" fmla="*/ 8446899 w 9946076"/>
              <a:gd name="connsiteY39" fmla="*/ 1793335 h 10287000"/>
              <a:gd name="connsiteX40" fmla="*/ 8107086 w 9946076"/>
              <a:gd name="connsiteY40" fmla="*/ 1793335 h 10287000"/>
              <a:gd name="connsiteX41" fmla="*/ 8051117 w 9946076"/>
              <a:gd name="connsiteY41" fmla="*/ 1842282 h 10287000"/>
              <a:gd name="connsiteX42" fmla="*/ 7759277 w 9946076"/>
              <a:gd name="connsiteY42" fmla="*/ 1842282 h 10287000"/>
              <a:gd name="connsiteX43" fmla="*/ 7739288 w 9946076"/>
              <a:gd name="connsiteY43" fmla="*/ 1857343 h 10287000"/>
              <a:gd name="connsiteX44" fmla="*/ 7755279 w 9946076"/>
              <a:gd name="connsiteY44" fmla="*/ 1883699 h 10287000"/>
              <a:gd name="connsiteX45" fmla="*/ 7883209 w 9946076"/>
              <a:gd name="connsiteY45" fmla="*/ 1936412 h 10287000"/>
              <a:gd name="connsiteX46" fmla="*/ 7975158 w 9946076"/>
              <a:gd name="connsiteY46" fmla="*/ 2004185 h 10287000"/>
              <a:gd name="connsiteX47" fmla="*/ 8147064 w 9946076"/>
              <a:gd name="connsiteY47" fmla="*/ 2117141 h 10287000"/>
              <a:gd name="connsiteX48" fmla="*/ 8251007 w 9946076"/>
              <a:gd name="connsiteY48" fmla="*/ 2117141 h 10287000"/>
              <a:gd name="connsiteX49" fmla="*/ 8314972 w 9946076"/>
              <a:gd name="connsiteY49" fmla="*/ 2184914 h 10287000"/>
              <a:gd name="connsiteX50" fmla="*/ 8187042 w 9946076"/>
              <a:gd name="connsiteY50" fmla="*/ 2218801 h 10287000"/>
              <a:gd name="connsiteX51" fmla="*/ 8171051 w 9946076"/>
              <a:gd name="connsiteY51" fmla="*/ 2279044 h 10287000"/>
              <a:gd name="connsiteX52" fmla="*/ 8306976 w 9946076"/>
              <a:gd name="connsiteY52" fmla="*/ 2343052 h 10287000"/>
              <a:gd name="connsiteX53" fmla="*/ 8346954 w 9946076"/>
              <a:gd name="connsiteY53" fmla="*/ 2301634 h 10287000"/>
              <a:gd name="connsiteX54" fmla="*/ 8586823 w 9946076"/>
              <a:gd name="connsiteY54" fmla="*/ 2305400 h 10287000"/>
              <a:gd name="connsiteX55" fmla="*/ 8610809 w 9946076"/>
              <a:gd name="connsiteY55" fmla="*/ 2320460 h 10287000"/>
              <a:gd name="connsiteX56" fmla="*/ 8614807 w 9946076"/>
              <a:gd name="connsiteY56" fmla="*/ 2376938 h 10287000"/>
              <a:gd name="connsiteX57" fmla="*/ 8442902 w 9946076"/>
              <a:gd name="connsiteY57" fmla="*/ 2395764 h 10287000"/>
              <a:gd name="connsiteX58" fmla="*/ 8370941 w 9946076"/>
              <a:gd name="connsiteY58" fmla="*/ 2471068 h 10287000"/>
              <a:gd name="connsiteX59" fmla="*/ 8550842 w 9946076"/>
              <a:gd name="connsiteY59" fmla="*/ 2542606 h 10287000"/>
              <a:gd name="connsiteX60" fmla="*/ 8574829 w 9946076"/>
              <a:gd name="connsiteY60" fmla="*/ 2580258 h 10287000"/>
              <a:gd name="connsiteX61" fmla="*/ 8538849 w 9946076"/>
              <a:gd name="connsiteY61" fmla="*/ 2621675 h 10287000"/>
              <a:gd name="connsiteX62" fmla="*/ 8574829 w 9946076"/>
              <a:gd name="connsiteY62" fmla="*/ 2580258 h 10287000"/>
              <a:gd name="connsiteX63" fmla="*/ 8778717 w 9946076"/>
              <a:gd name="connsiteY63" fmla="*/ 2602849 h 10287000"/>
              <a:gd name="connsiteX64" fmla="*/ 8666779 w 9946076"/>
              <a:gd name="connsiteY64" fmla="*/ 2674388 h 10287000"/>
              <a:gd name="connsiteX65" fmla="*/ 8666779 w 9946076"/>
              <a:gd name="connsiteY65" fmla="*/ 2794873 h 10287000"/>
              <a:gd name="connsiteX66" fmla="*/ 8574829 w 9946076"/>
              <a:gd name="connsiteY66" fmla="*/ 2821230 h 10287000"/>
              <a:gd name="connsiteX67" fmla="*/ 8562836 w 9946076"/>
              <a:gd name="connsiteY67" fmla="*/ 2885238 h 10287000"/>
              <a:gd name="connsiteX68" fmla="*/ 8426910 w 9946076"/>
              <a:gd name="connsiteY68" fmla="*/ 2949246 h 10287000"/>
              <a:gd name="connsiteX69" fmla="*/ 8350952 w 9946076"/>
              <a:gd name="connsiteY69" fmla="*/ 2949246 h 10287000"/>
              <a:gd name="connsiteX70" fmla="*/ 8294983 w 9946076"/>
              <a:gd name="connsiteY70" fmla="*/ 2998193 h 10287000"/>
              <a:gd name="connsiteX71" fmla="*/ 8199036 w 9946076"/>
              <a:gd name="connsiteY71" fmla="*/ 2998193 h 10287000"/>
              <a:gd name="connsiteX72" fmla="*/ 8143066 w 9946076"/>
              <a:gd name="connsiteY72" fmla="*/ 3043376 h 10287000"/>
              <a:gd name="connsiteX73" fmla="*/ 8051117 w 9946076"/>
              <a:gd name="connsiteY73" fmla="*/ 3043376 h 10287000"/>
              <a:gd name="connsiteX74" fmla="*/ 7999145 w 9946076"/>
              <a:gd name="connsiteY74" fmla="*/ 3088558 h 10287000"/>
              <a:gd name="connsiteX75" fmla="*/ 7815246 w 9946076"/>
              <a:gd name="connsiteY75" fmla="*/ 3129975 h 10287000"/>
              <a:gd name="connsiteX76" fmla="*/ 7659332 w 9946076"/>
              <a:gd name="connsiteY76" fmla="*/ 3141270 h 10287000"/>
              <a:gd name="connsiteX77" fmla="*/ 7607360 w 9946076"/>
              <a:gd name="connsiteY77" fmla="*/ 3178922 h 10287000"/>
              <a:gd name="connsiteX78" fmla="*/ 7467437 w 9946076"/>
              <a:gd name="connsiteY78" fmla="*/ 3178922 h 10287000"/>
              <a:gd name="connsiteX79" fmla="*/ 7411468 w 9946076"/>
              <a:gd name="connsiteY79" fmla="*/ 3227869 h 10287000"/>
              <a:gd name="connsiteX80" fmla="*/ 7247558 w 9946076"/>
              <a:gd name="connsiteY80" fmla="*/ 3242930 h 10287000"/>
              <a:gd name="connsiteX81" fmla="*/ 7287536 w 9946076"/>
              <a:gd name="connsiteY81" fmla="*/ 3314469 h 10287000"/>
              <a:gd name="connsiteX82" fmla="*/ 7207580 w 9946076"/>
              <a:gd name="connsiteY82" fmla="*/ 3321999 h 10287000"/>
              <a:gd name="connsiteX83" fmla="*/ 7175598 w 9946076"/>
              <a:gd name="connsiteY83" fmla="*/ 3239165 h 10287000"/>
              <a:gd name="connsiteX84" fmla="*/ 7119628 w 9946076"/>
              <a:gd name="connsiteY84" fmla="*/ 3314469 h 10287000"/>
              <a:gd name="connsiteX85" fmla="*/ 7071655 w 9946076"/>
              <a:gd name="connsiteY85" fmla="*/ 3276817 h 10287000"/>
              <a:gd name="connsiteX86" fmla="*/ 7019683 w 9946076"/>
              <a:gd name="connsiteY86" fmla="*/ 3321999 h 10287000"/>
              <a:gd name="connsiteX87" fmla="*/ 6875762 w 9946076"/>
              <a:gd name="connsiteY87" fmla="*/ 3321999 h 10287000"/>
              <a:gd name="connsiteX88" fmla="*/ 6823792 w 9946076"/>
              <a:gd name="connsiteY88" fmla="*/ 3367181 h 10287000"/>
              <a:gd name="connsiteX89" fmla="*/ 6771820 w 9946076"/>
              <a:gd name="connsiteY89" fmla="*/ 3325764 h 10287000"/>
              <a:gd name="connsiteX90" fmla="*/ 6719849 w 9946076"/>
              <a:gd name="connsiteY90" fmla="*/ 3363416 h 10287000"/>
              <a:gd name="connsiteX91" fmla="*/ 6679871 w 9946076"/>
              <a:gd name="connsiteY91" fmla="*/ 3325764 h 10287000"/>
              <a:gd name="connsiteX92" fmla="*/ 6627899 w 9946076"/>
              <a:gd name="connsiteY92" fmla="*/ 3367181 h 10287000"/>
              <a:gd name="connsiteX93" fmla="*/ 6340058 w 9946076"/>
              <a:gd name="connsiteY93" fmla="*/ 3367181 h 10287000"/>
              <a:gd name="connsiteX94" fmla="*/ 6284088 w 9946076"/>
              <a:gd name="connsiteY94" fmla="*/ 3412364 h 10287000"/>
              <a:gd name="connsiteX95" fmla="*/ 6228118 w 9946076"/>
              <a:gd name="connsiteY95" fmla="*/ 3363416 h 10287000"/>
              <a:gd name="connsiteX96" fmla="*/ 6156158 w 9946076"/>
              <a:gd name="connsiteY96" fmla="*/ 3382242 h 10287000"/>
              <a:gd name="connsiteX97" fmla="*/ 6228118 w 9946076"/>
              <a:gd name="connsiteY97" fmla="*/ 3453780 h 10287000"/>
              <a:gd name="connsiteX98" fmla="*/ 6675872 w 9946076"/>
              <a:gd name="connsiteY98" fmla="*/ 3453780 h 10287000"/>
              <a:gd name="connsiteX99" fmla="*/ 6719849 w 9946076"/>
              <a:gd name="connsiteY99" fmla="*/ 3419894 h 10287000"/>
              <a:gd name="connsiteX100" fmla="*/ 6799805 w 9946076"/>
              <a:gd name="connsiteY100" fmla="*/ 3468841 h 10287000"/>
              <a:gd name="connsiteX101" fmla="*/ 6879760 w 9946076"/>
              <a:gd name="connsiteY101" fmla="*/ 3412364 h 10287000"/>
              <a:gd name="connsiteX102" fmla="*/ 7511413 w 9946076"/>
              <a:gd name="connsiteY102" fmla="*/ 3412364 h 10287000"/>
              <a:gd name="connsiteX103" fmla="*/ 7535400 w 9946076"/>
              <a:gd name="connsiteY103" fmla="*/ 3389772 h 10287000"/>
              <a:gd name="connsiteX104" fmla="*/ 7563385 w 9946076"/>
              <a:gd name="connsiteY104" fmla="*/ 3367181 h 10287000"/>
              <a:gd name="connsiteX105" fmla="*/ 8199036 w 9946076"/>
              <a:gd name="connsiteY105" fmla="*/ 3367181 h 10287000"/>
              <a:gd name="connsiteX106" fmla="*/ 8247009 w 9946076"/>
              <a:gd name="connsiteY106" fmla="*/ 3321999 h 10287000"/>
              <a:gd name="connsiteX107" fmla="*/ 8642792 w 9946076"/>
              <a:gd name="connsiteY107" fmla="*/ 3321999 h 10287000"/>
              <a:gd name="connsiteX108" fmla="*/ 8690765 w 9946076"/>
              <a:gd name="connsiteY108" fmla="*/ 3276817 h 10287000"/>
              <a:gd name="connsiteX109" fmla="*/ 8834686 w 9946076"/>
              <a:gd name="connsiteY109" fmla="*/ 3276817 h 10287000"/>
              <a:gd name="connsiteX110" fmla="*/ 8882660 w 9946076"/>
              <a:gd name="connsiteY110" fmla="*/ 3231635 h 10287000"/>
              <a:gd name="connsiteX111" fmla="*/ 8934632 w 9946076"/>
              <a:gd name="connsiteY111" fmla="*/ 3273052 h 10287000"/>
              <a:gd name="connsiteX112" fmla="*/ 9034577 w 9946076"/>
              <a:gd name="connsiteY112" fmla="*/ 3273052 h 10287000"/>
              <a:gd name="connsiteX113" fmla="*/ 9082550 w 9946076"/>
              <a:gd name="connsiteY113" fmla="*/ 3227869 h 10287000"/>
              <a:gd name="connsiteX114" fmla="*/ 9194489 w 9946076"/>
              <a:gd name="connsiteY114" fmla="*/ 3280582 h 10287000"/>
              <a:gd name="connsiteX115" fmla="*/ 9282440 w 9946076"/>
              <a:gd name="connsiteY115" fmla="*/ 3242930 h 10287000"/>
              <a:gd name="connsiteX116" fmla="*/ 9302430 w 9946076"/>
              <a:gd name="connsiteY116" fmla="*/ 3250461 h 10287000"/>
              <a:gd name="connsiteX117" fmla="*/ 9422364 w 9946076"/>
              <a:gd name="connsiteY117" fmla="*/ 3314469 h 10287000"/>
              <a:gd name="connsiteX118" fmla="*/ 9574280 w 9946076"/>
              <a:gd name="connsiteY118" fmla="*/ 3461311 h 10287000"/>
              <a:gd name="connsiteX119" fmla="*/ 9646241 w 9946076"/>
              <a:gd name="connsiteY119" fmla="*/ 3461311 h 10287000"/>
              <a:gd name="connsiteX120" fmla="*/ 9646241 w 9946076"/>
              <a:gd name="connsiteY120" fmla="*/ 3525319 h 10287000"/>
              <a:gd name="connsiteX121" fmla="*/ 9702210 w 9946076"/>
              <a:gd name="connsiteY121" fmla="*/ 3593092 h 10287000"/>
              <a:gd name="connsiteX122" fmla="*/ 9578278 w 9946076"/>
              <a:gd name="connsiteY122" fmla="*/ 3694752 h 10287000"/>
              <a:gd name="connsiteX123" fmla="*/ 9474335 w 9946076"/>
              <a:gd name="connsiteY123" fmla="*/ 3785117 h 10287000"/>
              <a:gd name="connsiteX124" fmla="*/ 9318421 w 9946076"/>
              <a:gd name="connsiteY124" fmla="*/ 3830299 h 10287000"/>
              <a:gd name="connsiteX125" fmla="*/ 9142517 w 9946076"/>
              <a:gd name="connsiteY125" fmla="*/ 3875481 h 10287000"/>
              <a:gd name="connsiteX126" fmla="*/ 8986603 w 9946076"/>
              <a:gd name="connsiteY126" fmla="*/ 3875481 h 10287000"/>
              <a:gd name="connsiteX127" fmla="*/ 8934632 w 9946076"/>
              <a:gd name="connsiteY127" fmla="*/ 3924428 h 10287000"/>
              <a:gd name="connsiteX128" fmla="*/ 8734741 w 9946076"/>
              <a:gd name="connsiteY128" fmla="*/ 3924428 h 10287000"/>
              <a:gd name="connsiteX129" fmla="*/ 8690765 w 9946076"/>
              <a:gd name="connsiteY129" fmla="*/ 3965845 h 10287000"/>
              <a:gd name="connsiteX130" fmla="*/ 8546844 w 9946076"/>
              <a:gd name="connsiteY130" fmla="*/ 3965845 h 10287000"/>
              <a:gd name="connsiteX131" fmla="*/ 8490875 w 9946076"/>
              <a:gd name="connsiteY131" fmla="*/ 4014793 h 10287000"/>
              <a:gd name="connsiteX132" fmla="*/ 8314972 w 9946076"/>
              <a:gd name="connsiteY132" fmla="*/ 4014793 h 10287000"/>
              <a:gd name="connsiteX133" fmla="*/ 8167053 w 9946076"/>
              <a:gd name="connsiteY133" fmla="*/ 4086331 h 10287000"/>
              <a:gd name="connsiteX134" fmla="*/ 8318970 w 9946076"/>
              <a:gd name="connsiteY134" fmla="*/ 4203052 h 10287000"/>
              <a:gd name="connsiteX135" fmla="*/ 8318970 w 9946076"/>
              <a:gd name="connsiteY135" fmla="*/ 4316007 h 10287000"/>
              <a:gd name="connsiteX136" fmla="*/ 8274994 w 9946076"/>
              <a:gd name="connsiteY136" fmla="*/ 4364955 h 10287000"/>
              <a:gd name="connsiteX137" fmla="*/ 8394928 w 9946076"/>
              <a:gd name="connsiteY137" fmla="*/ 4387546 h 10287000"/>
              <a:gd name="connsiteX138" fmla="*/ 8402924 w 9946076"/>
              <a:gd name="connsiteY138" fmla="*/ 4481675 h 10287000"/>
              <a:gd name="connsiteX139" fmla="*/ 8342956 w 9946076"/>
              <a:gd name="connsiteY139" fmla="*/ 4432728 h 10287000"/>
              <a:gd name="connsiteX140" fmla="*/ 8334961 w 9946076"/>
              <a:gd name="connsiteY140" fmla="*/ 4519327 h 10287000"/>
              <a:gd name="connsiteX141" fmla="*/ 8506866 w 9946076"/>
              <a:gd name="connsiteY141" fmla="*/ 4526858 h 10287000"/>
              <a:gd name="connsiteX142" fmla="*/ 8522858 w 9946076"/>
              <a:gd name="connsiteY142" fmla="*/ 4590866 h 10287000"/>
              <a:gd name="connsiteX143" fmla="*/ 8294983 w 9946076"/>
              <a:gd name="connsiteY143" fmla="*/ 4801716 h 10287000"/>
              <a:gd name="connsiteX144" fmla="*/ 8199036 w 9946076"/>
              <a:gd name="connsiteY144" fmla="*/ 4801716 h 10287000"/>
              <a:gd name="connsiteX145" fmla="*/ 8063110 w 9946076"/>
              <a:gd name="connsiteY145" fmla="*/ 4880785 h 10287000"/>
              <a:gd name="connsiteX146" fmla="*/ 7931183 w 9946076"/>
              <a:gd name="connsiteY146" fmla="*/ 4914671 h 10287000"/>
              <a:gd name="connsiteX147" fmla="*/ 7783264 w 9946076"/>
              <a:gd name="connsiteY147" fmla="*/ 4963619 h 10287000"/>
              <a:gd name="connsiteX148" fmla="*/ 7783264 w 9946076"/>
              <a:gd name="connsiteY148" fmla="*/ 5016331 h 10287000"/>
              <a:gd name="connsiteX149" fmla="*/ 7871216 w 9946076"/>
              <a:gd name="connsiteY149" fmla="*/ 5046453 h 10287000"/>
              <a:gd name="connsiteX150" fmla="*/ 7883209 w 9946076"/>
              <a:gd name="connsiteY150" fmla="*/ 5106696 h 10287000"/>
              <a:gd name="connsiteX151" fmla="*/ 8019134 w 9946076"/>
              <a:gd name="connsiteY151" fmla="*/ 5170704 h 10287000"/>
              <a:gd name="connsiteX152" fmla="*/ 8103088 w 9946076"/>
              <a:gd name="connsiteY152" fmla="*/ 5170704 h 10287000"/>
              <a:gd name="connsiteX153" fmla="*/ 8167053 w 9946076"/>
              <a:gd name="connsiteY153" fmla="*/ 5238477 h 10287000"/>
              <a:gd name="connsiteX154" fmla="*/ 8111084 w 9946076"/>
              <a:gd name="connsiteY154" fmla="*/ 5332607 h 10287000"/>
              <a:gd name="connsiteX155" fmla="*/ 8207031 w 9946076"/>
              <a:gd name="connsiteY155" fmla="*/ 5366493 h 10287000"/>
              <a:gd name="connsiteX156" fmla="*/ 8223022 w 9946076"/>
              <a:gd name="connsiteY156" fmla="*/ 5404145 h 10287000"/>
              <a:gd name="connsiteX157" fmla="*/ 8119079 w 9946076"/>
              <a:gd name="connsiteY157" fmla="*/ 5430501 h 10287000"/>
              <a:gd name="connsiteX158" fmla="*/ 8211029 w 9946076"/>
              <a:gd name="connsiteY158" fmla="*/ 5460623 h 10287000"/>
              <a:gd name="connsiteX159" fmla="*/ 8187042 w 9946076"/>
              <a:gd name="connsiteY159" fmla="*/ 5486979 h 10287000"/>
              <a:gd name="connsiteX160" fmla="*/ 8338959 w 9946076"/>
              <a:gd name="connsiteY160" fmla="*/ 5513335 h 10287000"/>
              <a:gd name="connsiteX161" fmla="*/ 8223022 w 9946076"/>
              <a:gd name="connsiteY161" fmla="*/ 5562283 h 10287000"/>
              <a:gd name="connsiteX162" fmla="*/ 8223022 w 9946076"/>
              <a:gd name="connsiteY162" fmla="*/ 5614995 h 10287000"/>
              <a:gd name="connsiteX163" fmla="*/ 8035126 w 9946076"/>
              <a:gd name="connsiteY163" fmla="*/ 5694064 h 10287000"/>
              <a:gd name="connsiteX164" fmla="*/ 8035126 w 9946076"/>
              <a:gd name="connsiteY164" fmla="*/ 5709125 h 10287000"/>
              <a:gd name="connsiteX165" fmla="*/ 8071106 w 9946076"/>
              <a:gd name="connsiteY165" fmla="*/ 5746777 h 10287000"/>
              <a:gd name="connsiteX166" fmla="*/ 7875213 w 9946076"/>
              <a:gd name="connsiteY166" fmla="*/ 5799489 h 10287000"/>
              <a:gd name="connsiteX167" fmla="*/ 8039123 w 9946076"/>
              <a:gd name="connsiteY167" fmla="*/ 5863497 h 10287000"/>
              <a:gd name="connsiteX168" fmla="*/ 8107086 w 9946076"/>
              <a:gd name="connsiteY168" fmla="*/ 5867263 h 10287000"/>
              <a:gd name="connsiteX169" fmla="*/ 8151062 w 9946076"/>
              <a:gd name="connsiteY169" fmla="*/ 5950097 h 10287000"/>
              <a:gd name="connsiteX170" fmla="*/ 8107086 w 9946076"/>
              <a:gd name="connsiteY170" fmla="*/ 5961392 h 10287000"/>
              <a:gd name="connsiteX171" fmla="*/ 8047119 w 9946076"/>
              <a:gd name="connsiteY171" fmla="*/ 5908680 h 10287000"/>
              <a:gd name="connsiteX172" fmla="*/ 8019134 w 9946076"/>
              <a:gd name="connsiteY172" fmla="*/ 5980218 h 10287000"/>
              <a:gd name="connsiteX173" fmla="*/ 8143066 w 9946076"/>
              <a:gd name="connsiteY173" fmla="*/ 6055522 h 10287000"/>
              <a:gd name="connsiteX174" fmla="*/ 7955169 w 9946076"/>
              <a:gd name="connsiteY174" fmla="*/ 6085643 h 10287000"/>
              <a:gd name="connsiteX175" fmla="*/ 7867218 w 9946076"/>
              <a:gd name="connsiteY175" fmla="*/ 6198599 h 10287000"/>
              <a:gd name="connsiteX176" fmla="*/ 7803253 w 9946076"/>
              <a:gd name="connsiteY176" fmla="*/ 6142121 h 10287000"/>
              <a:gd name="connsiteX177" fmla="*/ 7639343 w 9946076"/>
              <a:gd name="connsiteY177" fmla="*/ 6160947 h 10287000"/>
              <a:gd name="connsiteX178" fmla="*/ 7763275 w 9946076"/>
              <a:gd name="connsiteY178" fmla="*/ 6243781 h 10287000"/>
              <a:gd name="connsiteX179" fmla="*/ 7911194 w 9946076"/>
              <a:gd name="connsiteY179" fmla="*/ 6292728 h 10287000"/>
              <a:gd name="connsiteX180" fmla="*/ 8067108 w 9946076"/>
              <a:gd name="connsiteY180" fmla="*/ 6341676 h 10287000"/>
              <a:gd name="connsiteX181" fmla="*/ 7999145 w 9946076"/>
              <a:gd name="connsiteY181" fmla="*/ 6420744 h 10287000"/>
              <a:gd name="connsiteX182" fmla="*/ 7903198 w 9946076"/>
              <a:gd name="connsiteY182" fmla="*/ 6375562 h 10287000"/>
              <a:gd name="connsiteX183" fmla="*/ 7795257 w 9946076"/>
              <a:gd name="connsiteY183" fmla="*/ 6375562 h 10287000"/>
              <a:gd name="connsiteX184" fmla="*/ 7775268 w 9946076"/>
              <a:gd name="connsiteY184" fmla="*/ 6443336 h 10287000"/>
              <a:gd name="connsiteX185" fmla="*/ 7911194 w 9946076"/>
              <a:gd name="connsiteY185" fmla="*/ 6507344 h 10287000"/>
              <a:gd name="connsiteX186" fmla="*/ 7951172 w 9946076"/>
              <a:gd name="connsiteY186" fmla="*/ 6469692 h 10287000"/>
              <a:gd name="connsiteX187" fmla="*/ 8003143 w 9946076"/>
              <a:gd name="connsiteY187" fmla="*/ 6514874 h 10287000"/>
              <a:gd name="connsiteX188" fmla="*/ 8099090 w 9946076"/>
              <a:gd name="connsiteY188" fmla="*/ 6514874 h 10287000"/>
              <a:gd name="connsiteX189" fmla="*/ 8151062 w 9946076"/>
              <a:gd name="connsiteY189" fmla="*/ 6465927 h 10287000"/>
              <a:gd name="connsiteX190" fmla="*/ 8259003 w 9946076"/>
              <a:gd name="connsiteY190" fmla="*/ 6514874 h 10287000"/>
              <a:gd name="connsiteX191" fmla="*/ 8406921 w 9946076"/>
              <a:gd name="connsiteY191" fmla="*/ 6514874 h 10287000"/>
              <a:gd name="connsiteX192" fmla="*/ 8422913 w 9946076"/>
              <a:gd name="connsiteY192" fmla="*/ 6578882 h 10287000"/>
              <a:gd name="connsiteX193" fmla="*/ 8382935 w 9946076"/>
              <a:gd name="connsiteY193" fmla="*/ 6605238 h 10287000"/>
              <a:gd name="connsiteX194" fmla="*/ 8059112 w 9946076"/>
              <a:gd name="connsiteY194" fmla="*/ 6605238 h 10287000"/>
              <a:gd name="connsiteX195" fmla="*/ 8003143 w 9946076"/>
              <a:gd name="connsiteY195" fmla="*/ 6646655 h 10287000"/>
              <a:gd name="connsiteX196" fmla="*/ 7895202 w 9946076"/>
              <a:gd name="connsiteY196" fmla="*/ 6657951 h 10287000"/>
              <a:gd name="connsiteX197" fmla="*/ 7883209 w 9946076"/>
              <a:gd name="connsiteY197" fmla="*/ 6680542 h 10287000"/>
              <a:gd name="connsiteX198" fmla="*/ 8019134 w 9946076"/>
              <a:gd name="connsiteY198" fmla="*/ 6744550 h 10287000"/>
              <a:gd name="connsiteX199" fmla="*/ 8394928 w 9946076"/>
              <a:gd name="connsiteY199" fmla="*/ 6744550 h 10287000"/>
              <a:gd name="connsiteX200" fmla="*/ 8446899 w 9946076"/>
              <a:gd name="connsiteY200" fmla="*/ 6793498 h 10287000"/>
              <a:gd name="connsiteX201" fmla="*/ 8542847 w 9946076"/>
              <a:gd name="connsiteY201" fmla="*/ 6793498 h 10287000"/>
              <a:gd name="connsiteX202" fmla="*/ 8614807 w 9946076"/>
              <a:gd name="connsiteY202" fmla="*/ 6857506 h 10287000"/>
              <a:gd name="connsiteX203" fmla="*/ 8530853 w 9946076"/>
              <a:gd name="connsiteY203" fmla="*/ 6883862 h 10287000"/>
              <a:gd name="connsiteX204" fmla="*/ 8422913 w 9946076"/>
              <a:gd name="connsiteY204" fmla="*/ 6883862 h 10287000"/>
              <a:gd name="connsiteX205" fmla="*/ 8518860 w 9946076"/>
              <a:gd name="connsiteY205" fmla="*/ 7008113 h 10287000"/>
              <a:gd name="connsiteX206" fmla="*/ 8470886 w 9946076"/>
              <a:gd name="connsiteY206" fmla="*/ 7068356 h 10287000"/>
              <a:gd name="connsiteX207" fmla="*/ 8386932 w 9946076"/>
              <a:gd name="connsiteY207" fmla="*/ 7117303 h 10287000"/>
              <a:gd name="connsiteX208" fmla="*/ 8247009 w 9946076"/>
              <a:gd name="connsiteY208" fmla="*/ 7117303 h 10287000"/>
              <a:gd name="connsiteX209" fmla="*/ 8211029 w 9946076"/>
              <a:gd name="connsiteY209" fmla="*/ 7151190 h 10287000"/>
              <a:gd name="connsiteX210" fmla="*/ 8059112 w 9946076"/>
              <a:gd name="connsiteY210" fmla="*/ 7200137 h 10287000"/>
              <a:gd name="connsiteX211" fmla="*/ 7643341 w 9946076"/>
              <a:gd name="connsiteY211" fmla="*/ 7211433 h 10287000"/>
              <a:gd name="connsiteX212" fmla="*/ 7579376 w 9946076"/>
              <a:gd name="connsiteY212" fmla="*/ 7286736 h 10287000"/>
              <a:gd name="connsiteX213" fmla="*/ 7603363 w 9946076"/>
              <a:gd name="connsiteY213" fmla="*/ 7350745 h 10287000"/>
              <a:gd name="connsiteX214" fmla="*/ 7659332 w 9946076"/>
              <a:gd name="connsiteY214" fmla="*/ 7301797 h 10287000"/>
              <a:gd name="connsiteX215" fmla="*/ 7755279 w 9946076"/>
              <a:gd name="connsiteY215" fmla="*/ 7301797 h 10287000"/>
              <a:gd name="connsiteX216" fmla="*/ 7807251 w 9946076"/>
              <a:gd name="connsiteY216" fmla="*/ 7343214 h 10287000"/>
              <a:gd name="connsiteX217" fmla="*/ 7871216 w 9946076"/>
              <a:gd name="connsiteY217" fmla="*/ 7290502 h 10287000"/>
              <a:gd name="connsiteX218" fmla="*/ 7955169 w 9946076"/>
              <a:gd name="connsiteY218" fmla="*/ 7339449 h 10287000"/>
              <a:gd name="connsiteX219" fmla="*/ 7999145 w 9946076"/>
              <a:gd name="connsiteY219" fmla="*/ 7305562 h 10287000"/>
              <a:gd name="connsiteX220" fmla="*/ 8051117 w 9946076"/>
              <a:gd name="connsiteY220" fmla="*/ 7346979 h 10287000"/>
              <a:gd name="connsiteX221" fmla="*/ 8203033 w 9946076"/>
              <a:gd name="connsiteY221" fmla="*/ 7346979 h 10287000"/>
              <a:gd name="connsiteX222" fmla="*/ 8231018 w 9946076"/>
              <a:gd name="connsiteY222" fmla="*/ 7422283 h 10287000"/>
              <a:gd name="connsiteX223" fmla="*/ 8266998 w 9946076"/>
              <a:gd name="connsiteY223" fmla="*/ 7422283 h 10287000"/>
              <a:gd name="connsiteX224" fmla="*/ 8550842 w 9946076"/>
              <a:gd name="connsiteY224" fmla="*/ 7354510 h 10287000"/>
              <a:gd name="connsiteX225" fmla="*/ 8426910 w 9946076"/>
              <a:gd name="connsiteY225" fmla="*/ 7471230 h 10287000"/>
              <a:gd name="connsiteX226" fmla="*/ 8442902 w 9946076"/>
              <a:gd name="connsiteY226" fmla="*/ 7482526 h 10287000"/>
              <a:gd name="connsiteX227" fmla="*/ 8538849 w 9946076"/>
              <a:gd name="connsiteY227" fmla="*/ 7482526 h 10287000"/>
              <a:gd name="connsiteX228" fmla="*/ 8594818 w 9946076"/>
              <a:gd name="connsiteY228" fmla="*/ 7531473 h 10287000"/>
              <a:gd name="connsiteX229" fmla="*/ 8690765 w 9946076"/>
              <a:gd name="connsiteY229" fmla="*/ 7531473 h 10287000"/>
              <a:gd name="connsiteX230" fmla="*/ 8734741 w 9946076"/>
              <a:gd name="connsiteY230" fmla="*/ 7490056 h 10287000"/>
              <a:gd name="connsiteX231" fmla="*/ 8794708 w 9946076"/>
              <a:gd name="connsiteY231" fmla="*/ 7531473 h 10287000"/>
              <a:gd name="connsiteX232" fmla="*/ 8870667 w 9946076"/>
              <a:gd name="connsiteY232" fmla="*/ 7531473 h 10287000"/>
              <a:gd name="connsiteX233" fmla="*/ 8910645 w 9946076"/>
              <a:gd name="connsiteY233" fmla="*/ 7576656 h 10287000"/>
              <a:gd name="connsiteX234" fmla="*/ 8770722 w 9946076"/>
              <a:gd name="connsiteY234" fmla="*/ 7610542 h 10287000"/>
              <a:gd name="connsiteX235" fmla="*/ 8910645 w 9946076"/>
              <a:gd name="connsiteY235" fmla="*/ 7625603 h 10287000"/>
              <a:gd name="connsiteX236" fmla="*/ 8978607 w 9946076"/>
              <a:gd name="connsiteY236" fmla="*/ 7670785 h 10287000"/>
              <a:gd name="connsiteX237" fmla="*/ 9034577 w 9946076"/>
              <a:gd name="connsiteY237" fmla="*/ 7625603 h 10287000"/>
              <a:gd name="connsiteX238" fmla="*/ 9082550 w 9946076"/>
              <a:gd name="connsiteY238" fmla="*/ 7670785 h 10287000"/>
              <a:gd name="connsiteX239" fmla="*/ 9226471 w 9946076"/>
              <a:gd name="connsiteY239" fmla="*/ 7670785 h 10287000"/>
              <a:gd name="connsiteX240" fmla="*/ 9418366 w 9946076"/>
              <a:gd name="connsiteY240" fmla="*/ 7904226 h 10287000"/>
              <a:gd name="connsiteX241" fmla="*/ 9638245 w 9946076"/>
              <a:gd name="connsiteY241" fmla="*/ 7904226 h 10287000"/>
              <a:gd name="connsiteX242" fmla="*/ 9650238 w 9946076"/>
              <a:gd name="connsiteY242" fmla="*/ 7971999 h 10287000"/>
              <a:gd name="connsiteX243" fmla="*/ 9482331 w 9946076"/>
              <a:gd name="connsiteY243" fmla="*/ 7994591 h 10287000"/>
              <a:gd name="connsiteX244" fmla="*/ 9426361 w 9946076"/>
              <a:gd name="connsiteY244" fmla="*/ 7949408 h 10287000"/>
              <a:gd name="connsiteX245" fmla="*/ 9282440 w 9946076"/>
              <a:gd name="connsiteY245" fmla="*/ 7949408 h 10287000"/>
              <a:gd name="connsiteX246" fmla="*/ 9230469 w 9946076"/>
              <a:gd name="connsiteY246" fmla="*/ 7994591 h 10287000"/>
              <a:gd name="connsiteX247" fmla="*/ 9054566 w 9946076"/>
              <a:gd name="connsiteY247" fmla="*/ 8017182 h 10287000"/>
              <a:gd name="connsiteX248" fmla="*/ 9230469 w 9946076"/>
              <a:gd name="connsiteY248" fmla="*/ 8043538 h 10287000"/>
              <a:gd name="connsiteX249" fmla="*/ 9286438 w 9946076"/>
              <a:gd name="connsiteY249" fmla="*/ 8084955 h 10287000"/>
              <a:gd name="connsiteX250" fmla="*/ 9510315 w 9946076"/>
              <a:gd name="connsiteY250" fmla="*/ 8084955 h 10287000"/>
              <a:gd name="connsiteX251" fmla="*/ 9638245 w 9946076"/>
              <a:gd name="connsiteY251" fmla="*/ 8137667 h 10287000"/>
              <a:gd name="connsiteX252" fmla="*/ 9738190 w 9946076"/>
              <a:gd name="connsiteY252" fmla="*/ 8175319 h 10287000"/>
              <a:gd name="connsiteX253" fmla="*/ 9838135 w 9946076"/>
              <a:gd name="connsiteY253" fmla="*/ 8254388 h 10287000"/>
              <a:gd name="connsiteX254" fmla="*/ 9726197 w 9946076"/>
              <a:gd name="connsiteY254" fmla="*/ 8273214 h 10287000"/>
              <a:gd name="connsiteX255" fmla="*/ 9686219 w 9946076"/>
              <a:gd name="connsiteY255" fmla="*/ 8239327 h 10287000"/>
              <a:gd name="connsiteX256" fmla="*/ 9554291 w 9946076"/>
              <a:gd name="connsiteY256" fmla="*/ 8246858 h 10287000"/>
              <a:gd name="connsiteX257" fmla="*/ 9682221 w 9946076"/>
              <a:gd name="connsiteY257" fmla="*/ 8325927 h 10287000"/>
              <a:gd name="connsiteX258" fmla="*/ 9798157 w 9946076"/>
              <a:gd name="connsiteY258" fmla="*/ 8393700 h 10287000"/>
              <a:gd name="connsiteX259" fmla="*/ 9506318 w 9946076"/>
              <a:gd name="connsiteY259" fmla="*/ 8420056 h 10287000"/>
              <a:gd name="connsiteX260" fmla="*/ 9542298 w 9946076"/>
              <a:gd name="connsiteY260" fmla="*/ 8487829 h 10287000"/>
              <a:gd name="connsiteX261" fmla="*/ 9354401 w 9946076"/>
              <a:gd name="connsiteY261" fmla="*/ 8521716 h 10287000"/>
              <a:gd name="connsiteX262" fmla="*/ 9546296 w 9946076"/>
              <a:gd name="connsiteY262" fmla="*/ 8570663 h 10287000"/>
              <a:gd name="connsiteX263" fmla="*/ 9746186 w 9946076"/>
              <a:gd name="connsiteY263" fmla="*/ 8615846 h 10287000"/>
              <a:gd name="connsiteX264" fmla="*/ 9674225 w 9946076"/>
              <a:gd name="connsiteY264" fmla="*/ 8687384 h 10287000"/>
              <a:gd name="connsiteX265" fmla="*/ 9578278 w 9946076"/>
              <a:gd name="connsiteY265" fmla="*/ 8687384 h 10287000"/>
              <a:gd name="connsiteX266" fmla="*/ 9522309 w 9946076"/>
              <a:gd name="connsiteY266" fmla="*/ 8732566 h 10287000"/>
              <a:gd name="connsiteX267" fmla="*/ 9406372 w 9946076"/>
              <a:gd name="connsiteY267" fmla="*/ 8740097 h 10287000"/>
              <a:gd name="connsiteX268" fmla="*/ 9358399 w 9946076"/>
              <a:gd name="connsiteY268" fmla="*/ 8706210 h 10287000"/>
              <a:gd name="connsiteX269" fmla="*/ 9406372 w 9946076"/>
              <a:gd name="connsiteY269" fmla="*/ 8740097 h 10287000"/>
              <a:gd name="connsiteX270" fmla="*/ 9422364 w 9946076"/>
              <a:gd name="connsiteY270" fmla="*/ 8777749 h 10287000"/>
              <a:gd name="connsiteX271" fmla="*/ 9662232 w 9946076"/>
              <a:gd name="connsiteY271" fmla="*/ 8777749 h 10287000"/>
              <a:gd name="connsiteX272" fmla="*/ 9718201 w 9946076"/>
              <a:gd name="connsiteY272" fmla="*/ 8822931 h 10287000"/>
              <a:gd name="connsiteX273" fmla="*/ 9946076 w 9946076"/>
              <a:gd name="connsiteY273" fmla="*/ 8898234 h 10287000"/>
              <a:gd name="connsiteX274" fmla="*/ 9766175 w 9946076"/>
              <a:gd name="connsiteY274" fmla="*/ 8924591 h 10287000"/>
              <a:gd name="connsiteX275" fmla="*/ 9746186 w 9946076"/>
              <a:gd name="connsiteY275" fmla="*/ 8958477 h 10287000"/>
              <a:gd name="connsiteX276" fmla="*/ 9758179 w 9946076"/>
              <a:gd name="connsiteY276" fmla="*/ 9007425 h 10287000"/>
              <a:gd name="connsiteX277" fmla="*/ 9874116 w 9946076"/>
              <a:gd name="connsiteY277" fmla="*/ 9014955 h 10287000"/>
              <a:gd name="connsiteX278" fmla="*/ 9878113 w 9946076"/>
              <a:gd name="connsiteY278" fmla="*/ 9097789 h 10287000"/>
              <a:gd name="connsiteX279" fmla="*/ 9638245 w 9946076"/>
              <a:gd name="connsiteY279" fmla="*/ 9097789 h 10287000"/>
              <a:gd name="connsiteX280" fmla="*/ 9574280 w 9946076"/>
              <a:gd name="connsiteY280" fmla="*/ 9146736 h 10287000"/>
              <a:gd name="connsiteX281" fmla="*/ 9470337 w 9946076"/>
              <a:gd name="connsiteY281" fmla="*/ 9158032 h 10287000"/>
              <a:gd name="connsiteX282" fmla="*/ 9430359 w 9946076"/>
              <a:gd name="connsiteY282" fmla="*/ 9191919 h 10287000"/>
              <a:gd name="connsiteX283" fmla="*/ 9330414 w 9946076"/>
              <a:gd name="connsiteY283" fmla="*/ 9150502 h 10287000"/>
              <a:gd name="connsiteX284" fmla="*/ 9278443 w 9946076"/>
              <a:gd name="connsiteY284" fmla="*/ 9195684 h 10287000"/>
              <a:gd name="connsiteX285" fmla="*/ 9234467 w 9946076"/>
              <a:gd name="connsiteY285" fmla="*/ 9154267 h 10287000"/>
              <a:gd name="connsiteX286" fmla="*/ 9182495 w 9946076"/>
              <a:gd name="connsiteY286" fmla="*/ 9191919 h 10287000"/>
              <a:gd name="connsiteX287" fmla="*/ 8986603 w 9946076"/>
              <a:gd name="connsiteY287" fmla="*/ 9191919 h 10287000"/>
              <a:gd name="connsiteX288" fmla="*/ 8934632 w 9946076"/>
              <a:gd name="connsiteY288" fmla="*/ 9154267 h 10287000"/>
              <a:gd name="connsiteX289" fmla="*/ 8526855 w 9946076"/>
              <a:gd name="connsiteY289" fmla="*/ 9154267 h 10287000"/>
              <a:gd name="connsiteX290" fmla="*/ 8582825 w 9946076"/>
              <a:gd name="connsiteY290" fmla="*/ 9199449 h 10287000"/>
              <a:gd name="connsiteX291" fmla="*/ 8642792 w 9946076"/>
              <a:gd name="connsiteY291" fmla="*/ 9240866 h 10287000"/>
              <a:gd name="connsiteX292" fmla="*/ 8782715 w 9946076"/>
              <a:gd name="connsiteY292" fmla="*/ 9240866 h 10287000"/>
              <a:gd name="connsiteX293" fmla="*/ 8890656 w 9946076"/>
              <a:gd name="connsiteY293" fmla="*/ 9380178 h 10287000"/>
              <a:gd name="connsiteX294" fmla="*/ 8926636 w 9946076"/>
              <a:gd name="connsiteY294" fmla="*/ 9346291 h 10287000"/>
              <a:gd name="connsiteX295" fmla="*/ 9030579 w 9946076"/>
              <a:gd name="connsiteY295" fmla="*/ 9425360 h 10287000"/>
              <a:gd name="connsiteX296" fmla="*/ 9150513 w 9946076"/>
              <a:gd name="connsiteY296" fmla="*/ 9436656 h 10287000"/>
              <a:gd name="connsiteX297" fmla="*/ 9154511 w 9946076"/>
              <a:gd name="connsiteY297" fmla="*/ 9500664 h 10287000"/>
              <a:gd name="connsiteX298" fmla="*/ 8998596 w 9946076"/>
              <a:gd name="connsiteY298" fmla="*/ 9523255 h 10287000"/>
              <a:gd name="connsiteX299" fmla="*/ 8914642 w 9946076"/>
              <a:gd name="connsiteY299" fmla="*/ 9474307 h 10287000"/>
              <a:gd name="connsiteX300" fmla="*/ 8806702 w 9946076"/>
              <a:gd name="connsiteY300" fmla="*/ 9538315 h 10287000"/>
              <a:gd name="connsiteX301" fmla="*/ 8950623 w 9946076"/>
              <a:gd name="connsiteY301" fmla="*/ 9609854 h 10287000"/>
              <a:gd name="connsiteX302" fmla="*/ 9122528 w 9946076"/>
              <a:gd name="connsiteY302" fmla="*/ 9609854 h 10287000"/>
              <a:gd name="connsiteX303" fmla="*/ 9178498 w 9946076"/>
              <a:gd name="connsiteY303" fmla="*/ 9655036 h 10287000"/>
              <a:gd name="connsiteX304" fmla="*/ 9298432 w 9946076"/>
              <a:gd name="connsiteY304" fmla="*/ 9666332 h 10287000"/>
              <a:gd name="connsiteX305" fmla="*/ 9302430 w 9946076"/>
              <a:gd name="connsiteY305" fmla="*/ 9737870 h 10287000"/>
              <a:gd name="connsiteX306" fmla="*/ 9218476 w 9946076"/>
              <a:gd name="connsiteY306" fmla="*/ 9760461 h 10287000"/>
              <a:gd name="connsiteX307" fmla="*/ 9202484 w 9946076"/>
              <a:gd name="connsiteY307" fmla="*/ 9824469 h 10287000"/>
              <a:gd name="connsiteX308" fmla="*/ 9298432 w 9946076"/>
              <a:gd name="connsiteY308" fmla="*/ 9862121 h 10287000"/>
              <a:gd name="connsiteX309" fmla="*/ 9274445 w 9946076"/>
              <a:gd name="connsiteY309" fmla="*/ 9888477 h 10287000"/>
              <a:gd name="connsiteX310" fmla="*/ 9202484 w 9946076"/>
              <a:gd name="connsiteY310" fmla="*/ 9892243 h 10287000"/>
              <a:gd name="connsiteX311" fmla="*/ 9026581 w 9946076"/>
              <a:gd name="connsiteY311" fmla="*/ 9944955 h 10287000"/>
              <a:gd name="connsiteX312" fmla="*/ 8878662 w 9946076"/>
              <a:gd name="connsiteY312" fmla="*/ 10027789 h 10287000"/>
              <a:gd name="connsiteX313" fmla="*/ 8698761 w 9946076"/>
              <a:gd name="connsiteY313" fmla="*/ 10027789 h 10287000"/>
              <a:gd name="connsiteX314" fmla="*/ 8638794 w 9946076"/>
              <a:gd name="connsiteY314" fmla="*/ 10072971 h 10287000"/>
              <a:gd name="connsiteX315" fmla="*/ 8394928 w 9946076"/>
              <a:gd name="connsiteY315" fmla="*/ 10072971 h 10287000"/>
              <a:gd name="connsiteX316" fmla="*/ 8346954 w 9946076"/>
              <a:gd name="connsiteY316" fmla="*/ 10027789 h 10287000"/>
              <a:gd name="connsiteX317" fmla="*/ 7631347 w 9946076"/>
              <a:gd name="connsiteY317" fmla="*/ 10027789 h 10287000"/>
              <a:gd name="connsiteX318" fmla="*/ 7615356 w 9946076"/>
              <a:gd name="connsiteY318" fmla="*/ 9986372 h 10287000"/>
              <a:gd name="connsiteX319" fmla="*/ 7115631 w 9946076"/>
              <a:gd name="connsiteY319" fmla="*/ 9986372 h 10287000"/>
              <a:gd name="connsiteX320" fmla="*/ 7103637 w 9946076"/>
              <a:gd name="connsiteY320" fmla="*/ 10024024 h 10287000"/>
              <a:gd name="connsiteX321" fmla="*/ 7631347 w 9946076"/>
              <a:gd name="connsiteY321" fmla="*/ 10027789 h 10287000"/>
              <a:gd name="connsiteX322" fmla="*/ 7567382 w 9946076"/>
              <a:gd name="connsiteY322" fmla="*/ 10118154 h 10287000"/>
              <a:gd name="connsiteX323" fmla="*/ 7391479 w 9946076"/>
              <a:gd name="connsiteY323" fmla="*/ 10152040 h 10287000"/>
              <a:gd name="connsiteX324" fmla="*/ 7559387 w 9946076"/>
              <a:gd name="connsiteY324" fmla="*/ 10167101 h 10287000"/>
              <a:gd name="connsiteX325" fmla="*/ 7707306 w 9946076"/>
              <a:gd name="connsiteY325" fmla="*/ 10167101 h 10287000"/>
              <a:gd name="connsiteX326" fmla="*/ 7915191 w 9946076"/>
              <a:gd name="connsiteY326" fmla="*/ 10167101 h 10287000"/>
              <a:gd name="connsiteX327" fmla="*/ 7751281 w 9946076"/>
              <a:gd name="connsiteY327" fmla="*/ 10257465 h 10287000"/>
              <a:gd name="connsiteX328" fmla="*/ 7711303 w 9946076"/>
              <a:gd name="connsiteY328" fmla="*/ 10219814 h 10287000"/>
              <a:gd name="connsiteX329" fmla="*/ 7651336 w 9946076"/>
              <a:gd name="connsiteY329" fmla="*/ 10261231 h 10287000"/>
              <a:gd name="connsiteX330" fmla="*/ 7551259 w 9946076"/>
              <a:gd name="connsiteY330" fmla="*/ 10271938 h 10287000"/>
              <a:gd name="connsiteX331" fmla="*/ 7539843 w 9946076"/>
              <a:gd name="connsiteY331" fmla="*/ 10287000 h 10287000"/>
              <a:gd name="connsiteX332" fmla="*/ 0 w 9946076"/>
              <a:gd name="connsiteY332" fmla="*/ 1028700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</a:cxnLst>
            <a:rect l="l" t="t" r="r" b="b"/>
            <a:pathLst>
              <a:path w="9946076" h="10287000">
                <a:moveTo>
                  <a:pt x="0" y="0"/>
                </a:moveTo>
                <a:lnTo>
                  <a:pt x="7666658" y="0"/>
                </a:lnTo>
                <a:lnTo>
                  <a:pt x="7674824" y="15757"/>
                </a:lnTo>
                <a:cubicBezTo>
                  <a:pt x="7675573" y="32877"/>
                  <a:pt x="7649338" y="37818"/>
                  <a:pt x="7643341" y="57586"/>
                </a:cubicBezTo>
                <a:cubicBezTo>
                  <a:pt x="7647339" y="87707"/>
                  <a:pt x="7687317" y="102768"/>
                  <a:pt x="7707306" y="129124"/>
                </a:cubicBezTo>
                <a:cubicBezTo>
                  <a:pt x="7755279" y="140420"/>
                  <a:pt x="7779266" y="106533"/>
                  <a:pt x="7807251" y="83942"/>
                </a:cubicBezTo>
                <a:cubicBezTo>
                  <a:pt x="7839233" y="114063"/>
                  <a:pt x="7867218" y="140420"/>
                  <a:pt x="7899200" y="170541"/>
                </a:cubicBezTo>
                <a:cubicBezTo>
                  <a:pt x="7935180" y="174306"/>
                  <a:pt x="7975158" y="178071"/>
                  <a:pt x="8019134" y="181837"/>
                </a:cubicBezTo>
                <a:cubicBezTo>
                  <a:pt x="8019134" y="204428"/>
                  <a:pt x="8031128" y="230784"/>
                  <a:pt x="8023132" y="245845"/>
                </a:cubicBezTo>
                <a:cubicBezTo>
                  <a:pt x="7995147" y="298557"/>
                  <a:pt x="7939178" y="309853"/>
                  <a:pt x="7887207" y="328679"/>
                </a:cubicBezTo>
                <a:cubicBezTo>
                  <a:pt x="7891205" y="407748"/>
                  <a:pt x="8027130" y="298557"/>
                  <a:pt x="7991150" y="407748"/>
                </a:cubicBezTo>
                <a:lnTo>
                  <a:pt x="8147064" y="407748"/>
                </a:lnTo>
                <a:cubicBezTo>
                  <a:pt x="8175049" y="434104"/>
                  <a:pt x="8199036" y="452930"/>
                  <a:pt x="8223022" y="475521"/>
                </a:cubicBezTo>
                <a:cubicBezTo>
                  <a:pt x="8191040" y="524468"/>
                  <a:pt x="8135071" y="547059"/>
                  <a:pt x="8055115" y="565885"/>
                </a:cubicBezTo>
                <a:cubicBezTo>
                  <a:pt x="8159057" y="603537"/>
                  <a:pt x="8159057" y="603537"/>
                  <a:pt x="8175049" y="652484"/>
                </a:cubicBezTo>
                <a:cubicBezTo>
                  <a:pt x="8171051" y="656250"/>
                  <a:pt x="8167053" y="667545"/>
                  <a:pt x="8163055" y="671310"/>
                </a:cubicBezTo>
                <a:cubicBezTo>
                  <a:pt x="8091095" y="686371"/>
                  <a:pt x="8031128" y="750379"/>
                  <a:pt x="7951172" y="735319"/>
                </a:cubicBezTo>
                <a:cubicBezTo>
                  <a:pt x="7927185" y="757910"/>
                  <a:pt x="7903198" y="780501"/>
                  <a:pt x="7871216" y="803092"/>
                </a:cubicBezTo>
                <a:cubicBezTo>
                  <a:pt x="7907196" y="814387"/>
                  <a:pt x="7935180" y="821918"/>
                  <a:pt x="7963165" y="833213"/>
                </a:cubicBezTo>
                <a:cubicBezTo>
                  <a:pt x="7979156" y="840744"/>
                  <a:pt x="7987152" y="855804"/>
                  <a:pt x="7999145" y="867100"/>
                </a:cubicBezTo>
                <a:lnTo>
                  <a:pt x="8243011" y="867100"/>
                </a:lnTo>
                <a:cubicBezTo>
                  <a:pt x="8263000" y="882161"/>
                  <a:pt x="8278992" y="900987"/>
                  <a:pt x="8298981" y="916047"/>
                </a:cubicBezTo>
                <a:lnTo>
                  <a:pt x="8430908" y="916047"/>
                </a:lnTo>
                <a:cubicBezTo>
                  <a:pt x="8494873" y="949934"/>
                  <a:pt x="8546844" y="976290"/>
                  <a:pt x="8602814" y="1006412"/>
                </a:cubicBezTo>
                <a:lnTo>
                  <a:pt x="8718750" y="1006412"/>
                </a:lnTo>
                <a:cubicBezTo>
                  <a:pt x="8798706" y="1047829"/>
                  <a:pt x="8878662" y="1085481"/>
                  <a:pt x="8958618" y="1126898"/>
                </a:cubicBezTo>
                <a:cubicBezTo>
                  <a:pt x="8926636" y="1141958"/>
                  <a:pt x="8894653" y="1157019"/>
                  <a:pt x="8862671" y="1168315"/>
                </a:cubicBezTo>
                <a:cubicBezTo>
                  <a:pt x="8874664" y="1183375"/>
                  <a:pt x="8882660" y="1190906"/>
                  <a:pt x="8886658" y="1190906"/>
                </a:cubicBezTo>
                <a:cubicBezTo>
                  <a:pt x="8966614" y="1194671"/>
                  <a:pt x="9050568" y="1194671"/>
                  <a:pt x="9142517" y="1194671"/>
                </a:cubicBezTo>
                <a:cubicBezTo>
                  <a:pt x="9146515" y="1217262"/>
                  <a:pt x="9154511" y="1243618"/>
                  <a:pt x="9158509" y="1269975"/>
                </a:cubicBezTo>
                <a:cubicBezTo>
                  <a:pt x="9118531" y="1281270"/>
                  <a:pt x="9090546" y="1292566"/>
                  <a:pt x="9062561" y="1300096"/>
                </a:cubicBezTo>
                <a:cubicBezTo>
                  <a:pt x="9090546" y="1364104"/>
                  <a:pt x="9158509" y="1371634"/>
                  <a:pt x="9206482" y="1401756"/>
                </a:cubicBezTo>
                <a:cubicBezTo>
                  <a:pt x="9214478" y="1439408"/>
                  <a:pt x="9190491" y="1458234"/>
                  <a:pt x="9170502" y="1484590"/>
                </a:cubicBezTo>
                <a:cubicBezTo>
                  <a:pt x="9154511" y="1503416"/>
                  <a:pt x="9150513" y="1537303"/>
                  <a:pt x="9138520" y="1559893"/>
                </a:cubicBezTo>
                <a:cubicBezTo>
                  <a:pt x="9118531" y="1563659"/>
                  <a:pt x="9102539" y="1563659"/>
                  <a:pt x="9086548" y="1563659"/>
                </a:cubicBezTo>
                <a:cubicBezTo>
                  <a:pt x="9050568" y="1593780"/>
                  <a:pt x="9014588" y="1623902"/>
                  <a:pt x="8982605" y="1657788"/>
                </a:cubicBezTo>
                <a:cubicBezTo>
                  <a:pt x="8922638" y="1646493"/>
                  <a:pt x="8870667" y="1665319"/>
                  <a:pt x="8826691" y="1702971"/>
                </a:cubicBezTo>
                <a:cubicBezTo>
                  <a:pt x="8754730" y="1672849"/>
                  <a:pt x="8714752" y="1744388"/>
                  <a:pt x="8650787" y="1748153"/>
                </a:cubicBezTo>
                <a:cubicBezTo>
                  <a:pt x="8594818" y="1751918"/>
                  <a:pt x="8538849" y="1748153"/>
                  <a:pt x="8494873" y="1748153"/>
                </a:cubicBezTo>
                <a:cubicBezTo>
                  <a:pt x="8470886" y="1766979"/>
                  <a:pt x="8462891" y="1778274"/>
                  <a:pt x="8446899" y="1793335"/>
                </a:cubicBezTo>
                <a:lnTo>
                  <a:pt x="8107086" y="1793335"/>
                </a:lnTo>
                <a:cubicBezTo>
                  <a:pt x="8087097" y="1808396"/>
                  <a:pt x="8071106" y="1823456"/>
                  <a:pt x="8051117" y="1842282"/>
                </a:cubicBezTo>
                <a:cubicBezTo>
                  <a:pt x="7955169" y="1842282"/>
                  <a:pt x="7859222" y="1842282"/>
                  <a:pt x="7759277" y="1842282"/>
                </a:cubicBezTo>
                <a:cubicBezTo>
                  <a:pt x="7755279" y="1842282"/>
                  <a:pt x="7747284" y="1849813"/>
                  <a:pt x="7739288" y="1857343"/>
                </a:cubicBezTo>
                <a:cubicBezTo>
                  <a:pt x="7747284" y="1864873"/>
                  <a:pt x="7755279" y="1887464"/>
                  <a:pt x="7755279" y="1883699"/>
                </a:cubicBezTo>
                <a:cubicBezTo>
                  <a:pt x="7815246" y="1868638"/>
                  <a:pt x="7835235" y="1928882"/>
                  <a:pt x="7883209" y="1936412"/>
                </a:cubicBezTo>
                <a:cubicBezTo>
                  <a:pt x="7919189" y="1940177"/>
                  <a:pt x="7955169" y="1974064"/>
                  <a:pt x="7975158" y="2004185"/>
                </a:cubicBezTo>
                <a:cubicBezTo>
                  <a:pt x="8015137" y="2068193"/>
                  <a:pt x="8103088" y="2064428"/>
                  <a:pt x="8147064" y="2117141"/>
                </a:cubicBezTo>
                <a:lnTo>
                  <a:pt x="8251007" y="2117141"/>
                </a:lnTo>
                <a:cubicBezTo>
                  <a:pt x="8270996" y="2139732"/>
                  <a:pt x="8290985" y="2162323"/>
                  <a:pt x="8314972" y="2184914"/>
                </a:cubicBezTo>
                <a:cubicBezTo>
                  <a:pt x="8290985" y="2245157"/>
                  <a:pt x="8231018" y="2192444"/>
                  <a:pt x="8187042" y="2218801"/>
                </a:cubicBezTo>
                <a:cubicBezTo>
                  <a:pt x="8183044" y="2233861"/>
                  <a:pt x="8175049" y="2252687"/>
                  <a:pt x="8171051" y="2279044"/>
                </a:cubicBezTo>
                <a:cubicBezTo>
                  <a:pt x="8215027" y="2301634"/>
                  <a:pt x="8263000" y="2320460"/>
                  <a:pt x="8306976" y="2343052"/>
                </a:cubicBezTo>
                <a:cubicBezTo>
                  <a:pt x="8318970" y="2327991"/>
                  <a:pt x="8330963" y="2316695"/>
                  <a:pt x="8346954" y="2301634"/>
                </a:cubicBezTo>
                <a:cubicBezTo>
                  <a:pt x="8422913" y="2301634"/>
                  <a:pt x="8502869" y="2301634"/>
                  <a:pt x="8586823" y="2305400"/>
                </a:cubicBezTo>
                <a:cubicBezTo>
                  <a:pt x="8590820" y="2305400"/>
                  <a:pt x="8598816" y="2312930"/>
                  <a:pt x="8610809" y="2320460"/>
                </a:cubicBezTo>
                <a:cubicBezTo>
                  <a:pt x="8610809" y="2335521"/>
                  <a:pt x="8614807" y="2358112"/>
                  <a:pt x="8614807" y="2376938"/>
                </a:cubicBezTo>
                <a:cubicBezTo>
                  <a:pt x="8558838" y="2414590"/>
                  <a:pt x="8502869" y="2388234"/>
                  <a:pt x="8442902" y="2395764"/>
                </a:cubicBezTo>
                <a:cubicBezTo>
                  <a:pt x="8422913" y="2418355"/>
                  <a:pt x="8398926" y="2440946"/>
                  <a:pt x="8370941" y="2471068"/>
                </a:cubicBezTo>
                <a:cubicBezTo>
                  <a:pt x="8430908" y="2493659"/>
                  <a:pt x="8490875" y="2516250"/>
                  <a:pt x="8550842" y="2542606"/>
                </a:cubicBezTo>
                <a:cubicBezTo>
                  <a:pt x="8558838" y="2546371"/>
                  <a:pt x="8562836" y="2568962"/>
                  <a:pt x="8574829" y="2580258"/>
                </a:cubicBezTo>
                <a:cubicBezTo>
                  <a:pt x="8542847" y="2587788"/>
                  <a:pt x="8506866" y="2584023"/>
                  <a:pt x="8538849" y="2621675"/>
                </a:cubicBezTo>
                <a:cubicBezTo>
                  <a:pt x="8550842" y="2610380"/>
                  <a:pt x="8562836" y="2599084"/>
                  <a:pt x="8574829" y="2580258"/>
                </a:cubicBezTo>
                <a:cubicBezTo>
                  <a:pt x="8630798" y="2587788"/>
                  <a:pt x="8694763" y="2565197"/>
                  <a:pt x="8778717" y="2602849"/>
                </a:cubicBezTo>
                <a:cubicBezTo>
                  <a:pt x="8730743" y="2632971"/>
                  <a:pt x="8690765" y="2659327"/>
                  <a:pt x="8666779" y="2674388"/>
                </a:cubicBezTo>
                <a:lnTo>
                  <a:pt x="8666779" y="2794873"/>
                </a:lnTo>
                <a:cubicBezTo>
                  <a:pt x="8638794" y="2802404"/>
                  <a:pt x="8610809" y="2809934"/>
                  <a:pt x="8574829" y="2821230"/>
                </a:cubicBezTo>
                <a:cubicBezTo>
                  <a:pt x="8570831" y="2840056"/>
                  <a:pt x="8566834" y="2862647"/>
                  <a:pt x="8562836" y="2885238"/>
                </a:cubicBezTo>
                <a:cubicBezTo>
                  <a:pt x="8522858" y="2904064"/>
                  <a:pt x="8482880" y="2922890"/>
                  <a:pt x="8426910" y="2949246"/>
                </a:cubicBezTo>
                <a:lnTo>
                  <a:pt x="8350952" y="2949246"/>
                </a:lnTo>
                <a:cubicBezTo>
                  <a:pt x="8330963" y="2964307"/>
                  <a:pt x="8314972" y="2983133"/>
                  <a:pt x="8294983" y="2998193"/>
                </a:cubicBezTo>
                <a:lnTo>
                  <a:pt x="8199036" y="2998193"/>
                </a:lnTo>
                <a:cubicBezTo>
                  <a:pt x="8183044" y="3013254"/>
                  <a:pt x="8163055" y="3028315"/>
                  <a:pt x="8143066" y="3043376"/>
                </a:cubicBezTo>
                <a:lnTo>
                  <a:pt x="8051117" y="3043376"/>
                </a:lnTo>
                <a:cubicBezTo>
                  <a:pt x="8031128" y="3062202"/>
                  <a:pt x="8011139" y="3077262"/>
                  <a:pt x="7999145" y="3088558"/>
                </a:cubicBezTo>
                <a:cubicBezTo>
                  <a:pt x="7931183" y="3096088"/>
                  <a:pt x="7859222" y="3062202"/>
                  <a:pt x="7815246" y="3129975"/>
                </a:cubicBezTo>
                <a:cubicBezTo>
                  <a:pt x="7767273" y="3133740"/>
                  <a:pt x="7719299" y="3137505"/>
                  <a:pt x="7659332" y="3141270"/>
                </a:cubicBezTo>
                <a:cubicBezTo>
                  <a:pt x="7651336" y="3148801"/>
                  <a:pt x="7631347" y="3163862"/>
                  <a:pt x="7607360" y="3178922"/>
                </a:cubicBezTo>
                <a:lnTo>
                  <a:pt x="7467437" y="3178922"/>
                </a:lnTo>
                <a:cubicBezTo>
                  <a:pt x="7451446" y="3197748"/>
                  <a:pt x="7431457" y="3212809"/>
                  <a:pt x="7411468" y="3227869"/>
                </a:cubicBezTo>
                <a:cubicBezTo>
                  <a:pt x="7359497" y="3235400"/>
                  <a:pt x="7303527" y="3216574"/>
                  <a:pt x="7247558" y="3242930"/>
                </a:cubicBezTo>
                <a:cubicBezTo>
                  <a:pt x="7259552" y="3265521"/>
                  <a:pt x="7271545" y="3284347"/>
                  <a:pt x="7287536" y="3314469"/>
                </a:cubicBezTo>
                <a:cubicBezTo>
                  <a:pt x="7255554" y="3314469"/>
                  <a:pt x="7235565" y="3318234"/>
                  <a:pt x="7207580" y="3321999"/>
                </a:cubicBezTo>
                <a:cubicBezTo>
                  <a:pt x="7199584" y="3291878"/>
                  <a:pt x="7187591" y="3265521"/>
                  <a:pt x="7175598" y="3239165"/>
                </a:cubicBezTo>
                <a:cubicBezTo>
                  <a:pt x="7107635" y="3231635"/>
                  <a:pt x="7171600" y="3306938"/>
                  <a:pt x="7119628" y="3314469"/>
                </a:cubicBezTo>
                <a:cubicBezTo>
                  <a:pt x="7103637" y="3306938"/>
                  <a:pt x="7087646" y="3291878"/>
                  <a:pt x="7071655" y="3276817"/>
                </a:cubicBezTo>
                <a:cubicBezTo>
                  <a:pt x="7055663" y="3291878"/>
                  <a:pt x="7039672" y="3303173"/>
                  <a:pt x="7019683" y="3321999"/>
                </a:cubicBezTo>
                <a:lnTo>
                  <a:pt x="6875762" y="3321999"/>
                </a:lnTo>
                <a:cubicBezTo>
                  <a:pt x="6855773" y="3337060"/>
                  <a:pt x="6839782" y="3352121"/>
                  <a:pt x="6823792" y="3367181"/>
                </a:cubicBezTo>
                <a:cubicBezTo>
                  <a:pt x="6803802" y="3352121"/>
                  <a:pt x="6787812" y="3337060"/>
                  <a:pt x="6771820" y="3325764"/>
                </a:cubicBezTo>
                <a:cubicBezTo>
                  <a:pt x="6755829" y="3340825"/>
                  <a:pt x="6735840" y="3352121"/>
                  <a:pt x="6719849" y="3363416"/>
                </a:cubicBezTo>
                <a:cubicBezTo>
                  <a:pt x="6707856" y="3348355"/>
                  <a:pt x="6695861" y="3337060"/>
                  <a:pt x="6679871" y="3325764"/>
                </a:cubicBezTo>
                <a:cubicBezTo>
                  <a:pt x="6663880" y="3337060"/>
                  <a:pt x="6647888" y="3348355"/>
                  <a:pt x="6627899" y="3367181"/>
                </a:cubicBezTo>
                <a:lnTo>
                  <a:pt x="6340058" y="3367181"/>
                </a:lnTo>
                <a:cubicBezTo>
                  <a:pt x="6320068" y="3382242"/>
                  <a:pt x="6300079" y="3397303"/>
                  <a:pt x="6284088" y="3412364"/>
                </a:cubicBezTo>
                <a:cubicBezTo>
                  <a:pt x="6268097" y="3397303"/>
                  <a:pt x="6248108" y="3382242"/>
                  <a:pt x="6228118" y="3363416"/>
                </a:cubicBezTo>
                <a:cubicBezTo>
                  <a:pt x="6208129" y="3370947"/>
                  <a:pt x="6188141" y="3374712"/>
                  <a:pt x="6156158" y="3382242"/>
                </a:cubicBezTo>
                <a:cubicBezTo>
                  <a:pt x="6184143" y="3408598"/>
                  <a:pt x="6204132" y="3431190"/>
                  <a:pt x="6228118" y="3453780"/>
                </a:cubicBezTo>
                <a:lnTo>
                  <a:pt x="6675872" y="3453780"/>
                </a:lnTo>
                <a:cubicBezTo>
                  <a:pt x="6683869" y="3450015"/>
                  <a:pt x="6699860" y="3434954"/>
                  <a:pt x="6719849" y="3419894"/>
                </a:cubicBezTo>
                <a:cubicBezTo>
                  <a:pt x="6743836" y="3434954"/>
                  <a:pt x="6767822" y="3450015"/>
                  <a:pt x="6799805" y="3468841"/>
                </a:cubicBezTo>
                <a:cubicBezTo>
                  <a:pt x="6823792" y="3450015"/>
                  <a:pt x="6847779" y="3434954"/>
                  <a:pt x="6879760" y="3412364"/>
                </a:cubicBezTo>
                <a:lnTo>
                  <a:pt x="7511413" y="3412364"/>
                </a:lnTo>
                <a:cubicBezTo>
                  <a:pt x="7523407" y="3404833"/>
                  <a:pt x="7531402" y="3393538"/>
                  <a:pt x="7535400" y="3389772"/>
                </a:cubicBezTo>
                <a:cubicBezTo>
                  <a:pt x="7551391" y="3378477"/>
                  <a:pt x="7555389" y="3367181"/>
                  <a:pt x="7563385" y="3367181"/>
                </a:cubicBezTo>
                <a:cubicBezTo>
                  <a:pt x="7775268" y="3367181"/>
                  <a:pt x="7987152" y="3367181"/>
                  <a:pt x="8199036" y="3367181"/>
                </a:cubicBezTo>
                <a:lnTo>
                  <a:pt x="8247009" y="3321999"/>
                </a:lnTo>
                <a:cubicBezTo>
                  <a:pt x="8370941" y="3321999"/>
                  <a:pt x="8510864" y="3321999"/>
                  <a:pt x="8642792" y="3321999"/>
                </a:cubicBezTo>
                <a:cubicBezTo>
                  <a:pt x="8658783" y="3306938"/>
                  <a:pt x="8670776" y="3295643"/>
                  <a:pt x="8690765" y="3276817"/>
                </a:cubicBezTo>
                <a:lnTo>
                  <a:pt x="8834686" y="3276817"/>
                </a:lnTo>
                <a:cubicBezTo>
                  <a:pt x="8858673" y="3257991"/>
                  <a:pt x="8866669" y="3246695"/>
                  <a:pt x="8882660" y="3231635"/>
                </a:cubicBezTo>
                <a:cubicBezTo>
                  <a:pt x="8898651" y="3242930"/>
                  <a:pt x="8914642" y="3257991"/>
                  <a:pt x="8934632" y="3273052"/>
                </a:cubicBezTo>
                <a:lnTo>
                  <a:pt x="9034577" y="3273052"/>
                </a:lnTo>
                <a:cubicBezTo>
                  <a:pt x="9046570" y="3261756"/>
                  <a:pt x="9066559" y="3246695"/>
                  <a:pt x="9082550" y="3227869"/>
                </a:cubicBezTo>
                <a:cubicBezTo>
                  <a:pt x="9134522" y="3212809"/>
                  <a:pt x="9154511" y="3254226"/>
                  <a:pt x="9194489" y="3280582"/>
                </a:cubicBezTo>
                <a:cubicBezTo>
                  <a:pt x="9214478" y="3269287"/>
                  <a:pt x="9242462" y="3257991"/>
                  <a:pt x="9282440" y="3242930"/>
                </a:cubicBezTo>
                <a:cubicBezTo>
                  <a:pt x="9278443" y="3242930"/>
                  <a:pt x="9294434" y="3242930"/>
                  <a:pt x="9302430" y="3250461"/>
                </a:cubicBezTo>
                <a:cubicBezTo>
                  <a:pt x="9334412" y="3284347"/>
                  <a:pt x="9398377" y="3269287"/>
                  <a:pt x="9422364" y="3314469"/>
                </a:cubicBezTo>
                <a:cubicBezTo>
                  <a:pt x="9522309" y="3314469"/>
                  <a:pt x="9538300" y="3397303"/>
                  <a:pt x="9574280" y="3461311"/>
                </a:cubicBezTo>
                <a:lnTo>
                  <a:pt x="9646241" y="3461311"/>
                </a:lnTo>
                <a:lnTo>
                  <a:pt x="9646241" y="3525319"/>
                </a:lnTo>
                <a:cubicBezTo>
                  <a:pt x="9670228" y="3551675"/>
                  <a:pt x="9686219" y="3574266"/>
                  <a:pt x="9702210" y="3593092"/>
                </a:cubicBezTo>
                <a:cubicBezTo>
                  <a:pt x="9674225" y="3653335"/>
                  <a:pt x="9646241" y="3687222"/>
                  <a:pt x="9578278" y="3694752"/>
                </a:cubicBezTo>
                <a:cubicBezTo>
                  <a:pt x="9538300" y="3702283"/>
                  <a:pt x="9506318" y="3754995"/>
                  <a:pt x="9474335" y="3785117"/>
                </a:cubicBezTo>
                <a:cubicBezTo>
                  <a:pt x="9410370" y="3773821"/>
                  <a:pt x="9362397" y="3792647"/>
                  <a:pt x="9318421" y="3830299"/>
                </a:cubicBezTo>
                <a:cubicBezTo>
                  <a:pt x="9246460" y="3800177"/>
                  <a:pt x="9206482" y="3871716"/>
                  <a:pt x="9142517" y="3875481"/>
                </a:cubicBezTo>
                <a:cubicBezTo>
                  <a:pt x="9086548" y="3879246"/>
                  <a:pt x="9030579" y="3875481"/>
                  <a:pt x="8986603" y="3875481"/>
                </a:cubicBezTo>
                <a:cubicBezTo>
                  <a:pt x="8962616" y="3894307"/>
                  <a:pt x="8954621" y="3905602"/>
                  <a:pt x="8934632" y="3924428"/>
                </a:cubicBezTo>
                <a:lnTo>
                  <a:pt x="8734741" y="3924428"/>
                </a:lnTo>
                <a:cubicBezTo>
                  <a:pt x="8714752" y="3943254"/>
                  <a:pt x="8706757" y="3954550"/>
                  <a:pt x="8690765" y="3965845"/>
                </a:cubicBezTo>
                <a:lnTo>
                  <a:pt x="8546844" y="3965845"/>
                </a:lnTo>
                <a:cubicBezTo>
                  <a:pt x="8530853" y="3984671"/>
                  <a:pt x="8510864" y="3999732"/>
                  <a:pt x="8490875" y="4014793"/>
                </a:cubicBezTo>
                <a:lnTo>
                  <a:pt x="8314972" y="4014793"/>
                </a:lnTo>
                <a:cubicBezTo>
                  <a:pt x="8263000" y="4041149"/>
                  <a:pt x="8219025" y="4059975"/>
                  <a:pt x="8167053" y="4086331"/>
                </a:cubicBezTo>
                <a:cubicBezTo>
                  <a:pt x="8223022" y="4131513"/>
                  <a:pt x="8278992" y="4172930"/>
                  <a:pt x="8318970" y="4203052"/>
                </a:cubicBezTo>
                <a:lnTo>
                  <a:pt x="8318970" y="4316007"/>
                </a:lnTo>
                <a:cubicBezTo>
                  <a:pt x="8302978" y="4334833"/>
                  <a:pt x="8290985" y="4349894"/>
                  <a:pt x="8274994" y="4364955"/>
                </a:cubicBezTo>
                <a:cubicBezTo>
                  <a:pt x="8310974" y="4402607"/>
                  <a:pt x="8354950" y="4376250"/>
                  <a:pt x="8394928" y="4387546"/>
                </a:cubicBezTo>
                <a:cubicBezTo>
                  <a:pt x="8434906" y="4413902"/>
                  <a:pt x="8418915" y="4447789"/>
                  <a:pt x="8402924" y="4481675"/>
                </a:cubicBezTo>
                <a:cubicBezTo>
                  <a:pt x="8378937" y="4462849"/>
                  <a:pt x="8358948" y="4447789"/>
                  <a:pt x="8342956" y="4432728"/>
                </a:cubicBezTo>
                <a:cubicBezTo>
                  <a:pt x="8310974" y="4459084"/>
                  <a:pt x="8318970" y="4485441"/>
                  <a:pt x="8334961" y="4519327"/>
                </a:cubicBezTo>
                <a:cubicBezTo>
                  <a:pt x="8390930" y="4523092"/>
                  <a:pt x="8446899" y="4523092"/>
                  <a:pt x="8506866" y="4526858"/>
                </a:cubicBezTo>
                <a:cubicBezTo>
                  <a:pt x="8510864" y="4549449"/>
                  <a:pt x="8514862" y="4572040"/>
                  <a:pt x="8522858" y="4590866"/>
                </a:cubicBezTo>
                <a:cubicBezTo>
                  <a:pt x="8410919" y="4628517"/>
                  <a:pt x="8334961" y="4696291"/>
                  <a:pt x="8294983" y="4801716"/>
                </a:cubicBezTo>
                <a:cubicBezTo>
                  <a:pt x="8263000" y="4801716"/>
                  <a:pt x="8231018" y="4801716"/>
                  <a:pt x="8199036" y="4801716"/>
                </a:cubicBezTo>
                <a:cubicBezTo>
                  <a:pt x="8171051" y="4858194"/>
                  <a:pt x="8099090" y="4839368"/>
                  <a:pt x="8063110" y="4880785"/>
                </a:cubicBezTo>
                <a:cubicBezTo>
                  <a:pt x="8031128" y="4918437"/>
                  <a:pt x="7963165" y="4869489"/>
                  <a:pt x="7931183" y="4914671"/>
                </a:cubicBezTo>
                <a:cubicBezTo>
                  <a:pt x="7895202" y="4971149"/>
                  <a:pt x="7815246" y="4910906"/>
                  <a:pt x="7783264" y="4963619"/>
                </a:cubicBezTo>
                <a:lnTo>
                  <a:pt x="7783264" y="5016331"/>
                </a:lnTo>
                <a:cubicBezTo>
                  <a:pt x="7807251" y="5023862"/>
                  <a:pt x="7839233" y="5035158"/>
                  <a:pt x="7871216" y="5046453"/>
                </a:cubicBezTo>
                <a:cubicBezTo>
                  <a:pt x="7875213" y="5065279"/>
                  <a:pt x="7879211" y="5084105"/>
                  <a:pt x="7883209" y="5106696"/>
                </a:cubicBezTo>
                <a:cubicBezTo>
                  <a:pt x="7923187" y="5125522"/>
                  <a:pt x="7963165" y="5144347"/>
                  <a:pt x="8019134" y="5170704"/>
                </a:cubicBezTo>
                <a:lnTo>
                  <a:pt x="8103088" y="5170704"/>
                </a:lnTo>
                <a:cubicBezTo>
                  <a:pt x="8123077" y="5193295"/>
                  <a:pt x="8143066" y="5215886"/>
                  <a:pt x="8167053" y="5238477"/>
                </a:cubicBezTo>
                <a:cubicBezTo>
                  <a:pt x="8151062" y="5264833"/>
                  <a:pt x="8131073" y="5294955"/>
                  <a:pt x="8111084" y="5332607"/>
                </a:cubicBezTo>
                <a:cubicBezTo>
                  <a:pt x="8151062" y="5347667"/>
                  <a:pt x="8179046" y="5351433"/>
                  <a:pt x="8207031" y="5366493"/>
                </a:cubicBezTo>
                <a:cubicBezTo>
                  <a:pt x="8215027" y="5370258"/>
                  <a:pt x="8219025" y="5389084"/>
                  <a:pt x="8223022" y="5404145"/>
                </a:cubicBezTo>
                <a:cubicBezTo>
                  <a:pt x="8191040" y="5407910"/>
                  <a:pt x="8159057" y="5389084"/>
                  <a:pt x="8119079" y="5430501"/>
                </a:cubicBezTo>
                <a:cubicBezTo>
                  <a:pt x="8151062" y="5441797"/>
                  <a:pt x="8179046" y="5453092"/>
                  <a:pt x="8211029" y="5460623"/>
                </a:cubicBezTo>
                <a:lnTo>
                  <a:pt x="8187042" y="5486979"/>
                </a:lnTo>
                <a:cubicBezTo>
                  <a:pt x="8231018" y="5494509"/>
                  <a:pt x="8278992" y="5502040"/>
                  <a:pt x="8338959" y="5513335"/>
                </a:cubicBezTo>
                <a:cubicBezTo>
                  <a:pt x="8286987" y="5535926"/>
                  <a:pt x="8255005" y="5550987"/>
                  <a:pt x="8223022" y="5562283"/>
                </a:cubicBezTo>
                <a:lnTo>
                  <a:pt x="8223022" y="5614995"/>
                </a:lnTo>
                <a:cubicBezTo>
                  <a:pt x="8159057" y="5641352"/>
                  <a:pt x="8099090" y="5667708"/>
                  <a:pt x="8035126" y="5694064"/>
                </a:cubicBezTo>
                <a:cubicBezTo>
                  <a:pt x="8035126" y="5701595"/>
                  <a:pt x="8031128" y="5709125"/>
                  <a:pt x="8035126" y="5709125"/>
                </a:cubicBezTo>
                <a:cubicBezTo>
                  <a:pt x="8047119" y="5724186"/>
                  <a:pt x="8059112" y="5731716"/>
                  <a:pt x="8071106" y="5746777"/>
                </a:cubicBezTo>
                <a:cubicBezTo>
                  <a:pt x="8023132" y="5807020"/>
                  <a:pt x="7935180" y="5743012"/>
                  <a:pt x="7875213" y="5799489"/>
                </a:cubicBezTo>
                <a:cubicBezTo>
                  <a:pt x="7931183" y="5822080"/>
                  <a:pt x="7987152" y="5844671"/>
                  <a:pt x="8039123" y="5863497"/>
                </a:cubicBezTo>
                <a:cubicBezTo>
                  <a:pt x="8055115" y="5871028"/>
                  <a:pt x="8071106" y="5867263"/>
                  <a:pt x="8107086" y="5867263"/>
                </a:cubicBezTo>
                <a:cubicBezTo>
                  <a:pt x="8119079" y="5889854"/>
                  <a:pt x="8135071" y="5919975"/>
                  <a:pt x="8151062" y="5950097"/>
                </a:cubicBezTo>
                <a:cubicBezTo>
                  <a:pt x="8147064" y="5950097"/>
                  <a:pt x="8127075" y="5957627"/>
                  <a:pt x="8107086" y="5961392"/>
                </a:cubicBezTo>
                <a:cubicBezTo>
                  <a:pt x="8087097" y="5942566"/>
                  <a:pt x="8067108" y="5927505"/>
                  <a:pt x="8047119" y="5908680"/>
                </a:cubicBezTo>
                <a:cubicBezTo>
                  <a:pt x="8039123" y="5931271"/>
                  <a:pt x="8031128" y="5950097"/>
                  <a:pt x="8019134" y="5980218"/>
                </a:cubicBezTo>
                <a:cubicBezTo>
                  <a:pt x="8059112" y="6006574"/>
                  <a:pt x="8103088" y="6029165"/>
                  <a:pt x="8143066" y="6055522"/>
                </a:cubicBezTo>
                <a:cubicBezTo>
                  <a:pt x="8079101" y="6127060"/>
                  <a:pt x="8015137" y="6074348"/>
                  <a:pt x="7955169" y="6085643"/>
                </a:cubicBezTo>
                <a:cubicBezTo>
                  <a:pt x="7923187" y="6123295"/>
                  <a:pt x="7895202" y="6160947"/>
                  <a:pt x="7867218" y="6198599"/>
                </a:cubicBezTo>
                <a:cubicBezTo>
                  <a:pt x="7839233" y="6172242"/>
                  <a:pt x="7823242" y="6157182"/>
                  <a:pt x="7803253" y="6142121"/>
                </a:cubicBezTo>
                <a:cubicBezTo>
                  <a:pt x="7751281" y="6149651"/>
                  <a:pt x="7691314" y="6127060"/>
                  <a:pt x="7639343" y="6160947"/>
                </a:cubicBezTo>
                <a:cubicBezTo>
                  <a:pt x="7667328" y="6206129"/>
                  <a:pt x="7703308" y="6243781"/>
                  <a:pt x="7763275" y="6243781"/>
                </a:cubicBezTo>
                <a:cubicBezTo>
                  <a:pt x="7795257" y="6307789"/>
                  <a:pt x="7883209" y="6255076"/>
                  <a:pt x="7911194" y="6292728"/>
                </a:cubicBezTo>
                <a:cubicBezTo>
                  <a:pt x="7955169" y="6352971"/>
                  <a:pt x="8019134" y="6307789"/>
                  <a:pt x="8067108" y="6341676"/>
                </a:cubicBezTo>
                <a:cubicBezTo>
                  <a:pt x="8063110" y="6379327"/>
                  <a:pt x="8023132" y="6394388"/>
                  <a:pt x="7999145" y="6420744"/>
                </a:cubicBezTo>
                <a:cubicBezTo>
                  <a:pt x="7947174" y="6439570"/>
                  <a:pt x="7931183" y="6390623"/>
                  <a:pt x="7903198" y="6375562"/>
                </a:cubicBezTo>
                <a:lnTo>
                  <a:pt x="7795257" y="6375562"/>
                </a:lnTo>
                <a:cubicBezTo>
                  <a:pt x="7787262" y="6398153"/>
                  <a:pt x="7783264" y="6420744"/>
                  <a:pt x="7775268" y="6443336"/>
                </a:cubicBezTo>
                <a:cubicBezTo>
                  <a:pt x="7823242" y="6465927"/>
                  <a:pt x="7867218" y="6484753"/>
                  <a:pt x="7911194" y="6507344"/>
                </a:cubicBezTo>
                <a:cubicBezTo>
                  <a:pt x="7927185" y="6492283"/>
                  <a:pt x="7939178" y="6480987"/>
                  <a:pt x="7951172" y="6469692"/>
                </a:cubicBezTo>
                <a:cubicBezTo>
                  <a:pt x="7967163" y="6484753"/>
                  <a:pt x="7983154" y="6496048"/>
                  <a:pt x="8003143" y="6514874"/>
                </a:cubicBezTo>
                <a:lnTo>
                  <a:pt x="8099090" y="6514874"/>
                </a:lnTo>
                <a:cubicBezTo>
                  <a:pt x="8119079" y="6499813"/>
                  <a:pt x="8135071" y="6480987"/>
                  <a:pt x="8151062" y="6465927"/>
                </a:cubicBezTo>
                <a:cubicBezTo>
                  <a:pt x="8203033" y="6450866"/>
                  <a:pt x="8219025" y="6499813"/>
                  <a:pt x="8259003" y="6514874"/>
                </a:cubicBezTo>
                <a:lnTo>
                  <a:pt x="8406921" y="6514874"/>
                </a:lnTo>
                <a:cubicBezTo>
                  <a:pt x="8410919" y="6537465"/>
                  <a:pt x="8418915" y="6560056"/>
                  <a:pt x="8422913" y="6578882"/>
                </a:cubicBezTo>
                <a:cubicBezTo>
                  <a:pt x="8406921" y="6590178"/>
                  <a:pt x="8394928" y="6605238"/>
                  <a:pt x="8382935" y="6605238"/>
                </a:cubicBezTo>
                <a:cubicBezTo>
                  <a:pt x="8278992" y="6605238"/>
                  <a:pt x="8171051" y="6605238"/>
                  <a:pt x="8059112" y="6605238"/>
                </a:cubicBezTo>
                <a:cubicBezTo>
                  <a:pt x="8043121" y="6616534"/>
                  <a:pt x="8027130" y="6631595"/>
                  <a:pt x="8003143" y="6646655"/>
                </a:cubicBezTo>
                <a:cubicBezTo>
                  <a:pt x="7971161" y="6650421"/>
                  <a:pt x="7931183" y="6654186"/>
                  <a:pt x="7895202" y="6657951"/>
                </a:cubicBezTo>
                <a:cubicBezTo>
                  <a:pt x="7891205" y="6669246"/>
                  <a:pt x="7887207" y="6673012"/>
                  <a:pt x="7883209" y="6680542"/>
                </a:cubicBezTo>
                <a:cubicBezTo>
                  <a:pt x="7923187" y="6699368"/>
                  <a:pt x="7963165" y="6718194"/>
                  <a:pt x="8019134" y="6744550"/>
                </a:cubicBezTo>
                <a:lnTo>
                  <a:pt x="8394928" y="6744550"/>
                </a:lnTo>
                <a:cubicBezTo>
                  <a:pt x="8410919" y="6759611"/>
                  <a:pt x="8430908" y="6774672"/>
                  <a:pt x="8446899" y="6793498"/>
                </a:cubicBezTo>
                <a:lnTo>
                  <a:pt x="8542847" y="6793498"/>
                </a:lnTo>
                <a:cubicBezTo>
                  <a:pt x="8566834" y="6816089"/>
                  <a:pt x="8590820" y="6838680"/>
                  <a:pt x="8614807" y="6857506"/>
                </a:cubicBezTo>
                <a:cubicBezTo>
                  <a:pt x="8594818" y="6891392"/>
                  <a:pt x="8562836" y="6883862"/>
                  <a:pt x="8530853" y="6883862"/>
                </a:cubicBezTo>
                <a:cubicBezTo>
                  <a:pt x="8498871" y="6883862"/>
                  <a:pt x="8466888" y="6883862"/>
                  <a:pt x="8422913" y="6883862"/>
                </a:cubicBezTo>
                <a:cubicBezTo>
                  <a:pt x="8434906" y="6947870"/>
                  <a:pt x="8502869" y="6962931"/>
                  <a:pt x="8518860" y="7008113"/>
                </a:cubicBezTo>
                <a:cubicBezTo>
                  <a:pt x="8518860" y="7038234"/>
                  <a:pt x="8518860" y="7072121"/>
                  <a:pt x="8470886" y="7068356"/>
                </a:cubicBezTo>
                <a:cubicBezTo>
                  <a:pt x="8426910" y="7064591"/>
                  <a:pt x="8418915" y="7106008"/>
                  <a:pt x="8386932" y="7117303"/>
                </a:cubicBezTo>
                <a:lnTo>
                  <a:pt x="8247009" y="7117303"/>
                </a:lnTo>
                <a:cubicBezTo>
                  <a:pt x="8235016" y="7128599"/>
                  <a:pt x="8223022" y="7139894"/>
                  <a:pt x="8211029" y="7151190"/>
                </a:cubicBezTo>
                <a:cubicBezTo>
                  <a:pt x="8163055" y="7177546"/>
                  <a:pt x="8091095" y="7136129"/>
                  <a:pt x="8059112" y="7200137"/>
                </a:cubicBezTo>
                <a:cubicBezTo>
                  <a:pt x="7931183" y="7203902"/>
                  <a:pt x="7799255" y="7207668"/>
                  <a:pt x="7643341" y="7211433"/>
                </a:cubicBezTo>
                <a:cubicBezTo>
                  <a:pt x="7635345" y="7226494"/>
                  <a:pt x="7607360" y="7252850"/>
                  <a:pt x="7579376" y="7286736"/>
                </a:cubicBezTo>
                <a:cubicBezTo>
                  <a:pt x="7587371" y="7305562"/>
                  <a:pt x="7595367" y="7324388"/>
                  <a:pt x="7603363" y="7350745"/>
                </a:cubicBezTo>
                <a:cubicBezTo>
                  <a:pt x="7623352" y="7328153"/>
                  <a:pt x="7643341" y="7316858"/>
                  <a:pt x="7659332" y="7301797"/>
                </a:cubicBezTo>
                <a:lnTo>
                  <a:pt x="7755279" y="7301797"/>
                </a:lnTo>
                <a:cubicBezTo>
                  <a:pt x="7775268" y="7316858"/>
                  <a:pt x="7791259" y="7328153"/>
                  <a:pt x="7807251" y="7343214"/>
                </a:cubicBezTo>
                <a:cubicBezTo>
                  <a:pt x="7827240" y="7328153"/>
                  <a:pt x="7843231" y="7313093"/>
                  <a:pt x="7871216" y="7290502"/>
                </a:cubicBezTo>
                <a:cubicBezTo>
                  <a:pt x="7895202" y="7305562"/>
                  <a:pt x="7923187" y="7320623"/>
                  <a:pt x="7955169" y="7339449"/>
                </a:cubicBezTo>
                <a:cubicBezTo>
                  <a:pt x="7967163" y="7331919"/>
                  <a:pt x="7983154" y="7316858"/>
                  <a:pt x="7999145" y="7305562"/>
                </a:cubicBezTo>
                <a:cubicBezTo>
                  <a:pt x="8015137" y="7316858"/>
                  <a:pt x="8035126" y="7328153"/>
                  <a:pt x="8051117" y="7346979"/>
                </a:cubicBezTo>
                <a:lnTo>
                  <a:pt x="8203033" y="7346979"/>
                </a:lnTo>
                <a:cubicBezTo>
                  <a:pt x="8211029" y="7369570"/>
                  <a:pt x="8223022" y="7395927"/>
                  <a:pt x="8231018" y="7422283"/>
                </a:cubicBezTo>
                <a:cubicBezTo>
                  <a:pt x="8243011" y="7444874"/>
                  <a:pt x="8247009" y="7433579"/>
                  <a:pt x="8266998" y="7422283"/>
                </a:cubicBezTo>
                <a:cubicBezTo>
                  <a:pt x="8350952" y="7369570"/>
                  <a:pt x="8442902" y="7324388"/>
                  <a:pt x="8550842" y="7354510"/>
                </a:cubicBezTo>
                <a:cubicBezTo>
                  <a:pt x="8542847" y="7426048"/>
                  <a:pt x="8430908" y="7392162"/>
                  <a:pt x="8426910" y="7471230"/>
                </a:cubicBezTo>
                <a:cubicBezTo>
                  <a:pt x="8430908" y="7471230"/>
                  <a:pt x="8434906" y="7482526"/>
                  <a:pt x="8442902" y="7482526"/>
                </a:cubicBezTo>
                <a:cubicBezTo>
                  <a:pt x="8474884" y="7482526"/>
                  <a:pt x="8506866" y="7482526"/>
                  <a:pt x="8538849" y="7482526"/>
                </a:cubicBezTo>
                <a:cubicBezTo>
                  <a:pt x="8558838" y="7501352"/>
                  <a:pt x="8574829" y="7516413"/>
                  <a:pt x="8594818" y="7531473"/>
                </a:cubicBezTo>
                <a:lnTo>
                  <a:pt x="8690765" y="7531473"/>
                </a:lnTo>
                <a:cubicBezTo>
                  <a:pt x="8702759" y="7520178"/>
                  <a:pt x="8714752" y="7508882"/>
                  <a:pt x="8734741" y="7490056"/>
                </a:cubicBezTo>
                <a:cubicBezTo>
                  <a:pt x="8746735" y="7497587"/>
                  <a:pt x="8762726" y="7508882"/>
                  <a:pt x="8794708" y="7531473"/>
                </a:cubicBezTo>
                <a:cubicBezTo>
                  <a:pt x="8810700" y="7531473"/>
                  <a:pt x="8842682" y="7527708"/>
                  <a:pt x="8870667" y="7531473"/>
                </a:cubicBezTo>
                <a:cubicBezTo>
                  <a:pt x="8898651" y="7535239"/>
                  <a:pt x="8918640" y="7546534"/>
                  <a:pt x="8910645" y="7576656"/>
                </a:cubicBezTo>
                <a:cubicBezTo>
                  <a:pt x="8802704" y="7576656"/>
                  <a:pt x="8802704" y="7576656"/>
                  <a:pt x="8770722" y="7610542"/>
                </a:cubicBezTo>
                <a:cubicBezTo>
                  <a:pt x="8814697" y="7636898"/>
                  <a:pt x="8866669" y="7618073"/>
                  <a:pt x="8910645" y="7625603"/>
                </a:cubicBezTo>
                <a:cubicBezTo>
                  <a:pt x="8906647" y="7670785"/>
                  <a:pt x="8942627" y="7670785"/>
                  <a:pt x="8978607" y="7670785"/>
                </a:cubicBezTo>
                <a:cubicBezTo>
                  <a:pt x="8994599" y="7659490"/>
                  <a:pt x="9010590" y="7644429"/>
                  <a:pt x="9034577" y="7625603"/>
                </a:cubicBezTo>
                <a:cubicBezTo>
                  <a:pt x="9046570" y="7640664"/>
                  <a:pt x="9066559" y="7655724"/>
                  <a:pt x="9082550" y="7670785"/>
                </a:cubicBezTo>
                <a:lnTo>
                  <a:pt x="9226471" y="7670785"/>
                </a:lnTo>
                <a:cubicBezTo>
                  <a:pt x="9314423" y="7727263"/>
                  <a:pt x="9314423" y="7851514"/>
                  <a:pt x="9418366" y="7904226"/>
                </a:cubicBezTo>
                <a:lnTo>
                  <a:pt x="9638245" y="7904226"/>
                </a:lnTo>
                <a:cubicBezTo>
                  <a:pt x="9642243" y="7930582"/>
                  <a:pt x="9646241" y="7953174"/>
                  <a:pt x="9650238" y="7971999"/>
                </a:cubicBezTo>
                <a:cubicBezTo>
                  <a:pt x="9594269" y="8017182"/>
                  <a:pt x="9538300" y="7987060"/>
                  <a:pt x="9482331" y="7994591"/>
                </a:cubicBezTo>
                <a:cubicBezTo>
                  <a:pt x="9462342" y="7979530"/>
                  <a:pt x="9446350" y="7964469"/>
                  <a:pt x="9426361" y="7949408"/>
                </a:cubicBezTo>
                <a:lnTo>
                  <a:pt x="9282440" y="7949408"/>
                </a:lnTo>
                <a:cubicBezTo>
                  <a:pt x="9262451" y="7964469"/>
                  <a:pt x="9246460" y="7979530"/>
                  <a:pt x="9230469" y="7994591"/>
                </a:cubicBezTo>
                <a:cubicBezTo>
                  <a:pt x="9174500" y="8002121"/>
                  <a:pt x="9114533" y="7975765"/>
                  <a:pt x="9054566" y="8017182"/>
                </a:cubicBezTo>
                <a:cubicBezTo>
                  <a:pt x="9114533" y="8058599"/>
                  <a:pt x="9178498" y="8028477"/>
                  <a:pt x="9230469" y="8043538"/>
                </a:cubicBezTo>
                <a:cubicBezTo>
                  <a:pt x="9250458" y="8058599"/>
                  <a:pt x="9270447" y="8073659"/>
                  <a:pt x="9286438" y="8084955"/>
                </a:cubicBezTo>
                <a:lnTo>
                  <a:pt x="9510315" y="8084955"/>
                </a:lnTo>
                <a:cubicBezTo>
                  <a:pt x="9554291" y="8100016"/>
                  <a:pt x="9578278" y="8145198"/>
                  <a:pt x="9638245" y="8137667"/>
                </a:cubicBezTo>
                <a:cubicBezTo>
                  <a:pt x="9666230" y="8130137"/>
                  <a:pt x="9702210" y="8171554"/>
                  <a:pt x="9738190" y="8175319"/>
                </a:cubicBezTo>
                <a:cubicBezTo>
                  <a:pt x="9790162" y="8186615"/>
                  <a:pt x="9814148" y="8216736"/>
                  <a:pt x="9838135" y="8254388"/>
                </a:cubicBezTo>
                <a:cubicBezTo>
                  <a:pt x="9802155" y="8292040"/>
                  <a:pt x="9758179" y="8258153"/>
                  <a:pt x="9726197" y="8273214"/>
                </a:cubicBezTo>
                <a:cubicBezTo>
                  <a:pt x="9710206" y="8261919"/>
                  <a:pt x="9698212" y="8250623"/>
                  <a:pt x="9686219" y="8239327"/>
                </a:cubicBezTo>
                <a:cubicBezTo>
                  <a:pt x="9642243" y="8220502"/>
                  <a:pt x="9594269" y="8212971"/>
                  <a:pt x="9554291" y="8246858"/>
                </a:cubicBezTo>
                <a:cubicBezTo>
                  <a:pt x="9586274" y="8284510"/>
                  <a:pt x="9650238" y="8280744"/>
                  <a:pt x="9682221" y="8325927"/>
                </a:cubicBezTo>
                <a:cubicBezTo>
                  <a:pt x="9710206" y="8356048"/>
                  <a:pt x="9754181" y="8371109"/>
                  <a:pt x="9798157" y="8393700"/>
                </a:cubicBezTo>
                <a:cubicBezTo>
                  <a:pt x="9702210" y="8431352"/>
                  <a:pt x="9602265" y="8389935"/>
                  <a:pt x="9506318" y="8420056"/>
                </a:cubicBezTo>
                <a:cubicBezTo>
                  <a:pt x="9518311" y="8446412"/>
                  <a:pt x="9530304" y="8469004"/>
                  <a:pt x="9542298" y="8487829"/>
                </a:cubicBezTo>
                <a:cubicBezTo>
                  <a:pt x="9482331" y="8529246"/>
                  <a:pt x="9410370" y="8476534"/>
                  <a:pt x="9354401" y="8521716"/>
                </a:cubicBezTo>
                <a:cubicBezTo>
                  <a:pt x="9406372" y="8589489"/>
                  <a:pt x="9498322" y="8514186"/>
                  <a:pt x="9546296" y="8570663"/>
                </a:cubicBezTo>
                <a:cubicBezTo>
                  <a:pt x="9602265" y="8630906"/>
                  <a:pt x="9690217" y="8563133"/>
                  <a:pt x="9746186" y="8615846"/>
                </a:cubicBezTo>
                <a:cubicBezTo>
                  <a:pt x="9722199" y="8642202"/>
                  <a:pt x="9698212" y="8664793"/>
                  <a:pt x="9674225" y="8687384"/>
                </a:cubicBezTo>
                <a:lnTo>
                  <a:pt x="9578278" y="8687384"/>
                </a:lnTo>
                <a:cubicBezTo>
                  <a:pt x="9558289" y="8702445"/>
                  <a:pt x="9542298" y="8717506"/>
                  <a:pt x="9522309" y="8732566"/>
                </a:cubicBezTo>
                <a:cubicBezTo>
                  <a:pt x="9482331" y="8732566"/>
                  <a:pt x="9442353" y="8732566"/>
                  <a:pt x="9406372" y="8740097"/>
                </a:cubicBezTo>
                <a:cubicBezTo>
                  <a:pt x="9398377" y="8709975"/>
                  <a:pt x="9402375" y="8676089"/>
                  <a:pt x="9358399" y="8706210"/>
                </a:cubicBezTo>
                <a:cubicBezTo>
                  <a:pt x="9370392" y="8717506"/>
                  <a:pt x="9386383" y="8728801"/>
                  <a:pt x="9406372" y="8740097"/>
                </a:cubicBezTo>
                <a:cubicBezTo>
                  <a:pt x="9406372" y="8747627"/>
                  <a:pt x="9414368" y="8758923"/>
                  <a:pt x="9422364" y="8777749"/>
                </a:cubicBezTo>
                <a:lnTo>
                  <a:pt x="9662232" y="8777749"/>
                </a:lnTo>
                <a:cubicBezTo>
                  <a:pt x="9682221" y="8792809"/>
                  <a:pt x="9698212" y="8807870"/>
                  <a:pt x="9718201" y="8822931"/>
                </a:cubicBezTo>
                <a:cubicBezTo>
                  <a:pt x="9806153" y="8807870"/>
                  <a:pt x="9866120" y="8868113"/>
                  <a:pt x="9946076" y="8898234"/>
                </a:cubicBezTo>
                <a:cubicBezTo>
                  <a:pt x="9882111" y="8939651"/>
                  <a:pt x="9822144" y="8905765"/>
                  <a:pt x="9766175" y="8924591"/>
                </a:cubicBezTo>
                <a:cubicBezTo>
                  <a:pt x="9762177" y="8932121"/>
                  <a:pt x="9750184" y="8943417"/>
                  <a:pt x="9746186" y="8958477"/>
                </a:cubicBezTo>
                <a:cubicBezTo>
                  <a:pt x="9746186" y="8969773"/>
                  <a:pt x="9754181" y="8984834"/>
                  <a:pt x="9758179" y="9007425"/>
                </a:cubicBezTo>
                <a:cubicBezTo>
                  <a:pt x="9794159" y="9011190"/>
                  <a:pt x="9834137" y="9011190"/>
                  <a:pt x="9874116" y="9014955"/>
                </a:cubicBezTo>
                <a:cubicBezTo>
                  <a:pt x="9902100" y="9041311"/>
                  <a:pt x="9902100" y="9067668"/>
                  <a:pt x="9878113" y="9097789"/>
                </a:cubicBezTo>
                <a:lnTo>
                  <a:pt x="9638245" y="9097789"/>
                </a:lnTo>
                <a:cubicBezTo>
                  <a:pt x="9618256" y="9112850"/>
                  <a:pt x="9598267" y="9127911"/>
                  <a:pt x="9574280" y="9146736"/>
                </a:cubicBezTo>
                <a:cubicBezTo>
                  <a:pt x="9542298" y="9150502"/>
                  <a:pt x="9506318" y="9154267"/>
                  <a:pt x="9470337" y="9158032"/>
                </a:cubicBezTo>
                <a:cubicBezTo>
                  <a:pt x="9454346" y="9169328"/>
                  <a:pt x="9442353" y="9180623"/>
                  <a:pt x="9430359" y="9191919"/>
                </a:cubicBezTo>
                <a:cubicBezTo>
                  <a:pt x="9398377" y="9180623"/>
                  <a:pt x="9378388" y="9131676"/>
                  <a:pt x="9330414" y="9150502"/>
                </a:cubicBezTo>
                <a:cubicBezTo>
                  <a:pt x="9314423" y="9165562"/>
                  <a:pt x="9294434" y="9180623"/>
                  <a:pt x="9278443" y="9195684"/>
                </a:cubicBezTo>
                <a:cubicBezTo>
                  <a:pt x="9266449" y="9184388"/>
                  <a:pt x="9254456" y="9173093"/>
                  <a:pt x="9234467" y="9154267"/>
                </a:cubicBezTo>
                <a:cubicBezTo>
                  <a:pt x="9222473" y="9165562"/>
                  <a:pt x="9206482" y="9176858"/>
                  <a:pt x="9182495" y="9191919"/>
                </a:cubicBezTo>
                <a:lnTo>
                  <a:pt x="8986603" y="9191919"/>
                </a:lnTo>
                <a:cubicBezTo>
                  <a:pt x="8978607" y="9188153"/>
                  <a:pt x="8958618" y="9173093"/>
                  <a:pt x="8934632" y="9154267"/>
                </a:cubicBezTo>
                <a:lnTo>
                  <a:pt x="8526855" y="9154267"/>
                </a:lnTo>
                <a:cubicBezTo>
                  <a:pt x="8522858" y="9203214"/>
                  <a:pt x="8562836" y="9188153"/>
                  <a:pt x="8582825" y="9199449"/>
                </a:cubicBezTo>
                <a:cubicBezTo>
                  <a:pt x="8606812" y="9206979"/>
                  <a:pt x="8622803" y="9225805"/>
                  <a:pt x="8642792" y="9240866"/>
                </a:cubicBezTo>
                <a:lnTo>
                  <a:pt x="8782715" y="9240866"/>
                </a:lnTo>
                <a:cubicBezTo>
                  <a:pt x="8814697" y="9289813"/>
                  <a:pt x="8830689" y="9350056"/>
                  <a:pt x="8890656" y="9380178"/>
                </a:cubicBezTo>
                <a:cubicBezTo>
                  <a:pt x="8902649" y="9368882"/>
                  <a:pt x="8914642" y="9357587"/>
                  <a:pt x="8926636" y="9346291"/>
                </a:cubicBezTo>
                <a:cubicBezTo>
                  <a:pt x="8974610" y="9353821"/>
                  <a:pt x="8994599" y="9399004"/>
                  <a:pt x="9030579" y="9425360"/>
                </a:cubicBezTo>
                <a:cubicBezTo>
                  <a:pt x="9066559" y="9429125"/>
                  <a:pt x="9106537" y="9432890"/>
                  <a:pt x="9150513" y="9436656"/>
                </a:cubicBezTo>
                <a:cubicBezTo>
                  <a:pt x="9150513" y="9459247"/>
                  <a:pt x="9154511" y="9481838"/>
                  <a:pt x="9154511" y="9500664"/>
                </a:cubicBezTo>
                <a:cubicBezTo>
                  <a:pt x="9102539" y="9542081"/>
                  <a:pt x="9042572" y="9504429"/>
                  <a:pt x="8998596" y="9523255"/>
                </a:cubicBezTo>
                <a:cubicBezTo>
                  <a:pt x="8958618" y="9508194"/>
                  <a:pt x="8950623" y="9466777"/>
                  <a:pt x="8914642" y="9474307"/>
                </a:cubicBezTo>
                <a:cubicBezTo>
                  <a:pt x="8858673" y="9474307"/>
                  <a:pt x="8854675" y="9527020"/>
                  <a:pt x="8806702" y="9538315"/>
                </a:cubicBezTo>
                <a:cubicBezTo>
                  <a:pt x="8854675" y="9560907"/>
                  <a:pt x="8890656" y="9579732"/>
                  <a:pt x="8950623" y="9609854"/>
                </a:cubicBezTo>
                <a:lnTo>
                  <a:pt x="9122528" y="9609854"/>
                </a:lnTo>
                <a:cubicBezTo>
                  <a:pt x="9142517" y="9624915"/>
                  <a:pt x="9158509" y="9639975"/>
                  <a:pt x="9178498" y="9655036"/>
                </a:cubicBezTo>
                <a:cubicBezTo>
                  <a:pt x="9214478" y="9658801"/>
                  <a:pt x="9254456" y="9662566"/>
                  <a:pt x="9298432" y="9666332"/>
                </a:cubicBezTo>
                <a:cubicBezTo>
                  <a:pt x="9298432" y="9692688"/>
                  <a:pt x="9302430" y="9711514"/>
                  <a:pt x="9302430" y="9737870"/>
                </a:cubicBezTo>
                <a:cubicBezTo>
                  <a:pt x="9278443" y="9745400"/>
                  <a:pt x="9258454" y="9749166"/>
                  <a:pt x="9218476" y="9760461"/>
                </a:cubicBezTo>
                <a:cubicBezTo>
                  <a:pt x="9214478" y="9775522"/>
                  <a:pt x="9210480" y="9801878"/>
                  <a:pt x="9202484" y="9824469"/>
                </a:cubicBezTo>
                <a:cubicBezTo>
                  <a:pt x="9242462" y="9839530"/>
                  <a:pt x="9270447" y="9850826"/>
                  <a:pt x="9298432" y="9862121"/>
                </a:cubicBezTo>
                <a:cubicBezTo>
                  <a:pt x="9290436" y="9873417"/>
                  <a:pt x="9282440" y="9888477"/>
                  <a:pt x="9274445" y="9888477"/>
                </a:cubicBezTo>
                <a:cubicBezTo>
                  <a:pt x="9250458" y="9892243"/>
                  <a:pt x="9218476" y="9880947"/>
                  <a:pt x="9202484" y="9892243"/>
                </a:cubicBezTo>
                <a:cubicBezTo>
                  <a:pt x="9146515" y="9926129"/>
                  <a:pt x="9090546" y="9933660"/>
                  <a:pt x="9026581" y="9944955"/>
                </a:cubicBezTo>
                <a:cubicBezTo>
                  <a:pt x="8978607" y="9956251"/>
                  <a:pt x="8934632" y="9993903"/>
                  <a:pt x="8878662" y="10027789"/>
                </a:cubicBezTo>
                <a:lnTo>
                  <a:pt x="8698761" y="10027789"/>
                </a:lnTo>
                <a:cubicBezTo>
                  <a:pt x="8678772" y="10042850"/>
                  <a:pt x="8658783" y="10057911"/>
                  <a:pt x="8638794" y="10072971"/>
                </a:cubicBezTo>
                <a:lnTo>
                  <a:pt x="8394928" y="10072971"/>
                </a:lnTo>
                <a:cubicBezTo>
                  <a:pt x="8378937" y="10061676"/>
                  <a:pt x="8362945" y="10046615"/>
                  <a:pt x="8346954" y="10027789"/>
                </a:cubicBezTo>
                <a:cubicBezTo>
                  <a:pt x="8107086" y="10027789"/>
                  <a:pt x="7871216" y="10027789"/>
                  <a:pt x="7631347" y="10027789"/>
                </a:cubicBezTo>
                <a:cubicBezTo>
                  <a:pt x="7627350" y="10016494"/>
                  <a:pt x="7623352" y="10005198"/>
                  <a:pt x="7615356" y="9986372"/>
                </a:cubicBezTo>
                <a:cubicBezTo>
                  <a:pt x="7451446" y="9986372"/>
                  <a:pt x="7283538" y="9986372"/>
                  <a:pt x="7115631" y="9986372"/>
                </a:cubicBezTo>
                <a:cubicBezTo>
                  <a:pt x="7111633" y="9986372"/>
                  <a:pt x="7107635" y="10008963"/>
                  <a:pt x="7103637" y="10024024"/>
                </a:cubicBezTo>
                <a:cubicBezTo>
                  <a:pt x="7283538" y="10024024"/>
                  <a:pt x="7459442" y="10024024"/>
                  <a:pt x="7631347" y="10027789"/>
                </a:cubicBezTo>
                <a:cubicBezTo>
                  <a:pt x="7635345" y="10076737"/>
                  <a:pt x="7583374" y="10084267"/>
                  <a:pt x="7567382" y="10118154"/>
                </a:cubicBezTo>
                <a:cubicBezTo>
                  <a:pt x="7451446" y="10121919"/>
                  <a:pt x="7451446" y="10121919"/>
                  <a:pt x="7391479" y="10152040"/>
                </a:cubicBezTo>
                <a:cubicBezTo>
                  <a:pt x="7443451" y="10185927"/>
                  <a:pt x="7503418" y="10163336"/>
                  <a:pt x="7559387" y="10167101"/>
                </a:cubicBezTo>
                <a:cubicBezTo>
                  <a:pt x="7607360" y="10170866"/>
                  <a:pt x="7655334" y="10167101"/>
                  <a:pt x="7707306" y="10167101"/>
                </a:cubicBezTo>
                <a:lnTo>
                  <a:pt x="7915191" y="10167101"/>
                </a:lnTo>
                <a:cubicBezTo>
                  <a:pt x="7835235" y="10212283"/>
                  <a:pt x="7791259" y="10234874"/>
                  <a:pt x="7751281" y="10257465"/>
                </a:cubicBezTo>
                <a:cubicBezTo>
                  <a:pt x="7739288" y="10246170"/>
                  <a:pt x="7727295" y="10234874"/>
                  <a:pt x="7711303" y="10219814"/>
                </a:cubicBezTo>
                <a:cubicBezTo>
                  <a:pt x="7695312" y="10231109"/>
                  <a:pt x="7679321" y="10242405"/>
                  <a:pt x="7651336" y="10261231"/>
                </a:cubicBezTo>
                <a:cubicBezTo>
                  <a:pt x="7630348" y="10274408"/>
                  <a:pt x="7581812" y="10244346"/>
                  <a:pt x="7551259" y="10271938"/>
                </a:cubicBezTo>
                <a:lnTo>
                  <a:pt x="7539843" y="10287000"/>
                </a:lnTo>
                <a:lnTo>
                  <a:pt x="0" y="10287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67381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122164" y="844925"/>
            <a:ext cx="15911803" cy="4281177"/>
          </a:xfrm>
          <a:custGeom>
            <a:avLst/>
            <a:gdLst>
              <a:gd name="connsiteX0" fmla="*/ 13189084 w 15911803"/>
              <a:gd name="connsiteY0" fmla="*/ 0 h 4281177"/>
              <a:gd name="connsiteX1" fmla="*/ 13309850 w 15911803"/>
              <a:gd name="connsiteY1" fmla="*/ 62255 h 4281177"/>
              <a:gd name="connsiteX2" fmla="*/ 13346446 w 15911803"/>
              <a:gd name="connsiteY2" fmla="*/ 29297 h 4281177"/>
              <a:gd name="connsiteX3" fmla="*/ 13412318 w 15911803"/>
              <a:gd name="connsiteY3" fmla="*/ 87890 h 4281177"/>
              <a:gd name="connsiteX4" fmla="*/ 13463552 w 15911803"/>
              <a:gd name="connsiteY4" fmla="*/ 32959 h 4281177"/>
              <a:gd name="connsiteX5" fmla="*/ 13485509 w 15911803"/>
              <a:gd name="connsiteY5" fmla="*/ 40283 h 4281177"/>
              <a:gd name="connsiteX6" fmla="*/ 13514786 w 15911803"/>
              <a:gd name="connsiteY6" fmla="*/ 117186 h 4281177"/>
              <a:gd name="connsiteX7" fmla="*/ 13437935 w 15911803"/>
              <a:gd name="connsiteY7" fmla="*/ 216062 h 4281177"/>
              <a:gd name="connsiteX8" fmla="*/ 13339126 w 15911803"/>
              <a:gd name="connsiteY8" fmla="*/ 241697 h 4281177"/>
              <a:gd name="connsiteX9" fmla="*/ 13353765 w 15911803"/>
              <a:gd name="connsiteY9" fmla="*/ 249021 h 4281177"/>
              <a:gd name="connsiteX10" fmla="*/ 13503807 w 15911803"/>
              <a:gd name="connsiteY10" fmla="*/ 249021 h 4281177"/>
              <a:gd name="connsiteX11" fmla="*/ 13547722 w 15911803"/>
              <a:gd name="connsiteY11" fmla="*/ 164793 h 4281177"/>
              <a:gd name="connsiteX12" fmla="*/ 13514786 w 15911803"/>
              <a:gd name="connsiteY12" fmla="*/ 117186 h 4281177"/>
              <a:gd name="connsiteX13" fmla="*/ 13580658 w 15911803"/>
              <a:gd name="connsiteY13" fmla="*/ 120849 h 4281177"/>
              <a:gd name="connsiteX14" fmla="*/ 13580658 w 15911803"/>
              <a:gd name="connsiteY14" fmla="*/ 201414 h 4281177"/>
              <a:gd name="connsiteX15" fmla="*/ 13551381 w 15911803"/>
              <a:gd name="connsiteY15" fmla="*/ 234373 h 4281177"/>
              <a:gd name="connsiteX16" fmla="*/ 13551381 w 15911803"/>
              <a:gd name="connsiteY16" fmla="*/ 270993 h 4281177"/>
              <a:gd name="connsiteX17" fmla="*/ 13606275 w 15911803"/>
              <a:gd name="connsiteY17" fmla="*/ 289304 h 4281177"/>
              <a:gd name="connsiteX18" fmla="*/ 13624573 w 15911803"/>
              <a:gd name="connsiteY18" fmla="*/ 344235 h 4281177"/>
              <a:gd name="connsiteX19" fmla="*/ 13661168 w 15911803"/>
              <a:gd name="connsiteY19" fmla="*/ 311276 h 4281177"/>
              <a:gd name="connsiteX20" fmla="*/ 13748998 w 15911803"/>
              <a:gd name="connsiteY20" fmla="*/ 366207 h 4281177"/>
              <a:gd name="connsiteX21" fmla="*/ 13825849 w 15911803"/>
              <a:gd name="connsiteY21" fmla="*/ 402828 h 4281177"/>
              <a:gd name="connsiteX22" fmla="*/ 13917338 w 15911803"/>
              <a:gd name="connsiteY22" fmla="*/ 439449 h 4281177"/>
              <a:gd name="connsiteX23" fmla="*/ 14012487 w 15911803"/>
              <a:gd name="connsiteY23" fmla="*/ 417477 h 4281177"/>
              <a:gd name="connsiteX24" fmla="*/ 13979551 w 15911803"/>
              <a:gd name="connsiteY24" fmla="*/ 483394 h 4281177"/>
              <a:gd name="connsiteX25" fmla="*/ 14184487 w 15911803"/>
              <a:gd name="connsiteY25" fmla="*/ 563959 h 4281177"/>
              <a:gd name="connsiteX26" fmla="*/ 14272316 w 15911803"/>
              <a:gd name="connsiteY26" fmla="*/ 648187 h 4281177"/>
              <a:gd name="connsiteX27" fmla="*/ 14308912 w 15911803"/>
              <a:gd name="connsiteY27" fmla="*/ 692132 h 4281177"/>
              <a:gd name="connsiteX28" fmla="*/ 14363806 w 15911803"/>
              <a:gd name="connsiteY28" fmla="*/ 692132 h 4281177"/>
              <a:gd name="connsiteX29" fmla="*/ 14543124 w 15911803"/>
              <a:gd name="connsiteY29" fmla="*/ 787346 h 4281177"/>
              <a:gd name="connsiteX30" fmla="*/ 14682188 w 15911803"/>
              <a:gd name="connsiteY30" fmla="*/ 787346 h 4281177"/>
              <a:gd name="connsiteX31" fmla="*/ 14726103 w 15911803"/>
              <a:gd name="connsiteY31" fmla="*/ 823966 h 4281177"/>
              <a:gd name="connsiteX32" fmla="*/ 14854188 w 15911803"/>
              <a:gd name="connsiteY32" fmla="*/ 823966 h 4281177"/>
              <a:gd name="connsiteX33" fmla="*/ 14704145 w 15911803"/>
              <a:gd name="connsiteY33" fmla="*/ 963125 h 4281177"/>
              <a:gd name="connsiteX34" fmla="*/ 14704145 w 15911803"/>
              <a:gd name="connsiteY34" fmla="*/ 996084 h 4281177"/>
              <a:gd name="connsiteX35" fmla="*/ 14715124 w 15911803"/>
              <a:gd name="connsiteY35" fmla="*/ 1007070 h 4281177"/>
              <a:gd name="connsiteX36" fmla="*/ 14843209 w 15911803"/>
              <a:gd name="connsiteY36" fmla="*/ 1010732 h 4281177"/>
              <a:gd name="connsiteX37" fmla="*/ 14872486 w 15911803"/>
              <a:gd name="connsiteY37" fmla="*/ 977773 h 4281177"/>
              <a:gd name="connsiteX38" fmla="*/ 14905422 w 15911803"/>
              <a:gd name="connsiteY38" fmla="*/ 1010732 h 4281177"/>
              <a:gd name="connsiteX39" fmla="*/ 14938358 w 15911803"/>
              <a:gd name="connsiteY39" fmla="*/ 977773 h 4281177"/>
              <a:gd name="connsiteX40" fmla="*/ 15070102 w 15911803"/>
              <a:gd name="connsiteY40" fmla="*/ 999746 h 4281177"/>
              <a:gd name="connsiteX41" fmla="*/ 15092060 w 15911803"/>
              <a:gd name="connsiteY41" fmla="*/ 981435 h 4281177"/>
              <a:gd name="connsiteX42" fmla="*/ 15198187 w 15911803"/>
              <a:gd name="connsiteY42" fmla="*/ 1051015 h 4281177"/>
              <a:gd name="connsiteX43" fmla="*/ 15165251 w 15911803"/>
              <a:gd name="connsiteY43" fmla="*/ 1094960 h 4281177"/>
              <a:gd name="connsiteX44" fmla="*/ 15073762 w 15911803"/>
              <a:gd name="connsiteY44" fmla="*/ 1105946 h 4281177"/>
              <a:gd name="connsiteX45" fmla="*/ 14982273 w 15911803"/>
              <a:gd name="connsiteY45" fmla="*/ 1105946 h 4281177"/>
              <a:gd name="connsiteX46" fmla="*/ 14890783 w 15911803"/>
              <a:gd name="connsiteY46" fmla="*/ 1120594 h 4281177"/>
              <a:gd name="connsiteX47" fmla="*/ 15033507 w 15911803"/>
              <a:gd name="connsiteY47" fmla="*/ 1142567 h 4281177"/>
              <a:gd name="connsiteX48" fmla="*/ 15055464 w 15911803"/>
              <a:gd name="connsiteY48" fmla="*/ 1164539 h 4281177"/>
              <a:gd name="connsiteX49" fmla="*/ 15106698 w 15911803"/>
              <a:gd name="connsiteY49" fmla="*/ 1135242 h 4281177"/>
              <a:gd name="connsiteX50" fmla="*/ 15172570 w 15911803"/>
              <a:gd name="connsiteY50" fmla="*/ 1171863 h 4281177"/>
              <a:gd name="connsiteX51" fmla="*/ 15220145 w 15911803"/>
              <a:gd name="connsiteY51" fmla="*/ 1138904 h 4281177"/>
              <a:gd name="connsiteX52" fmla="*/ 15242102 w 15911803"/>
              <a:gd name="connsiteY52" fmla="*/ 1160877 h 4281177"/>
              <a:gd name="connsiteX53" fmla="*/ 15267719 w 15911803"/>
              <a:gd name="connsiteY53" fmla="*/ 1168201 h 4281177"/>
              <a:gd name="connsiteX54" fmla="*/ 15392144 w 15911803"/>
              <a:gd name="connsiteY54" fmla="*/ 1168201 h 4281177"/>
              <a:gd name="connsiteX55" fmla="*/ 15479974 w 15911803"/>
              <a:gd name="connsiteY55" fmla="*/ 1219470 h 4281177"/>
              <a:gd name="connsiteX56" fmla="*/ 15575123 w 15911803"/>
              <a:gd name="connsiteY56" fmla="*/ 1248767 h 4281177"/>
              <a:gd name="connsiteX57" fmla="*/ 15564144 w 15911803"/>
              <a:gd name="connsiteY57" fmla="*/ 1259753 h 4281177"/>
              <a:gd name="connsiteX58" fmla="*/ 15443378 w 15911803"/>
              <a:gd name="connsiteY58" fmla="*/ 1259753 h 4281177"/>
              <a:gd name="connsiteX59" fmla="*/ 15362868 w 15911803"/>
              <a:gd name="connsiteY59" fmla="*/ 1307360 h 4281177"/>
              <a:gd name="connsiteX60" fmla="*/ 15362868 w 15911803"/>
              <a:gd name="connsiteY60" fmla="*/ 1318346 h 4281177"/>
              <a:gd name="connsiteX61" fmla="*/ 15399463 w 15911803"/>
              <a:gd name="connsiteY61" fmla="*/ 1332994 h 4281177"/>
              <a:gd name="connsiteX62" fmla="*/ 15501931 w 15911803"/>
              <a:gd name="connsiteY62" fmla="*/ 1358629 h 4281177"/>
              <a:gd name="connsiteX63" fmla="*/ 15560484 w 15911803"/>
              <a:gd name="connsiteY63" fmla="*/ 1358629 h 4281177"/>
              <a:gd name="connsiteX64" fmla="*/ 15589761 w 15911803"/>
              <a:gd name="connsiteY64" fmla="*/ 1329332 h 4281177"/>
              <a:gd name="connsiteX65" fmla="*/ 15622697 w 15911803"/>
              <a:gd name="connsiteY65" fmla="*/ 1358629 h 4281177"/>
              <a:gd name="connsiteX66" fmla="*/ 15710527 w 15911803"/>
              <a:gd name="connsiteY66" fmla="*/ 1358629 h 4281177"/>
              <a:gd name="connsiteX67" fmla="*/ 15758101 w 15911803"/>
              <a:gd name="connsiteY67" fmla="*/ 1398912 h 4281177"/>
              <a:gd name="connsiteX68" fmla="*/ 15688569 w 15911803"/>
              <a:gd name="connsiteY68" fmla="*/ 1486801 h 4281177"/>
              <a:gd name="connsiteX69" fmla="*/ 15512910 w 15911803"/>
              <a:gd name="connsiteY69" fmla="*/ 1527084 h 4281177"/>
              <a:gd name="connsiteX70" fmla="*/ 15651974 w 15911803"/>
              <a:gd name="connsiteY70" fmla="*/ 1582015 h 4281177"/>
              <a:gd name="connsiteX71" fmla="*/ 15684909 w 15911803"/>
              <a:gd name="connsiteY71" fmla="*/ 1614974 h 4281177"/>
              <a:gd name="connsiteX72" fmla="*/ 15772739 w 15911803"/>
              <a:gd name="connsiteY72" fmla="*/ 1614974 h 4281177"/>
              <a:gd name="connsiteX73" fmla="*/ 15911803 w 15911803"/>
              <a:gd name="connsiteY73" fmla="*/ 1732160 h 4281177"/>
              <a:gd name="connsiteX74" fmla="*/ 15864229 w 15911803"/>
              <a:gd name="connsiteY74" fmla="*/ 1746808 h 4281177"/>
              <a:gd name="connsiteX75" fmla="*/ 15856909 w 15911803"/>
              <a:gd name="connsiteY75" fmla="*/ 1816388 h 4281177"/>
              <a:gd name="connsiteX76" fmla="*/ 15893505 w 15911803"/>
              <a:gd name="connsiteY76" fmla="*/ 1871319 h 4281177"/>
              <a:gd name="connsiteX77" fmla="*/ 15845931 w 15911803"/>
              <a:gd name="connsiteY77" fmla="*/ 1926250 h 4281177"/>
              <a:gd name="connsiteX78" fmla="*/ 15721505 w 15911803"/>
              <a:gd name="connsiteY78" fmla="*/ 1926250 h 4281177"/>
              <a:gd name="connsiteX79" fmla="*/ 15681249 w 15911803"/>
              <a:gd name="connsiteY79" fmla="*/ 1962871 h 4281177"/>
              <a:gd name="connsiteX80" fmla="*/ 15527548 w 15911803"/>
              <a:gd name="connsiteY80" fmla="*/ 1962871 h 4281177"/>
              <a:gd name="connsiteX81" fmla="*/ 15501931 w 15911803"/>
              <a:gd name="connsiteY81" fmla="*/ 1992167 h 4281177"/>
              <a:gd name="connsiteX82" fmla="*/ 15209166 w 15911803"/>
              <a:gd name="connsiteY82" fmla="*/ 1992167 h 4281177"/>
              <a:gd name="connsiteX83" fmla="*/ 15124996 w 15911803"/>
              <a:gd name="connsiteY83" fmla="*/ 2025126 h 4281177"/>
              <a:gd name="connsiteX84" fmla="*/ 15092060 w 15911803"/>
              <a:gd name="connsiteY84" fmla="*/ 1995829 h 4281177"/>
              <a:gd name="connsiteX85" fmla="*/ 15000570 w 15911803"/>
              <a:gd name="connsiteY85" fmla="*/ 1995829 h 4281177"/>
              <a:gd name="connsiteX86" fmla="*/ 14967634 w 15911803"/>
              <a:gd name="connsiteY86" fmla="*/ 2025126 h 4281177"/>
              <a:gd name="connsiteX87" fmla="*/ 14436997 w 15911803"/>
              <a:gd name="connsiteY87" fmla="*/ 2025126 h 4281177"/>
              <a:gd name="connsiteX88" fmla="*/ 14415040 w 15911803"/>
              <a:gd name="connsiteY88" fmla="*/ 2047098 h 4281177"/>
              <a:gd name="connsiteX89" fmla="*/ 14404061 w 15911803"/>
              <a:gd name="connsiteY89" fmla="*/ 2058085 h 4281177"/>
              <a:gd name="connsiteX90" fmla="*/ 14005168 w 15911803"/>
              <a:gd name="connsiteY90" fmla="*/ 2058085 h 4281177"/>
              <a:gd name="connsiteX91" fmla="*/ 13968572 w 15911803"/>
              <a:gd name="connsiteY91" fmla="*/ 2087381 h 4281177"/>
              <a:gd name="connsiteX92" fmla="*/ 13942955 w 15911803"/>
              <a:gd name="connsiteY92" fmla="*/ 2061747 h 4281177"/>
              <a:gd name="connsiteX93" fmla="*/ 13910019 w 15911803"/>
              <a:gd name="connsiteY93" fmla="*/ 2087381 h 4281177"/>
              <a:gd name="connsiteX94" fmla="*/ 13576998 w 15911803"/>
              <a:gd name="connsiteY94" fmla="*/ 2087381 h 4281177"/>
              <a:gd name="connsiteX95" fmla="*/ 13503807 w 15911803"/>
              <a:gd name="connsiteY95" fmla="*/ 2120340 h 4281177"/>
              <a:gd name="connsiteX96" fmla="*/ 13474531 w 15911803"/>
              <a:gd name="connsiteY96" fmla="*/ 2091043 h 4281177"/>
              <a:gd name="connsiteX97" fmla="*/ 13437935 w 15911803"/>
              <a:gd name="connsiteY97" fmla="*/ 2120340 h 4281177"/>
              <a:gd name="connsiteX98" fmla="*/ 13408658 w 15911803"/>
              <a:gd name="connsiteY98" fmla="*/ 2116678 h 4281177"/>
              <a:gd name="connsiteX99" fmla="*/ 13375722 w 15911803"/>
              <a:gd name="connsiteY99" fmla="*/ 2091043 h 4281177"/>
              <a:gd name="connsiteX100" fmla="*/ 13346446 w 15911803"/>
              <a:gd name="connsiteY100" fmla="*/ 2120340 h 4281177"/>
              <a:gd name="connsiteX101" fmla="*/ 12973170 w 15911803"/>
              <a:gd name="connsiteY101" fmla="*/ 2120340 h 4281177"/>
              <a:gd name="connsiteX102" fmla="*/ 12943893 w 15911803"/>
              <a:gd name="connsiteY102" fmla="*/ 2149636 h 4281177"/>
              <a:gd name="connsiteX103" fmla="*/ 12636489 w 15911803"/>
              <a:gd name="connsiteY103" fmla="*/ 2149636 h 4281177"/>
              <a:gd name="connsiteX104" fmla="*/ 12596234 w 15911803"/>
              <a:gd name="connsiteY104" fmla="*/ 2189919 h 4281177"/>
              <a:gd name="connsiteX105" fmla="*/ 12431554 w 15911803"/>
              <a:gd name="connsiteY105" fmla="*/ 2189919 h 4281177"/>
              <a:gd name="connsiteX106" fmla="*/ 12431554 w 15911803"/>
              <a:gd name="connsiteY106" fmla="*/ 2266823 h 4281177"/>
              <a:gd name="connsiteX107" fmla="*/ 12504745 w 15911803"/>
              <a:gd name="connsiteY107" fmla="*/ 2219216 h 4281177"/>
              <a:gd name="connsiteX108" fmla="*/ 12541341 w 15911803"/>
              <a:gd name="connsiteY108" fmla="*/ 2248512 h 4281177"/>
              <a:gd name="connsiteX109" fmla="*/ 13039042 w 15911803"/>
              <a:gd name="connsiteY109" fmla="*/ 2248512 h 4281177"/>
              <a:gd name="connsiteX110" fmla="*/ 13064659 w 15911803"/>
              <a:gd name="connsiteY110" fmla="*/ 2277809 h 4281177"/>
              <a:gd name="connsiteX111" fmla="*/ 13097595 w 15911803"/>
              <a:gd name="connsiteY111" fmla="*/ 2248512 h 4281177"/>
              <a:gd name="connsiteX112" fmla="*/ 13126872 w 15911803"/>
              <a:gd name="connsiteY112" fmla="*/ 2274147 h 4281177"/>
              <a:gd name="connsiteX113" fmla="*/ 13258616 w 15911803"/>
              <a:gd name="connsiteY113" fmla="*/ 2285133 h 4281177"/>
              <a:gd name="connsiteX114" fmla="*/ 13287893 w 15911803"/>
              <a:gd name="connsiteY114" fmla="*/ 2310768 h 4281177"/>
              <a:gd name="connsiteX115" fmla="*/ 13317169 w 15911803"/>
              <a:gd name="connsiteY115" fmla="*/ 2281471 h 4281177"/>
              <a:gd name="connsiteX116" fmla="*/ 13595296 w 15911803"/>
              <a:gd name="connsiteY116" fmla="*/ 2281471 h 4281177"/>
              <a:gd name="connsiteX117" fmla="*/ 13624573 w 15911803"/>
              <a:gd name="connsiteY117" fmla="*/ 2252174 h 4281177"/>
              <a:gd name="connsiteX118" fmla="*/ 13657509 w 15911803"/>
              <a:gd name="connsiteY118" fmla="*/ 2277809 h 4281177"/>
              <a:gd name="connsiteX119" fmla="*/ 13690445 w 15911803"/>
              <a:gd name="connsiteY119" fmla="*/ 2248512 h 4281177"/>
              <a:gd name="connsiteX120" fmla="*/ 13814870 w 15911803"/>
              <a:gd name="connsiteY120" fmla="*/ 2248512 h 4281177"/>
              <a:gd name="connsiteX121" fmla="*/ 13847806 w 15911803"/>
              <a:gd name="connsiteY121" fmla="*/ 2281471 h 4281177"/>
              <a:gd name="connsiteX122" fmla="*/ 14063721 w 15911803"/>
              <a:gd name="connsiteY122" fmla="*/ 2281471 h 4281177"/>
              <a:gd name="connsiteX123" fmla="*/ 14096657 w 15911803"/>
              <a:gd name="connsiteY123" fmla="*/ 2248512 h 4281177"/>
              <a:gd name="connsiteX124" fmla="*/ 14122274 w 15911803"/>
              <a:gd name="connsiteY124" fmla="*/ 2277809 h 4281177"/>
              <a:gd name="connsiteX125" fmla="*/ 14268657 w 15911803"/>
              <a:gd name="connsiteY125" fmla="*/ 2277809 h 4281177"/>
              <a:gd name="connsiteX126" fmla="*/ 14327210 w 15911803"/>
              <a:gd name="connsiteY126" fmla="*/ 2314429 h 4281177"/>
              <a:gd name="connsiteX127" fmla="*/ 14393082 w 15911803"/>
              <a:gd name="connsiteY127" fmla="*/ 2277809 h 4281177"/>
              <a:gd name="connsiteX128" fmla="*/ 14440657 w 15911803"/>
              <a:gd name="connsiteY128" fmla="*/ 2310768 h 4281177"/>
              <a:gd name="connsiteX129" fmla="*/ 14469933 w 15911803"/>
              <a:gd name="connsiteY129" fmla="*/ 2281471 h 4281177"/>
              <a:gd name="connsiteX130" fmla="*/ 14546784 w 15911803"/>
              <a:gd name="connsiteY130" fmla="*/ 2325416 h 4281177"/>
              <a:gd name="connsiteX131" fmla="*/ 14524827 w 15911803"/>
              <a:gd name="connsiteY131" fmla="*/ 2373023 h 4281177"/>
              <a:gd name="connsiteX132" fmla="*/ 14440657 w 15911803"/>
              <a:gd name="connsiteY132" fmla="*/ 2424292 h 4281177"/>
              <a:gd name="connsiteX133" fmla="*/ 14510188 w 15911803"/>
              <a:gd name="connsiteY133" fmla="*/ 2449926 h 4281177"/>
              <a:gd name="connsiteX134" fmla="*/ 14532146 w 15911803"/>
              <a:gd name="connsiteY134" fmla="*/ 2471899 h 4281177"/>
              <a:gd name="connsiteX135" fmla="*/ 14623635 w 15911803"/>
              <a:gd name="connsiteY135" fmla="*/ 2471899 h 4281177"/>
              <a:gd name="connsiteX136" fmla="*/ 14656571 w 15911803"/>
              <a:gd name="connsiteY136" fmla="*/ 2438940 h 4281177"/>
              <a:gd name="connsiteX137" fmla="*/ 14685848 w 15911803"/>
              <a:gd name="connsiteY137" fmla="*/ 2468236 h 4281177"/>
              <a:gd name="connsiteX138" fmla="*/ 14795635 w 15911803"/>
              <a:gd name="connsiteY138" fmla="*/ 2468236 h 4281177"/>
              <a:gd name="connsiteX139" fmla="*/ 14890783 w 15911803"/>
              <a:gd name="connsiteY139" fmla="*/ 2519506 h 4281177"/>
              <a:gd name="connsiteX140" fmla="*/ 14846869 w 15911803"/>
              <a:gd name="connsiteY140" fmla="*/ 2563451 h 4281177"/>
              <a:gd name="connsiteX141" fmla="*/ 14770018 w 15911803"/>
              <a:gd name="connsiteY141" fmla="*/ 2585423 h 4281177"/>
              <a:gd name="connsiteX142" fmla="*/ 14780996 w 15911803"/>
              <a:gd name="connsiteY142" fmla="*/ 2596409 h 4281177"/>
              <a:gd name="connsiteX143" fmla="*/ 15029847 w 15911803"/>
              <a:gd name="connsiteY143" fmla="*/ 2596409 h 4281177"/>
              <a:gd name="connsiteX144" fmla="*/ 15117677 w 15911803"/>
              <a:gd name="connsiteY144" fmla="*/ 2651340 h 4281177"/>
              <a:gd name="connsiteX145" fmla="*/ 15223804 w 15911803"/>
              <a:gd name="connsiteY145" fmla="*/ 2665989 h 4281177"/>
              <a:gd name="connsiteX146" fmla="*/ 15234783 w 15911803"/>
              <a:gd name="connsiteY146" fmla="*/ 2706271 h 4281177"/>
              <a:gd name="connsiteX147" fmla="*/ 15124996 w 15911803"/>
              <a:gd name="connsiteY147" fmla="*/ 2695285 h 4281177"/>
              <a:gd name="connsiteX148" fmla="*/ 15092060 w 15911803"/>
              <a:gd name="connsiteY148" fmla="*/ 2720920 h 4281177"/>
              <a:gd name="connsiteX149" fmla="*/ 15004230 w 15911803"/>
              <a:gd name="connsiteY149" fmla="*/ 2728244 h 4281177"/>
              <a:gd name="connsiteX150" fmla="*/ 15095719 w 15911803"/>
              <a:gd name="connsiteY150" fmla="*/ 2790499 h 4281177"/>
              <a:gd name="connsiteX151" fmla="*/ 15373846 w 15911803"/>
              <a:gd name="connsiteY151" fmla="*/ 2790499 h 4281177"/>
              <a:gd name="connsiteX152" fmla="*/ 15392144 w 15911803"/>
              <a:gd name="connsiteY152" fmla="*/ 2863740 h 4281177"/>
              <a:gd name="connsiteX153" fmla="*/ 15242102 w 15911803"/>
              <a:gd name="connsiteY153" fmla="*/ 2922334 h 4281177"/>
              <a:gd name="connsiteX154" fmla="*/ 15110358 w 15911803"/>
              <a:gd name="connsiteY154" fmla="*/ 2966278 h 4281177"/>
              <a:gd name="connsiteX155" fmla="*/ 15256740 w 15911803"/>
              <a:gd name="connsiteY155" fmla="*/ 2988251 h 4281177"/>
              <a:gd name="connsiteX156" fmla="*/ 15267719 w 15911803"/>
              <a:gd name="connsiteY156" fmla="*/ 2999237 h 4281177"/>
              <a:gd name="connsiteX157" fmla="*/ 15296996 w 15911803"/>
              <a:gd name="connsiteY157" fmla="*/ 3010223 h 4281177"/>
              <a:gd name="connsiteX158" fmla="*/ 15395804 w 15911803"/>
              <a:gd name="connsiteY158" fmla="*/ 3010223 h 4281177"/>
              <a:gd name="connsiteX159" fmla="*/ 15549506 w 15911803"/>
              <a:gd name="connsiteY159" fmla="*/ 3120085 h 4281177"/>
              <a:gd name="connsiteX160" fmla="*/ 15395804 w 15911803"/>
              <a:gd name="connsiteY160" fmla="*/ 3145720 h 4281177"/>
              <a:gd name="connsiteX161" fmla="*/ 15512910 w 15911803"/>
              <a:gd name="connsiteY161" fmla="*/ 3277555 h 4281177"/>
              <a:gd name="connsiteX162" fmla="*/ 15447038 w 15911803"/>
              <a:gd name="connsiteY162" fmla="*/ 3295865 h 4281177"/>
              <a:gd name="connsiteX163" fmla="*/ 15384825 w 15911803"/>
              <a:gd name="connsiteY163" fmla="*/ 3332486 h 4281177"/>
              <a:gd name="connsiteX164" fmla="*/ 15344570 w 15911803"/>
              <a:gd name="connsiteY164" fmla="*/ 3299527 h 4281177"/>
              <a:gd name="connsiteX165" fmla="*/ 15311634 w 15911803"/>
              <a:gd name="connsiteY165" fmla="*/ 3328823 h 4281177"/>
              <a:gd name="connsiteX166" fmla="*/ 15249421 w 15911803"/>
              <a:gd name="connsiteY166" fmla="*/ 3328823 h 4281177"/>
              <a:gd name="connsiteX167" fmla="*/ 15216485 w 15911803"/>
              <a:gd name="connsiteY167" fmla="*/ 3358120 h 4281177"/>
              <a:gd name="connsiteX168" fmla="*/ 14283295 w 15911803"/>
              <a:gd name="connsiteY168" fmla="*/ 3358120 h 4281177"/>
              <a:gd name="connsiteX169" fmla="*/ 14246699 w 15911803"/>
              <a:gd name="connsiteY169" fmla="*/ 3325162 h 4281177"/>
              <a:gd name="connsiteX170" fmla="*/ 14232061 w 15911803"/>
              <a:gd name="connsiteY170" fmla="*/ 3372768 h 4281177"/>
              <a:gd name="connsiteX171" fmla="*/ 14323550 w 15911803"/>
              <a:gd name="connsiteY171" fmla="*/ 3420375 h 4281177"/>
              <a:gd name="connsiteX172" fmla="*/ 14404061 w 15911803"/>
              <a:gd name="connsiteY172" fmla="*/ 3453334 h 4281177"/>
              <a:gd name="connsiteX173" fmla="*/ 14488231 w 15911803"/>
              <a:gd name="connsiteY173" fmla="*/ 3453334 h 4281177"/>
              <a:gd name="connsiteX174" fmla="*/ 14554103 w 15911803"/>
              <a:gd name="connsiteY174" fmla="*/ 3497279 h 4281177"/>
              <a:gd name="connsiteX175" fmla="*/ 14469933 w 15911803"/>
              <a:gd name="connsiteY175" fmla="*/ 3515589 h 4281177"/>
              <a:gd name="connsiteX176" fmla="*/ 14436997 w 15911803"/>
              <a:gd name="connsiteY176" fmla="*/ 3489954 h 4281177"/>
              <a:gd name="connsiteX177" fmla="*/ 14393082 w 15911803"/>
              <a:gd name="connsiteY177" fmla="*/ 3533899 h 4281177"/>
              <a:gd name="connsiteX178" fmla="*/ 14499210 w 15911803"/>
              <a:gd name="connsiteY178" fmla="*/ 3552210 h 4281177"/>
              <a:gd name="connsiteX179" fmla="*/ 14532146 w 15911803"/>
              <a:gd name="connsiteY179" fmla="*/ 3581506 h 4281177"/>
              <a:gd name="connsiteX180" fmla="*/ 14619975 w 15911803"/>
              <a:gd name="connsiteY180" fmla="*/ 3581506 h 4281177"/>
              <a:gd name="connsiteX181" fmla="*/ 14671209 w 15911803"/>
              <a:gd name="connsiteY181" fmla="*/ 3654748 h 4281177"/>
              <a:gd name="connsiteX182" fmla="*/ 14601678 w 15911803"/>
              <a:gd name="connsiteY182" fmla="*/ 3702355 h 4281177"/>
              <a:gd name="connsiteX183" fmla="*/ 14513848 w 15911803"/>
              <a:gd name="connsiteY183" fmla="*/ 3717003 h 4281177"/>
              <a:gd name="connsiteX184" fmla="*/ 14652912 w 15911803"/>
              <a:gd name="connsiteY184" fmla="*/ 3801231 h 4281177"/>
              <a:gd name="connsiteX185" fmla="*/ 14795635 w 15911803"/>
              <a:gd name="connsiteY185" fmla="*/ 3848838 h 4281177"/>
              <a:gd name="connsiteX186" fmla="*/ 14795635 w 15911803"/>
              <a:gd name="connsiteY186" fmla="*/ 3896444 h 4281177"/>
              <a:gd name="connsiteX187" fmla="*/ 14715124 w 15911803"/>
              <a:gd name="connsiteY187" fmla="*/ 3900107 h 4281177"/>
              <a:gd name="connsiteX188" fmla="*/ 14700486 w 15911803"/>
              <a:gd name="connsiteY188" fmla="*/ 3944051 h 4281177"/>
              <a:gd name="connsiteX189" fmla="*/ 14766358 w 15911803"/>
              <a:gd name="connsiteY189" fmla="*/ 3977010 h 4281177"/>
              <a:gd name="connsiteX190" fmla="*/ 14766358 w 15911803"/>
              <a:gd name="connsiteY190" fmla="*/ 4009969 h 4281177"/>
              <a:gd name="connsiteX191" fmla="*/ 14660231 w 15911803"/>
              <a:gd name="connsiteY191" fmla="*/ 4028279 h 4281177"/>
              <a:gd name="connsiteX192" fmla="*/ 14627295 w 15911803"/>
              <a:gd name="connsiteY192" fmla="*/ 4053914 h 4281177"/>
              <a:gd name="connsiteX193" fmla="*/ 14594358 w 15911803"/>
              <a:gd name="connsiteY193" fmla="*/ 4028279 h 4281177"/>
              <a:gd name="connsiteX194" fmla="*/ 14499210 w 15911803"/>
              <a:gd name="connsiteY194" fmla="*/ 4090534 h 4281177"/>
              <a:gd name="connsiteX195" fmla="*/ 14188146 w 15911803"/>
              <a:gd name="connsiteY195" fmla="*/ 4090534 h 4281177"/>
              <a:gd name="connsiteX196" fmla="*/ 14158870 w 15911803"/>
              <a:gd name="connsiteY196" fmla="*/ 4061238 h 4281177"/>
              <a:gd name="connsiteX197" fmla="*/ 13847806 w 15911803"/>
              <a:gd name="connsiteY197" fmla="*/ 4061238 h 4281177"/>
              <a:gd name="connsiteX198" fmla="*/ 13814870 w 15911803"/>
              <a:gd name="connsiteY198" fmla="*/ 4024617 h 4281177"/>
              <a:gd name="connsiteX199" fmla="*/ 13503807 w 15911803"/>
              <a:gd name="connsiteY199" fmla="*/ 4024617 h 4281177"/>
              <a:gd name="connsiteX200" fmla="*/ 13474531 w 15911803"/>
              <a:gd name="connsiteY200" fmla="*/ 3995320 h 4281177"/>
              <a:gd name="connsiteX201" fmla="*/ 13196403 w 15911803"/>
              <a:gd name="connsiteY201" fmla="*/ 3995320 h 4281177"/>
              <a:gd name="connsiteX202" fmla="*/ 13163467 w 15911803"/>
              <a:gd name="connsiteY202" fmla="*/ 3966024 h 4281177"/>
              <a:gd name="connsiteX203" fmla="*/ 13050021 w 15911803"/>
              <a:gd name="connsiteY203" fmla="*/ 3962362 h 4281177"/>
              <a:gd name="connsiteX204" fmla="*/ 13057340 w 15911803"/>
              <a:gd name="connsiteY204" fmla="*/ 4046589 h 4281177"/>
              <a:gd name="connsiteX205" fmla="*/ 13082957 w 15911803"/>
              <a:gd name="connsiteY205" fmla="*/ 4057576 h 4281177"/>
              <a:gd name="connsiteX206" fmla="*/ 13071978 w 15911803"/>
              <a:gd name="connsiteY206" fmla="*/ 4083210 h 4281177"/>
              <a:gd name="connsiteX207" fmla="*/ 13042701 w 15911803"/>
              <a:gd name="connsiteY207" fmla="*/ 4090534 h 4281177"/>
              <a:gd name="connsiteX208" fmla="*/ 12943893 w 15911803"/>
              <a:gd name="connsiteY208" fmla="*/ 4090534 h 4281177"/>
              <a:gd name="connsiteX209" fmla="*/ 12907297 w 15911803"/>
              <a:gd name="connsiteY209" fmla="*/ 4053914 h 4281177"/>
              <a:gd name="connsiteX210" fmla="*/ 12859723 w 15911803"/>
              <a:gd name="connsiteY210" fmla="*/ 4119831 h 4281177"/>
              <a:gd name="connsiteX211" fmla="*/ 12786532 w 15911803"/>
              <a:gd name="connsiteY211" fmla="*/ 4119831 h 4281177"/>
              <a:gd name="connsiteX212" fmla="*/ 12757255 w 15911803"/>
              <a:gd name="connsiteY212" fmla="*/ 4152789 h 4281177"/>
              <a:gd name="connsiteX213" fmla="*/ 12654787 w 15911803"/>
              <a:gd name="connsiteY213" fmla="*/ 4127155 h 4281177"/>
              <a:gd name="connsiteX214" fmla="*/ 12643809 w 15911803"/>
              <a:gd name="connsiteY214" fmla="*/ 4171100 h 4281177"/>
              <a:gd name="connsiteX215" fmla="*/ 12599894 w 15911803"/>
              <a:gd name="connsiteY215" fmla="*/ 4193072 h 4281177"/>
              <a:gd name="connsiteX216" fmla="*/ 12552319 w 15911803"/>
              <a:gd name="connsiteY216" fmla="*/ 4123493 h 4281177"/>
              <a:gd name="connsiteX217" fmla="*/ 12446192 w 15911803"/>
              <a:gd name="connsiteY217" fmla="*/ 4123493 h 4281177"/>
              <a:gd name="connsiteX218" fmla="*/ 12416915 w 15911803"/>
              <a:gd name="connsiteY218" fmla="*/ 4185748 h 4281177"/>
              <a:gd name="connsiteX219" fmla="*/ 12351043 w 15911803"/>
              <a:gd name="connsiteY219" fmla="*/ 4185748 h 4281177"/>
              <a:gd name="connsiteX220" fmla="*/ 12321766 w 15911803"/>
              <a:gd name="connsiteY220" fmla="*/ 4119831 h 4281177"/>
              <a:gd name="connsiteX221" fmla="*/ 12274192 w 15911803"/>
              <a:gd name="connsiteY221" fmla="*/ 4207721 h 4281177"/>
              <a:gd name="connsiteX222" fmla="*/ 12168065 w 15911803"/>
              <a:gd name="connsiteY222" fmla="*/ 4185748 h 4281177"/>
              <a:gd name="connsiteX223" fmla="*/ 12135129 w 15911803"/>
              <a:gd name="connsiteY223" fmla="*/ 4215045 h 4281177"/>
              <a:gd name="connsiteX224" fmla="*/ 12116831 w 15911803"/>
              <a:gd name="connsiteY224" fmla="*/ 4116169 h 4281177"/>
              <a:gd name="connsiteX225" fmla="*/ 12113171 w 15911803"/>
              <a:gd name="connsiteY225" fmla="*/ 4101520 h 4281177"/>
              <a:gd name="connsiteX226" fmla="*/ 12018022 w 15911803"/>
              <a:gd name="connsiteY226" fmla="*/ 3995320 h 4281177"/>
              <a:gd name="connsiteX227" fmla="*/ 11963129 w 15911803"/>
              <a:gd name="connsiteY227" fmla="*/ 4028279 h 4281177"/>
              <a:gd name="connsiteX228" fmla="*/ 11963129 w 15911803"/>
              <a:gd name="connsiteY228" fmla="*/ 4039265 h 4281177"/>
              <a:gd name="connsiteX229" fmla="*/ 12021682 w 15911803"/>
              <a:gd name="connsiteY229" fmla="*/ 4108845 h 4281177"/>
              <a:gd name="connsiteX230" fmla="*/ 11937512 w 15911803"/>
              <a:gd name="connsiteY230" fmla="*/ 4152789 h 4281177"/>
              <a:gd name="connsiteX231" fmla="*/ 11893597 w 15911803"/>
              <a:gd name="connsiteY231" fmla="*/ 4152789 h 4281177"/>
              <a:gd name="connsiteX232" fmla="*/ 11809427 w 15911803"/>
              <a:gd name="connsiteY232" fmla="*/ 4108845 h 4281177"/>
              <a:gd name="connsiteX233" fmla="*/ 11897257 w 15911803"/>
              <a:gd name="connsiteY233" fmla="*/ 4050251 h 4281177"/>
              <a:gd name="connsiteX234" fmla="*/ 11853342 w 15911803"/>
              <a:gd name="connsiteY234" fmla="*/ 3966024 h 4281177"/>
              <a:gd name="connsiteX235" fmla="*/ 11761853 w 15911803"/>
              <a:gd name="connsiteY235" fmla="*/ 3966024 h 4281177"/>
              <a:gd name="connsiteX236" fmla="*/ 11685002 w 15911803"/>
              <a:gd name="connsiteY236" fmla="*/ 4061238 h 4281177"/>
              <a:gd name="connsiteX237" fmla="*/ 11652065 w 15911803"/>
              <a:gd name="connsiteY237" fmla="*/ 4039265 h 4281177"/>
              <a:gd name="connsiteX238" fmla="*/ 11685002 w 15911803"/>
              <a:gd name="connsiteY238" fmla="*/ 4061238 h 4281177"/>
              <a:gd name="connsiteX239" fmla="*/ 11681342 w 15911803"/>
              <a:gd name="connsiteY239" fmla="*/ 4138141 h 4281177"/>
              <a:gd name="connsiteX240" fmla="*/ 11571555 w 15911803"/>
              <a:gd name="connsiteY240" fmla="*/ 4248003 h 4281177"/>
              <a:gd name="connsiteX241" fmla="*/ 11531300 w 15911803"/>
              <a:gd name="connsiteY241" fmla="*/ 4244341 h 4281177"/>
              <a:gd name="connsiteX242" fmla="*/ 11520321 w 15911803"/>
              <a:gd name="connsiteY242" fmla="*/ 4163776 h 4281177"/>
              <a:gd name="connsiteX243" fmla="*/ 11469087 w 15911803"/>
              <a:gd name="connsiteY243" fmla="*/ 4163776 h 4281177"/>
              <a:gd name="connsiteX244" fmla="*/ 11381257 w 15911803"/>
              <a:gd name="connsiteY244" fmla="*/ 4251666 h 4281177"/>
              <a:gd name="connsiteX245" fmla="*/ 11297087 w 15911803"/>
              <a:gd name="connsiteY245" fmla="*/ 4218707 h 4281177"/>
              <a:gd name="connsiteX246" fmla="*/ 11231215 w 15911803"/>
              <a:gd name="connsiteY246" fmla="*/ 4185748 h 4281177"/>
              <a:gd name="connsiteX247" fmla="*/ 11179981 w 15911803"/>
              <a:gd name="connsiteY247" fmla="*/ 4226031 h 4281177"/>
              <a:gd name="connsiteX248" fmla="*/ 11099471 w 15911803"/>
              <a:gd name="connsiteY248" fmla="*/ 4152789 h 4281177"/>
              <a:gd name="connsiteX249" fmla="*/ 11026279 w 15911803"/>
              <a:gd name="connsiteY249" fmla="*/ 4200397 h 4281177"/>
              <a:gd name="connsiteX250" fmla="*/ 11015301 w 15911803"/>
              <a:gd name="connsiteY250" fmla="*/ 4273638 h 4281177"/>
              <a:gd name="connsiteX251" fmla="*/ 10982364 w 15911803"/>
              <a:gd name="connsiteY251" fmla="*/ 4218707 h 4281177"/>
              <a:gd name="connsiteX252" fmla="*/ 10949428 w 15911803"/>
              <a:gd name="connsiteY252" fmla="*/ 4185748 h 4281177"/>
              <a:gd name="connsiteX253" fmla="*/ 10857939 w 15911803"/>
              <a:gd name="connsiteY253" fmla="*/ 4185748 h 4281177"/>
              <a:gd name="connsiteX254" fmla="*/ 10825003 w 15911803"/>
              <a:gd name="connsiteY254" fmla="*/ 4152789 h 4281177"/>
              <a:gd name="connsiteX255" fmla="*/ 10777429 w 15911803"/>
              <a:gd name="connsiteY255" fmla="*/ 4152789 h 4281177"/>
              <a:gd name="connsiteX256" fmla="*/ 10777429 w 15911803"/>
              <a:gd name="connsiteY256" fmla="*/ 4105183 h 4281177"/>
              <a:gd name="connsiteX257" fmla="*/ 10671301 w 15911803"/>
              <a:gd name="connsiteY257" fmla="*/ 4090534 h 4281177"/>
              <a:gd name="connsiteX258" fmla="*/ 10634706 w 15911803"/>
              <a:gd name="connsiteY258" fmla="*/ 4057576 h 4281177"/>
              <a:gd name="connsiteX259" fmla="*/ 10528578 w 15911803"/>
              <a:gd name="connsiteY259" fmla="*/ 4101520 h 4281177"/>
              <a:gd name="connsiteX260" fmla="*/ 10557855 w 15911803"/>
              <a:gd name="connsiteY260" fmla="*/ 4134479 h 4281177"/>
              <a:gd name="connsiteX261" fmla="*/ 10557855 w 15911803"/>
              <a:gd name="connsiteY261" fmla="*/ 4204059 h 4281177"/>
              <a:gd name="connsiteX262" fmla="*/ 10484663 w 15911803"/>
              <a:gd name="connsiteY262" fmla="*/ 4185748 h 4281177"/>
              <a:gd name="connsiteX263" fmla="*/ 10078451 w 15911803"/>
              <a:gd name="connsiteY263" fmla="*/ 4185748 h 4281177"/>
              <a:gd name="connsiteX264" fmla="*/ 10093089 w 15911803"/>
              <a:gd name="connsiteY264" fmla="*/ 4101520 h 4281177"/>
              <a:gd name="connsiteX265" fmla="*/ 9975983 w 15911803"/>
              <a:gd name="connsiteY265" fmla="*/ 4094196 h 4281177"/>
              <a:gd name="connsiteX266" fmla="*/ 10019898 w 15911803"/>
              <a:gd name="connsiteY266" fmla="*/ 4123493 h 4281177"/>
              <a:gd name="connsiteX267" fmla="*/ 10034536 w 15911803"/>
              <a:gd name="connsiteY267" fmla="*/ 4178424 h 4281177"/>
              <a:gd name="connsiteX268" fmla="*/ 9913771 w 15911803"/>
              <a:gd name="connsiteY268" fmla="*/ 4251666 h 4281177"/>
              <a:gd name="connsiteX269" fmla="*/ 9873515 w 15911803"/>
              <a:gd name="connsiteY269" fmla="*/ 4237017 h 4281177"/>
              <a:gd name="connsiteX270" fmla="*/ 9873515 w 15911803"/>
              <a:gd name="connsiteY270" fmla="*/ 4200397 h 4281177"/>
              <a:gd name="connsiteX271" fmla="*/ 9789345 w 15911803"/>
              <a:gd name="connsiteY271" fmla="*/ 4189410 h 4281177"/>
              <a:gd name="connsiteX272" fmla="*/ 9701516 w 15911803"/>
              <a:gd name="connsiteY272" fmla="*/ 4156452 h 4281177"/>
              <a:gd name="connsiteX273" fmla="*/ 9672239 w 15911803"/>
              <a:gd name="connsiteY273" fmla="*/ 4215045 h 4281177"/>
              <a:gd name="connsiteX274" fmla="*/ 9642962 w 15911803"/>
              <a:gd name="connsiteY274" fmla="*/ 4215045 h 4281177"/>
              <a:gd name="connsiteX275" fmla="*/ 9610026 w 15911803"/>
              <a:gd name="connsiteY275" fmla="*/ 4185748 h 4281177"/>
              <a:gd name="connsiteX276" fmla="*/ 9423388 w 15911803"/>
              <a:gd name="connsiteY276" fmla="*/ 4185748 h 4281177"/>
              <a:gd name="connsiteX277" fmla="*/ 9401431 w 15911803"/>
              <a:gd name="connsiteY277" fmla="*/ 4163776 h 4281177"/>
              <a:gd name="connsiteX278" fmla="*/ 9298963 w 15911803"/>
              <a:gd name="connsiteY278" fmla="*/ 4149127 h 4281177"/>
              <a:gd name="connsiteX279" fmla="*/ 9284325 w 15911803"/>
              <a:gd name="connsiteY279" fmla="*/ 4167438 h 4281177"/>
              <a:gd name="connsiteX280" fmla="*/ 9229431 w 15911803"/>
              <a:gd name="connsiteY280" fmla="*/ 4215045 h 4281177"/>
              <a:gd name="connsiteX281" fmla="*/ 9192836 w 15911803"/>
              <a:gd name="connsiteY281" fmla="*/ 4156452 h 4281177"/>
              <a:gd name="connsiteX282" fmla="*/ 9075729 w 15911803"/>
              <a:gd name="connsiteY282" fmla="*/ 4156452 h 4281177"/>
              <a:gd name="connsiteX283" fmla="*/ 9031815 w 15911803"/>
              <a:gd name="connsiteY283" fmla="*/ 4215045 h 4281177"/>
              <a:gd name="connsiteX284" fmla="*/ 8954964 w 15911803"/>
              <a:gd name="connsiteY284" fmla="*/ 4215045 h 4281177"/>
              <a:gd name="connsiteX285" fmla="*/ 8918368 w 15911803"/>
              <a:gd name="connsiteY285" fmla="*/ 4182086 h 4281177"/>
              <a:gd name="connsiteX286" fmla="*/ 8903730 w 15911803"/>
              <a:gd name="connsiteY286" fmla="*/ 4273638 h 4281177"/>
              <a:gd name="connsiteX287" fmla="*/ 8834198 w 15911803"/>
              <a:gd name="connsiteY287" fmla="*/ 4189410 h 4281177"/>
              <a:gd name="connsiteX288" fmla="*/ 8801262 w 15911803"/>
              <a:gd name="connsiteY288" fmla="*/ 4185748 h 4281177"/>
              <a:gd name="connsiteX289" fmla="*/ 8771985 w 15911803"/>
              <a:gd name="connsiteY289" fmla="*/ 4248003 h 4281177"/>
              <a:gd name="connsiteX290" fmla="*/ 8739049 w 15911803"/>
              <a:gd name="connsiteY290" fmla="*/ 4218707 h 4281177"/>
              <a:gd name="connsiteX291" fmla="*/ 8706113 w 15911803"/>
              <a:gd name="connsiteY291" fmla="*/ 4248003 h 4281177"/>
              <a:gd name="connsiteX292" fmla="*/ 8662198 w 15911803"/>
              <a:gd name="connsiteY292" fmla="*/ 4167438 h 4281177"/>
              <a:gd name="connsiteX293" fmla="*/ 8691475 w 15911803"/>
              <a:gd name="connsiteY293" fmla="*/ 4134479 h 4281177"/>
              <a:gd name="connsiteX294" fmla="*/ 8691475 w 15911803"/>
              <a:gd name="connsiteY294" fmla="*/ 4072224 h 4281177"/>
              <a:gd name="connsiteX295" fmla="*/ 8643900 w 15911803"/>
              <a:gd name="connsiteY295" fmla="*/ 4024617 h 4281177"/>
              <a:gd name="connsiteX296" fmla="*/ 8592666 w 15911803"/>
              <a:gd name="connsiteY296" fmla="*/ 4086872 h 4281177"/>
              <a:gd name="connsiteX297" fmla="*/ 8578028 w 15911803"/>
              <a:gd name="connsiteY297" fmla="*/ 4156452 h 4281177"/>
              <a:gd name="connsiteX298" fmla="*/ 8556071 w 15911803"/>
              <a:gd name="connsiteY298" fmla="*/ 4244341 h 4281177"/>
              <a:gd name="connsiteX299" fmla="*/ 8464581 w 15911803"/>
              <a:gd name="connsiteY299" fmla="*/ 4211383 h 4281177"/>
              <a:gd name="connsiteX300" fmla="*/ 8365773 w 15911803"/>
              <a:gd name="connsiteY300" fmla="*/ 4185748 h 4281177"/>
              <a:gd name="connsiteX301" fmla="*/ 8332837 w 15911803"/>
              <a:gd name="connsiteY301" fmla="*/ 4215045 h 4281177"/>
              <a:gd name="connsiteX302" fmla="*/ 8270625 w 15911803"/>
              <a:gd name="connsiteY302" fmla="*/ 4215045 h 4281177"/>
              <a:gd name="connsiteX303" fmla="*/ 8248667 w 15911803"/>
              <a:gd name="connsiteY303" fmla="*/ 4193072 h 4281177"/>
              <a:gd name="connsiteX304" fmla="*/ 8146199 w 15911803"/>
              <a:gd name="connsiteY304" fmla="*/ 4185748 h 4281177"/>
              <a:gd name="connsiteX305" fmla="*/ 8135221 w 15911803"/>
              <a:gd name="connsiteY305" fmla="*/ 4196734 h 4281177"/>
              <a:gd name="connsiteX306" fmla="*/ 8124241 w 15911803"/>
              <a:gd name="connsiteY306" fmla="*/ 4269976 h 4281177"/>
              <a:gd name="connsiteX307" fmla="*/ 8069348 w 15911803"/>
              <a:gd name="connsiteY307" fmla="*/ 4269976 h 4281177"/>
              <a:gd name="connsiteX308" fmla="*/ 8102284 w 15911803"/>
              <a:gd name="connsiteY308" fmla="*/ 4207721 h 4281177"/>
              <a:gd name="connsiteX309" fmla="*/ 7999817 w 15911803"/>
              <a:gd name="connsiteY309" fmla="*/ 4156452 h 4281177"/>
              <a:gd name="connsiteX310" fmla="*/ 7827817 w 15911803"/>
              <a:gd name="connsiteY310" fmla="*/ 4156452 h 4281177"/>
              <a:gd name="connsiteX311" fmla="*/ 7805859 w 15911803"/>
              <a:gd name="connsiteY311" fmla="*/ 4222369 h 4281177"/>
              <a:gd name="connsiteX312" fmla="*/ 7729009 w 15911803"/>
              <a:gd name="connsiteY312" fmla="*/ 4138141 h 4281177"/>
              <a:gd name="connsiteX313" fmla="*/ 7816838 w 15911803"/>
              <a:gd name="connsiteY313" fmla="*/ 4072224 h 4281177"/>
              <a:gd name="connsiteX314" fmla="*/ 7743647 w 15911803"/>
              <a:gd name="connsiteY314" fmla="*/ 4057576 h 4281177"/>
              <a:gd name="connsiteX315" fmla="*/ 7699731 w 15911803"/>
              <a:gd name="connsiteY315" fmla="*/ 4097858 h 4281177"/>
              <a:gd name="connsiteX316" fmla="*/ 7681434 w 15911803"/>
              <a:gd name="connsiteY316" fmla="*/ 4189410 h 4281177"/>
              <a:gd name="connsiteX317" fmla="*/ 7637519 w 15911803"/>
              <a:gd name="connsiteY317" fmla="*/ 4145465 h 4281177"/>
              <a:gd name="connsiteX318" fmla="*/ 7578966 w 15911803"/>
              <a:gd name="connsiteY318" fmla="*/ 4182086 h 4281177"/>
              <a:gd name="connsiteX319" fmla="*/ 7597264 w 15911803"/>
              <a:gd name="connsiteY319" fmla="*/ 4105183 h 4281177"/>
              <a:gd name="connsiteX320" fmla="*/ 7505775 w 15911803"/>
              <a:gd name="connsiteY320" fmla="*/ 4097858 h 4281177"/>
              <a:gd name="connsiteX321" fmla="*/ 7531391 w 15911803"/>
              <a:gd name="connsiteY321" fmla="*/ 4130817 h 4281177"/>
              <a:gd name="connsiteX322" fmla="*/ 7535051 w 15911803"/>
              <a:gd name="connsiteY322" fmla="*/ 4171100 h 4281177"/>
              <a:gd name="connsiteX323" fmla="*/ 7520413 w 15911803"/>
              <a:gd name="connsiteY323" fmla="*/ 4185748 h 4281177"/>
              <a:gd name="connsiteX324" fmla="*/ 7399647 w 15911803"/>
              <a:gd name="connsiteY324" fmla="*/ 4185748 h 4281177"/>
              <a:gd name="connsiteX325" fmla="*/ 7366711 w 15911803"/>
              <a:gd name="connsiteY325" fmla="*/ 4152789 h 4281177"/>
              <a:gd name="connsiteX326" fmla="*/ 7308158 w 15911803"/>
              <a:gd name="connsiteY326" fmla="*/ 4215045 h 4281177"/>
              <a:gd name="connsiteX327" fmla="*/ 7275222 w 15911803"/>
              <a:gd name="connsiteY327" fmla="*/ 4189410 h 4281177"/>
              <a:gd name="connsiteX328" fmla="*/ 7172754 w 15911803"/>
              <a:gd name="connsiteY328" fmla="*/ 4189410 h 4281177"/>
              <a:gd name="connsiteX329" fmla="*/ 7194712 w 15911803"/>
              <a:gd name="connsiteY329" fmla="*/ 4218707 h 4281177"/>
              <a:gd name="connsiteX330" fmla="*/ 7220329 w 15911803"/>
              <a:gd name="connsiteY330" fmla="*/ 4226031 h 4281177"/>
              <a:gd name="connsiteX331" fmla="*/ 7176414 w 15911803"/>
              <a:gd name="connsiteY331" fmla="*/ 4280962 h 4281177"/>
              <a:gd name="connsiteX332" fmla="*/ 7084925 w 15911803"/>
              <a:gd name="connsiteY332" fmla="*/ 4218707 h 4281177"/>
              <a:gd name="connsiteX333" fmla="*/ 7059308 w 15911803"/>
              <a:gd name="connsiteY333" fmla="*/ 4277300 h 4281177"/>
              <a:gd name="connsiteX334" fmla="*/ 7037351 w 15911803"/>
              <a:gd name="connsiteY334" fmla="*/ 4229693 h 4281177"/>
              <a:gd name="connsiteX335" fmla="*/ 6964159 w 15911803"/>
              <a:gd name="connsiteY335" fmla="*/ 4215045 h 4281177"/>
              <a:gd name="connsiteX336" fmla="*/ 6931223 w 15911803"/>
              <a:gd name="connsiteY336" fmla="*/ 4248003 h 4281177"/>
              <a:gd name="connsiteX337" fmla="*/ 6869010 w 15911803"/>
              <a:gd name="connsiteY337" fmla="*/ 4248003 h 4281177"/>
              <a:gd name="connsiteX338" fmla="*/ 6836074 w 15911803"/>
              <a:gd name="connsiteY338" fmla="*/ 4277300 h 4281177"/>
              <a:gd name="connsiteX339" fmla="*/ 6828755 w 15911803"/>
              <a:gd name="connsiteY339" fmla="*/ 4193072 h 4281177"/>
              <a:gd name="connsiteX340" fmla="*/ 6920244 w 15911803"/>
              <a:gd name="connsiteY340" fmla="*/ 4174762 h 4281177"/>
              <a:gd name="connsiteX341" fmla="*/ 6861691 w 15911803"/>
              <a:gd name="connsiteY341" fmla="*/ 4116169 h 4281177"/>
              <a:gd name="connsiteX342" fmla="*/ 6788500 w 15911803"/>
              <a:gd name="connsiteY342" fmla="*/ 4156452 h 4281177"/>
              <a:gd name="connsiteX343" fmla="*/ 6740926 w 15911803"/>
              <a:gd name="connsiteY343" fmla="*/ 4119831 h 4281177"/>
              <a:gd name="connsiteX344" fmla="*/ 6707989 w 15911803"/>
              <a:gd name="connsiteY344" fmla="*/ 4119831 h 4281177"/>
              <a:gd name="connsiteX345" fmla="*/ 6689692 w 15911803"/>
              <a:gd name="connsiteY345" fmla="*/ 4178424 h 4281177"/>
              <a:gd name="connsiteX346" fmla="*/ 6645776 w 15911803"/>
              <a:gd name="connsiteY346" fmla="*/ 4185748 h 4281177"/>
              <a:gd name="connsiteX347" fmla="*/ 6623819 w 15911803"/>
              <a:gd name="connsiteY347" fmla="*/ 4123493 h 4281177"/>
              <a:gd name="connsiteX348" fmla="*/ 6492075 w 15911803"/>
              <a:gd name="connsiteY348" fmla="*/ 4123493 h 4281177"/>
              <a:gd name="connsiteX349" fmla="*/ 6462798 w 15911803"/>
              <a:gd name="connsiteY349" fmla="*/ 4152789 h 4281177"/>
              <a:gd name="connsiteX350" fmla="*/ 6301777 w 15911803"/>
              <a:gd name="connsiteY350" fmla="*/ 4152789 h 4281177"/>
              <a:gd name="connsiteX351" fmla="*/ 6279819 w 15911803"/>
              <a:gd name="connsiteY351" fmla="*/ 4222369 h 4281177"/>
              <a:gd name="connsiteX352" fmla="*/ 6188331 w 15911803"/>
              <a:gd name="connsiteY352" fmla="*/ 4094196 h 4281177"/>
              <a:gd name="connsiteX353" fmla="*/ 6074884 w 15911803"/>
              <a:gd name="connsiteY353" fmla="*/ 4207721 h 4281177"/>
              <a:gd name="connsiteX354" fmla="*/ 6063905 w 15911803"/>
              <a:gd name="connsiteY354" fmla="*/ 4248003 h 4281177"/>
              <a:gd name="connsiteX355" fmla="*/ 6038288 w 15911803"/>
              <a:gd name="connsiteY355" fmla="*/ 4163776 h 4281177"/>
              <a:gd name="connsiteX356" fmla="*/ 5946799 w 15911803"/>
              <a:gd name="connsiteY356" fmla="*/ 4119831 h 4281177"/>
              <a:gd name="connsiteX357" fmla="*/ 5877267 w 15911803"/>
              <a:gd name="connsiteY357" fmla="*/ 4178424 h 4281177"/>
              <a:gd name="connsiteX358" fmla="*/ 5778459 w 15911803"/>
              <a:gd name="connsiteY358" fmla="*/ 4156452 h 4281177"/>
              <a:gd name="connsiteX359" fmla="*/ 5595481 w 15911803"/>
              <a:gd name="connsiteY359" fmla="*/ 4156452 h 4281177"/>
              <a:gd name="connsiteX360" fmla="*/ 5558885 w 15911803"/>
              <a:gd name="connsiteY360" fmla="*/ 4123493 h 4281177"/>
              <a:gd name="connsiteX361" fmla="*/ 5529608 w 15911803"/>
              <a:gd name="connsiteY361" fmla="*/ 4185748 h 4281177"/>
              <a:gd name="connsiteX362" fmla="*/ 5507651 w 15911803"/>
              <a:gd name="connsiteY362" fmla="*/ 4163776 h 4281177"/>
              <a:gd name="connsiteX363" fmla="*/ 5405183 w 15911803"/>
              <a:gd name="connsiteY363" fmla="*/ 4149127 h 4281177"/>
              <a:gd name="connsiteX364" fmla="*/ 5375907 w 15911803"/>
              <a:gd name="connsiteY364" fmla="*/ 4182086 h 4281177"/>
              <a:gd name="connsiteX365" fmla="*/ 5280758 w 15911803"/>
              <a:gd name="connsiteY365" fmla="*/ 4182086 h 4281177"/>
              <a:gd name="connsiteX366" fmla="*/ 5247821 w 15911803"/>
              <a:gd name="connsiteY366" fmla="*/ 4156452 h 4281177"/>
              <a:gd name="connsiteX367" fmla="*/ 5181949 w 15911803"/>
              <a:gd name="connsiteY367" fmla="*/ 4156452 h 4281177"/>
              <a:gd name="connsiteX368" fmla="*/ 5156332 w 15911803"/>
              <a:gd name="connsiteY368" fmla="*/ 4182086 h 4281177"/>
              <a:gd name="connsiteX369" fmla="*/ 5123396 w 15911803"/>
              <a:gd name="connsiteY369" fmla="*/ 4156452 h 4281177"/>
              <a:gd name="connsiteX370" fmla="*/ 5090460 w 15911803"/>
              <a:gd name="connsiteY370" fmla="*/ 4185748 h 4281177"/>
              <a:gd name="connsiteX371" fmla="*/ 4907481 w 15911803"/>
              <a:gd name="connsiteY371" fmla="*/ 4185748 h 4281177"/>
              <a:gd name="connsiteX372" fmla="*/ 4874546 w 15911803"/>
              <a:gd name="connsiteY372" fmla="*/ 4215045 h 4281177"/>
              <a:gd name="connsiteX373" fmla="*/ 4812333 w 15911803"/>
              <a:gd name="connsiteY373" fmla="*/ 4215045 h 4281177"/>
              <a:gd name="connsiteX374" fmla="*/ 4783057 w 15911803"/>
              <a:gd name="connsiteY374" fmla="*/ 4189410 h 4281177"/>
              <a:gd name="connsiteX375" fmla="*/ 4622036 w 15911803"/>
              <a:gd name="connsiteY375" fmla="*/ 4189410 h 4281177"/>
              <a:gd name="connsiteX376" fmla="*/ 4596419 w 15911803"/>
              <a:gd name="connsiteY376" fmla="*/ 4215045 h 4281177"/>
              <a:gd name="connsiteX377" fmla="*/ 4446376 w 15911803"/>
              <a:gd name="connsiteY377" fmla="*/ 4215045 h 4281177"/>
              <a:gd name="connsiteX378" fmla="*/ 4406120 w 15911803"/>
              <a:gd name="connsiteY378" fmla="*/ 4244341 h 4281177"/>
              <a:gd name="connsiteX379" fmla="*/ 4376844 w 15911803"/>
              <a:gd name="connsiteY379" fmla="*/ 4218707 h 4281177"/>
              <a:gd name="connsiteX380" fmla="*/ 4157270 w 15911803"/>
              <a:gd name="connsiteY380" fmla="*/ 4218707 h 4281177"/>
              <a:gd name="connsiteX381" fmla="*/ 4127993 w 15911803"/>
              <a:gd name="connsiteY381" fmla="*/ 4248003 h 4281177"/>
              <a:gd name="connsiteX382" fmla="*/ 4095058 w 15911803"/>
              <a:gd name="connsiteY382" fmla="*/ 4218707 h 4281177"/>
              <a:gd name="connsiteX383" fmla="*/ 4032845 w 15911803"/>
              <a:gd name="connsiteY383" fmla="*/ 4218707 h 4281177"/>
              <a:gd name="connsiteX384" fmla="*/ 3992590 w 15911803"/>
              <a:gd name="connsiteY384" fmla="*/ 4255328 h 4281177"/>
              <a:gd name="connsiteX385" fmla="*/ 3926717 w 15911803"/>
              <a:gd name="connsiteY385" fmla="*/ 4215045 h 4281177"/>
              <a:gd name="connsiteX386" fmla="*/ 3846207 w 15911803"/>
              <a:gd name="connsiteY386" fmla="*/ 4215045 h 4281177"/>
              <a:gd name="connsiteX387" fmla="*/ 3813270 w 15911803"/>
              <a:gd name="connsiteY387" fmla="*/ 4182086 h 4281177"/>
              <a:gd name="connsiteX388" fmla="*/ 3798632 w 15911803"/>
              <a:gd name="connsiteY388" fmla="*/ 4218707 h 4281177"/>
              <a:gd name="connsiteX389" fmla="*/ 3787653 w 15911803"/>
              <a:gd name="connsiteY389" fmla="*/ 4248003 h 4281177"/>
              <a:gd name="connsiteX390" fmla="*/ 3736420 w 15911803"/>
              <a:gd name="connsiteY390" fmla="*/ 4215045 h 4281177"/>
              <a:gd name="connsiteX391" fmla="*/ 3732760 w 15911803"/>
              <a:gd name="connsiteY391" fmla="*/ 4185748 h 4281177"/>
              <a:gd name="connsiteX392" fmla="*/ 3754718 w 15911803"/>
              <a:gd name="connsiteY392" fmla="*/ 4156452 h 4281177"/>
              <a:gd name="connsiteX393" fmla="*/ 3732760 w 15911803"/>
              <a:gd name="connsiteY393" fmla="*/ 4185748 h 4281177"/>
              <a:gd name="connsiteX394" fmla="*/ 3597356 w 15911803"/>
              <a:gd name="connsiteY394" fmla="*/ 4185748 h 4281177"/>
              <a:gd name="connsiteX395" fmla="*/ 3575398 w 15911803"/>
              <a:gd name="connsiteY395" fmla="*/ 4207721 h 4281177"/>
              <a:gd name="connsiteX396" fmla="*/ 3546122 w 15911803"/>
              <a:gd name="connsiteY396" fmla="*/ 4215045 h 4281177"/>
              <a:gd name="connsiteX397" fmla="*/ 3392421 w 15911803"/>
              <a:gd name="connsiteY397" fmla="*/ 4215045 h 4281177"/>
              <a:gd name="connsiteX398" fmla="*/ 3344846 w 15911803"/>
              <a:gd name="connsiteY398" fmla="*/ 4134479 h 4281177"/>
              <a:gd name="connsiteX399" fmla="*/ 3326548 w 15911803"/>
              <a:gd name="connsiteY399" fmla="*/ 4207721 h 4281177"/>
              <a:gd name="connsiteX400" fmla="*/ 3246037 w 15911803"/>
              <a:gd name="connsiteY400" fmla="*/ 4222369 h 4281177"/>
              <a:gd name="connsiteX401" fmla="*/ 3227740 w 15911803"/>
              <a:gd name="connsiteY401" fmla="*/ 4277300 h 4281177"/>
              <a:gd name="connsiteX402" fmla="*/ 3198464 w 15911803"/>
              <a:gd name="connsiteY402" fmla="*/ 4222369 h 4281177"/>
              <a:gd name="connsiteX403" fmla="*/ 3070378 w 15911803"/>
              <a:gd name="connsiteY403" fmla="*/ 4215045 h 4281177"/>
              <a:gd name="connsiteX404" fmla="*/ 3033783 w 15911803"/>
              <a:gd name="connsiteY404" fmla="*/ 4248003 h 4281177"/>
              <a:gd name="connsiteX405" fmla="*/ 3008166 w 15911803"/>
              <a:gd name="connsiteY405" fmla="*/ 4218707 h 4281177"/>
              <a:gd name="connsiteX406" fmla="*/ 2880081 w 15911803"/>
              <a:gd name="connsiteY406" fmla="*/ 4218707 h 4281177"/>
              <a:gd name="connsiteX407" fmla="*/ 2828847 w 15911803"/>
              <a:gd name="connsiteY407" fmla="*/ 4156452 h 4281177"/>
              <a:gd name="connsiteX408" fmla="*/ 2850804 w 15911803"/>
              <a:gd name="connsiteY408" fmla="*/ 4123493 h 4281177"/>
              <a:gd name="connsiteX409" fmla="*/ 2828847 w 15911803"/>
              <a:gd name="connsiteY409" fmla="*/ 4156452 h 4281177"/>
              <a:gd name="connsiteX410" fmla="*/ 2722719 w 15911803"/>
              <a:gd name="connsiteY410" fmla="*/ 4152789 h 4281177"/>
              <a:gd name="connsiteX411" fmla="*/ 2693443 w 15911803"/>
              <a:gd name="connsiteY411" fmla="*/ 4222369 h 4281177"/>
              <a:gd name="connsiteX412" fmla="*/ 2671485 w 15911803"/>
              <a:gd name="connsiteY412" fmla="*/ 4160114 h 4281177"/>
              <a:gd name="connsiteX413" fmla="*/ 2609273 w 15911803"/>
              <a:gd name="connsiteY413" fmla="*/ 4174762 h 4281177"/>
              <a:gd name="connsiteX414" fmla="*/ 2594635 w 15911803"/>
              <a:gd name="connsiteY414" fmla="*/ 4185748 h 4281177"/>
              <a:gd name="connsiteX415" fmla="*/ 2290890 w 15911803"/>
              <a:gd name="connsiteY415" fmla="*/ 4185748 h 4281177"/>
              <a:gd name="connsiteX416" fmla="*/ 2257954 w 15911803"/>
              <a:gd name="connsiteY416" fmla="*/ 4215045 h 4281177"/>
              <a:gd name="connsiteX417" fmla="*/ 2232337 w 15911803"/>
              <a:gd name="connsiteY417" fmla="*/ 4189410 h 4281177"/>
              <a:gd name="connsiteX418" fmla="*/ 2188422 w 15911803"/>
              <a:gd name="connsiteY418" fmla="*/ 4211383 h 4281177"/>
              <a:gd name="connsiteX419" fmla="*/ 2184763 w 15911803"/>
              <a:gd name="connsiteY419" fmla="*/ 4152789 h 4281177"/>
              <a:gd name="connsiteX420" fmla="*/ 2243316 w 15911803"/>
              <a:gd name="connsiteY420" fmla="*/ 4149127 h 4281177"/>
              <a:gd name="connsiteX421" fmla="*/ 2235997 w 15911803"/>
              <a:gd name="connsiteY421" fmla="*/ 4079548 h 4281177"/>
              <a:gd name="connsiteX422" fmla="*/ 2148167 w 15911803"/>
              <a:gd name="connsiteY422" fmla="*/ 4105183 h 4281177"/>
              <a:gd name="connsiteX423" fmla="*/ 2184763 w 15911803"/>
              <a:gd name="connsiteY423" fmla="*/ 4152789 h 4281177"/>
              <a:gd name="connsiteX424" fmla="*/ 2133529 w 15911803"/>
              <a:gd name="connsiteY424" fmla="*/ 4152789 h 4281177"/>
              <a:gd name="connsiteX425" fmla="*/ 2100593 w 15911803"/>
              <a:gd name="connsiteY425" fmla="*/ 4185748 h 4281177"/>
              <a:gd name="connsiteX426" fmla="*/ 2038380 w 15911803"/>
              <a:gd name="connsiteY426" fmla="*/ 4185748 h 4281177"/>
              <a:gd name="connsiteX427" fmla="*/ 1968848 w 15911803"/>
              <a:gd name="connsiteY427" fmla="*/ 4090534 h 4281177"/>
              <a:gd name="connsiteX428" fmla="*/ 1957869 w 15911803"/>
              <a:gd name="connsiteY428" fmla="*/ 4141803 h 4281177"/>
              <a:gd name="connsiteX429" fmla="*/ 1789529 w 15911803"/>
              <a:gd name="connsiteY429" fmla="*/ 4160114 h 4281177"/>
              <a:gd name="connsiteX430" fmla="*/ 1745614 w 15911803"/>
              <a:gd name="connsiteY430" fmla="*/ 4090534 h 4281177"/>
              <a:gd name="connsiteX431" fmla="*/ 1262551 w 15911803"/>
              <a:gd name="connsiteY431" fmla="*/ 4090534 h 4281177"/>
              <a:gd name="connsiteX432" fmla="*/ 1229615 w 15911803"/>
              <a:gd name="connsiteY432" fmla="*/ 4057576 h 4281177"/>
              <a:gd name="connsiteX433" fmla="*/ 797786 w 15911803"/>
              <a:gd name="connsiteY433" fmla="*/ 4057576 h 4281177"/>
              <a:gd name="connsiteX434" fmla="*/ 651404 w 15911803"/>
              <a:gd name="connsiteY434" fmla="*/ 3922079 h 4281177"/>
              <a:gd name="connsiteX435" fmla="*/ 651404 w 15911803"/>
              <a:gd name="connsiteY435" fmla="*/ 3881796 h 4281177"/>
              <a:gd name="connsiteX436" fmla="*/ 497702 w 15911803"/>
              <a:gd name="connsiteY436" fmla="*/ 3746300 h 4281177"/>
              <a:gd name="connsiteX437" fmla="*/ 497702 w 15911803"/>
              <a:gd name="connsiteY437" fmla="*/ 3691368 h 4281177"/>
              <a:gd name="connsiteX438" fmla="*/ 559914 w 15911803"/>
              <a:gd name="connsiteY438" fmla="*/ 3662072 h 4281177"/>
              <a:gd name="connsiteX439" fmla="*/ 559914 w 15911803"/>
              <a:gd name="connsiteY439" fmla="*/ 3599817 h 4281177"/>
              <a:gd name="connsiteX440" fmla="*/ 647744 w 15911803"/>
              <a:gd name="connsiteY440" fmla="*/ 3508265 h 4281177"/>
              <a:gd name="connsiteX441" fmla="*/ 702638 w 15911803"/>
              <a:gd name="connsiteY441" fmla="*/ 3548548 h 4281177"/>
              <a:gd name="connsiteX442" fmla="*/ 753871 w 15911803"/>
              <a:gd name="connsiteY442" fmla="*/ 3493617 h 4281177"/>
              <a:gd name="connsiteX443" fmla="*/ 819744 w 15911803"/>
              <a:gd name="connsiteY443" fmla="*/ 3471644 h 4281177"/>
              <a:gd name="connsiteX444" fmla="*/ 563574 w 15911803"/>
              <a:gd name="connsiteY444" fmla="*/ 3449672 h 4281177"/>
              <a:gd name="connsiteX445" fmla="*/ 589191 w 15911803"/>
              <a:gd name="connsiteY445" fmla="*/ 3387416 h 4281177"/>
              <a:gd name="connsiteX446" fmla="*/ 633105 w 15911803"/>
              <a:gd name="connsiteY446" fmla="*/ 3325162 h 4281177"/>
              <a:gd name="connsiteX447" fmla="*/ 669701 w 15911803"/>
              <a:gd name="connsiteY447" fmla="*/ 3358120 h 4281177"/>
              <a:gd name="connsiteX448" fmla="*/ 691659 w 15911803"/>
              <a:gd name="connsiteY448" fmla="*/ 3336148 h 4281177"/>
              <a:gd name="connsiteX449" fmla="*/ 808765 w 15911803"/>
              <a:gd name="connsiteY449" fmla="*/ 3314175 h 4281177"/>
              <a:gd name="connsiteX450" fmla="*/ 797786 w 15911803"/>
              <a:gd name="connsiteY450" fmla="*/ 3303189 h 4281177"/>
              <a:gd name="connsiteX451" fmla="*/ 574553 w 15911803"/>
              <a:gd name="connsiteY451" fmla="*/ 3292203 h 4281177"/>
              <a:gd name="connsiteX452" fmla="*/ 537957 w 15911803"/>
              <a:gd name="connsiteY452" fmla="*/ 3262906 h 4281177"/>
              <a:gd name="connsiteX453" fmla="*/ 387915 w 15911803"/>
              <a:gd name="connsiteY453" fmla="*/ 3262906 h 4281177"/>
              <a:gd name="connsiteX454" fmla="*/ 358638 w 15911803"/>
              <a:gd name="connsiteY454" fmla="*/ 3233610 h 4281177"/>
              <a:gd name="connsiteX455" fmla="*/ 237872 w 15911803"/>
              <a:gd name="connsiteY455" fmla="*/ 3233610 h 4281177"/>
              <a:gd name="connsiteX456" fmla="*/ 153702 w 15911803"/>
              <a:gd name="connsiteY456" fmla="*/ 3189665 h 4281177"/>
              <a:gd name="connsiteX457" fmla="*/ 153702 w 15911803"/>
              <a:gd name="connsiteY457" fmla="*/ 3087127 h 4281177"/>
              <a:gd name="connsiteX458" fmla="*/ 0 w 15911803"/>
              <a:gd name="connsiteY458" fmla="*/ 2995575 h 4281177"/>
              <a:gd name="connsiteX459" fmla="*/ 0 w 15911803"/>
              <a:gd name="connsiteY459" fmla="*/ 2925995 h 4281177"/>
              <a:gd name="connsiteX460" fmla="*/ 51234 w 15911803"/>
              <a:gd name="connsiteY460" fmla="*/ 2907685 h 4281177"/>
              <a:gd name="connsiteX461" fmla="*/ 69532 w 15911803"/>
              <a:gd name="connsiteY461" fmla="*/ 2827120 h 4281177"/>
              <a:gd name="connsiteX462" fmla="*/ 109787 w 15911803"/>
              <a:gd name="connsiteY462" fmla="*/ 2783175 h 4281177"/>
              <a:gd name="connsiteX463" fmla="*/ 245191 w 15911803"/>
              <a:gd name="connsiteY463" fmla="*/ 2783175 h 4281177"/>
              <a:gd name="connsiteX464" fmla="*/ 172000 w 15911803"/>
              <a:gd name="connsiteY464" fmla="*/ 2757540 h 4281177"/>
              <a:gd name="connsiteX465" fmla="*/ 135404 w 15911803"/>
              <a:gd name="connsiteY465" fmla="*/ 2724581 h 4281177"/>
              <a:gd name="connsiteX466" fmla="*/ 76851 w 15911803"/>
              <a:gd name="connsiteY466" fmla="*/ 2724581 h 4281177"/>
              <a:gd name="connsiteX467" fmla="*/ 80511 w 15911803"/>
              <a:gd name="connsiteY467" fmla="*/ 2687961 h 4281177"/>
              <a:gd name="connsiteX468" fmla="*/ 102468 w 15911803"/>
              <a:gd name="connsiteY468" fmla="*/ 2629368 h 4281177"/>
              <a:gd name="connsiteX469" fmla="*/ 603829 w 15911803"/>
              <a:gd name="connsiteY469" fmla="*/ 2629368 h 4281177"/>
              <a:gd name="connsiteX470" fmla="*/ 592850 w 15911803"/>
              <a:gd name="connsiteY470" fmla="*/ 2548802 h 4281177"/>
              <a:gd name="connsiteX471" fmla="*/ 592850 w 15911803"/>
              <a:gd name="connsiteY471" fmla="*/ 2486547 h 4281177"/>
              <a:gd name="connsiteX472" fmla="*/ 622127 w 15911803"/>
              <a:gd name="connsiteY472" fmla="*/ 2391333 h 4281177"/>
              <a:gd name="connsiteX473" fmla="*/ 742893 w 15911803"/>
              <a:gd name="connsiteY473" fmla="*/ 2362037 h 4281177"/>
              <a:gd name="connsiteX474" fmla="*/ 742893 w 15911803"/>
              <a:gd name="connsiteY474" fmla="*/ 2285133 h 4281177"/>
              <a:gd name="connsiteX475" fmla="*/ 698978 w 15911803"/>
              <a:gd name="connsiteY475" fmla="*/ 2281471 h 4281177"/>
              <a:gd name="connsiteX476" fmla="*/ 633105 w 15911803"/>
              <a:gd name="connsiteY476" fmla="*/ 2347388 h 4281177"/>
              <a:gd name="connsiteX477" fmla="*/ 589191 w 15911803"/>
              <a:gd name="connsiteY477" fmla="*/ 2332740 h 4281177"/>
              <a:gd name="connsiteX478" fmla="*/ 666042 w 15911803"/>
              <a:gd name="connsiteY478" fmla="*/ 2219216 h 4281177"/>
              <a:gd name="connsiteX479" fmla="*/ 728254 w 15911803"/>
              <a:gd name="connsiteY479" fmla="*/ 2219216 h 4281177"/>
              <a:gd name="connsiteX480" fmla="*/ 768510 w 15911803"/>
              <a:gd name="connsiteY480" fmla="*/ 2178933 h 4281177"/>
              <a:gd name="connsiteX481" fmla="*/ 827063 w 15911803"/>
              <a:gd name="connsiteY481" fmla="*/ 2211892 h 4281177"/>
              <a:gd name="connsiteX482" fmla="*/ 878297 w 15911803"/>
              <a:gd name="connsiteY482" fmla="*/ 2160623 h 4281177"/>
              <a:gd name="connsiteX483" fmla="*/ 969786 w 15911803"/>
              <a:gd name="connsiteY483" fmla="*/ 2189919 h 4281177"/>
              <a:gd name="connsiteX484" fmla="*/ 1010041 w 15911803"/>
              <a:gd name="connsiteY484" fmla="*/ 2153299 h 4281177"/>
              <a:gd name="connsiteX485" fmla="*/ 1086892 w 15911803"/>
              <a:gd name="connsiteY485" fmla="*/ 2149636 h 4281177"/>
              <a:gd name="connsiteX486" fmla="*/ 1086892 w 15911803"/>
              <a:gd name="connsiteY486" fmla="*/ 2102029 h 4281177"/>
              <a:gd name="connsiteX487" fmla="*/ 962467 w 15911803"/>
              <a:gd name="connsiteY487" fmla="*/ 2054423 h 4281177"/>
              <a:gd name="connsiteX488" fmla="*/ 852680 w 15911803"/>
              <a:gd name="connsiteY488" fmla="*/ 2021464 h 4281177"/>
              <a:gd name="connsiteX489" fmla="*/ 812425 w 15911803"/>
              <a:gd name="connsiteY489" fmla="*/ 1981181 h 4281177"/>
              <a:gd name="connsiteX490" fmla="*/ 801446 w 15911803"/>
              <a:gd name="connsiteY490" fmla="*/ 1933574 h 4281177"/>
              <a:gd name="connsiteX491" fmla="*/ 724595 w 15911803"/>
              <a:gd name="connsiteY491" fmla="*/ 1926250 h 4281177"/>
              <a:gd name="connsiteX492" fmla="*/ 717276 w 15911803"/>
              <a:gd name="connsiteY492" fmla="*/ 1820050 h 4281177"/>
              <a:gd name="connsiteX493" fmla="*/ 742893 w 15911803"/>
              <a:gd name="connsiteY493" fmla="*/ 1787091 h 4281177"/>
              <a:gd name="connsiteX494" fmla="*/ 717276 w 15911803"/>
              <a:gd name="connsiteY494" fmla="*/ 1757795 h 4281177"/>
              <a:gd name="connsiteX495" fmla="*/ 717276 w 15911803"/>
              <a:gd name="connsiteY495" fmla="*/ 1662581 h 4281177"/>
              <a:gd name="connsiteX496" fmla="*/ 783148 w 15911803"/>
              <a:gd name="connsiteY496" fmla="*/ 1552719 h 4281177"/>
              <a:gd name="connsiteX497" fmla="*/ 889275 w 15911803"/>
              <a:gd name="connsiteY497" fmla="*/ 1552719 h 4281177"/>
              <a:gd name="connsiteX498" fmla="*/ 900254 w 15911803"/>
              <a:gd name="connsiteY498" fmla="*/ 1582015 h 4281177"/>
              <a:gd name="connsiteX499" fmla="*/ 856339 w 15911803"/>
              <a:gd name="connsiteY499" fmla="*/ 1582015 h 4281177"/>
              <a:gd name="connsiteX500" fmla="*/ 779488 w 15911803"/>
              <a:gd name="connsiteY500" fmla="*/ 1688215 h 4281177"/>
              <a:gd name="connsiteX501" fmla="*/ 790467 w 15911803"/>
              <a:gd name="connsiteY501" fmla="*/ 1706526 h 4281177"/>
              <a:gd name="connsiteX502" fmla="*/ 859999 w 15911803"/>
              <a:gd name="connsiteY502" fmla="*/ 1706526 h 4281177"/>
              <a:gd name="connsiteX503" fmla="*/ 881956 w 15911803"/>
              <a:gd name="connsiteY503" fmla="*/ 1651595 h 4281177"/>
              <a:gd name="connsiteX504" fmla="*/ 900254 w 15911803"/>
              <a:gd name="connsiteY504" fmla="*/ 1582015 h 4281177"/>
              <a:gd name="connsiteX505" fmla="*/ 958807 w 15911803"/>
              <a:gd name="connsiteY505" fmla="*/ 1552719 h 4281177"/>
              <a:gd name="connsiteX506" fmla="*/ 1075913 w 15911803"/>
              <a:gd name="connsiteY506" fmla="*/ 1552719 h 4281177"/>
              <a:gd name="connsiteX507" fmla="*/ 1090552 w 15911803"/>
              <a:gd name="connsiteY507" fmla="*/ 1512436 h 4281177"/>
              <a:gd name="connsiteX508" fmla="*/ 940509 w 15911803"/>
              <a:gd name="connsiteY508" fmla="*/ 1384263 h 4281177"/>
              <a:gd name="connsiteX509" fmla="*/ 973446 w 15911803"/>
              <a:gd name="connsiteY509" fmla="*/ 1241443 h 4281177"/>
              <a:gd name="connsiteX510" fmla="*/ 1024679 w 15911803"/>
              <a:gd name="connsiteY510" fmla="*/ 1186512 h 4281177"/>
              <a:gd name="connsiteX511" fmla="*/ 1061275 w 15911803"/>
              <a:gd name="connsiteY511" fmla="*/ 1120594 h 4281177"/>
              <a:gd name="connsiteX512" fmla="*/ 1105190 w 15911803"/>
              <a:gd name="connsiteY512" fmla="*/ 1043691 h 4281177"/>
              <a:gd name="connsiteX513" fmla="*/ 1288168 w 15911803"/>
              <a:gd name="connsiteY513" fmla="*/ 1043691 h 4281177"/>
              <a:gd name="connsiteX514" fmla="*/ 1354041 w 15911803"/>
              <a:gd name="connsiteY514" fmla="*/ 981435 h 4281177"/>
              <a:gd name="connsiteX515" fmla="*/ 1427232 w 15911803"/>
              <a:gd name="connsiteY515" fmla="*/ 963125 h 4281177"/>
              <a:gd name="connsiteX516" fmla="*/ 1482125 w 15911803"/>
              <a:gd name="connsiteY516" fmla="*/ 944815 h 4281177"/>
              <a:gd name="connsiteX517" fmla="*/ 1547998 w 15911803"/>
              <a:gd name="connsiteY517" fmla="*/ 919180 h 4281177"/>
              <a:gd name="connsiteX518" fmla="*/ 1569955 w 15911803"/>
              <a:gd name="connsiteY518" fmla="*/ 944815 h 4281177"/>
              <a:gd name="connsiteX519" fmla="*/ 1602891 w 15911803"/>
              <a:gd name="connsiteY519" fmla="*/ 915518 h 4281177"/>
              <a:gd name="connsiteX520" fmla="*/ 1661444 w 15911803"/>
              <a:gd name="connsiteY520" fmla="*/ 915518 h 4281177"/>
              <a:gd name="connsiteX521" fmla="*/ 1665104 w 15911803"/>
              <a:gd name="connsiteY521" fmla="*/ 853263 h 4281177"/>
              <a:gd name="connsiteX522" fmla="*/ 1632168 w 15911803"/>
              <a:gd name="connsiteY522" fmla="*/ 882559 h 4281177"/>
              <a:gd name="connsiteX523" fmla="*/ 1610210 w 15911803"/>
              <a:gd name="connsiteY523" fmla="*/ 856925 h 4281177"/>
              <a:gd name="connsiteX524" fmla="*/ 1511402 w 15911803"/>
              <a:gd name="connsiteY524" fmla="*/ 878897 h 4281177"/>
              <a:gd name="connsiteX525" fmla="*/ 1302807 w 15911803"/>
              <a:gd name="connsiteY525" fmla="*/ 878897 h 4281177"/>
              <a:gd name="connsiteX526" fmla="*/ 1247913 w 15911803"/>
              <a:gd name="connsiteY526" fmla="*/ 915518 h 4281177"/>
              <a:gd name="connsiteX527" fmla="*/ 1189360 w 15911803"/>
              <a:gd name="connsiteY527" fmla="*/ 915518 h 4281177"/>
              <a:gd name="connsiteX528" fmla="*/ 1178381 w 15911803"/>
              <a:gd name="connsiteY528" fmla="*/ 970449 h 4281177"/>
              <a:gd name="connsiteX529" fmla="*/ 1134466 w 15911803"/>
              <a:gd name="connsiteY529" fmla="*/ 981435 h 4281177"/>
              <a:gd name="connsiteX530" fmla="*/ 1105190 w 15911803"/>
              <a:gd name="connsiteY530" fmla="*/ 1010732 h 4281177"/>
              <a:gd name="connsiteX531" fmla="*/ 1042977 w 15911803"/>
              <a:gd name="connsiteY531" fmla="*/ 1010732 h 4281177"/>
              <a:gd name="connsiteX532" fmla="*/ 1031999 w 15911803"/>
              <a:gd name="connsiteY532" fmla="*/ 999746 h 4281177"/>
              <a:gd name="connsiteX533" fmla="*/ 1079573 w 15911803"/>
              <a:gd name="connsiteY533" fmla="*/ 911856 h 4281177"/>
              <a:gd name="connsiteX534" fmla="*/ 1174722 w 15911803"/>
              <a:gd name="connsiteY534" fmla="*/ 820304 h 4281177"/>
              <a:gd name="connsiteX535" fmla="*/ 1196680 w 15911803"/>
              <a:gd name="connsiteY535" fmla="*/ 820304 h 4281177"/>
              <a:gd name="connsiteX536" fmla="*/ 1229615 w 15911803"/>
              <a:gd name="connsiteY536" fmla="*/ 787346 h 4281177"/>
              <a:gd name="connsiteX537" fmla="*/ 1291828 w 15911803"/>
              <a:gd name="connsiteY537" fmla="*/ 787346 h 4281177"/>
              <a:gd name="connsiteX538" fmla="*/ 1324764 w 15911803"/>
              <a:gd name="connsiteY538" fmla="*/ 758049 h 4281177"/>
              <a:gd name="connsiteX539" fmla="*/ 1350381 w 15911803"/>
              <a:gd name="connsiteY539" fmla="*/ 783684 h 4281177"/>
              <a:gd name="connsiteX540" fmla="*/ 1471147 w 15911803"/>
              <a:gd name="connsiteY540" fmla="*/ 717766 h 4281177"/>
              <a:gd name="connsiteX541" fmla="*/ 1507742 w 15911803"/>
              <a:gd name="connsiteY541" fmla="*/ 754387 h 4281177"/>
              <a:gd name="connsiteX542" fmla="*/ 1547998 w 15911803"/>
              <a:gd name="connsiteY542" fmla="*/ 717766 h 4281177"/>
              <a:gd name="connsiteX543" fmla="*/ 1606551 w 15911803"/>
              <a:gd name="connsiteY543" fmla="*/ 754387 h 4281177"/>
              <a:gd name="connsiteX544" fmla="*/ 1661444 w 15911803"/>
              <a:gd name="connsiteY544" fmla="*/ 695794 h 4281177"/>
              <a:gd name="connsiteX545" fmla="*/ 1698040 w 15911803"/>
              <a:gd name="connsiteY545" fmla="*/ 721428 h 4281177"/>
              <a:gd name="connsiteX546" fmla="*/ 1972508 w 15911803"/>
              <a:gd name="connsiteY546" fmla="*/ 721428 h 4281177"/>
              <a:gd name="connsiteX547" fmla="*/ 2012763 w 15911803"/>
              <a:gd name="connsiteY547" fmla="*/ 758049 h 4281177"/>
              <a:gd name="connsiteX548" fmla="*/ 2027402 w 15911803"/>
              <a:gd name="connsiteY548" fmla="*/ 703118 h 4281177"/>
              <a:gd name="connsiteX549" fmla="*/ 2056678 w 15911803"/>
              <a:gd name="connsiteY549" fmla="*/ 692132 h 4281177"/>
              <a:gd name="connsiteX550" fmla="*/ 2290890 w 15911803"/>
              <a:gd name="connsiteY550" fmla="*/ 692132 h 4281177"/>
              <a:gd name="connsiteX551" fmla="*/ 2309188 w 15911803"/>
              <a:gd name="connsiteY551" fmla="*/ 648187 h 4281177"/>
              <a:gd name="connsiteX552" fmla="*/ 2239656 w 15911803"/>
              <a:gd name="connsiteY552" fmla="*/ 615228 h 4281177"/>
              <a:gd name="connsiteX553" fmla="*/ 2309188 w 15911803"/>
              <a:gd name="connsiteY553" fmla="*/ 578607 h 4281177"/>
              <a:gd name="connsiteX554" fmla="*/ 2272592 w 15911803"/>
              <a:gd name="connsiteY554" fmla="*/ 501704 h 4281177"/>
              <a:gd name="connsiteX555" fmla="*/ 2320167 w 15911803"/>
              <a:gd name="connsiteY555" fmla="*/ 439449 h 4281177"/>
              <a:gd name="connsiteX556" fmla="*/ 2411656 w 15911803"/>
              <a:gd name="connsiteY556" fmla="*/ 439449 h 4281177"/>
              <a:gd name="connsiteX557" fmla="*/ 2444592 w 15911803"/>
              <a:gd name="connsiteY557" fmla="*/ 468745 h 4281177"/>
              <a:gd name="connsiteX558" fmla="*/ 2473869 w 15911803"/>
              <a:gd name="connsiteY558" fmla="*/ 443111 h 4281177"/>
              <a:gd name="connsiteX559" fmla="*/ 2598294 w 15911803"/>
              <a:gd name="connsiteY559" fmla="*/ 443111 h 4281177"/>
              <a:gd name="connsiteX560" fmla="*/ 2682464 w 15911803"/>
              <a:gd name="connsiteY560" fmla="*/ 406490 h 4281177"/>
              <a:gd name="connsiteX561" fmla="*/ 2741017 w 15911803"/>
              <a:gd name="connsiteY561" fmla="*/ 369869 h 4281177"/>
              <a:gd name="connsiteX562" fmla="*/ 2803230 w 15911803"/>
              <a:gd name="connsiteY562" fmla="*/ 413814 h 4281177"/>
              <a:gd name="connsiteX563" fmla="*/ 2850804 w 15911803"/>
              <a:gd name="connsiteY563" fmla="*/ 377194 h 4281177"/>
              <a:gd name="connsiteX564" fmla="*/ 2880081 w 15911803"/>
              <a:gd name="connsiteY564" fmla="*/ 406490 h 4281177"/>
              <a:gd name="connsiteX565" fmla="*/ 2942293 w 15911803"/>
              <a:gd name="connsiteY565" fmla="*/ 406490 h 4281177"/>
              <a:gd name="connsiteX566" fmla="*/ 2982549 w 15911803"/>
              <a:gd name="connsiteY566" fmla="*/ 369869 h 4281177"/>
              <a:gd name="connsiteX567" fmla="*/ 3041102 w 15911803"/>
              <a:gd name="connsiteY567" fmla="*/ 402828 h 4281177"/>
              <a:gd name="connsiteX568" fmla="*/ 3070378 w 15911803"/>
              <a:gd name="connsiteY568" fmla="*/ 369869 h 4281177"/>
              <a:gd name="connsiteX569" fmla="*/ 3114294 w 15911803"/>
              <a:gd name="connsiteY569" fmla="*/ 439449 h 4281177"/>
              <a:gd name="connsiteX570" fmla="*/ 3191144 w 15911803"/>
              <a:gd name="connsiteY570" fmla="*/ 439449 h 4281177"/>
              <a:gd name="connsiteX571" fmla="*/ 3267995 w 15911803"/>
              <a:gd name="connsiteY571" fmla="*/ 520015 h 4281177"/>
              <a:gd name="connsiteX572" fmla="*/ 3205782 w 15911803"/>
              <a:gd name="connsiteY572" fmla="*/ 585932 h 4281177"/>
              <a:gd name="connsiteX573" fmla="*/ 3216761 w 15911803"/>
              <a:gd name="connsiteY573" fmla="*/ 629877 h 4281177"/>
              <a:gd name="connsiteX574" fmla="*/ 3253357 w 15911803"/>
              <a:gd name="connsiteY574" fmla="*/ 596918 h 4281177"/>
              <a:gd name="connsiteX575" fmla="*/ 3450974 w 15911803"/>
              <a:gd name="connsiteY575" fmla="*/ 596918 h 4281177"/>
              <a:gd name="connsiteX576" fmla="*/ 3407059 w 15911803"/>
              <a:gd name="connsiteY576" fmla="*/ 563959 h 4281177"/>
              <a:gd name="connsiteX577" fmla="*/ 3363143 w 15911803"/>
              <a:gd name="connsiteY577" fmla="*/ 476069 h 4281177"/>
              <a:gd name="connsiteX578" fmla="*/ 3363143 w 15911803"/>
              <a:gd name="connsiteY578" fmla="*/ 424800 h 4281177"/>
              <a:gd name="connsiteX579" fmla="*/ 3333867 w 15911803"/>
              <a:gd name="connsiteY579" fmla="*/ 391842 h 4281177"/>
              <a:gd name="connsiteX580" fmla="*/ 3410719 w 15911803"/>
              <a:gd name="connsiteY580" fmla="*/ 311276 h 4281177"/>
              <a:gd name="connsiteX581" fmla="*/ 3564420 w 15911803"/>
              <a:gd name="connsiteY581" fmla="*/ 311276 h 4281177"/>
              <a:gd name="connsiteX582" fmla="*/ 3597356 w 15911803"/>
              <a:gd name="connsiteY582" fmla="*/ 281980 h 4281177"/>
              <a:gd name="connsiteX583" fmla="*/ 3648590 w 15911803"/>
              <a:gd name="connsiteY583" fmla="*/ 373532 h 4281177"/>
              <a:gd name="connsiteX584" fmla="*/ 3718122 w 15911803"/>
              <a:gd name="connsiteY584" fmla="*/ 377194 h 4281177"/>
              <a:gd name="connsiteX585" fmla="*/ 3758377 w 15911803"/>
              <a:gd name="connsiteY585" fmla="*/ 410152 h 4281177"/>
              <a:gd name="connsiteX586" fmla="*/ 3783994 w 15911803"/>
              <a:gd name="connsiteY586" fmla="*/ 534663 h 4281177"/>
              <a:gd name="connsiteX587" fmla="*/ 3813270 w 15911803"/>
              <a:gd name="connsiteY587" fmla="*/ 472407 h 4281177"/>
              <a:gd name="connsiteX588" fmla="*/ 3846207 w 15911803"/>
              <a:gd name="connsiteY588" fmla="*/ 472407 h 4281177"/>
              <a:gd name="connsiteX589" fmla="*/ 3864504 w 15911803"/>
              <a:gd name="connsiteY589" fmla="*/ 388180 h 4281177"/>
              <a:gd name="connsiteX590" fmla="*/ 3919399 w 15911803"/>
              <a:gd name="connsiteY590" fmla="*/ 355221 h 4281177"/>
              <a:gd name="connsiteX591" fmla="*/ 3985271 w 15911803"/>
              <a:gd name="connsiteY591" fmla="*/ 358883 h 4281177"/>
              <a:gd name="connsiteX592" fmla="*/ 3955993 w 15911803"/>
              <a:gd name="connsiteY592" fmla="*/ 325925 h 4281177"/>
              <a:gd name="connsiteX593" fmla="*/ 3966973 w 15911803"/>
              <a:gd name="connsiteY593" fmla="*/ 314938 h 4281177"/>
              <a:gd name="connsiteX594" fmla="*/ 4095058 w 15911803"/>
              <a:gd name="connsiteY594" fmla="*/ 314938 h 4281177"/>
              <a:gd name="connsiteX595" fmla="*/ 4127993 w 15911803"/>
              <a:gd name="connsiteY595" fmla="*/ 344235 h 4281177"/>
              <a:gd name="connsiteX596" fmla="*/ 4157270 w 15911803"/>
              <a:gd name="connsiteY596" fmla="*/ 311276 h 4281177"/>
              <a:gd name="connsiteX597" fmla="*/ 4226802 w 15911803"/>
              <a:gd name="connsiteY597" fmla="*/ 402828 h 4281177"/>
              <a:gd name="connsiteX598" fmla="*/ 4248760 w 15911803"/>
              <a:gd name="connsiteY598" fmla="*/ 380856 h 4281177"/>
              <a:gd name="connsiteX599" fmla="*/ 4321951 w 15911803"/>
              <a:gd name="connsiteY599" fmla="*/ 399166 h 4281177"/>
              <a:gd name="connsiteX600" fmla="*/ 4325610 w 15911803"/>
              <a:gd name="connsiteY600" fmla="*/ 307614 h 4281177"/>
              <a:gd name="connsiteX601" fmla="*/ 4387823 w 15911803"/>
              <a:gd name="connsiteY601" fmla="*/ 373532 h 4281177"/>
              <a:gd name="connsiteX602" fmla="*/ 4479312 w 15911803"/>
              <a:gd name="connsiteY602" fmla="*/ 333249 h 4281177"/>
              <a:gd name="connsiteX603" fmla="*/ 4486631 w 15911803"/>
              <a:gd name="connsiteY603" fmla="*/ 292966 h 4281177"/>
              <a:gd name="connsiteX604" fmla="*/ 4563482 w 15911803"/>
              <a:gd name="connsiteY604" fmla="*/ 252683 h 4281177"/>
              <a:gd name="connsiteX605" fmla="*/ 4658631 w 15911803"/>
              <a:gd name="connsiteY605" fmla="*/ 307614 h 4281177"/>
              <a:gd name="connsiteX606" fmla="*/ 4687908 w 15911803"/>
              <a:gd name="connsiteY606" fmla="*/ 278318 h 4281177"/>
              <a:gd name="connsiteX607" fmla="*/ 4907481 w 15911803"/>
              <a:gd name="connsiteY607" fmla="*/ 278318 h 4281177"/>
              <a:gd name="connsiteX608" fmla="*/ 4929439 w 15911803"/>
              <a:gd name="connsiteY608" fmla="*/ 219724 h 4281177"/>
              <a:gd name="connsiteX609" fmla="*/ 4958715 w 15911803"/>
              <a:gd name="connsiteY609" fmla="*/ 303952 h 4281177"/>
              <a:gd name="connsiteX610" fmla="*/ 4998971 w 15911803"/>
              <a:gd name="connsiteY610" fmla="*/ 314938 h 4281177"/>
              <a:gd name="connsiteX611" fmla="*/ 5020928 w 15911803"/>
              <a:gd name="connsiteY611" fmla="*/ 260007 h 4281177"/>
              <a:gd name="connsiteX612" fmla="*/ 5046545 w 15911803"/>
              <a:gd name="connsiteY612" fmla="*/ 249021 h 4281177"/>
              <a:gd name="connsiteX613" fmla="*/ 5046545 w 15911803"/>
              <a:gd name="connsiteY613" fmla="*/ 296628 h 4281177"/>
              <a:gd name="connsiteX614" fmla="*/ 5053865 w 15911803"/>
              <a:gd name="connsiteY614" fmla="*/ 303952 h 4281177"/>
              <a:gd name="connsiteX615" fmla="*/ 5075821 w 15911803"/>
              <a:gd name="connsiteY615" fmla="*/ 296628 h 4281177"/>
              <a:gd name="connsiteX616" fmla="*/ 5075821 w 15911803"/>
              <a:gd name="connsiteY616" fmla="*/ 249021 h 4281177"/>
              <a:gd name="connsiteX617" fmla="*/ 5101439 w 15911803"/>
              <a:gd name="connsiteY617" fmla="*/ 260007 h 4281177"/>
              <a:gd name="connsiteX618" fmla="*/ 5108758 w 15911803"/>
              <a:gd name="connsiteY618" fmla="*/ 289304 h 4281177"/>
              <a:gd name="connsiteX619" fmla="*/ 5127056 w 15911803"/>
              <a:gd name="connsiteY619" fmla="*/ 311276 h 4281177"/>
              <a:gd name="connsiteX620" fmla="*/ 5149013 w 15911803"/>
              <a:gd name="connsiteY620" fmla="*/ 256345 h 4281177"/>
              <a:gd name="connsiteX621" fmla="*/ 5328332 w 15911803"/>
              <a:gd name="connsiteY621" fmla="*/ 260007 h 4281177"/>
              <a:gd name="connsiteX622" fmla="*/ 5339310 w 15911803"/>
              <a:gd name="connsiteY622" fmla="*/ 252683 h 4281177"/>
              <a:gd name="connsiteX623" fmla="*/ 5372247 w 15911803"/>
              <a:gd name="connsiteY623" fmla="*/ 278318 h 4281177"/>
              <a:gd name="connsiteX624" fmla="*/ 5438119 w 15911803"/>
              <a:gd name="connsiteY624" fmla="*/ 216062 h 4281177"/>
              <a:gd name="connsiteX625" fmla="*/ 5500331 w 15911803"/>
              <a:gd name="connsiteY625" fmla="*/ 252683 h 4281177"/>
              <a:gd name="connsiteX626" fmla="*/ 5555225 w 15911803"/>
              <a:gd name="connsiteY626" fmla="*/ 307614 h 4281177"/>
              <a:gd name="connsiteX627" fmla="*/ 5668672 w 15911803"/>
              <a:gd name="connsiteY627" fmla="*/ 183104 h 4281177"/>
              <a:gd name="connsiteX628" fmla="*/ 5782119 w 15911803"/>
              <a:gd name="connsiteY628" fmla="*/ 278318 h 4281177"/>
              <a:gd name="connsiteX629" fmla="*/ 5844331 w 15911803"/>
              <a:gd name="connsiteY629" fmla="*/ 278318 h 4281177"/>
              <a:gd name="connsiteX630" fmla="*/ 5855310 w 15911803"/>
              <a:gd name="connsiteY630" fmla="*/ 241697 h 4281177"/>
              <a:gd name="connsiteX631" fmla="*/ 5884587 w 15911803"/>
              <a:gd name="connsiteY631" fmla="*/ 212400 h 4281177"/>
              <a:gd name="connsiteX632" fmla="*/ 5913863 w 15911803"/>
              <a:gd name="connsiteY632" fmla="*/ 234373 h 4281177"/>
              <a:gd name="connsiteX633" fmla="*/ 5884587 w 15911803"/>
              <a:gd name="connsiteY633" fmla="*/ 212400 h 4281177"/>
              <a:gd name="connsiteX634" fmla="*/ 5935821 w 15911803"/>
              <a:gd name="connsiteY634" fmla="*/ 183104 h 4281177"/>
              <a:gd name="connsiteX635" fmla="*/ 5987054 w 15911803"/>
              <a:gd name="connsiteY635" fmla="*/ 252683 h 4281177"/>
              <a:gd name="connsiteX636" fmla="*/ 6063905 w 15911803"/>
              <a:gd name="connsiteY636" fmla="*/ 183104 h 4281177"/>
              <a:gd name="connsiteX637" fmla="*/ 6082203 w 15911803"/>
              <a:gd name="connsiteY637" fmla="*/ 241697 h 4281177"/>
              <a:gd name="connsiteX638" fmla="*/ 6155394 w 15911803"/>
              <a:gd name="connsiteY638" fmla="*/ 212400 h 4281177"/>
              <a:gd name="connsiteX639" fmla="*/ 6181012 w 15911803"/>
              <a:gd name="connsiteY639" fmla="*/ 267331 h 4281177"/>
              <a:gd name="connsiteX640" fmla="*/ 6213948 w 15911803"/>
              <a:gd name="connsiteY640" fmla="*/ 373532 h 4281177"/>
              <a:gd name="connsiteX641" fmla="*/ 6246884 w 15911803"/>
              <a:gd name="connsiteY641" fmla="*/ 249021 h 4281177"/>
              <a:gd name="connsiteX642" fmla="*/ 6294458 w 15911803"/>
              <a:gd name="connsiteY642" fmla="*/ 311276 h 4281177"/>
              <a:gd name="connsiteX643" fmla="*/ 6371309 w 15911803"/>
              <a:gd name="connsiteY643" fmla="*/ 249021 h 4281177"/>
              <a:gd name="connsiteX644" fmla="*/ 6385947 w 15911803"/>
              <a:gd name="connsiteY644" fmla="*/ 281980 h 4281177"/>
              <a:gd name="connsiteX645" fmla="*/ 6400586 w 15911803"/>
              <a:gd name="connsiteY645" fmla="*/ 340573 h 4281177"/>
              <a:gd name="connsiteX646" fmla="*/ 6444500 w 15911803"/>
              <a:gd name="connsiteY646" fmla="*/ 300290 h 4281177"/>
              <a:gd name="connsiteX647" fmla="*/ 6415224 w 15911803"/>
              <a:gd name="connsiteY647" fmla="*/ 263669 h 4281177"/>
              <a:gd name="connsiteX648" fmla="*/ 6451820 w 15911803"/>
              <a:gd name="connsiteY648" fmla="*/ 249021 h 4281177"/>
              <a:gd name="connsiteX649" fmla="*/ 6510373 w 15911803"/>
              <a:gd name="connsiteY649" fmla="*/ 234373 h 4281177"/>
              <a:gd name="connsiteX650" fmla="*/ 6543308 w 15911803"/>
              <a:gd name="connsiteY650" fmla="*/ 212400 h 4281177"/>
              <a:gd name="connsiteX651" fmla="*/ 6601862 w 15911803"/>
              <a:gd name="connsiteY651" fmla="*/ 252683 h 4281177"/>
              <a:gd name="connsiteX652" fmla="*/ 6653096 w 15911803"/>
              <a:gd name="connsiteY652" fmla="*/ 219724 h 4281177"/>
              <a:gd name="connsiteX653" fmla="*/ 6686032 w 15911803"/>
              <a:gd name="connsiteY653" fmla="*/ 252683 h 4281177"/>
              <a:gd name="connsiteX654" fmla="*/ 6744585 w 15911803"/>
              <a:gd name="connsiteY654" fmla="*/ 179442 h 4281177"/>
              <a:gd name="connsiteX655" fmla="*/ 6792159 w 15911803"/>
              <a:gd name="connsiteY655" fmla="*/ 197752 h 4281177"/>
              <a:gd name="connsiteX656" fmla="*/ 6755564 w 15911803"/>
              <a:gd name="connsiteY656" fmla="*/ 234373 h 4281177"/>
              <a:gd name="connsiteX657" fmla="*/ 6799479 w 15911803"/>
              <a:gd name="connsiteY657" fmla="*/ 249021 h 4281177"/>
              <a:gd name="connsiteX658" fmla="*/ 6861691 w 15911803"/>
              <a:gd name="connsiteY658" fmla="*/ 153807 h 4281177"/>
              <a:gd name="connsiteX659" fmla="*/ 6901947 w 15911803"/>
              <a:gd name="connsiteY659" fmla="*/ 153807 h 4281177"/>
              <a:gd name="connsiteX660" fmla="*/ 6923903 w 15911803"/>
              <a:gd name="connsiteY660" fmla="*/ 212400 h 4281177"/>
              <a:gd name="connsiteX661" fmla="*/ 7019053 w 15911803"/>
              <a:gd name="connsiteY661" fmla="*/ 212400 h 4281177"/>
              <a:gd name="connsiteX662" fmla="*/ 7062968 w 15911803"/>
              <a:gd name="connsiteY662" fmla="*/ 249021 h 4281177"/>
              <a:gd name="connsiteX663" fmla="*/ 7073946 w 15911803"/>
              <a:gd name="connsiteY663" fmla="*/ 201414 h 4281177"/>
              <a:gd name="connsiteX664" fmla="*/ 7147137 w 15911803"/>
              <a:gd name="connsiteY664" fmla="*/ 161131 h 4281177"/>
              <a:gd name="connsiteX665" fmla="*/ 7253265 w 15911803"/>
              <a:gd name="connsiteY665" fmla="*/ 230711 h 4281177"/>
              <a:gd name="connsiteX666" fmla="*/ 7231308 w 15911803"/>
              <a:gd name="connsiteY666" fmla="*/ 263669 h 4281177"/>
              <a:gd name="connsiteX667" fmla="*/ 7282541 w 15911803"/>
              <a:gd name="connsiteY667" fmla="*/ 274656 h 4281177"/>
              <a:gd name="connsiteX668" fmla="*/ 7293519 w 15911803"/>
              <a:gd name="connsiteY668" fmla="*/ 230711 h 4281177"/>
              <a:gd name="connsiteX669" fmla="*/ 7363051 w 15911803"/>
              <a:gd name="connsiteY669" fmla="*/ 183104 h 4281177"/>
              <a:gd name="connsiteX670" fmla="*/ 7425264 w 15911803"/>
              <a:gd name="connsiteY670" fmla="*/ 281980 h 4281177"/>
              <a:gd name="connsiteX671" fmla="*/ 7461860 w 15911803"/>
              <a:gd name="connsiteY671" fmla="*/ 249021 h 4281177"/>
              <a:gd name="connsiteX672" fmla="*/ 7498455 w 15911803"/>
              <a:gd name="connsiteY672" fmla="*/ 281980 h 4281177"/>
              <a:gd name="connsiteX673" fmla="*/ 7538711 w 15911803"/>
              <a:gd name="connsiteY673" fmla="*/ 267331 h 4281177"/>
              <a:gd name="connsiteX674" fmla="*/ 7509434 w 15911803"/>
              <a:gd name="connsiteY674" fmla="*/ 230711 h 4281177"/>
              <a:gd name="connsiteX675" fmla="*/ 7593604 w 15911803"/>
              <a:gd name="connsiteY675" fmla="*/ 223387 h 4281177"/>
              <a:gd name="connsiteX676" fmla="*/ 7608243 w 15911803"/>
              <a:gd name="connsiteY676" fmla="*/ 314938 h 4281177"/>
              <a:gd name="connsiteX677" fmla="*/ 7641179 w 15911803"/>
              <a:gd name="connsiteY677" fmla="*/ 223387 h 4281177"/>
              <a:gd name="connsiteX678" fmla="*/ 7681434 w 15911803"/>
              <a:gd name="connsiteY678" fmla="*/ 212400 h 4281177"/>
              <a:gd name="connsiteX679" fmla="*/ 7703391 w 15911803"/>
              <a:gd name="connsiteY679" fmla="*/ 194090 h 4281177"/>
              <a:gd name="connsiteX680" fmla="*/ 7721689 w 15911803"/>
              <a:gd name="connsiteY680" fmla="*/ 197752 h 4281177"/>
              <a:gd name="connsiteX681" fmla="*/ 7827817 w 15911803"/>
              <a:gd name="connsiteY681" fmla="*/ 249021 h 4281177"/>
              <a:gd name="connsiteX682" fmla="*/ 7860753 w 15911803"/>
              <a:gd name="connsiteY682" fmla="*/ 249021 h 4281177"/>
              <a:gd name="connsiteX683" fmla="*/ 7930285 w 15911803"/>
              <a:gd name="connsiteY683" fmla="*/ 311276 h 4281177"/>
              <a:gd name="connsiteX684" fmla="*/ 7988837 w 15911803"/>
              <a:gd name="connsiteY684" fmla="*/ 278318 h 4281177"/>
              <a:gd name="connsiteX685" fmla="*/ 8021773 w 15911803"/>
              <a:gd name="connsiteY685" fmla="*/ 249021 h 4281177"/>
              <a:gd name="connsiteX686" fmla="*/ 8054710 w 15911803"/>
              <a:gd name="connsiteY686" fmla="*/ 278318 h 4281177"/>
              <a:gd name="connsiteX687" fmla="*/ 8087646 w 15911803"/>
              <a:gd name="connsiteY687" fmla="*/ 245359 h 4281177"/>
              <a:gd name="connsiteX688" fmla="*/ 8127901 w 15911803"/>
              <a:gd name="connsiteY688" fmla="*/ 336911 h 4281177"/>
              <a:gd name="connsiteX689" fmla="*/ 8245007 w 15911803"/>
              <a:gd name="connsiteY689" fmla="*/ 249021 h 4281177"/>
              <a:gd name="connsiteX690" fmla="*/ 8299901 w 15911803"/>
              <a:gd name="connsiteY690" fmla="*/ 249021 h 4281177"/>
              <a:gd name="connsiteX691" fmla="*/ 8340156 w 15911803"/>
              <a:gd name="connsiteY691" fmla="*/ 281980 h 4281177"/>
              <a:gd name="connsiteX692" fmla="*/ 8435305 w 15911803"/>
              <a:gd name="connsiteY692" fmla="*/ 238035 h 4281177"/>
              <a:gd name="connsiteX693" fmla="*/ 8446284 w 15911803"/>
              <a:gd name="connsiteY693" fmla="*/ 197752 h 4281177"/>
              <a:gd name="connsiteX694" fmla="*/ 8519475 w 15911803"/>
              <a:gd name="connsiteY694" fmla="*/ 216062 h 4281177"/>
              <a:gd name="connsiteX695" fmla="*/ 8581688 w 15911803"/>
              <a:gd name="connsiteY695" fmla="*/ 216062 h 4281177"/>
              <a:gd name="connsiteX696" fmla="*/ 8614624 w 15911803"/>
              <a:gd name="connsiteY696" fmla="*/ 183104 h 4281177"/>
              <a:gd name="connsiteX697" fmla="*/ 8636581 w 15911803"/>
              <a:gd name="connsiteY697" fmla="*/ 241697 h 4281177"/>
              <a:gd name="connsiteX698" fmla="*/ 8680496 w 15911803"/>
              <a:gd name="connsiteY698" fmla="*/ 249021 h 4281177"/>
              <a:gd name="connsiteX699" fmla="*/ 8698794 w 15911803"/>
              <a:gd name="connsiteY699" fmla="*/ 190428 h 4281177"/>
              <a:gd name="connsiteX700" fmla="*/ 8793943 w 15911803"/>
              <a:gd name="connsiteY700" fmla="*/ 216062 h 4281177"/>
              <a:gd name="connsiteX701" fmla="*/ 8892751 w 15911803"/>
              <a:gd name="connsiteY701" fmla="*/ 249021 h 4281177"/>
              <a:gd name="connsiteX702" fmla="*/ 8925687 w 15911803"/>
              <a:gd name="connsiteY702" fmla="*/ 216062 h 4281177"/>
              <a:gd name="connsiteX703" fmla="*/ 8984240 w 15911803"/>
              <a:gd name="connsiteY703" fmla="*/ 216062 h 4281177"/>
              <a:gd name="connsiteX704" fmla="*/ 9020836 w 15911803"/>
              <a:gd name="connsiteY704" fmla="*/ 249021 h 4281177"/>
              <a:gd name="connsiteX705" fmla="*/ 9079389 w 15911803"/>
              <a:gd name="connsiteY705" fmla="*/ 249021 h 4281177"/>
              <a:gd name="connsiteX706" fmla="*/ 9119644 w 15911803"/>
              <a:gd name="connsiteY706" fmla="*/ 285642 h 4281177"/>
              <a:gd name="connsiteX707" fmla="*/ 9134282 w 15911803"/>
              <a:gd name="connsiteY707" fmla="*/ 183104 h 4281177"/>
              <a:gd name="connsiteX708" fmla="*/ 9189176 w 15911803"/>
              <a:gd name="connsiteY708" fmla="*/ 194090 h 4281177"/>
              <a:gd name="connsiteX709" fmla="*/ 9189176 w 15911803"/>
              <a:gd name="connsiteY709" fmla="*/ 238035 h 4281177"/>
              <a:gd name="connsiteX710" fmla="*/ 9273346 w 15911803"/>
              <a:gd name="connsiteY710" fmla="*/ 256345 h 4281177"/>
              <a:gd name="connsiteX711" fmla="*/ 9295304 w 15911803"/>
              <a:gd name="connsiteY711" fmla="*/ 278318 h 4281177"/>
              <a:gd name="connsiteX712" fmla="*/ 9390452 w 15911803"/>
              <a:gd name="connsiteY712" fmla="*/ 278318 h 4281177"/>
              <a:gd name="connsiteX713" fmla="*/ 9419729 w 15911803"/>
              <a:gd name="connsiteY713" fmla="*/ 216062 h 4281177"/>
              <a:gd name="connsiteX714" fmla="*/ 9456325 w 15911803"/>
              <a:gd name="connsiteY714" fmla="*/ 216062 h 4281177"/>
              <a:gd name="connsiteX715" fmla="*/ 9489261 w 15911803"/>
              <a:gd name="connsiteY715" fmla="*/ 289304 h 4281177"/>
              <a:gd name="connsiteX716" fmla="*/ 9544154 w 15911803"/>
              <a:gd name="connsiteY716" fmla="*/ 216062 h 4281177"/>
              <a:gd name="connsiteX717" fmla="*/ 9599048 w 15911803"/>
              <a:gd name="connsiteY717" fmla="*/ 245359 h 4281177"/>
              <a:gd name="connsiteX718" fmla="*/ 9577090 w 15911803"/>
              <a:gd name="connsiteY718" fmla="*/ 278318 h 4281177"/>
              <a:gd name="connsiteX719" fmla="*/ 9599048 w 15911803"/>
              <a:gd name="connsiteY719" fmla="*/ 245359 h 4281177"/>
              <a:gd name="connsiteX720" fmla="*/ 9642962 w 15911803"/>
              <a:gd name="connsiteY720" fmla="*/ 249021 h 4281177"/>
              <a:gd name="connsiteX721" fmla="*/ 9664920 w 15911803"/>
              <a:gd name="connsiteY721" fmla="*/ 186766 h 4281177"/>
              <a:gd name="connsiteX722" fmla="*/ 9708835 w 15911803"/>
              <a:gd name="connsiteY722" fmla="*/ 216062 h 4281177"/>
              <a:gd name="connsiteX723" fmla="*/ 9771047 w 15911803"/>
              <a:gd name="connsiteY723" fmla="*/ 216062 h 4281177"/>
              <a:gd name="connsiteX724" fmla="*/ 9789345 w 15911803"/>
              <a:gd name="connsiteY724" fmla="*/ 274656 h 4281177"/>
              <a:gd name="connsiteX725" fmla="*/ 9858877 w 15911803"/>
              <a:gd name="connsiteY725" fmla="*/ 216062 h 4281177"/>
              <a:gd name="connsiteX726" fmla="*/ 9891813 w 15911803"/>
              <a:gd name="connsiteY726" fmla="*/ 249021 h 4281177"/>
              <a:gd name="connsiteX727" fmla="*/ 9950366 w 15911803"/>
              <a:gd name="connsiteY727" fmla="*/ 249021 h 4281177"/>
              <a:gd name="connsiteX728" fmla="*/ 9983302 w 15911803"/>
              <a:gd name="connsiteY728" fmla="*/ 278318 h 4281177"/>
              <a:gd name="connsiteX729" fmla="*/ 10045515 w 15911803"/>
              <a:gd name="connsiteY729" fmla="*/ 249021 h 4281177"/>
              <a:gd name="connsiteX730" fmla="*/ 10140664 w 15911803"/>
              <a:gd name="connsiteY730" fmla="*/ 249021 h 4281177"/>
              <a:gd name="connsiteX731" fmla="*/ 10173600 w 15911803"/>
              <a:gd name="connsiteY731" fmla="*/ 278318 h 4281177"/>
              <a:gd name="connsiteX732" fmla="*/ 10188238 w 15911803"/>
              <a:gd name="connsiteY732" fmla="*/ 190428 h 4281177"/>
              <a:gd name="connsiteX733" fmla="*/ 10235813 w 15911803"/>
              <a:gd name="connsiteY733" fmla="*/ 183104 h 4281177"/>
              <a:gd name="connsiteX734" fmla="*/ 10261430 w 15911803"/>
              <a:gd name="connsiteY734" fmla="*/ 252683 h 4281177"/>
              <a:gd name="connsiteX735" fmla="*/ 10294366 w 15911803"/>
              <a:gd name="connsiteY735" fmla="*/ 186766 h 4281177"/>
              <a:gd name="connsiteX736" fmla="*/ 10356578 w 15911803"/>
              <a:gd name="connsiteY736" fmla="*/ 186766 h 4281177"/>
              <a:gd name="connsiteX737" fmla="*/ 10389514 w 15911803"/>
              <a:gd name="connsiteY737" fmla="*/ 153807 h 4281177"/>
              <a:gd name="connsiteX738" fmla="*/ 10426110 w 15911803"/>
              <a:gd name="connsiteY738" fmla="*/ 153807 h 4281177"/>
              <a:gd name="connsiteX739" fmla="*/ 10440748 w 15911803"/>
              <a:gd name="connsiteY739" fmla="*/ 201414 h 4281177"/>
              <a:gd name="connsiteX740" fmla="*/ 10521259 w 15911803"/>
              <a:gd name="connsiteY740" fmla="*/ 245359 h 4281177"/>
              <a:gd name="connsiteX741" fmla="*/ 10645684 w 15911803"/>
              <a:gd name="connsiteY741" fmla="*/ 245359 h 4281177"/>
              <a:gd name="connsiteX742" fmla="*/ 10656663 w 15911803"/>
              <a:gd name="connsiteY742" fmla="*/ 197752 h 4281177"/>
              <a:gd name="connsiteX743" fmla="*/ 10729854 w 15911803"/>
              <a:gd name="connsiteY743" fmla="*/ 216062 h 4281177"/>
              <a:gd name="connsiteX744" fmla="*/ 10788407 w 15911803"/>
              <a:gd name="connsiteY744" fmla="*/ 216062 h 4281177"/>
              <a:gd name="connsiteX745" fmla="*/ 10883556 w 15911803"/>
              <a:gd name="connsiteY745" fmla="*/ 150145 h 4281177"/>
              <a:gd name="connsiteX746" fmla="*/ 10909173 w 15911803"/>
              <a:gd name="connsiteY746" fmla="*/ 270993 h 4281177"/>
              <a:gd name="connsiteX747" fmla="*/ 10920152 w 15911803"/>
              <a:gd name="connsiteY747" fmla="*/ 278318 h 4281177"/>
              <a:gd name="connsiteX748" fmla="*/ 11011641 w 15911803"/>
              <a:gd name="connsiteY748" fmla="*/ 186766 h 4281177"/>
              <a:gd name="connsiteX749" fmla="*/ 11040918 w 15911803"/>
              <a:gd name="connsiteY749" fmla="*/ 249021 h 4281177"/>
              <a:gd name="connsiteX750" fmla="*/ 11073854 w 15911803"/>
              <a:gd name="connsiteY750" fmla="*/ 216062 h 4281177"/>
              <a:gd name="connsiteX751" fmla="*/ 11106790 w 15911803"/>
              <a:gd name="connsiteY751" fmla="*/ 245359 h 4281177"/>
              <a:gd name="connsiteX752" fmla="*/ 11147045 w 15911803"/>
              <a:gd name="connsiteY752" fmla="*/ 212400 h 4281177"/>
              <a:gd name="connsiteX753" fmla="*/ 11205598 w 15911803"/>
              <a:gd name="connsiteY753" fmla="*/ 245359 h 4281177"/>
              <a:gd name="connsiteX754" fmla="*/ 11253173 w 15911803"/>
              <a:gd name="connsiteY754" fmla="*/ 168455 h 4281177"/>
              <a:gd name="connsiteX755" fmla="*/ 11293428 w 15911803"/>
              <a:gd name="connsiteY755" fmla="*/ 256345 h 4281177"/>
              <a:gd name="connsiteX756" fmla="*/ 11359300 w 15911803"/>
              <a:gd name="connsiteY756" fmla="*/ 219724 h 4281177"/>
              <a:gd name="connsiteX757" fmla="*/ 11421513 w 15911803"/>
              <a:gd name="connsiteY757" fmla="*/ 241697 h 4281177"/>
              <a:gd name="connsiteX758" fmla="*/ 11443470 w 15911803"/>
              <a:gd name="connsiteY758" fmla="*/ 190428 h 4281177"/>
              <a:gd name="connsiteX759" fmla="*/ 11480066 w 15911803"/>
              <a:gd name="connsiteY759" fmla="*/ 249021 h 4281177"/>
              <a:gd name="connsiteX760" fmla="*/ 11509342 w 15911803"/>
              <a:gd name="connsiteY760" fmla="*/ 278318 h 4281177"/>
              <a:gd name="connsiteX761" fmla="*/ 11542278 w 15911803"/>
              <a:gd name="connsiteY761" fmla="*/ 278318 h 4281177"/>
              <a:gd name="connsiteX762" fmla="*/ 11608151 w 15911803"/>
              <a:gd name="connsiteY762" fmla="*/ 190428 h 4281177"/>
              <a:gd name="connsiteX763" fmla="*/ 11626449 w 15911803"/>
              <a:gd name="connsiteY763" fmla="*/ 208738 h 4281177"/>
              <a:gd name="connsiteX764" fmla="*/ 11725257 w 15911803"/>
              <a:gd name="connsiteY764" fmla="*/ 190428 h 4281177"/>
              <a:gd name="connsiteX765" fmla="*/ 11743555 w 15911803"/>
              <a:gd name="connsiteY765" fmla="*/ 201414 h 4281177"/>
              <a:gd name="connsiteX766" fmla="*/ 11798448 w 15911803"/>
              <a:gd name="connsiteY766" fmla="*/ 285642 h 4281177"/>
              <a:gd name="connsiteX767" fmla="*/ 11919214 w 15911803"/>
              <a:gd name="connsiteY767" fmla="*/ 186766 h 4281177"/>
              <a:gd name="connsiteX768" fmla="*/ 11985086 w 15911803"/>
              <a:gd name="connsiteY768" fmla="*/ 216062 h 4281177"/>
              <a:gd name="connsiteX769" fmla="*/ 12080235 w 15911803"/>
              <a:gd name="connsiteY769" fmla="*/ 175780 h 4281177"/>
              <a:gd name="connsiteX770" fmla="*/ 12098533 w 15911803"/>
              <a:gd name="connsiteY770" fmla="*/ 124511 h 4281177"/>
              <a:gd name="connsiteX771" fmla="*/ 12127809 w 15911803"/>
              <a:gd name="connsiteY771" fmla="*/ 120849 h 4281177"/>
              <a:gd name="connsiteX772" fmla="*/ 12226618 w 15911803"/>
              <a:gd name="connsiteY772" fmla="*/ 241697 h 4281177"/>
              <a:gd name="connsiteX773" fmla="*/ 12255894 w 15911803"/>
              <a:gd name="connsiteY773" fmla="*/ 219724 h 4281177"/>
              <a:gd name="connsiteX774" fmla="*/ 12387639 w 15911803"/>
              <a:gd name="connsiteY774" fmla="*/ 219724 h 4281177"/>
              <a:gd name="connsiteX775" fmla="*/ 12431554 w 15911803"/>
              <a:gd name="connsiteY775" fmla="*/ 161131 h 4281177"/>
              <a:gd name="connsiteX776" fmla="*/ 12431554 w 15911803"/>
              <a:gd name="connsiteY776" fmla="*/ 102538 h 4281177"/>
              <a:gd name="connsiteX777" fmla="*/ 12475468 w 15911803"/>
              <a:gd name="connsiteY777" fmla="*/ 58593 h 4281177"/>
              <a:gd name="connsiteX778" fmla="*/ 12493766 w 15911803"/>
              <a:gd name="connsiteY778" fmla="*/ 113524 h 4281177"/>
              <a:gd name="connsiteX779" fmla="*/ 12508404 w 15911803"/>
              <a:gd name="connsiteY779" fmla="*/ 164793 h 4281177"/>
              <a:gd name="connsiteX780" fmla="*/ 12530362 w 15911803"/>
              <a:gd name="connsiteY780" fmla="*/ 91552 h 4281177"/>
              <a:gd name="connsiteX781" fmla="*/ 12629170 w 15911803"/>
              <a:gd name="connsiteY781" fmla="*/ 91552 h 4281177"/>
              <a:gd name="connsiteX782" fmla="*/ 12731638 w 15911803"/>
              <a:gd name="connsiteY782" fmla="*/ 150145 h 4281177"/>
              <a:gd name="connsiteX783" fmla="*/ 12749936 w 15911803"/>
              <a:gd name="connsiteY783" fmla="*/ 91552 h 4281177"/>
              <a:gd name="connsiteX784" fmla="*/ 12819468 w 15911803"/>
              <a:gd name="connsiteY784" fmla="*/ 183104 h 4281177"/>
              <a:gd name="connsiteX785" fmla="*/ 12863383 w 15911803"/>
              <a:gd name="connsiteY785" fmla="*/ 106200 h 4281177"/>
              <a:gd name="connsiteX786" fmla="*/ 12947553 w 15911803"/>
              <a:gd name="connsiteY786" fmla="*/ 29297 h 4281177"/>
              <a:gd name="connsiteX787" fmla="*/ 12965851 w 15911803"/>
              <a:gd name="connsiteY787" fmla="*/ 84228 h 4281177"/>
              <a:gd name="connsiteX788" fmla="*/ 13009765 w 15911803"/>
              <a:gd name="connsiteY788" fmla="*/ 91552 h 4281177"/>
              <a:gd name="connsiteX789" fmla="*/ 13028063 w 15911803"/>
              <a:gd name="connsiteY789" fmla="*/ 29297 h 4281177"/>
              <a:gd name="connsiteX790" fmla="*/ 13163467 w 15911803"/>
              <a:gd name="connsiteY790" fmla="*/ 25635 h 4281177"/>
              <a:gd name="connsiteX791" fmla="*/ 13189084 w 15911803"/>
              <a:gd name="connsiteY791" fmla="*/ 0 h 4281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</a:cxnLst>
            <a:rect l="l" t="t" r="r" b="b"/>
            <a:pathLst>
              <a:path w="15911803" h="4281177">
                <a:moveTo>
                  <a:pt x="13189084" y="0"/>
                </a:moveTo>
                <a:cubicBezTo>
                  <a:pt x="13225680" y="18311"/>
                  <a:pt x="13269595" y="40283"/>
                  <a:pt x="13309850" y="62255"/>
                </a:cubicBezTo>
                <a:cubicBezTo>
                  <a:pt x="13324488" y="47607"/>
                  <a:pt x="13335467" y="40283"/>
                  <a:pt x="13346446" y="29297"/>
                </a:cubicBezTo>
                <a:cubicBezTo>
                  <a:pt x="13368403" y="47607"/>
                  <a:pt x="13390360" y="69580"/>
                  <a:pt x="13412318" y="87890"/>
                </a:cubicBezTo>
                <a:cubicBezTo>
                  <a:pt x="13459892" y="102538"/>
                  <a:pt x="13452573" y="58593"/>
                  <a:pt x="13463552" y="32959"/>
                </a:cubicBezTo>
                <a:cubicBezTo>
                  <a:pt x="13470871" y="36621"/>
                  <a:pt x="13485509" y="40283"/>
                  <a:pt x="13485509" y="40283"/>
                </a:cubicBezTo>
                <a:cubicBezTo>
                  <a:pt x="13478190" y="76904"/>
                  <a:pt x="13518445" y="87890"/>
                  <a:pt x="13514786" y="117186"/>
                </a:cubicBezTo>
                <a:cubicBezTo>
                  <a:pt x="13492828" y="153807"/>
                  <a:pt x="13474531" y="194090"/>
                  <a:pt x="13437935" y="216062"/>
                </a:cubicBezTo>
                <a:cubicBezTo>
                  <a:pt x="13361084" y="216062"/>
                  <a:pt x="13361084" y="216062"/>
                  <a:pt x="13339126" y="241697"/>
                </a:cubicBezTo>
                <a:cubicBezTo>
                  <a:pt x="13346446" y="241697"/>
                  <a:pt x="13350105" y="249021"/>
                  <a:pt x="13353765" y="249021"/>
                </a:cubicBezTo>
                <a:cubicBezTo>
                  <a:pt x="13404999" y="249021"/>
                  <a:pt x="13456233" y="249021"/>
                  <a:pt x="13503807" y="249021"/>
                </a:cubicBezTo>
                <a:cubicBezTo>
                  <a:pt x="13518445" y="219724"/>
                  <a:pt x="13533084" y="194090"/>
                  <a:pt x="13547722" y="164793"/>
                </a:cubicBezTo>
                <a:cubicBezTo>
                  <a:pt x="13536743" y="153807"/>
                  <a:pt x="13525764" y="139159"/>
                  <a:pt x="13514786" y="117186"/>
                </a:cubicBezTo>
                <a:cubicBezTo>
                  <a:pt x="13540403" y="120849"/>
                  <a:pt x="13562360" y="120849"/>
                  <a:pt x="13580658" y="120849"/>
                </a:cubicBezTo>
                <a:cubicBezTo>
                  <a:pt x="13580658" y="146483"/>
                  <a:pt x="13580658" y="175780"/>
                  <a:pt x="13580658" y="201414"/>
                </a:cubicBezTo>
                <a:cubicBezTo>
                  <a:pt x="13569679" y="212400"/>
                  <a:pt x="13562360" y="223387"/>
                  <a:pt x="13551381" y="234373"/>
                </a:cubicBezTo>
                <a:cubicBezTo>
                  <a:pt x="13551381" y="245359"/>
                  <a:pt x="13551381" y="256345"/>
                  <a:pt x="13551381" y="270993"/>
                </a:cubicBezTo>
                <a:cubicBezTo>
                  <a:pt x="13569679" y="274656"/>
                  <a:pt x="13587977" y="281980"/>
                  <a:pt x="13606275" y="289304"/>
                </a:cubicBezTo>
                <a:cubicBezTo>
                  <a:pt x="13613594" y="307614"/>
                  <a:pt x="13617254" y="325925"/>
                  <a:pt x="13624573" y="344235"/>
                </a:cubicBezTo>
                <a:cubicBezTo>
                  <a:pt x="13639211" y="333249"/>
                  <a:pt x="13650190" y="322262"/>
                  <a:pt x="13661168" y="311276"/>
                </a:cubicBezTo>
                <a:cubicBezTo>
                  <a:pt x="13705083" y="307614"/>
                  <a:pt x="13716062" y="355221"/>
                  <a:pt x="13748998" y="366207"/>
                </a:cubicBezTo>
                <a:cubicBezTo>
                  <a:pt x="13774615" y="377194"/>
                  <a:pt x="13800232" y="402828"/>
                  <a:pt x="13825849" y="402828"/>
                </a:cubicBezTo>
                <a:cubicBezTo>
                  <a:pt x="13862445" y="402828"/>
                  <a:pt x="13891721" y="424800"/>
                  <a:pt x="13917338" y="439449"/>
                </a:cubicBezTo>
                <a:cubicBezTo>
                  <a:pt x="13957594" y="450435"/>
                  <a:pt x="13968572" y="366207"/>
                  <a:pt x="14012487" y="417477"/>
                </a:cubicBezTo>
                <a:cubicBezTo>
                  <a:pt x="14001508" y="439449"/>
                  <a:pt x="13990530" y="457759"/>
                  <a:pt x="13979551" y="483394"/>
                </a:cubicBezTo>
                <a:cubicBezTo>
                  <a:pt x="14052742" y="509028"/>
                  <a:pt x="14103976" y="571283"/>
                  <a:pt x="14184487" y="563959"/>
                </a:cubicBezTo>
                <a:cubicBezTo>
                  <a:pt x="14206444" y="600580"/>
                  <a:pt x="14275976" y="582270"/>
                  <a:pt x="14272316" y="648187"/>
                </a:cubicBezTo>
                <a:cubicBezTo>
                  <a:pt x="14272316" y="666497"/>
                  <a:pt x="14297933" y="681145"/>
                  <a:pt x="14308912" y="692132"/>
                </a:cubicBezTo>
                <a:cubicBezTo>
                  <a:pt x="14330869" y="692132"/>
                  <a:pt x="14349167" y="692132"/>
                  <a:pt x="14363806" y="692132"/>
                </a:cubicBezTo>
                <a:cubicBezTo>
                  <a:pt x="14418699" y="721428"/>
                  <a:pt x="14473593" y="750725"/>
                  <a:pt x="14543124" y="787346"/>
                </a:cubicBezTo>
                <a:cubicBezTo>
                  <a:pt x="14579720" y="787346"/>
                  <a:pt x="14630954" y="787346"/>
                  <a:pt x="14682188" y="787346"/>
                </a:cubicBezTo>
                <a:cubicBezTo>
                  <a:pt x="14693167" y="798332"/>
                  <a:pt x="14707805" y="805656"/>
                  <a:pt x="14726103" y="823966"/>
                </a:cubicBezTo>
                <a:cubicBezTo>
                  <a:pt x="14762699" y="823966"/>
                  <a:pt x="14806613" y="823966"/>
                  <a:pt x="14854188" y="823966"/>
                </a:cubicBezTo>
                <a:cubicBezTo>
                  <a:pt x="14828571" y="904532"/>
                  <a:pt x="14744401" y="908194"/>
                  <a:pt x="14704145" y="963125"/>
                </a:cubicBezTo>
                <a:cubicBezTo>
                  <a:pt x="14704145" y="974111"/>
                  <a:pt x="14704145" y="985098"/>
                  <a:pt x="14704145" y="996084"/>
                </a:cubicBezTo>
                <a:cubicBezTo>
                  <a:pt x="14707805" y="999746"/>
                  <a:pt x="14711465" y="1007070"/>
                  <a:pt x="14715124" y="1007070"/>
                </a:cubicBezTo>
                <a:cubicBezTo>
                  <a:pt x="14762699" y="1014394"/>
                  <a:pt x="14806613" y="1007070"/>
                  <a:pt x="14843209" y="1010732"/>
                </a:cubicBezTo>
                <a:cubicBezTo>
                  <a:pt x="14857847" y="996084"/>
                  <a:pt x="14865166" y="988760"/>
                  <a:pt x="14872486" y="977773"/>
                </a:cubicBezTo>
                <a:cubicBezTo>
                  <a:pt x="14883464" y="988760"/>
                  <a:pt x="14894443" y="999746"/>
                  <a:pt x="14905422" y="1010732"/>
                </a:cubicBezTo>
                <a:cubicBezTo>
                  <a:pt x="14916400" y="999746"/>
                  <a:pt x="14927379" y="988760"/>
                  <a:pt x="14938358" y="977773"/>
                </a:cubicBezTo>
                <a:cubicBezTo>
                  <a:pt x="14982273" y="970449"/>
                  <a:pt x="15004230" y="1040029"/>
                  <a:pt x="15070102" y="999746"/>
                </a:cubicBezTo>
                <a:cubicBezTo>
                  <a:pt x="15066443" y="1003408"/>
                  <a:pt x="15077421" y="992422"/>
                  <a:pt x="15092060" y="981435"/>
                </a:cubicBezTo>
                <a:cubicBezTo>
                  <a:pt x="15124996" y="1003408"/>
                  <a:pt x="15146953" y="1051015"/>
                  <a:pt x="15198187" y="1051015"/>
                </a:cubicBezTo>
                <a:cubicBezTo>
                  <a:pt x="15198187" y="1076649"/>
                  <a:pt x="15172570" y="1080311"/>
                  <a:pt x="15165251" y="1094960"/>
                </a:cubicBezTo>
                <a:cubicBezTo>
                  <a:pt x="15135975" y="1113270"/>
                  <a:pt x="15103038" y="1102284"/>
                  <a:pt x="15073762" y="1105946"/>
                </a:cubicBezTo>
                <a:cubicBezTo>
                  <a:pt x="15044485" y="1105946"/>
                  <a:pt x="15011549" y="1102284"/>
                  <a:pt x="14982273" y="1105946"/>
                </a:cubicBezTo>
                <a:cubicBezTo>
                  <a:pt x="14949337" y="1109608"/>
                  <a:pt x="14920060" y="1091298"/>
                  <a:pt x="14890783" y="1120594"/>
                </a:cubicBezTo>
                <a:cubicBezTo>
                  <a:pt x="14934698" y="1153553"/>
                  <a:pt x="14989592" y="1124256"/>
                  <a:pt x="15033507" y="1142567"/>
                </a:cubicBezTo>
                <a:cubicBezTo>
                  <a:pt x="15040826" y="1149891"/>
                  <a:pt x="15048145" y="1157215"/>
                  <a:pt x="15055464" y="1164539"/>
                </a:cubicBezTo>
                <a:cubicBezTo>
                  <a:pt x="15073762" y="1153553"/>
                  <a:pt x="15088400" y="1146229"/>
                  <a:pt x="15106698" y="1135242"/>
                </a:cubicBezTo>
                <a:cubicBezTo>
                  <a:pt x="15124996" y="1146229"/>
                  <a:pt x="15146953" y="1157215"/>
                  <a:pt x="15172570" y="1171863"/>
                </a:cubicBezTo>
                <a:cubicBezTo>
                  <a:pt x="15187208" y="1160877"/>
                  <a:pt x="15201847" y="1149891"/>
                  <a:pt x="15220145" y="1138904"/>
                </a:cubicBezTo>
                <a:cubicBezTo>
                  <a:pt x="15223804" y="1146229"/>
                  <a:pt x="15231123" y="1153553"/>
                  <a:pt x="15242102" y="1160877"/>
                </a:cubicBezTo>
                <a:cubicBezTo>
                  <a:pt x="15249421" y="1164539"/>
                  <a:pt x="15260400" y="1168201"/>
                  <a:pt x="15267719" y="1168201"/>
                </a:cubicBezTo>
                <a:cubicBezTo>
                  <a:pt x="15307974" y="1168201"/>
                  <a:pt x="15351889" y="1168201"/>
                  <a:pt x="15392144" y="1168201"/>
                </a:cubicBezTo>
                <a:cubicBezTo>
                  <a:pt x="15421421" y="1186512"/>
                  <a:pt x="15458017" y="1193836"/>
                  <a:pt x="15479974" y="1219470"/>
                </a:cubicBezTo>
                <a:cubicBezTo>
                  <a:pt x="15509250" y="1248767"/>
                  <a:pt x="15553165" y="1208484"/>
                  <a:pt x="15575123" y="1248767"/>
                </a:cubicBezTo>
                <a:cubicBezTo>
                  <a:pt x="15571463" y="1252429"/>
                  <a:pt x="15567804" y="1259753"/>
                  <a:pt x="15564144" y="1259753"/>
                </a:cubicBezTo>
                <a:cubicBezTo>
                  <a:pt x="15520229" y="1263415"/>
                  <a:pt x="15479974" y="1259753"/>
                  <a:pt x="15443378" y="1259753"/>
                </a:cubicBezTo>
                <a:cubicBezTo>
                  <a:pt x="15421421" y="1289049"/>
                  <a:pt x="15388485" y="1296374"/>
                  <a:pt x="15362868" y="1307360"/>
                </a:cubicBezTo>
                <a:cubicBezTo>
                  <a:pt x="15362868" y="1311022"/>
                  <a:pt x="15362868" y="1314684"/>
                  <a:pt x="15362868" y="1318346"/>
                </a:cubicBezTo>
                <a:cubicBezTo>
                  <a:pt x="15384825" y="1325670"/>
                  <a:pt x="15406783" y="1336656"/>
                  <a:pt x="15399463" y="1332994"/>
                </a:cubicBezTo>
                <a:cubicBezTo>
                  <a:pt x="15450697" y="1365953"/>
                  <a:pt x="15476314" y="1358629"/>
                  <a:pt x="15501931" y="1358629"/>
                </a:cubicBezTo>
                <a:cubicBezTo>
                  <a:pt x="15523889" y="1362291"/>
                  <a:pt x="15542187" y="1358629"/>
                  <a:pt x="15560484" y="1358629"/>
                </a:cubicBezTo>
                <a:cubicBezTo>
                  <a:pt x="15571463" y="1347643"/>
                  <a:pt x="15578782" y="1340319"/>
                  <a:pt x="15589761" y="1329332"/>
                </a:cubicBezTo>
                <a:cubicBezTo>
                  <a:pt x="15597080" y="1336656"/>
                  <a:pt x="15608059" y="1347643"/>
                  <a:pt x="15622697" y="1358629"/>
                </a:cubicBezTo>
                <a:cubicBezTo>
                  <a:pt x="15648314" y="1358629"/>
                  <a:pt x="15677591" y="1358629"/>
                  <a:pt x="15710527" y="1358629"/>
                </a:cubicBezTo>
                <a:cubicBezTo>
                  <a:pt x="15725165" y="1369615"/>
                  <a:pt x="15739803" y="1384263"/>
                  <a:pt x="15758101" y="1398912"/>
                </a:cubicBezTo>
                <a:cubicBezTo>
                  <a:pt x="15747121" y="1442857"/>
                  <a:pt x="15703209" y="1453843"/>
                  <a:pt x="15688569" y="1486801"/>
                </a:cubicBezTo>
                <a:cubicBezTo>
                  <a:pt x="15615378" y="1475815"/>
                  <a:pt x="15575123" y="1541733"/>
                  <a:pt x="15512910" y="1527084"/>
                </a:cubicBezTo>
                <a:cubicBezTo>
                  <a:pt x="15556825" y="1552719"/>
                  <a:pt x="15597080" y="1589339"/>
                  <a:pt x="15651974" y="1582015"/>
                </a:cubicBezTo>
                <a:cubicBezTo>
                  <a:pt x="15662953" y="1593002"/>
                  <a:pt x="15673931" y="1600326"/>
                  <a:pt x="15684909" y="1614974"/>
                </a:cubicBezTo>
                <a:cubicBezTo>
                  <a:pt x="15714185" y="1614974"/>
                  <a:pt x="15747121" y="1614974"/>
                  <a:pt x="15772739" y="1614974"/>
                </a:cubicBezTo>
                <a:cubicBezTo>
                  <a:pt x="15823973" y="1647932"/>
                  <a:pt x="15886185" y="1666243"/>
                  <a:pt x="15911803" y="1732160"/>
                </a:cubicBezTo>
                <a:cubicBezTo>
                  <a:pt x="15900825" y="1735822"/>
                  <a:pt x="15882525" y="1739484"/>
                  <a:pt x="15864229" y="1746808"/>
                </a:cubicBezTo>
                <a:cubicBezTo>
                  <a:pt x="15849589" y="1772443"/>
                  <a:pt x="15856909" y="1798078"/>
                  <a:pt x="15856909" y="1816388"/>
                </a:cubicBezTo>
                <a:cubicBezTo>
                  <a:pt x="15871549" y="1838360"/>
                  <a:pt x="15882525" y="1853009"/>
                  <a:pt x="15893505" y="1871319"/>
                </a:cubicBezTo>
                <a:cubicBezTo>
                  <a:pt x="15875207" y="1893291"/>
                  <a:pt x="15864229" y="1907940"/>
                  <a:pt x="15845931" y="1926250"/>
                </a:cubicBezTo>
                <a:cubicBezTo>
                  <a:pt x="15805677" y="1926250"/>
                  <a:pt x="15758101" y="1926250"/>
                  <a:pt x="15721505" y="1926250"/>
                </a:cubicBezTo>
                <a:cubicBezTo>
                  <a:pt x="15703209" y="1944560"/>
                  <a:pt x="15692229" y="1951885"/>
                  <a:pt x="15681249" y="1962871"/>
                </a:cubicBezTo>
                <a:cubicBezTo>
                  <a:pt x="15626357" y="1962871"/>
                  <a:pt x="15575123" y="1962871"/>
                  <a:pt x="15527548" y="1962871"/>
                </a:cubicBezTo>
                <a:cubicBezTo>
                  <a:pt x="15516570" y="1973857"/>
                  <a:pt x="15509250" y="1981181"/>
                  <a:pt x="15501931" y="1992167"/>
                </a:cubicBezTo>
                <a:cubicBezTo>
                  <a:pt x="15399463" y="1992167"/>
                  <a:pt x="15296996" y="1992167"/>
                  <a:pt x="15209166" y="1992167"/>
                </a:cubicBezTo>
                <a:cubicBezTo>
                  <a:pt x="15168911" y="1999491"/>
                  <a:pt x="15161591" y="2036112"/>
                  <a:pt x="15124996" y="2025126"/>
                </a:cubicBezTo>
                <a:cubicBezTo>
                  <a:pt x="15117677" y="2017802"/>
                  <a:pt x="15106698" y="2006816"/>
                  <a:pt x="15092060" y="1995829"/>
                </a:cubicBezTo>
                <a:cubicBezTo>
                  <a:pt x="15062783" y="1995829"/>
                  <a:pt x="15033507" y="1995829"/>
                  <a:pt x="15000570" y="1995829"/>
                </a:cubicBezTo>
                <a:cubicBezTo>
                  <a:pt x="14989592" y="2003153"/>
                  <a:pt x="14978613" y="2014140"/>
                  <a:pt x="14967634" y="2025126"/>
                </a:cubicBezTo>
                <a:cubicBezTo>
                  <a:pt x="14791975" y="2025126"/>
                  <a:pt x="14616316" y="2025126"/>
                  <a:pt x="14436997" y="2025126"/>
                </a:cubicBezTo>
                <a:cubicBezTo>
                  <a:pt x="14429678" y="2032450"/>
                  <a:pt x="14422359" y="2039774"/>
                  <a:pt x="14415040" y="2047098"/>
                </a:cubicBezTo>
                <a:cubicBezTo>
                  <a:pt x="14411380" y="2050760"/>
                  <a:pt x="14407720" y="2058085"/>
                  <a:pt x="14404061" y="2058085"/>
                </a:cubicBezTo>
                <a:cubicBezTo>
                  <a:pt x="14268657" y="2058085"/>
                  <a:pt x="14136912" y="2058085"/>
                  <a:pt x="14005168" y="2058085"/>
                </a:cubicBezTo>
                <a:cubicBezTo>
                  <a:pt x="13990530" y="2069071"/>
                  <a:pt x="13979551" y="2080057"/>
                  <a:pt x="13968572" y="2087381"/>
                </a:cubicBezTo>
                <a:cubicBezTo>
                  <a:pt x="13961253" y="2080057"/>
                  <a:pt x="13953934" y="2069071"/>
                  <a:pt x="13942955" y="2061747"/>
                </a:cubicBezTo>
                <a:cubicBezTo>
                  <a:pt x="13931977" y="2069071"/>
                  <a:pt x="13920998" y="2076395"/>
                  <a:pt x="13910019" y="2087381"/>
                </a:cubicBezTo>
                <a:cubicBezTo>
                  <a:pt x="13800232" y="2087381"/>
                  <a:pt x="13686785" y="2087381"/>
                  <a:pt x="13576998" y="2087381"/>
                </a:cubicBezTo>
                <a:cubicBezTo>
                  <a:pt x="13547722" y="2098367"/>
                  <a:pt x="13536743" y="2134988"/>
                  <a:pt x="13503807" y="2120340"/>
                </a:cubicBezTo>
                <a:cubicBezTo>
                  <a:pt x="13496488" y="2109354"/>
                  <a:pt x="13481850" y="2102029"/>
                  <a:pt x="13474531" y="2091043"/>
                </a:cubicBezTo>
                <a:cubicBezTo>
                  <a:pt x="13459892" y="2102029"/>
                  <a:pt x="13448914" y="2113016"/>
                  <a:pt x="13437935" y="2120340"/>
                </a:cubicBezTo>
                <a:cubicBezTo>
                  <a:pt x="13426956" y="2120340"/>
                  <a:pt x="13415977" y="2124002"/>
                  <a:pt x="13408658" y="2116678"/>
                </a:cubicBezTo>
                <a:cubicBezTo>
                  <a:pt x="13397680" y="2113016"/>
                  <a:pt x="13386701" y="2102029"/>
                  <a:pt x="13375722" y="2091043"/>
                </a:cubicBezTo>
                <a:cubicBezTo>
                  <a:pt x="13368403" y="2102029"/>
                  <a:pt x="13361084" y="2109354"/>
                  <a:pt x="13346446" y="2120340"/>
                </a:cubicBezTo>
                <a:cubicBezTo>
                  <a:pt x="13225680" y="2120340"/>
                  <a:pt x="13097595" y="2120340"/>
                  <a:pt x="12973170" y="2120340"/>
                </a:cubicBezTo>
                <a:cubicBezTo>
                  <a:pt x="12962191" y="2134988"/>
                  <a:pt x="12954872" y="2142312"/>
                  <a:pt x="12943893" y="2149636"/>
                </a:cubicBezTo>
                <a:cubicBezTo>
                  <a:pt x="12841425" y="2149636"/>
                  <a:pt x="12738957" y="2149636"/>
                  <a:pt x="12636489" y="2149636"/>
                </a:cubicBezTo>
                <a:cubicBezTo>
                  <a:pt x="12625511" y="2160623"/>
                  <a:pt x="12614532" y="2171609"/>
                  <a:pt x="12596234" y="2189919"/>
                </a:cubicBezTo>
                <a:cubicBezTo>
                  <a:pt x="12545000" y="2189919"/>
                  <a:pt x="12490107" y="2189919"/>
                  <a:pt x="12431554" y="2189919"/>
                </a:cubicBezTo>
                <a:cubicBezTo>
                  <a:pt x="12431554" y="2219216"/>
                  <a:pt x="12431554" y="2244850"/>
                  <a:pt x="12431554" y="2266823"/>
                </a:cubicBezTo>
                <a:cubicBezTo>
                  <a:pt x="12446192" y="2281471"/>
                  <a:pt x="12446192" y="2281471"/>
                  <a:pt x="12504745" y="2219216"/>
                </a:cubicBezTo>
                <a:cubicBezTo>
                  <a:pt x="12512064" y="2226540"/>
                  <a:pt x="12523043" y="2233864"/>
                  <a:pt x="12541341" y="2248512"/>
                </a:cubicBezTo>
                <a:cubicBezTo>
                  <a:pt x="12702362" y="2248512"/>
                  <a:pt x="12874361" y="2248512"/>
                  <a:pt x="13039042" y="2248512"/>
                </a:cubicBezTo>
                <a:cubicBezTo>
                  <a:pt x="13050021" y="2263161"/>
                  <a:pt x="13057340" y="2270485"/>
                  <a:pt x="13064659" y="2277809"/>
                </a:cubicBezTo>
                <a:cubicBezTo>
                  <a:pt x="13075638" y="2270485"/>
                  <a:pt x="13086616" y="2259498"/>
                  <a:pt x="13097595" y="2248512"/>
                </a:cubicBezTo>
                <a:cubicBezTo>
                  <a:pt x="13104914" y="2255837"/>
                  <a:pt x="13112233" y="2263161"/>
                  <a:pt x="13126872" y="2274147"/>
                </a:cubicBezTo>
                <a:cubicBezTo>
                  <a:pt x="13163467" y="2292457"/>
                  <a:pt x="13211042" y="2270485"/>
                  <a:pt x="13258616" y="2285133"/>
                </a:cubicBezTo>
                <a:cubicBezTo>
                  <a:pt x="13265935" y="2292457"/>
                  <a:pt x="13276914" y="2299781"/>
                  <a:pt x="13287893" y="2310768"/>
                </a:cubicBezTo>
                <a:cubicBezTo>
                  <a:pt x="13295212" y="2303443"/>
                  <a:pt x="13302531" y="2296119"/>
                  <a:pt x="13317169" y="2281471"/>
                </a:cubicBezTo>
                <a:cubicBezTo>
                  <a:pt x="13408658" y="2281471"/>
                  <a:pt x="13503807" y="2281471"/>
                  <a:pt x="13595296" y="2281471"/>
                </a:cubicBezTo>
                <a:cubicBezTo>
                  <a:pt x="13609935" y="2266823"/>
                  <a:pt x="13617254" y="2259498"/>
                  <a:pt x="13624573" y="2252174"/>
                </a:cubicBezTo>
                <a:cubicBezTo>
                  <a:pt x="13635552" y="2259498"/>
                  <a:pt x="13646530" y="2266823"/>
                  <a:pt x="13657509" y="2277809"/>
                </a:cubicBezTo>
                <a:cubicBezTo>
                  <a:pt x="13668488" y="2270485"/>
                  <a:pt x="13679466" y="2259498"/>
                  <a:pt x="13690445" y="2248512"/>
                </a:cubicBezTo>
                <a:cubicBezTo>
                  <a:pt x="13730700" y="2248512"/>
                  <a:pt x="13770956" y="2248512"/>
                  <a:pt x="13814870" y="2248512"/>
                </a:cubicBezTo>
                <a:cubicBezTo>
                  <a:pt x="13825849" y="2259498"/>
                  <a:pt x="13836828" y="2270485"/>
                  <a:pt x="13847806" y="2281471"/>
                </a:cubicBezTo>
                <a:cubicBezTo>
                  <a:pt x="13920998" y="2281471"/>
                  <a:pt x="13994189" y="2281471"/>
                  <a:pt x="14063721" y="2281471"/>
                </a:cubicBezTo>
                <a:cubicBezTo>
                  <a:pt x="14074700" y="2270485"/>
                  <a:pt x="14085678" y="2259498"/>
                  <a:pt x="14096657" y="2248512"/>
                </a:cubicBezTo>
                <a:cubicBezTo>
                  <a:pt x="14107636" y="2259498"/>
                  <a:pt x="14114955" y="2266823"/>
                  <a:pt x="14122274" y="2277809"/>
                </a:cubicBezTo>
                <a:cubicBezTo>
                  <a:pt x="14169848" y="2277809"/>
                  <a:pt x="14221082" y="2277809"/>
                  <a:pt x="14268657" y="2277809"/>
                </a:cubicBezTo>
                <a:cubicBezTo>
                  <a:pt x="14290614" y="2292457"/>
                  <a:pt x="14305253" y="2299781"/>
                  <a:pt x="14327210" y="2314429"/>
                </a:cubicBezTo>
                <a:cubicBezTo>
                  <a:pt x="14345508" y="2303443"/>
                  <a:pt x="14367465" y="2292457"/>
                  <a:pt x="14393082" y="2277809"/>
                </a:cubicBezTo>
                <a:cubicBezTo>
                  <a:pt x="14407720" y="2285133"/>
                  <a:pt x="14422359" y="2296119"/>
                  <a:pt x="14440657" y="2310768"/>
                </a:cubicBezTo>
                <a:cubicBezTo>
                  <a:pt x="14447976" y="2299781"/>
                  <a:pt x="14458954" y="2288795"/>
                  <a:pt x="14469933" y="2281471"/>
                </a:cubicBezTo>
                <a:cubicBezTo>
                  <a:pt x="14510188" y="2274147"/>
                  <a:pt x="14524827" y="2307106"/>
                  <a:pt x="14546784" y="2325416"/>
                </a:cubicBezTo>
                <a:cubicBezTo>
                  <a:pt x="14550444" y="2347388"/>
                  <a:pt x="14550444" y="2373023"/>
                  <a:pt x="14524827" y="2373023"/>
                </a:cubicBezTo>
                <a:cubicBezTo>
                  <a:pt x="14484571" y="2373023"/>
                  <a:pt x="14480912" y="2409644"/>
                  <a:pt x="14440657" y="2424292"/>
                </a:cubicBezTo>
                <a:cubicBezTo>
                  <a:pt x="14473593" y="2435278"/>
                  <a:pt x="14491890" y="2438940"/>
                  <a:pt x="14510188" y="2449926"/>
                </a:cubicBezTo>
                <a:cubicBezTo>
                  <a:pt x="14517507" y="2453588"/>
                  <a:pt x="14524827" y="2460912"/>
                  <a:pt x="14532146" y="2471899"/>
                </a:cubicBezTo>
                <a:cubicBezTo>
                  <a:pt x="14561422" y="2471899"/>
                  <a:pt x="14594358" y="2471899"/>
                  <a:pt x="14623635" y="2471899"/>
                </a:cubicBezTo>
                <a:cubicBezTo>
                  <a:pt x="14634614" y="2460912"/>
                  <a:pt x="14645592" y="2449926"/>
                  <a:pt x="14656571" y="2438940"/>
                </a:cubicBezTo>
                <a:cubicBezTo>
                  <a:pt x="14663890" y="2446264"/>
                  <a:pt x="14671209" y="2453588"/>
                  <a:pt x="14685848" y="2468236"/>
                </a:cubicBezTo>
                <a:cubicBezTo>
                  <a:pt x="14726103" y="2468236"/>
                  <a:pt x="14770018" y="2468236"/>
                  <a:pt x="14795635" y="2468236"/>
                </a:cubicBezTo>
                <a:cubicBezTo>
                  <a:pt x="14839549" y="2490209"/>
                  <a:pt x="14865166" y="2504857"/>
                  <a:pt x="14890783" y="2519506"/>
                </a:cubicBezTo>
                <a:cubicBezTo>
                  <a:pt x="14876145" y="2534154"/>
                  <a:pt x="14861507" y="2548802"/>
                  <a:pt x="14846869" y="2563451"/>
                </a:cubicBezTo>
                <a:cubicBezTo>
                  <a:pt x="14821252" y="2578099"/>
                  <a:pt x="14784656" y="2541478"/>
                  <a:pt x="14770018" y="2585423"/>
                </a:cubicBezTo>
                <a:cubicBezTo>
                  <a:pt x="14773677" y="2589085"/>
                  <a:pt x="14777337" y="2596409"/>
                  <a:pt x="14780996" y="2596409"/>
                </a:cubicBezTo>
                <a:cubicBezTo>
                  <a:pt x="14865166" y="2596409"/>
                  <a:pt x="14945677" y="2596409"/>
                  <a:pt x="15029847" y="2596409"/>
                </a:cubicBezTo>
                <a:cubicBezTo>
                  <a:pt x="15048145" y="2636692"/>
                  <a:pt x="15088400" y="2629368"/>
                  <a:pt x="15117677" y="2651340"/>
                </a:cubicBezTo>
                <a:cubicBezTo>
                  <a:pt x="15143294" y="2669650"/>
                  <a:pt x="15187208" y="2662327"/>
                  <a:pt x="15223804" y="2665989"/>
                </a:cubicBezTo>
                <a:cubicBezTo>
                  <a:pt x="15227464" y="2676975"/>
                  <a:pt x="15231123" y="2691623"/>
                  <a:pt x="15234783" y="2706271"/>
                </a:cubicBezTo>
                <a:cubicBezTo>
                  <a:pt x="15194528" y="2742892"/>
                  <a:pt x="15157932" y="2731906"/>
                  <a:pt x="15124996" y="2695285"/>
                </a:cubicBezTo>
                <a:cubicBezTo>
                  <a:pt x="15114017" y="2702609"/>
                  <a:pt x="15103038" y="2713596"/>
                  <a:pt x="15092060" y="2720920"/>
                </a:cubicBezTo>
                <a:cubicBezTo>
                  <a:pt x="15070102" y="2724581"/>
                  <a:pt x="15044485" y="2724581"/>
                  <a:pt x="15004230" y="2728244"/>
                </a:cubicBezTo>
                <a:cubicBezTo>
                  <a:pt x="15040826" y="2761202"/>
                  <a:pt x="15077421" y="2757540"/>
                  <a:pt x="15095719" y="2790499"/>
                </a:cubicBezTo>
                <a:cubicBezTo>
                  <a:pt x="15187208" y="2790499"/>
                  <a:pt x="15282357" y="2790499"/>
                  <a:pt x="15373846" y="2790499"/>
                </a:cubicBezTo>
                <a:cubicBezTo>
                  <a:pt x="15399463" y="2808809"/>
                  <a:pt x="15381166" y="2838106"/>
                  <a:pt x="15392144" y="2863740"/>
                </a:cubicBezTo>
                <a:cubicBezTo>
                  <a:pt x="15340910" y="2889375"/>
                  <a:pt x="15300655" y="2922334"/>
                  <a:pt x="15242102" y="2922334"/>
                </a:cubicBezTo>
                <a:cubicBezTo>
                  <a:pt x="15212825" y="2977265"/>
                  <a:pt x="15143294" y="2918672"/>
                  <a:pt x="15110358" y="2966278"/>
                </a:cubicBezTo>
                <a:cubicBezTo>
                  <a:pt x="15154272" y="2995575"/>
                  <a:pt x="15201847" y="2966278"/>
                  <a:pt x="15256740" y="2988251"/>
                </a:cubicBezTo>
                <a:cubicBezTo>
                  <a:pt x="15253081" y="2984589"/>
                  <a:pt x="15260400" y="2991913"/>
                  <a:pt x="15267719" y="2999237"/>
                </a:cubicBezTo>
                <a:cubicBezTo>
                  <a:pt x="15278698" y="3002899"/>
                  <a:pt x="15286017" y="3010223"/>
                  <a:pt x="15296996" y="3010223"/>
                </a:cubicBezTo>
                <a:cubicBezTo>
                  <a:pt x="15333591" y="3010223"/>
                  <a:pt x="15366527" y="3010223"/>
                  <a:pt x="15395804" y="3010223"/>
                </a:cubicBezTo>
                <a:cubicBezTo>
                  <a:pt x="15450697" y="3050506"/>
                  <a:pt x="15498272" y="3083465"/>
                  <a:pt x="15549506" y="3120085"/>
                </a:cubicBezTo>
                <a:cubicBezTo>
                  <a:pt x="15498272" y="3153044"/>
                  <a:pt x="15443378" y="3123748"/>
                  <a:pt x="15395804" y="3145720"/>
                </a:cubicBezTo>
                <a:cubicBezTo>
                  <a:pt x="15406783" y="3215299"/>
                  <a:pt x="15520229" y="3189665"/>
                  <a:pt x="15512910" y="3277555"/>
                </a:cubicBezTo>
                <a:cubicBezTo>
                  <a:pt x="15498272" y="3306851"/>
                  <a:pt x="15468995" y="3288541"/>
                  <a:pt x="15447038" y="3295865"/>
                </a:cubicBezTo>
                <a:cubicBezTo>
                  <a:pt x="15425080" y="3306851"/>
                  <a:pt x="15403123" y="3321499"/>
                  <a:pt x="15384825" y="3332486"/>
                </a:cubicBezTo>
                <a:cubicBezTo>
                  <a:pt x="15366527" y="3317837"/>
                  <a:pt x="15355549" y="3310513"/>
                  <a:pt x="15344570" y="3299527"/>
                </a:cubicBezTo>
                <a:cubicBezTo>
                  <a:pt x="15333591" y="3306851"/>
                  <a:pt x="15322613" y="3317837"/>
                  <a:pt x="15311634" y="3328823"/>
                </a:cubicBezTo>
                <a:cubicBezTo>
                  <a:pt x="15289676" y="3328823"/>
                  <a:pt x="15271379" y="3328823"/>
                  <a:pt x="15249421" y="3328823"/>
                </a:cubicBezTo>
                <a:cubicBezTo>
                  <a:pt x="15238442" y="3339810"/>
                  <a:pt x="15227464" y="3347134"/>
                  <a:pt x="15216485" y="3358120"/>
                </a:cubicBezTo>
                <a:cubicBezTo>
                  <a:pt x="14905422" y="3358120"/>
                  <a:pt x="14594358" y="3358120"/>
                  <a:pt x="14283295" y="3358120"/>
                </a:cubicBezTo>
                <a:cubicBezTo>
                  <a:pt x="14272316" y="3347134"/>
                  <a:pt x="14261338" y="3339810"/>
                  <a:pt x="14246699" y="3325162"/>
                </a:cubicBezTo>
                <a:cubicBezTo>
                  <a:pt x="14243040" y="3343472"/>
                  <a:pt x="14239380" y="3358120"/>
                  <a:pt x="14232061" y="3372768"/>
                </a:cubicBezTo>
                <a:cubicBezTo>
                  <a:pt x="14264997" y="3391079"/>
                  <a:pt x="14290614" y="3413051"/>
                  <a:pt x="14323550" y="3420375"/>
                </a:cubicBezTo>
                <a:cubicBezTo>
                  <a:pt x="14352827" y="3427699"/>
                  <a:pt x="14385763" y="3416713"/>
                  <a:pt x="14404061" y="3453334"/>
                </a:cubicBezTo>
                <a:cubicBezTo>
                  <a:pt x="14436997" y="3453334"/>
                  <a:pt x="14466274" y="3453334"/>
                  <a:pt x="14488231" y="3453334"/>
                </a:cubicBezTo>
                <a:cubicBezTo>
                  <a:pt x="14513848" y="3471644"/>
                  <a:pt x="14532146" y="3486292"/>
                  <a:pt x="14554103" y="3497279"/>
                </a:cubicBezTo>
                <a:cubicBezTo>
                  <a:pt x="14521167" y="3526575"/>
                  <a:pt x="14491890" y="3515589"/>
                  <a:pt x="14469933" y="3515589"/>
                </a:cubicBezTo>
                <a:cubicBezTo>
                  <a:pt x="14458954" y="3508265"/>
                  <a:pt x="14447976" y="3497279"/>
                  <a:pt x="14436997" y="3489954"/>
                </a:cubicBezTo>
                <a:cubicBezTo>
                  <a:pt x="14422359" y="3504603"/>
                  <a:pt x="14407720" y="3519251"/>
                  <a:pt x="14393082" y="3533899"/>
                </a:cubicBezTo>
                <a:cubicBezTo>
                  <a:pt x="14422359" y="3566858"/>
                  <a:pt x="14458954" y="3544886"/>
                  <a:pt x="14499210" y="3552210"/>
                </a:cubicBezTo>
                <a:cubicBezTo>
                  <a:pt x="14506529" y="3559534"/>
                  <a:pt x="14517507" y="3566858"/>
                  <a:pt x="14532146" y="3581506"/>
                </a:cubicBezTo>
                <a:cubicBezTo>
                  <a:pt x="14561422" y="3581506"/>
                  <a:pt x="14590699" y="3581506"/>
                  <a:pt x="14619975" y="3581506"/>
                </a:cubicBezTo>
                <a:cubicBezTo>
                  <a:pt x="14641933" y="3603479"/>
                  <a:pt x="14678528" y="3614465"/>
                  <a:pt x="14671209" y="3654748"/>
                </a:cubicBezTo>
                <a:cubicBezTo>
                  <a:pt x="14663890" y="3695031"/>
                  <a:pt x="14612656" y="3662072"/>
                  <a:pt x="14601678" y="3702355"/>
                </a:cubicBezTo>
                <a:cubicBezTo>
                  <a:pt x="14572401" y="3706017"/>
                  <a:pt x="14546784" y="3713341"/>
                  <a:pt x="14513848" y="3717003"/>
                </a:cubicBezTo>
                <a:cubicBezTo>
                  <a:pt x="14557763" y="3760948"/>
                  <a:pt x="14619975" y="3757286"/>
                  <a:pt x="14652912" y="3801231"/>
                </a:cubicBezTo>
                <a:cubicBezTo>
                  <a:pt x="14707805" y="3790244"/>
                  <a:pt x="14744401" y="3834189"/>
                  <a:pt x="14795635" y="3848838"/>
                </a:cubicBezTo>
                <a:cubicBezTo>
                  <a:pt x="14795635" y="3859824"/>
                  <a:pt x="14795635" y="3874472"/>
                  <a:pt x="14795635" y="3896444"/>
                </a:cubicBezTo>
                <a:cubicBezTo>
                  <a:pt x="14766358" y="3900107"/>
                  <a:pt x="14740741" y="3900107"/>
                  <a:pt x="14715124" y="3900107"/>
                </a:cubicBezTo>
                <a:cubicBezTo>
                  <a:pt x="14711465" y="3914755"/>
                  <a:pt x="14704145" y="3925741"/>
                  <a:pt x="14700486" y="3944051"/>
                </a:cubicBezTo>
                <a:cubicBezTo>
                  <a:pt x="14722443" y="3955038"/>
                  <a:pt x="14744401" y="3966024"/>
                  <a:pt x="14766358" y="3977010"/>
                </a:cubicBezTo>
                <a:cubicBezTo>
                  <a:pt x="14766358" y="3987996"/>
                  <a:pt x="14766358" y="3998982"/>
                  <a:pt x="14766358" y="4009969"/>
                </a:cubicBezTo>
                <a:cubicBezTo>
                  <a:pt x="14737082" y="4042927"/>
                  <a:pt x="14696826" y="4020955"/>
                  <a:pt x="14660231" y="4028279"/>
                </a:cubicBezTo>
                <a:cubicBezTo>
                  <a:pt x="14652912" y="4035603"/>
                  <a:pt x="14641933" y="4042927"/>
                  <a:pt x="14627295" y="4053914"/>
                </a:cubicBezTo>
                <a:cubicBezTo>
                  <a:pt x="14616316" y="4046589"/>
                  <a:pt x="14605337" y="4039265"/>
                  <a:pt x="14594358" y="4028279"/>
                </a:cubicBezTo>
                <a:cubicBezTo>
                  <a:pt x="14572401" y="4061238"/>
                  <a:pt x="14521167" y="4053914"/>
                  <a:pt x="14499210" y="4090534"/>
                </a:cubicBezTo>
                <a:cubicBezTo>
                  <a:pt x="14396742" y="4090534"/>
                  <a:pt x="14290614" y="4090534"/>
                  <a:pt x="14188146" y="4090534"/>
                </a:cubicBezTo>
                <a:cubicBezTo>
                  <a:pt x="14180827" y="4079548"/>
                  <a:pt x="14173508" y="4072224"/>
                  <a:pt x="14158870" y="4061238"/>
                </a:cubicBezTo>
                <a:cubicBezTo>
                  <a:pt x="14060061" y="4061238"/>
                  <a:pt x="13950274" y="4061238"/>
                  <a:pt x="13847806" y="4061238"/>
                </a:cubicBezTo>
                <a:cubicBezTo>
                  <a:pt x="13836828" y="4046589"/>
                  <a:pt x="13829509" y="4039265"/>
                  <a:pt x="13814870" y="4024617"/>
                </a:cubicBezTo>
                <a:cubicBezTo>
                  <a:pt x="13712402" y="4024617"/>
                  <a:pt x="13606275" y="4024617"/>
                  <a:pt x="13503807" y="4024617"/>
                </a:cubicBezTo>
                <a:cubicBezTo>
                  <a:pt x="13492828" y="4013631"/>
                  <a:pt x="13485509" y="4006307"/>
                  <a:pt x="13474531" y="3995320"/>
                </a:cubicBezTo>
                <a:cubicBezTo>
                  <a:pt x="13383041" y="3995320"/>
                  <a:pt x="13291552" y="3995320"/>
                  <a:pt x="13196403" y="3995320"/>
                </a:cubicBezTo>
                <a:cubicBezTo>
                  <a:pt x="13185425" y="3984334"/>
                  <a:pt x="13174446" y="3977010"/>
                  <a:pt x="13163467" y="3966024"/>
                </a:cubicBezTo>
                <a:cubicBezTo>
                  <a:pt x="13126872" y="3962362"/>
                  <a:pt x="13093935" y="3962362"/>
                  <a:pt x="13050021" y="3962362"/>
                </a:cubicBezTo>
                <a:cubicBezTo>
                  <a:pt x="13053680" y="3998982"/>
                  <a:pt x="13053680" y="4020955"/>
                  <a:pt x="13057340" y="4046589"/>
                </a:cubicBezTo>
                <a:cubicBezTo>
                  <a:pt x="13057340" y="4050251"/>
                  <a:pt x="13075638" y="4053914"/>
                  <a:pt x="13082957" y="4057576"/>
                </a:cubicBezTo>
                <a:cubicBezTo>
                  <a:pt x="13079297" y="4068562"/>
                  <a:pt x="13079297" y="4079548"/>
                  <a:pt x="13071978" y="4083210"/>
                </a:cubicBezTo>
                <a:cubicBezTo>
                  <a:pt x="13064659" y="4090534"/>
                  <a:pt x="13053680" y="4090534"/>
                  <a:pt x="13042701" y="4090534"/>
                </a:cubicBezTo>
                <a:cubicBezTo>
                  <a:pt x="13009765" y="4090534"/>
                  <a:pt x="12973170" y="4090534"/>
                  <a:pt x="12943893" y="4090534"/>
                </a:cubicBezTo>
                <a:cubicBezTo>
                  <a:pt x="12929255" y="4075886"/>
                  <a:pt x="12921936" y="4068562"/>
                  <a:pt x="12907297" y="4053914"/>
                </a:cubicBezTo>
                <a:cubicBezTo>
                  <a:pt x="12892659" y="4079548"/>
                  <a:pt x="12874361" y="4105183"/>
                  <a:pt x="12859723" y="4119831"/>
                </a:cubicBezTo>
                <a:cubicBezTo>
                  <a:pt x="12826787" y="4119831"/>
                  <a:pt x="12808489" y="4119831"/>
                  <a:pt x="12786532" y="4119831"/>
                </a:cubicBezTo>
                <a:cubicBezTo>
                  <a:pt x="12775553" y="4130817"/>
                  <a:pt x="12764574" y="4141803"/>
                  <a:pt x="12757255" y="4152789"/>
                </a:cubicBezTo>
                <a:cubicBezTo>
                  <a:pt x="12713340" y="4171100"/>
                  <a:pt x="12702362" y="4097858"/>
                  <a:pt x="12654787" y="4127155"/>
                </a:cubicBezTo>
                <a:cubicBezTo>
                  <a:pt x="12651128" y="4138141"/>
                  <a:pt x="12647468" y="4152789"/>
                  <a:pt x="12643809" y="4171100"/>
                </a:cubicBezTo>
                <a:cubicBezTo>
                  <a:pt x="12636489" y="4174762"/>
                  <a:pt x="12621851" y="4182086"/>
                  <a:pt x="12599894" y="4193072"/>
                </a:cubicBezTo>
                <a:cubicBezTo>
                  <a:pt x="12581596" y="4167438"/>
                  <a:pt x="12566958" y="4141803"/>
                  <a:pt x="12552319" y="4123493"/>
                </a:cubicBezTo>
                <a:cubicBezTo>
                  <a:pt x="12508404" y="4123493"/>
                  <a:pt x="12479128" y="4123493"/>
                  <a:pt x="12446192" y="4123493"/>
                </a:cubicBezTo>
                <a:cubicBezTo>
                  <a:pt x="12435213" y="4141803"/>
                  <a:pt x="12424234" y="4163776"/>
                  <a:pt x="12416915" y="4185748"/>
                </a:cubicBezTo>
                <a:cubicBezTo>
                  <a:pt x="12394958" y="4185748"/>
                  <a:pt x="12373000" y="4185748"/>
                  <a:pt x="12351043" y="4185748"/>
                </a:cubicBezTo>
                <a:cubicBezTo>
                  <a:pt x="12340064" y="4163776"/>
                  <a:pt x="12332745" y="4141803"/>
                  <a:pt x="12321766" y="4119831"/>
                </a:cubicBezTo>
                <a:cubicBezTo>
                  <a:pt x="12299809" y="4149127"/>
                  <a:pt x="12255894" y="4163776"/>
                  <a:pt x="12274192" y="4207721"/>
                </a:cubicBezTo>
                <a:cubicBezTo>
                  <a:pt x="12230277" y="4218707"/>
                  <a:pt x="12193682" y="4229693"/>
                  <a:pt x="12168065" y="4185748"/>
                </a:cubicBezTo>
                <a:cubicBezTo>
                  <a:pt x="12157086" y="4196734"/>
                  <a:pt x="12146107" y="4204059"/>
                  <a:pt x="12135129" y="4215045"/>
                </a:cubicBezTo>
                <a:cubicBezTo>
                  <a:pt x="12102192" y="4185748"/>
                  <a:pt x="12124150" y="4149127"/>
                  <a:pt x="12116831" y="4116169"/>
                </a:cubicBezTo>
                <a:cubicBezTo>
                  <a:pt x="12116831" y="4112507"/>
                  <a:pt x="12116831" y="4105183"/>
                  <a:pt x="12113171" y="4101520"/>
                </a:cubicBezTo>
                <a:cubicBezTo>
                  <a:pt x="12080235" y="4064900"/>
                  <a:pt x="12043639" y="4024617"/>
                  <a:pt x="12018022" y="3995320"/>
                </a:cubicBezTo>
                <a:cubicBezTo>
                  <a:pt x="11981427" y="3995320"/>
                  <a:pt x="11963129" y="3991658"/>
                  <a:pt x="11963129" y="4028279"/>
                </a:cubicBezTo>
                <a:cubicBezTo>
                  <a:pt x="11963129" y="4028279"/>
                  <a:pt x="11959469" y="4035603"/>
                  <a:pt x="11963129" y="4039265"/>
                </a:cubicBezTo>
                <a:cubicBezTo>
                  <a:pt x="11981427" y="4061238"/>
                  <a:pt x="12003384" y="4083210"/>
                  <a:pt x="12021682" y="4108845"/>
                </a:cubicBezTo>
                <a:cubicBezTo>
                  <a:pt x="11996065" y="4119831"/>
                  <a:pt x="11970448" y="4134479"/>
                  <a:pt x="11937512" y="4152789"/>
                </a:cubicBezTo>
                <a:cubicBezTo>
                  <a:pt x="11926533" y="4152789"/>
                  <a:pt x="11904576" y="4152789"/>
                  <a:pt x="11893597" y="4152789"/>
                </a:cubicBezTo>
                <a:cubicBezTo>
                  <a:pt x="11860661" y="4134479"/>
                  <a:pt x="11835044" y="4123493"/>
                  <a:pt x="11809427" y="4108845"/>
                </a:cubicBezTo>
                <a:cubicBezTo>
                  <a:pt x="11838703" y="4086872"/>
                  <a:pt x="11871640" y="4068562"/>
                  <a:pt x="11897257" y="4050251"/>
                </a:cubicBezTo>
                <a:cubicBezTo>
                  <a:pt x="11882618" y="4017293"/>
                  <a:pt x="11867980" y="3991658"/>
                  <a:pt x="11853342" y="3966024"/>
                </a:cubicBezTo>
                <a:cubicBezTo>
                  <a:pt x="11824065" y="3966024"/>
                  <a:pt x="11794789" y="3966024"/>
                  <a:pt x="11761853" y="3966024"/>
                </a:cubicBezTo>
                <a:cubicBezTo>
                  <a:pt x="11739895" y="3995320"/>
                  <a:pt x="11732576" y="4050251"/>
                  <a:pt x="11685002" y="4061238"/>
                </a:cubicBezTo>
                <a:cubicBezTo>
                  <a:pt x="11677682" y="4042927"/>
                  <a:pt x="11681342" y="4017293"/>
                  <a:pt x="11652065" y="4039265"/>
                </a:cubicBezTo>
                <a:cubicBezTo>
                  <a:pt x="11663044" y="4046589"/>
                  <a:pt x="11670363" y="4053914"/>
                  <a:pt x="11685002" y="4061238"/>
                </a:cubicBezTo>
                <a:cubicBezTo>
                  <a:pt x="11681342" y="4083210"/>
                  <a:pt x="11681342" y="4108845"/>
                  <a:pt x="11681342" y="4138141"/>
                </a:cubicBezTo>
                <a:cubicBezTo>
                  <a:pt x="11608151" y="4174762"/>
                  <a:pt x="11608151" y="4174762"/>
                  <a:pt x="11571555" y="4248003"/>
                </a:cubicBezTo>
                <a:cubicBezTo>
                  <a:pt x="11560576" y="4248003"/>
                  <a:pt x="11545938" y="4244341"/>
                  <a:pt x="11531300" y="4244341"/>
                </a:cubicBezTo>
                <a:cubicBezTo>
                  <a:pt x="11527640" y="4215045"/>
                  <a:pt x="11523981" y="4189410"/>
                  <a:pt x="11520321" y="4163776"/>
                </a:cubicBezTo>
                <a:cubicBezTo>
                  <a:pt x="11502023" y="4149127"/>
                  <a:pt x="11487385" y="4145465"/>
                  <a:pt x="11469087" y="4163776"/>
                </a:cubicBezTo>
                <a:cubicBezTo>
                  <a:pt x="11439811" y="4193072"/>
                  <a:pt x="11410534" y="4222369"/>
                  <a:pt x="11381257" y="4251666"/>
                </a:cubicBezTo>
                <a:cubicBezTo>
                  <a:pt x="11351981" y="4237017"/>
                  <a:pt x="11326364" y="4222369"/>
                  <a:pt x="11297087" y="4218707"/>
                </a:cubicBezTo>
                <a:cubicBezTo>
                  <a:pt x="11271470" y="4215045"/>
                  <a:pt x="11249513" y="4211383"/>
                  <a:pt x="11231215" y="4185748"/>
                </a:cubicBezTo>
                <a:cubicBezTo>
                  <a:pt x="11216577" y="4196734"/>
                  <a:pt x="11201939" y="4207721"/>
                  <a:pt x="11179981" y="4226031"/>
                </a:cubicBezTo>
                <a:cubicBezTo>
                  <a:pt x="11154364" y="4200397"/>
                  <a:pt x="11128747" y="4174762"/>
                  <a:pt x="11099471" y="4152789"/>
                </a:cubicBezTo>
                <a:cubicBezTo>
                  <a:pt x="11062875" y="4149127"/>
                  <a:pt x="11051896" y="4182086"/>
                  <a:pt x="11026279" y="4200397"/>
                </a:cubicBezTo>
                <a:cubicBezTo>
                  <a:pt x="11022620" y="4226031"/>
                  <a:pt x="11037258" y="4251666"/>
                  <a:pt x="11015301" y="4273638"/>
                </a:cubicBezTo>
                <a:cubicBezTo>
                  <a:pt x="10986024" y="4273638"/>
                  <a:pt x="11004322" y="4244341"/>
                  <a:pt x="10982364" y="4218707"/>
                </a:cubicBezTo>
                <a:cubicBezTo>
                  <a:pt x="10978705" y="4215045"/>
                  <a:pt x="10964067" y="4200397"/>
                  <a:pt x="10949428" y="4185748"/>
                </a:cubicBezTo>
                <a:cubicBezTo>
                  <a:pt x="10920152" y="4185748"/>
                  <a:pt x="10890875" y="4185748"/>
                  <a:pt x="10857939" y="4185748"/>
                </a:cubicBezTo>
                <a:cubicBezTo>
                  <a:pt x="10846960" y="4174762"/>
                  <a:pt x="10835982" y="4163776"/>
                  <a:pt x="10825003" y="4152789"/>
                </a:cubicBezTo>
                <a:cubicBezTo>
                  <a:pt x="10810365" y="4152789"/>
                  <a:pt x="10792067" y="4152789"/>
                  <a:pt x="10777429" y="4152789"/>
                </a:cubicBezTo>
                <a:cubicBezTo>
                  <a:pt x="10777429" y="4138141"/>
                  <a:pt x="10777429" y="4119831"/>
                  <a:pt x="10777429" y="4105183"/>
                </a:cubicBezTo>
                <a:cubicBezTo>
                  <a:pt x="10748152" y="4072224"/>
                  <a:pt x="10707897" y="4094196"/>
                  <a:pt x="10671301" y="4090534"/>
                </a:cubicBezTo>
                <a:cubicBezTo>
                  <a:pt x="10663982" y="4079548"/>
                  <a:pt x="10653003" y="4072224"/>
                  <a:pt x="10634706" y="4057576"/>
                </a:cubicBezTo>
                <a:cubicBezTo>
                  <a:pt x="10605429" y="4068562"/>
                  <a:pt x="10568833" y="4083210"/>
                  <a:pt x="10528578" y="4101520"/>
                </a:cubicBezTo>
                <a:cubicBezTo>
                  <a:pt x="10539557" y="4112507"/>
                  <a:pt x="10546876" y="4123493"/>
                  <a:pt x="10557855" y="4134479"/>
                </a:cubicBezTo>
                <a:cubicBezTo>
                  <a:pt x="10557855" y="4160114"/>
                  <a:pt x="10557855" y="4182086"/>
                  <a:pt x="10557855" y="4204059"/>
                </a:cubicBezTo>
                <a:cubicBezTo>
                  <a:pt x="10524918" y="4233355"/>
                  <a:pt x="10506621" y="4211383"/>
                  <a:pt x="10484663" y="4185748"/>
                </a:cubicBezTo>
                <a:cubicBezTo>
                  <a:pt x="10349259" y="4185748"/>
                  <a:pt x="10210196" y="4185748"/>
                  <a:pt x="10078451" y="4185748"/>
                </a:cubicBezTo>
                <a:cubicBezTo>
                  <a:pt x="10038196" y="4145465"/>
                  <a:pt x="10074792" y="4127155"/>
                  <a:pt x="10093089" y="4101520"/>
                </a:cubicBezTo>
                <a:cubicBezTo>
                  <a:pt x="10052834" y="4083210"/>
                  <a:pt x="10016238" y="4086872"/>
                  <a:pt x="9975983" y="4094196"/>
                </a:cubicBezTo>
                <a:cubicBezTo>
                  <a:pt x="9972324" y="4130817"/>
                  <a:pt x="9997941" y="4116169"/>
                  <a:pt x="10019898" y="4123493"/>
                </a:cubicBezTo>
                <a:cubicBezTo>
                  <a:pt x="10023558" y="4138141"/>
                  <a:pt x="10027217" y="4156452"/>
                  <a:pt x="10034536" y="4178424"/>
                </a:cubicBezTo>
                <a:cubicBezTo>
                  <a:pt x="9972324" y="4174762"/>
                  <a:pt x="9954026" y="4226031"/>
                  <a:pt x="9913771" y="4251666"/>
                </a:cubicBezTo>
                <a:cubicBezTo>
                  <a:pt x="9899132" y="4244341"/>
                  <a:pt x="9888154" y="4240679"/>
                  <a:pt x="9873515" y="4237017"/>
                </a:cubicBezTo>
                <a:cubicBezTo>
                  <a:pt x="9873515" y="4222369"/>
                  <a:pt x="9873515" y="4211383"/>
                  <a:pt x="9873515" y="4200397"/>
                </a:cubicBezTo>
                <a:cubicBezTo>
                  <a:pt x="9844239" y="4163776"/>
                  <a:pt x="9803983" y="4200397"/>
                  <a:pt x="9789345" y="4189410"/>
                </a:cubicBezTo>
                <a:cubicBezTo>
                  <a:pt x="9749090" y="4178424"/>
                  <a:pt x="9738111" y="4141803"/>
                  <a:pt x="9701516" y="4156452"/>
                </a:cubicBezTo>
                <a:cubicBezTo>
                  <a:pt x="9694196" y="4174762"/>
                  <a:pt x="9683218" y="4193072"/>
                  <a:pt x="9672239" y="4215045"/>
                </a:cubicBezTo>
                <a:cubicBezTo>
                  <a:pt x="9664920" y="4215045"/>
                  <a:pt x="9653941" y="4215045"/>
                  <a:pt x="9642962" y="4215045"/>
                </a:cubicBezTo>
                <a:cubicBezTo>
                  <a:pt x="9631984" y="4207721"/>
                  <a:pt x="9621005" y="4196734"/>
                  <a:pt x="9610026" y="4185748"/>
                </a:cubicBezTo>
                <a:cubicBezTo>
                  <a:pt x="9547814" y="4185748"/>
                  <a:pt x="9485601" y="4185748"/>
                  <a:pt x="9423388" y="4185748"/>
                </a:cubicBezTo>
                <a:cubicBezTo>
                  <a:pt x="9416069" y="4178424"/>
                  <a:pt x="9408750" y="4171100"/>
                  <a:pt x="9401431" y="4163776"/>
                </a:cubicBezTo>
                <a:cubicBezTo>
                  <a:pt x="9368495" y="4138141"/>
                  <a:pt x="9331899" y="4163776"/>
                  <a:pt x="9298963" y="4149127"/>
                </a:cubicBezTo>
                <a:cubicBezTo>
                  <a:pt x="9291644" y="4160114"/>
                  <a:pt x="9284325" y="4163776"/>
                  <a:pt x="9284325" y="4167438"/>
                </a:cubicBezTo>
                <a:cubicBezTo>
                  <a:pt x="9280665" y="4193072"/>
                  <a:pt x="9284325" y="4222369"/>
                  <a:pt x="9229431" y="4215045"/>
                </a:cubicBezTo>
                <a:cubicBezTo>
                  <a:pt x="9218453" y="4200397"/>
                  <a:pt x="9203814" y="4174762"/>
                  <a:pt x="9192836" y="4156452"/>
                </a:cubicBezTo>
                <a:cubicBezTo>
                  <a:pt x="9145261" y="4156452"/>
                  <a:pt x="9115985" y="4156452"/>
                  <a:pt x="9075729" y="4156452"/>
                </a:cubicBezTo>
                <a:cubicBezTo>
                  <a:pt x="9061091" y="4174762"/>
                  <a:pt x="9042793" y="4200397"/>
                  <a:pt x="9031815" y="4215045"/>
                </a:cubicBezTo>
                <a:cubicBezTo>
                  <a:pt x="8995219" y="4215045"/>
                  <a:pt x="8976921" y="4215045"/>
                  <a:pt x="8954964" y="4215045"/>
                </a:cubicBezTo>
                <a:cubicBezTo>
                  <a:pt x="8943985" y="4207721"/>
                  <a:pt x="8933006" y="4196734"/>
                  <a:pt x="8918368" y="4182086"/>
                </a:cubicBezTo>
                <a:cubicBezTo>
                  <a:pt x="8911049" y="4215045"/>
                  <a:pt x="8907389" y="4244341"/>
                  <a:pt x="8903730" y="4273638"/>
                </a:cubicBezTo>
                <a:cubicBezTo>
                  <a:pt x="8848836" y="4269976"/>
                  <a:pt x="8856155" y="4218707"/>
                  <a:pt x="8834198" y="4189410"/>
                </a:cubicBezTo>
                <a:cubicBezTo>
                  <a:pt x="8823219" y="4185748"/>
                  <a:pt x="8815900" y="4185748"/>
                  <a:pt x="8801262" y="4185748"/>
                </a:cubicBezTo>
                <a:cubicBezTo>
                  <a:pt x="8790283" y="4204059"/>
                  <a:pt x="8779304" y="4226031"/>
                  <a:pt x="8771985" y="4248003"/>
                </a:cubicBezTo>
                <a:cubicBezTo>
                  <a:pt x="8757347" y="4237017"/>
                  <a:pt x="8746368" y="4226031"/>
                  <a:pt x="8739049" y="4218707"/>
                </a:cubicBezTo>
                <a:cubicBezTo>
                  <a:pt x="8728070" y="4226031"/>
                  <a:pt x="8717092" y="4237017"/>
                  <a:pt x="8706113" y="4248003"/>
                </a:cubicBezTo>
                <a:cubicBezTo>
                  <a:pt x="8691475" y="4218707"/>
                  <a:pt x="8676836" y="4193072"/>
                  <a:pt x="8662198" y="4167438"/>
                </a:cubicBezTo>
                <a:cubicBezTo>
                  <a:pt x="8669517" y="4156452"/>
                  <a:pt x="8680496" y="4145465"/>
                  <a:pt x="8691475" y="4134479"/>
                </a:cubicBezTo>
                <a:cubicBezTo>
                  <a:pt x="8691475" y="4112507"/>
                  <a:pt x="8691475" y="4094196"/>
                  <a:pt x="8691475" y="4072224"/>
                </a:cubicBezTo>
                <a:cubicBezTo>
                  <a:pt x="8673177" y="4057576"/>
                  <a:pt x="8658539" y="4042927"/>
                  <a:pt x="8643900" y="4024617"/>
                </a:cubicBezTo>
                <a:cubicBezTo>
                  <a:pt x="8629262" y="4039265"/>
                  <a:pt x="8618283" y="4057576"/>
                  <a:pt x="8592666" y="4086872"/>
                </a:cubicBezTo>
                <a:cubicBezTo>
                  <a:pt x="8589007" y="4097858"/>
                  <a:pt x="8610964" y="4134479"/>
                  <a:pt x="8578028" y="4156452"/>
                </a:cubicBezTo>
                <a:cubicBezTo>
                  <a:pt x="8548752" y="4178424"/>
                  <a:pt x="8581688" y="4218707"/>
                  <a:pt x="8556071" y="4244341"/>
                </a:cubicBezTo>
                <a:cubicBezTo>
                  <a:pt x="8526794" y="4229693"/>
                  <a:pt x="8497518" y="4222369"/>
                  <a:pt x="8464581" y="4211383"/>
                </a:cubicBezTo>
                <a:cubicBezTo>
                  <a:pt x="8431645" y="4204059"/>
                  <a:pt x="8406028" y="4178424"/>
                  <a:pt x="8365773" y="4185748"/>
                </a:cubicBezTo>
                <a:cubicBezTo>
                  <a:pt x="8354795" y="4193072"/>
                  <a:pt x="8343815" y="4204059"/>
                  <a:pt x="8332837" y="4215045"/>
                </a:cubicBezTo>
                <a:cubicBezTo>
                  <a:pt x="8314539" y="4215045"/>
                  <a:pt x="8292582" y="4215045"/>
                  <a:pt x="8270625" y="4215045"/>
                </a:cubicBezTo>
                <a:cubicBezTo>
                  <a:pt x="8263305" y="4211383"/>
                  <a:pt x="8255986" y="4204059"/>
                  <a:pt x="8248667" y="4193072"/>
                </a:cubicBezTo>
                <a:cubicBezTo>
                  <a:pt x="8215731" y="4174762"/>
                  <a:pt x="8179135" y="4189410"/>
                  <a:pt x="8146199" y="4185748"/>
                </a:cubicBezTo>
                <a:cubicBezTo>
                  <a:pt x="8142539" y="4189410"/>
                  <a:pt x="8135221" y="4193072"/>
                  <a:pt x="8135221" y="4196734"/>
                </a:cubicBezTo>
                <a:cubicBezTo>
                  <a:pt x="8131561" y="4222369"/>
                  <a:pt x="8127901" y="4248003"/>
                  <a:pt x="8124241" y="4269976"/>
                </a:cubicBezTo>
                <a:cubicBezTo>
                  <a:pt x="8102284" y="4288286"/>
                  <a:pt x="8087646" y="4280962"/>
                  <a:pt x="8069348" y="4269976"/>
                </a:cubicBezTo>
                <a:cubicBezTo>
                  <a:pt x="8083987" y="4248003"/>
                  <a:pt x="8094965" y="4226031"/>
                  <a:pt x="8102284" y="4207721"/>
                </a:cubicBezTo>
                <a:cubicBezTo>
                  <a:pt x="8073007" y="4160114"/>
                  <a:pt x="8010795" y="4218707"/>
                  <a:pt x="7999817" y="4156452"/>
                </a:cubicBezTo>
                <a:cubicBezTo>
                  <a:pt x="7937603" y="4156452"/>
                  <a:pt x="7882710" y="4156452"/>
                  <a:pt x="7827817" y="4156452"/>
                </a:cubicBezTo>
                <a:cubicBezTo>
                  <a:pt x="7820497" y="4178424"/>
                  <a:pt x="7813179" y="4196734"/>
                  <a:pt x="7805859" y="4222369"/>
                </a:cubicBezTo>
                <a:cubicBezTo>
                  <a:pt x="7776583" y="4189410"/>
                  <a:pt x="7754625" y="4163776"/>
                  <a:pt x="7729009" y="4138141"/>
                </a:cubicBezTo>
                <a:cubicBezTo>
                  <a:pt x="7761945" y="4123493"/>
                  <a:pt x="7798540" y="4108845"/>
                  <a:pt x="7816838" y="4072224"/>
                </a:cubicBezTo>
                <a:cubicBezTo>
                  <a:pt x="7798540" y="4046589"/>
                  <a:pt x="7769263" y="4061238"/>
                  <a:pt x="7743647" y="4057576"/>
                </a:cubicBezTo>
                <a:cubicBezTo>
                  <a:pt x="7729009" y="4072224"/>
                  <a:pt x="7714370" y="4083210"/>
                  <a:pt x="7699731" y="4097858"/>
                </a:cubicBezTo>
                <a:cubicBezTo>
                  <a:pt x="7696072" y="4127155"/>
                  <a:pt x="7688753" y="4156452"/>
                  <a:pt x="7681434" y="4189410"/>
                </a:cubicBezTo>
                <a:cubicBezTo>
                  <a:pt x="7666795" y="4174762"/>
                  <a:pt x="7655817" y="4163776"/>
                  <a:pt x="7637519" y="4145465"/>
                </a:cubicBezTo>
                <a:cubicBezTo>
                  <a:pt x="7619221" y="4156452"/>
                  <a:pt x="7600923" y="4167438"/>
                  <a:pt x="7578966" y="4182086"/>
                </a:cubicBezTo>
                <a:cubicBezTo>
                  <a:pt x="7542371" y="4145465"/>
                  <a:pt x="7586285" y="4127155"/>
                  <a:pt x="7597264" y="4105183"/>
                </a:cubicBezTo>
                <a:cubicBezTo>
                  <a:pt x="7582625" y="4086872"/>
                  <a:pt x="7582625" y="4086872"/>
                  <a:pt x="7505775" y="4097858"/>
                </a:cubicBezTo>
                <a:cubicBezTo>
                  <a:pt x="7516753" y="4112507"/>
                  <a:pt x="7527732" y="4119831"/>
                  <a:pt x="7531391" y="4130817"/>
                </a:cubicBezTo>
                <a:cubicBezTo>
                  <a:pt x="7535051" y="4145465"/>
                  <a:pt x="7535051" y="4160114"/>
                  <a:pt x="7535051" y="4171100"/>
                </a:cubicBezTo>
                <a:cubicBezTo>
                  <a:pt x="7527732" y="4178424"/>
                  <a:pt x="7524073" y="4185748"/>
                  <a:pt x="7520413" y="4185748"/>
                </a:cubicBezTo>
                <a:cubicBezTo>
                  <a:pt x="7480157" y="4185748"/>
                  <a:pt x="7439903" y="4185748"/>
                  <a:pt x="7399647" y="4185748"/>
                </a:cubicBezTo>
                <a:cubicBezTo>
                  <a:pt x="7388669" y="4174762"/>
                  <a:pt x="7377689" y="4163776"/>
                  <a:pt x="7366711" y="4152789"/>
                </a:cubicBezTo>
                <a:cubicBezTo>
                  <a:pt x="7344753" y="4174762"/>
                  <a:pt x="7326456" y="4193072"/>
                  <a:pt x="7308158" y="4215045"/>
                </a:cubicBezTo>
                <a:cubicBezTo>
                  <a:pt x="7297179" y="4207721"/>
                  <a:pt x="7286201" y="4196734"/>
                  <a:pt x="7275222" y="4189410"/>
                </a:cubicBezTo>
                <a:cubicBezTo>
                  <a:pt x="7242286" y="4189410"/>
                  <a:pt x="7205691" y="4189410"/>
                  <a:pt x="7172754" y="4189410"/>
                </a:cubicBezTo>
                <a:cubicBezTo>
                  <a:pt x="7161775" y="4215045"/>
                  <a:pt x="7180074" y="4215045"/>
                  <a:pt x="7194712" y="4218707"/>
                </a:cubicBezTo>
                <a:cubicBezTo>
                  <a:pt x="7202031" y="4218707"/>
                  <a:pt x="7213009" y="4222369"/>
                  <a:pt x="7220329" y="4226031"/>
                </a:cubicBezTo>
                <a:cubicBezTo>
                  <a:pt x="7216669" y="4251666"/>
                  <a:pt x="7194712" y="4262652"/>
                  <a:pt x="7176414" y="4280962"/>
                </a:cubicBezTo>
                <a:cubicBezTo>
                  <a:pt x="7132499" y="4284624"/>
                  <a:pt x="7117861" y="4240679"/>
                  <a:pt x="7084925" y="4218707"/>
                </a:cubicBezTo>
                <a:cubicBezTo>
                  <a:pt x="7077606" y="4237017"/>
                  <a:pt x="7066627" y="4258990"/>
                  <a:pt x="7059308" y="4277300"/>
                </a:cubicBezTo>
                <a:cubicBezTo>
                  <a:pt x="7030031" y="4269976"/>
                  <a:pt x="7044670" y="4244341"/>
                  <a:pt x="7037351" y="4229693"/>
                </a:cubicBezTo>
                <a:cubicBezTo>
                  <a:pt x="7015393" y="4204059"/>
                  <a:pt x="6986116" y="4226031"/>
                  <a:pt x="6964159" y="4215045"/>
                </a:cubicBezTo>
                <a:cubicBezTo>
                  <a:pt x="6953181" y="4226031"/>
                  <a:pt x="6942202" y="4237017"/>
                  <a:pt x="6931223" y="4248003"/>
                </a:cubicBezTo>
                <a:cubicBezTo>
                  <a:pt x="6909265" y="4248003"/>
                  <a:pt x="6887308" y="4248003"/>
                  <a:pt x="6869010" y="4248003"/>
                </a:cubicBezTo>
                <a:cubicBezTo>
                  <a:pt x="6858031" y="4258990"/>
                  <a:pt x="6847053" y="4269976"/>
                  <a:pt x="6836074" y="4277300"/>
                </a:cubicBezTo>
                <a:cubicBezTo>
                  <a:pt x="6814117" y="4251666"/>
                  <a:pt x="6817776" y="4222369"/>
                  <a:pt x="6828755" y="4193072"/>
                </a:cubicBezTo>
                <a:cubicBezTo>
                  <a:pt x="6858031" y="4185748"/>
                  <a:pt x="6887308" y="4182086"/>
                  <a:pt x="6920244" y="4174762"/>
                </a:cubicBezTo>
                <a:cubicBezTo>
                  <a:pt x="6898287" y="4152789"/>
                  <a:pt x="6879989" y="4134479"/>
                  <a:pt x="6861691" y="4116169"/>
                </a:cubicBezTo>
                <a:cubicBezTo>
                  <a:pt x="6836074" y="4130817"/>
                  <a:pt x="6814117" y="4141803"/>
                  <a:pt x="6788500" y="4156452"/>
                </a:cubicBezTo>
                <a:cubicBezTo>
                  <a:pt x="6773862" y="4145465"/>
                  <a:pt x="6755564" y="4134479"/>
                  <a:pt x="6740926" y="4119831"/>
                </a:cubicBezTo>
                <a:cubicBezTo>
                  <a:pt x="6733606" y="4119831"/>
                  <a:pt x="6722627" y="4119831"/>
                  <a:pt x="6707989" y="4119831"/>
                </a:cubicBezTo>
                <a:cubicBezTo>
                  <a:pt x="6700670" y="4138141"/>
                  <a:pt x="6697010" y="4156452"/>
                  <a:pt x="6689692" y="4178424"/>
                </a:cubicBezTo>
                <a:cubicBezTo>
                  <a:pt x="6675053" y="4182086"/>
                  <a:pt x="6660415" y="4182086"/>
                  <a:pt x="6645776" y="4185748"/>
                </a:cubicBezTo>
                <a:cubicBezTo>
                  <a:pt x="6638458" y="4163776"/>
                  <a:pt x="6631138" y="4145465"/>
                  <a:pt x="6623819" y="4123493"/>
                </a:cubicBezTo>
                <a:cubicBezTo>
                  <a:pt x="6579904" y="4123493"/>
                  <a:pt x="6535990" y="4123493"/>
                  <a:pt x="6492075" y="4123493"/>
                </a:cubicBezTo>
                <a:cubicBezTo>
                  <a:pt x="6484756" y="4134479"/>
                  <a:pt x="6473777" y="4141803"/>
                  <a:pt x="6462798" y="4152789"/>
                </a:cubicBezTo>
                <a:cubicBezTo>
                  <a:pt x="6411564" y="4152789"/>
                  <a:pt x="6356670" y="4152789"/>
                  <a:pt x="6301777" y="4152789"/>
                </a:cubicBezTo>
                <a:cubicBezTo>
                  <a:pt x="6294458" y="4178424"/>
                  <a:pt x="6287139" y="4196734"/>
                  <a:pt x="6279819" y="4222369"/>
                </a:cubicBezTo>
                <a:cubicBezTo>
                  <a:pt x="6243224" y="4174762"/>
                  <a:pt x="6213948" y="4130817"/>
                  <a:pt x="6188331" y="4094196"/>
                </a:cubicBezTo>
                <a:cubicBezTo>
                  <a:pt x="6148076" y="4134479"/>
                  <a:pt x="6111480" y="4171100"/>
                  <a:pt x="6074884" y="4207721"/>
                </a:cubicBezTo>
                <a:cubicBezTo>
                  <a:pt x="6071225" y="4218707"/>
                  <a:pt x="6067565" y="4233355"/>
                  <a:pt x="6063905" y="4248003"/>
                </a:cubicBezTo>
                <a:cubicBezTo>
                  <a:pt x="6023650" y="4226031"/>
                  <a:pt x="6052926" y="4189410"/>
                  <a:pt x="6038288" y="4163776"/>
                </a:cubicBezTo>
                <a:cubicBezTo>
                  <a:pt x="6005352" y="4149127"/>
                  <a:pt x="5976075" y="4134479"/>
                  <a:pt x="5946799" y="4119831"/>
                </a:cubicBezTo>
                <a:cubicBezTo>
                  <a:pt x="5913863" y="4130817"/>
                  <a:pt x="5899225" y="4160114"/>
                  <a:pt x="5877267" y="4178424"/>
                </a:cubicBezTo>
                <a:cubicBezTo>
                  <a:pt x="5840671" y="4185748"/>
                  <a:pt x="5804076" y="4196734"/>
                  <a:pt x="5778459" y="4156452"/>
                </a:cubicBezTo>
                <a:cubicBezTo>
                  <a:pt x="5719906" y="4156452"/>
                  <a:pt x="5657693" y="4156452"/>
                  <a:pt x="5595481" y="4156452"/>
                </a:cubicBezTo>
                <a:cubicBezTo>
                  <a:pt x="5584502" y="4145465"/>
                  <a:pt x="5573523" y="4134479"/>
                  <a:pt x="5558885" y="4123493"/>
                </a:cubicBezTo>
                <a:cubicBezTo>
                  <a:pt x="5547906" y="4141803"/>
                  <a:pt x="5540587" y="4163776"/>
                  <a:pt x="5529608" y="4185748"/>
                </a:cubicBezTo>
                <a:cubicBezTo>
                  <a:pt x="5522289" y="4178424"/>
                  <a:pt x="5514970" y="4171100"/>
                  <a:pt x="5507651" y="4163776"/>
                </a:cubicBezTo>
                <a:cubicBezTo>
                  <a:pt x="5471055" y="4141803"/>
                  <a:pt x="5434459" y="4163776"/>
                  <a:pt x="5405183" y="4149127"/>
                </a:cubicBezTo>
                <a:cubicBezTo>
                  <a:pt x="5394204" y="4163776"/>
                  <a:pt x="5386885" y="4171100"/>
                  <a:pt x="5375907" y="4182086"/>
                </a:cubicBezTo>
                <a:cubicBezTo>
                  <a:pt x="5350290" y="4182086"/>
                  <a:pt x="5321013" y="4182086"/>
                  <a:pt x="5280758" y="4182086"/>
                </a:cubicBezTo>
                <a:cubicBezTo>
                  <a:pt x="5277098" y="4178424"/>
                  <a:pt x="5262459" y="4167438"/>
                  <a:pt x="5247821" y="4156452"/>
                </a:cubicBezTo>
                <a:cubicBezTo>
                  <a:pt x="5229524" y="4156452"/>
                  <a:pt x="5203907" y="4156452"/>
                  <a:pt x="5181949" y="4156452"/>
                </a:cubicBezTo>
                <a:cubicBezTo>
                  <a:pt x="5170970" y="4167438"/>
                  <a:pt x="5163652" y="4174762"/>
                  <a:pt x="5156332" y="4182086"/>
                </a:cubicBezTo>
                <a:cubicBezTo>
                  <a:pt x="5145353" y="4174762"/>
                  <a:pt x="5134375" y="4163776"/>
                  <a:pt x="5123396" y="4156452"/>
                </a:cubicBezTo>
                <a:cubicBezTo>
                  <a:pt x="5112418" y="4163776"/>
                  <a:pt x="5101439" y="4174762"/>
                  <a:pt x="5090460" y="4185748"/>
                </a:cubicBezTo>
                <a:cubicBezTo>
                  <a:pt x="5028248" y="4185748"/>
                  <a:pt x="4966035" y="4185748"/>
                  <a:pt x="4907481" y="4185748"/>
                </a:cubicBezTo>
                <a:cubicBezTo>
                  <a:pt x="4892843" y="4196734"/>
                  <a:pt x="4881864" y="4207721"/>
                  <a:pt x="4874546" y="4215045"/>
                </a:cubicBezTo>
                <a:cubicBezTo>
                  <a:pt x="4852588" y="4215045"/>
                  <a:pt x="4830631" y="4215045"/>
                  <a:pt x="4812333" y="4215045"/>
                </a:cubicBezTo>
                <a:cubicBezTo>
                  <a:pt x="4801354" y="4207721"/>
                  <a:pt x="4794035" y="4200397"/>
                  <a:pt x="4783057" y="4189410"/>
                </a:cubicBezTo>
                <a:cubicBezTo>
                  <a:pt x="4731822" y="4189410"/>
                  <a:pt x="4676929" y="4189410"/>
                  <a:pt x="4622036" y="4189410"/>
                </a:cubicBezTo>
                <a:cubicBezTo>
                  <a:pt x="4614716" y="4196734"/>
                  <a:pt x="4607397" y="4204059"/>
                  <a:pt x="4596419" y="4215045"/>
                </a:cubicBezTo>
                <a:cubicBezTo>
                  <a:pt x="4548844" y="4215045"/>
                  <a:pt x="4497610" y="4215045"/>
                  <a:pt x="4446376" y="4215045"/>
                </a:cubicBezTo>
                <a:cubicBezTo>
                  <a:pt x="4431737" y="4226031"/>
                  <a:pt x="4420759" y="4233355"/>
                  <a:pt x="4406120" y="4244341"/>
                </a:cubicBezTo>
                <a:cubicBezTo>
                  <a:pt x="4398802" y="4237017"/>
                  <a:pt x="4387823" y="4229693"/>
                  <a:pt x="4376844" y="4218707"/>
                </a:cubicBezTo>
                <a:cubicBezTo>
                  <a:pt x="4303653" y="4218707"/>
                  <a:pt x="4234121" y="4218707"/>
                  <a:pt x="4157270" y="4218707"/>
                </a:cubicBezTo>
                <a:cubicBezTo>
                  <a:pt x="4149951" y="4226031"/>
                  <a:pt x="4138972" y="4237017"/>
                  <a:pt x="4127993" y="4248003"/>
                </a:cubicBezTo>
                <a:cubicBezTo>
                  <a:pt x="4117014" y="4237017"/>
                  <a:pt x="4106037" y="4226031"/>
                  <a:pt x="4095058" y="4218707"/>
                </a:cubicBezTo>
                <a:cubicBezTo>
                  <a:pt x="4073100" y="4218707"/>
                  <a:pt x="4051142" y="4218707"/>
                  <a:pt x="4032845" y="4218707"/>
                </a:cubicBezTo>
                <a:cubicBezTo>
                  <a:pt x="4021866" y="4229693"/>
                  <a:pt x="4010887" y="4240679"/>
                  <a:pt x="3992590" y="4255328"/>
                </a:cubicBezTo>
                <a:cubicBezTo>
                  <a:pt x="3977952" y="4244341"/>
                  <a:pt x="3959654" y="4237017"/>
                  <a:pt x="3926717" y="4215045"/>
                </a:cubicBezTo>
                <a:cubicBezTo>
                  <a:pt x="3912079" y="4215045"/>
                  <a:pt x="3875483" y="4215045"/>
                  <a:pt x="3846207" y="4215045"/>
                </a:cubicBezTo>
                <a:cubicBezTo>
                  <a:pt x="3835228" y="4204059"/>
                  <a:pt x="3824249" y="4196734"/>
                  <a:pt x="3813270" y="4182086"/>
                </a:cubicBezTo>
                <a:cubicBezTo>
                  <a:pt x="3809611" y="4196734"/>
                  <a:pt x="3805952" y="4207721"/>
                  <a:pt x="3798632" y="4218707"/>
                </a:cubicBezTo>
                <a:cubicBezTo>
                  <a:pt x="3794973" y="4229693"/>
                  <a:pt x="3791314" y="4237017"/>
                  <a:pt x="3787653" y="4248003"/>
                </a:cubicBezTo>
                <a:cubicBezTo>
                  <a:pt x="3765697" y="4240679"/>
                  <a:pt x="3762036" y="4211383"/>
                  <a:pt x="3736420" y="4215045"/>
                </a:cubicBezTo>
                <a:cubicBezTo>
                  <a:pt x="3736420" y="4207721"/>
                  <a:pt x="3736420" y="4196734"/>
                  <a:pt x="3732760" y="4185748"/>
                </a:cubicBezTo>
                <a:cubicBezTo>
                  <a:pt x="3751058" y="4182086"/>
                  <a:pt x="3776675" y="4182086"/>
                  <a:pt x="3754718" y="4156452"/>
                </a:cubicBezTo>
                <a:cubicBezTo>
                  <a:pt x="3747398" y="4163776"/>
                  <a:pt x="3740080" y="4174762"/>
                  <a:pt x="3732760" y="4185748"/>
                </a:cubicBezTo>
                <a:cubicBezTo>
                  <a:pt x="3688846" y="4185748"/>
                  <a:pt x="3644931" y="4185748"/>
                  <a:pt x="3597356" y="4185748"/>
                </a:cubicBezTo>
                <a:cubicBezTo>
                  <a:pt x="3590037" y="4193072"/>
                  <a:pt x="3582718" y="4200397"/>
                  <a:pt x="3575398" y="4207721"/>
                </a:cubicBezTo>
                <a:cubicBezTo>
                  <a:pt x="3564420" y="4211383"/>
                  <a:pt x="3557101" y="4215045"/>
                  <a:pt x="3546122" y="4215045"/>
                </a:cubicBezTo>
                <a:cubicBezTo>
                  <a:pt x="3502208" y="4218707"/>
                  <a:pt x="3454633" y="4215045"/>
                  <a:pt x="3392421" y="4215045"/>
                </a:cubicBezTo>
                <a:cubicBezTo>
                  <a:pt x="3381442" y="4200397"/>
                  <a:pt x="3366804" y="4174762"/>
                  <a:pt x="3344846" y="4134479"/>
                </a:cubicBezTo>
                <a:cubicBezTo>
                  <a:pt x="3333867" y="4171100"/>
                  <a:pt x="3333867" y="4185748"/>
                  <a:pt x="3326548" y="4207721"/>
                </a:cubicBezTo>
                <a:cubicBezTo>
                  <a:pt x="3304591" y="4211383"/>
                  <a:pt x="3275315" y="4218707"/>
                  <a:pt x="3246037" y="4222369"/>
                </a:cubicBezTo>
                <a:cubicBezTo>
                  <a:pt x="3242378" y="4240679"/>
                  <a:pt x="3235059" y="4258990"/>
                  <a:pt x="3227740" y="4277300"/>
                </a:cubicBezTo>
                <a:cubicBezTo>
                  <a:pt x="3198464" y="4269976"/>
                  <a:pt x="3213102" y="4244341"/>
                  <a:pt x="3198464" y="4222369"/>
                </a:cubicBezTo>
                <a:cubicBezTo>
                  <a:pt x="3161868" y="4204059"/>
                  <a:pt x="3114294" y="4226031"/>
                  <a:pt x="3070378" y="4215045"/>
                </a:cubicBezTo>
                <a:cubicBezTo>
                  <a:pt x="3055740" y="4226031"/>
                  <a:pt x="3044761" y="4237017"/>
                  <a:pt x="3033783" y="4248003"/>
                </a:cubicBezTo>
                <a:cubicBezTo>
                  <a:pt x="3026463" y="4240679"/>
                  <a:pt x="3019144" y="4233355"/>
                  <a:pt x="3008166" y="4218707"/>
                </a:cubicBezTo>
                <a:cubicBezTo>
                  <a:pt x="2967910" y="4218707"/>
                  <a:pt x="2923995" y="4218707"/>
                  <a:pt x="2880081" y="4218707"/>
                </a:cubicBezTo>
                <a:cubicBezTo>
                  <a:pt x="2865442" y="4193072"/>
                  <a:pt x="2832506" y="4185748"/>
                  <a:pt x="2828847" y="4156452"/>
                </a:cubicBezTo>
                <a:cubicBezTo>
                  <a:pt x="2850804" y="4149127"/>
                  <a:pt x="2872762" y="4152789"/>
                  <a:pt x="2850804" y="4123493"/>
                </a:cubicBezTo>
                <a:cubicBezTo>
                  <a:pt x="2843485" y="4134479"/>
                  <a:pt x="2836166" y="4141803"/>
                  <a:pt x="2828847" y="4156452"/>
                </a:cubicBezTo>
                <a:cubicBezTo>
                  <a:pt x="2795911" y="4152789"/>
                  <a:pt x="2762974" y="4152789"/>
                  <a:pt x="2722719" y="4152789"/>
                </a:cubicBezTo>
                <a:cubicBezTo>
                  <a:pt x="2715400" y="4174762"/>
                  <a:pt x="2704421" y="4196734"/>
                  <a:pt x="2693443" y="4222369"/>
                </a:cubicBezTo>
                <a:cubicBezTo>
                  <a:pt x="2682464" y="4200397"/>
                  <a:pt x="2678804" y="4182086"/>
                  <a:pt x="2671485" y="4160114"/>
                </a:cubicBezTo>
                <a:cubicBezTo>
                  <a:pt x="2645868" y="4141803"/>
                  <a:pt x="2623911" y="4152789"/>
                  <a:pt x="2609273" y="4174762"/>
                </a:cubicBezTo>
                <a:cubicBezTo>
                  <a:pt x="2605613" y="4178424"/>
                  <a:pt x="2598294" y="4185748"/>
                  <a:pt x="2594635" y="4185748"/>
                </a:cubicBezTo>
                <a:cubicBezTo>
                  <a:pt x="2492166" y="4185748"/>
                  <a:pt x="2389698" y="4185748"/>
                  <a:pt x="2290890" y="4185748"/>
                </a:cubicBezTo>
                <a:cubicBezTo>
                  <a:pt x="2276252" y="4196734"/>
                  <a:pt x="2265273" y="4204059"/>
                  <a:pt x="2257954" y="4215045"/>
                </a:cubicBezTo>
                <a:cubicBezTo>
                  <a:pt x="2246975" y="4207721"/>
                  <a:pt x="2239656" y="4200397"/>
                  <a:pt x="2232337" y="4189410"/>
                </a:cubicBezTo>
                <a:cubicBezTo>
                  <a:pt x="2217699" y="4196734"/>
                  <a:pt x="2203060" y="4204059"/>
                  <a:pt x="2188422" y="4211383"/>
                </a:cubicBezTo>
                <a:cubicBezTo>
                  <a:pt x="2170124" y="4196734"/>
                  <a:pt x="2184763" y="4171100"/>
                  <a:pt x="2184763" y="4152789"/>
                </a:cubicBezTo>
                <a:cubicBezTo>
                  <a:pt x="2199401" y="4152789"/>
                  <a:pt x="2217699" y="4152789"/>
                  <a:pt x="2243316" y="4149127"/>
                </a:cubicBezTo>
                <a:cubicBezTo>
                  <a:pt x="2239656" y="4127155"/>
                  <a:pt x="2239656" y="4108845"/>
                  <a:pt x="2235997" y="4079548"/>
                </a:cubicBezTo>
                <a:cubicBezTo>
                  <a:pt x="2203060" y="4101520"/>
                  <a:pt x="2170124" y="4072224"/>
                  <a:pt x="2148167" y="4105183"/>
                </a:cubicBezTo>
                <a:cubicBezTo>
                  <a:pt x="2162805" y="4119831"/>
                  <a:pt x="2173784" y="4134479"/>
                  <a:pt x="2184763" y="4152789"/>
                </a:cubicBezTo>
                <a:cubicBezTo>
                  <a:pt x="2162805" y="4152789"/>
                  <a:pt x="2148167" y="4152789"/>
                  <a:pt x="2133529" y="4152789"/>
                </a:cubicBezTo>
                <a:cubicBezTo>
                  <a:pt x="2122550" y="4163776"/>
                  <a:pt x="2111571" y="4174762"/>
                  <a:pt x="2100593" y="4185748"/>
                </a:cubicBezTo>
                <a:cubicBezTo>
                  <a:pt x="2078635" y="4185748"/>
                  <a:pt x="2056678" y="4185748"/>
                  <a:pt x="2038380" y="4185748"/>
                </a:cubicBezTo>
                <a:cubicBezTo>
                  <a:pt x="2016423" y="4138141"/>
                  <a:pt x="2009103" y="4130817"/>
                  <a:pt x="1968848" y="4090534"/>
                </a:cubicBezTo>
                <a:cubicBezTo>
                  <a:pt x="1965188" y="4108845"/>
                  <a:pt x="1961529" y="4123493"/>
                  <a:pt x="1957869" y="4141803"/>
                </a:cubicBezTo>
                <a:cubicBezTo>
                  <a:pt x="1906635" y="4167438"/>
                  <a:pt x="1851742" y="4141803"/>
                  <a:pt x="1789529" y="4160114"/>
                </a:cubicBezTo>
                <a:cubicBezTo>
                  <a:pt x="1771231" y="4130817"/>
                  <a:pt x="1756593" y="4105183"/>
                  <a:pt x="1745614" y="4090534"/>
                </a:cubicBezTo>
                <a:cubicBezTo>
                  <a:pt x="1573615" y="4090534"/>
                  <a:pt x="1416253" y="4090534"/>
                  <a:pt x="1262551" y="4090534"/>
                </a:cubicBezTo>
                <a:cubicBezTo>
                  <a:pt x="1251573" y="4079548"/>
                  <a:pt x="1240594" y="4068562"/>
                  <a:pt x="1229615" y="4057576"/>
                </a:cubicBezTo>
                <a:cubicBezTo>
                  <a:pt x="1083233" y="4057576"/>
                  <a:pt x="936850" y="4057576"/>
                  <a:pt x="797786" y="4057576"/>
                </a:cubicBezTo>
                <a:cubicBezTo>
                  <a:pt x="746552" y="4020955"/>
                  <a:pt x="680680" y="4006307"/>
                  <a:pt x="651404" y="3922079"/>
                </a:cubicBezTo>
                <a:cubicBezTo>
                  <a:pt x="651404" y="3925741"/>
                  <a:pt x="651404" y="3903769"/>
                  <a:pt x="651404" y="3881796"/>
                </a:cubicBezTo>
                <a:cubicBezTo>
                  <a:pt x="611148" y="3830527"/>
                  <a:pt x="530638" y="3823203"/>
                  <a:pt x="497702" y="3746300"/>
                </a:cubicBezTo>
                <a:cubicBezTo>
                  <a:pt x="497702" y="3738975"/>
                  <a:pt x="497702" y="3717003"/>
                  <a:pt x="497702" y="3691368"/>
                </a:cubicBezTo>
                <a:cubicBezTo>
                  <a:pt x="516000" y="3684044"/>
                  <a:pt x="537957" y="3673058"/>
                  <a:pt x="559914" y="3662072"/>
                </a:cubicBezTo>
                <a:cubicBezTo>
                  <a:pt x="559914" y="3640099"/>
                  <a:pt x="559914" y="3621789"/>
                  <a:pt x="559914" y="3599817"/>
                </a:cubicBezTo>
                <a:cubicBezTo>
                  <a:pt x="585531" y="3566858"/>
                  <a:pt x="614808" y="3541223"/>
                  <a:pt x="647744" y="3508265"/>
                </a:cubicBezTo>
                <a:cubicBezTo>
                  <a:pt x="669701" y="3522913"/>
                  <a:pt x="684340" y="3537561"/>
                  <a:pt x="702638" y="3548548"/>
                </a:cubicBezTo>
                <a:cubicBezTo>
                  <a:pt x="717276" y="3530237"/>
                  <a:pt x="735574" y="3511927"/>
                  <a:pt x="753871" y="3493617"/>
                </a:cubicBezTo>
                <a:cubicBezTo>
                  <a:pt x="768510" y="3482630"/>
                  <a:pt x="790467" y="3482630"/>
                  <a:pt x="819744" y="3471644"/>
                </a:cubicBezTo>
                <a:cubicBezTo>
                  <a:pt x="731914" y="3438685"/>
                  <a:pt x="647744" y="3467982"/>
                  <a:pt x="563574" y="3449672"/>
                </a:cubicBezTo>
                <a:cubicBezTo>
                  <a:pt x="574553" y="3427699"/>
                  <a:pt x="581872" y="3405727"/>
                  <a:pt x="589191" y="3387416"/>
                </a:cubicBezTo>
                <a:cubicBezTo>
                  <a:pt x="603829" y="3365444"/>
                  <a:pt x="618467" y="3347134"/>
                  <a:pt x="633105" y="3325162"/>
                </a:cubicBezTo>
                <a:cubicBezTo>
                  <a:pt x="647744" y="3339810"/>
                  <a:pt x="658722" y="3347134"/>
                  <a:pt x="669701" y="3358120"/>
                </a:cubicBezTo>
                <a:cubicBezTo>
                  <a:pt x="677021" y="3350796"/>
                  <a:pt x="684340" y="3343472"/>
                  <a:pt x="691659" y="3336148"/>
                </a:cubicBezTo>
                <a:cubicBezTo>
                  <a:pt x="728254" y="3310513"/>
                  <a:pt x="772169" y="3347134"/>
                  <a:pt x="808765" y="3314175"/>
                </a:cubicBezTo>
                <a:cubicBezTo>
                  <a:pt x="805105" y="3310513"/>
                  <a:pt x="801446" y="3303189"/>
                  <a:pt x="797786" y="3303189"/>
                </a:cubicBezTo>
                <a:cubicBezTo>
                  <a:pt x="728254" y="3299527"/>
                  <a:pt x="655063" y="3295865"/>
                  <a:pt x="574553" y="3292203"/>
                </a:cubicBezTo>
                <a:cubicBezTo>
                  <a:pt x="570893" y="3288541"/>
                  <a:pt x="559914" y="3277555"/>
                  <a:pt x="537957" y="3262906"/>
                </a:cubicBezTo>
                <a:cubicBezTo>
                  <a:pt x="494042" y="3262906"/>
                  <a:pt x="439149" y="3262906"/>
                  <a:pt x="387915" y="3262906"/>
                </a:cubicBezTo>
                <a:cubicBezTo>
                  <a:pt x="373276" y="3251920"/>
                  <a:pt x="365957" y="3244596"/>
                  <a:pt x="358638" y="3233610"/>
                </a:cubicBezTo>
                <a:cubicBezTo>
                  <a:pt x="318383" y="3233610"/>
                  <a:pt x="278127" y="3233610"/>
                  <a:pt x="237872" y="3233610"/>
                </a:cubicBezTo>
                <a:cubicBezTo>
                  <a:pt x="215915" y="3207975"/>
                  <a:pt x="186638" y="3200651"/>
                  <a:pt x="153702" y="3189665"/>
                </a:cubicBezTo>
                <a:cubicBezTo>
                  <a:pt x="153702" y="3156706"/>
                  <a:pt x="153702" y="3120085"/>
                  <a:pt x="153702" y="3087127"/>
                </a:cubicBezTo>
                <a:cubicBezTo>
                  <a:pt x="98809" y="3057830"/>
                  <a:pt x="40255" y="3043182"/>
                  <a:pt x="0" y="2995575"/>
                </a:cubicBezTo>
                <a:cubicBezTo>
                  <a:pt x="0" y="2973603"/>
                  <a:pt x="0" y="2951630"/>
                  <a:pt x="0" y="2925995"/>
                </a:cubicBezTo>
                <a:cubicBezTo>
                  <a:pt x="14638" y="2922334"/>
                  <a:pt x="32936" y="2915009"/>
                  <a:pt x="51234" y="2907685"/>
                </a:cubicBezTo>
                <a:cubicBezTo>
                  <a:pt x="73192" y="2885713"/>
                  <a:pt x="51234" y="2860078"/>
                  <a:pt x="69532" y="2827120"/>
                </a:cubicBezTo>
                <a:cubicBezTo>
                  <a:pt x="76851" y="2819796"/>
                  <a:pt x="91489" y="2805147"/>
                  <a:pt x="109787" y="2783175"/>
                </a:cubicBezTo>
                <a:cubicBezTo>
                  <a:pt x="150043" y="2783175"/>
                  <a:pt x="197617" y="2783175"/>
                  <a:pt x="245191" y="2783175"/>
                </a:cubicBezTo>
                <a:cubicBezTo>
                  <a:pt x="219574" y="2757540"/>
                  <a:pt x="219574" y="2753878"/>
                  <a:pt x="172000" y="2757540"/>
                </a:cubicBezTo>
                <a:cubicBezTo>
                  <a:pt x="161021" y="2746554"/>
                  <a:pt x="146383" y="2735568"/>
                  <a:pt x="135404" y="2724581"/>
                </a:cubicBezTo>
                <a:cubicBezTo>
                  <a:pt x="117107" y="2724581"/>
                  <a:pt x="95149" y="2724581"/>
                  <a:pt x="76851" y="2724581"/>
                </a:cubicBezTo>
                <a:cubicBezTo>
                  <a:pt x="54894" y="2709933"/>
                  <a:pt x="73192" y="2698947"/>
                  <a:pt x="80511" y="2687961"/>
                </a:cubicBezTo>
                <a:cubicBezTo>
                  <a:pt x="87830" y="2673313"/>
                  <a:pt x="95149" y="2655002"/>
                  <a:pt x="102468" y="2629368"/>
                </a:cubicBezTo>
                <a:cubicBezTo>
                  <a:pt x="270808" y="2629368"/>
                  <a:pt x="442808" y="2629368"/>
                  <a:pt x="603829" y="2629368"/>
                </a:cubicBezTo>
                <a:cubicBezTo>
                  <a:pt x="647744" y="2589085"/>
                  <a:pt x="603829" y="2570774"/>
                  <a:pt x="592850" y="2548802"/>
                </a:cubicBezTo>
                <a:cubicBezTo>
                  <a:pt x="592850" y="2526830"/>
                  <a:pt x="592850" y="2504857"/>
                  <a:pt x="592850" y="2486547"/>
                </a:cubicBezTo>
                <a:cubicBezTo>
                  <a:pt x="629446" y="2460912"/>
                  <a:pt x="622127" y="2424292"/>
                  <a:pt x="622127" y="2391333"/>
                </a:cubicBezTo>
                <a:cubicBezTo>
                  <a:pt x="658722" y="2358374"/>
                  <a:pt x="706297" y="2391333"/>
                  <a:pt x="742893" y="2362037"/>
                </a:cubicBezTo>
                <a:cubicBezTo>
                  <a:pt x="742893" y="2340064"/>
                  <a:pt x="742893" y="2314429"/>
                  <a:pt x="742893" y="2285133"/>
                </a:cubicBezTo>
                <a:cubicBezTo>
                  <a:pt x="728254" y="2285133"/>
                  <a:pt x="709957" y="2274147"/>
                  <a:pt x="698978" y="2281471"/>
                </a:cubicBezTo>
                <a:cubicBezTo>
                  <a:pt x="677021" y="2299781"/>
                  <a:pt x="655063" y="2325416"/>
                  <a:pt x="633105" y="2347388"/>
                </a:cubicBezTo>
                <a:cubicBezTo>
                  <a:pt x="618467" y="2340064"/>
                  <a:pt x="603829" y="2336402"/>
                  <a:pt x="589191" y="2332740"/>
                </a:cubicBezTo>
                <a:cubicBezTo>
                  <a:pt x="585531" y="2270485"/>
                  <a:pt x="644084" y="2255837"/>
                  <a:pt x="666042" y="2219216"/>
                </a:cubicBezTo>
                <a:cubicBezTo>
                  <a:pt x="687999" y="2219216"/>
                  <a:pt x="706297" y="2219216"/>
                  <a:pt x="728254" y="2219216"/>
                </a:cubicBezTo>
                <a:cubicBezTo>
                  <a:pt x="739233" y="2204567"/>
                  <a:pt x="750212" y="2197243"/>
                  <a:pt x="768510" y="2178933"/>
                </a:cubicBezTo>
                <a:cubicBezTo>
                  <a:pt x="786808" y="2189919"/>
                  <a:pt x="805105" y="2200905"/>
                  <a:pt x="827063" y="2211892"/>
                </a:cubicBezTo>
                <a:cubicBezTo>
                  <a:pt x="845360" y="2197243"/>
                  <a:pt x="863658" y="2178933"/>
                  <a:pt x="878297" y="2160623"/>
                </a:cubicBezTo>
                <a:cubicBezTo>
                  <a:pt x="911233" y="2171609"/>
                  <a:pt x="940509" y="2182595"/>
                  <a:pt x="969786" y="2189919"/>
                </a:cubicBezTo>
                <a:cubicBezTo>
                  <a:pt x="988084" y="2175271"/>
                  <a:pt x="999062" y="2164285"/>
                  <a:pt x="1010041" y="2153299"/>
                </a:cubicBezTo>
                <a:cubicBezTo>
                  <a:pt x="1035658" y="2153299"/>
                  <a:pt x="1057616" y="2153299"/>
                  <a:pt x="1086892" y="2149636"/>
                </a:cubicBezTo>
                <a:cubicBezTo>
                  <a:pt x="1086892" y="2131326"/>
                  <a:pt x="1086892" y="2116678"/>
                  <a:pt x="1086892" y="2102029"/>
                </a:cubicBezTo>
                <a:cubicBezTo>
                  <a:pt x="1042977" y="2087381"/>
                  <a:pt x="1010041" y="2058085"/>
                  <a:pt x="962467" y="2054423"/>
                </a:cubicBezTo>
                <a:cubicBezTo>
                  <a:pt x="925871" y="2050760"/>
                  <a:pt x="892935" y="2017802"/>
                  <a:pt x="852680" y="2021464"/>
                </a:cubicBezTo>
                <a:cubicBezTo>
                  <a:pt x="838041" y="2006816"/>
                  <a:pt x="823403" y="1992167"/>
                  <a:pt x="812425" y="1981181"/>
                </a:cubicBezTo>
                <a:cubicBezTo>
                  <a:pt x="808765" y="1962871"/>
                  <a:pt x="805105" y="1948222"/>
                  <a:pt x="801446" y="1933574"/>
                </a:cubicBezTo>
                <a:cubicBezTo>
                  <a:pt x="772169" y="1929912"/>
                  <a:pt x="746552" y="1929912"/>
                  <a:pt x="724595" y="1926250"/>
                </a:cubicBezTo>
                <a:cubicBezTo>
                  <a:pt x="706297" y="1889629"/>
                  <a:pt x="717276" y="1853009"/>
                  <a:pt x="717276" y="1820050"/>
                </a:cubicBezTo>
                <a:cubicBezTo>
                  <a:pt x="728254" y="1809064"/>
                  <a:pt x="735574" y="1798078"/>
                  <a:pt x="742893" y="1787091"/>
                </a:cubicBezTo>
                <a:cubicBezTo>
                  <a:pt x="735574" y="1776105"/>
                  <a:pt x="728254" y="1768781"/>
                  <a:pt x="717276" y="1757795"/>
                </a:cubicBezTo>
                <a:cubicBezTo>
                  <a:pt x="717276" y="1732160"/>
                  <a:pt x="717276" y="1699202"/>
                  <a:pt x="717276" y="1662581"/>
                </a:cubicBezTo>
                <a:cubicBezTo>
                  <a:pt x="739233" y="1629622"/>
                  <a:pt x="761191" y="1593002"/>
                  <a:pt x="783148" y="1552719"/>
                </a:cubicBezTo>
                <a:cubicBezTo>
                  <a:pt x="823403" y="1552719"/>
                  <a:pt x="856339" y="1552719"/>
                  <a:pt x="889275" y="1552719"/>
                </a:cubicBezTo>
                <a:cubicBezTo>
                  <a:pt x="896594" y="1563705"/>
                  <a:pt x="900254" y="1571029"/>
                  <a:pt x="900254" y="1582015"/>
                </a:cubicBezTo>
                <a:cubicBezTo>
                  <a:pt x="885616" y="1582015"/>
                  <a:pt x="870977" y="1582015"/>
                  <a:pt x="856339" y="1582015"/>
                </a:cubicBezTo>
                <a:cubicBezTo>
                  <a:pt x="830722" y="1618636"/>
                  <a:pt x="775829" y="1633284"/>
                  <a:pt x="779488" y="1688215"/>
                </a:cubicBezTo>
                <a:cubicBezTo>
                  <a:pt x="779488" y="1695540"/>
                  <a:pt x="783148" y="1699202"/>
                  <a:pt x="790467" y="1706526"/>
                </a:cubicBezTo>
                <a:cubicBezTo>
                  <a:pt x="808765" y="1706526"/>
                  <a:pt x="834382" y="1706526"/>
                  <a:pt x="859999" y="1706526"/>
                </a:cubicBezTo>
                <a:cubicBezTo>
                  <a:pt x="867318" y="1688215"/>
                  <a:pt x="870977" y="1662581"/>
                  <a:pt x="881956" y="1651595"/>
                </a:cubicBezTo>
                <a:cubicBezTo>
                  <a:pt x="903914" y="1629622"/>
                  <a:pt x="903914" y="1607650"/>
                  <a:pt x="900254" y="1582015"/>
                </a:cubicBezTo>
                <a:cubicBezTo>
                  <a:pt x="914892" y="1574691"/>
                  <a:pt x="929531" y="1567367"/>
                  <a:pt x="958807" y="1552719"/>
                </a:cubicBezTo>
                <a:cubicBezTo>
                  <a:pt x="984424" y="1552719"/>
                  <a:pt x="1028339" y="1552719"/>
                  <a:pt x="1075913" y="1552719"/>
                </a:cubicBezTo>
                <a:cubicBezTo>
                  <a:pt x="1083233" y="1534408"/>
                  <a:pt x="1086892" y="1519760"/>
                  <a:pt x="1090552" y="1512436"/>
                </a:cubicBezTo>
                <a:cubicBezTo>
                  <a:pt x="1057616" y="1439195"/>
                  <a:pt x="984424" y="1428208"/>
                  <a:pt x="940509" y="1384263"/>
                </a:cubicBezTo>
                <a:cubicBezTo>
                  <a:pt x="907573" y="1325670"/>
                  <a:pt x="962467" y="1289049"/>
                  <a:pt x="973446" y="1241443"/>
                </a:cubicBezTo>
                <a:cubicBezTo>
                  <a:pt x="977105" y="1219470"/>
                  <a:pt x="1021020" y="1204822"/>
                  <a:pt x="1024679" y="1186512"/>
                </a:cubicBezTo>
                <a:cubicBezTo>
                  <a:pt x="1028339" y="1157215"/>
                  <a:pt x="1039318" y="1131580"/>
                  <a:pt x="1061275" y="1120594"/>
                </a:cubicBezTo>
                <a:cubicBezTo>
                  <a:pt x="1090552" y="1102284"/>
                  <a:pt x="1079573" y="1065663"/>
                  <a:pt x="1105190" y="1043691"/>
                </a:cubicBezTo>
                <a:cubicBezTo>
                  <a:pt x="1163743" y="1043691"/>
                  <a:pt x="1225956" y="1043691"/>
                  <a:pt x="1288168" y="1043691"/>
                </a:cubicBezTo>
                <a:cubicBezTo>
                  <a:pt x="1310126" y="1021718"/>
                  <a:pt x="1335743" y="999746"/>
                  <a:pt x="1354041" y="981435"/>
                </a:cubicBezTo>
                <a:cubicBezTo>
                  <a:pt x="1379658" y="974111"/>
                  <a:pt x="1408934" y="992422"/>
                  <a:pt x="1427232" y="963125"/>
                </a:cubicBezTo>
                <a:cubicBezTo>
                  <a:pt x="1445530" y="944815"/>
                  <a:pt x="1463828" y="948477"/>
                  <a:pt x="1482125" y="944815"/>
                </a:cubicBezTo>
                <a:cubicBezTo>
                  <a:pt x="1504083" y="941153"/>
                  <a:pt x="1526040" y="930167"/>
                  <a:pt x="1547998" y="919180"/>
                </a:cubicBezTo>
                <a:cubicBezTo>
                  <a:pt x="1555317" y="926504"/>
                  <a:pt x="1562636" y="937491"/>
                  <a:pt x="1569955" y="944815"/>
                </a:cubicBezTo>
                <a:cubicBezTo>
                  <a:pt x="1580934" y="937491"/>
                  <a:pt x="1591913" y="926504"/>
                  <a:pt x="1602891" y="915518"/>
                </a:cubicBezTo>
                <a:cubicBezTo>
                  <a:pt x="1621189" y="915518"/>
                  <a:pt x="1643146" y="915518"/>
                  <a:pt x="1661444" y="915518"/>
                </a:cubicBezTo>
                <a:cubicBezTo>
                  <a:pt x="1690721" y="893546"/>
                  <a:pt x="1687061" y="875235"/>
                  <a:pt x="1665104" y="853263"/>
                </a:cubicBezTo>
                <a:cubicBezTo>
                  <a:pt x="1654125" y="860587"/>
                  <a:pt x="1643146" y="871573"/>
                  <a:pt x="1632168" y="882559"/>
                </a:cubicBezTo>
                <a:cubicBezTo>
                  <a:pt x="1624849" y="875235"/>
                  <a:pt x="1617530" y="864249"/>
                  <a:pt x="1610210" y="856925"/>
                </a:cubicBezTo>
                <a:cubicBezTo>
                  <a:pt x="1573615" y="849601"/>
                  <a:pt x="1540679" y="838615"/>
                  <a:pt x="1511402" y="878897"/>
                </a:cubicBezTo>
                <a:cubicBezTo>
                  <a:pt x="1441870" y="878897"/>
                  <a:pt x="1372338" y="878897"/>
                  <a:pt x="1302807" y="878897"/>
                </a:cubicBezTo>
                <a:cubicBezTo>
                  <a:pt x="1280849" y="893546"/>
                  <a:pt x="1266211" y="908194"/>
                  <a:pt x="1247913" y="915518"/>
                </a:cubicBezTo>
                <a:cubicBezTo>
                  <a:pt x="1229615" y="919180"/>
                  <a:pt x="1211318" y="915518"/>
                  <a:pt x="1189360" y="915518"/>
                </a:cubicBezTo>
                <a:cubicBezTo>
                  <a:pt x="1185701" y="937491"/>
                  <a:pt x="1182041" y="952139"/>
                  <a:pt x="1178381" y="970449"/>
                </a:cubicBezTo>
                <a:cubicBezTo>
                  <a:pt x="1167403" y="974111"/>
                  <a:pt x="1152764" y="977773"/>
                  <a:pt x="1134466" y="981435"/>
                </a:cubicBezTo>
                <a:cubicBezTo>
                  <a:pt x="1127147" y="988760"/>
                  <a:pt x="1116169" y="999746"/>
                  <a:pt x="1105190" y="1010732"/>
                </a:cubicBezTo>
                <a:cubicBezTo>
                  <a:pt x="1083233" y="1010732"/>
                  <a:pt x="1061275" y="1010732"/>
                  <a:pt x="1042977" y="1010732"/>
                </a:cubicBezTo>
                <a:cubicBezTo>
                  <a:pt x="1039318" y="1007070"/>
                  <a:pt x="1031999" y="999746"/>
                  <a:pt x="1031999" y="999746"/>
                </a:cubicBezTo>
                <a:cubicBezTo>
                  <a:pt x="1042977" y="977773"/>
                  <a:pt x="1053956" y="959463"/>
                  <a:pt x="1079573" y="911856"/>
                </a:cubicBezTo>
                <a:cubicBezTo>
                  <a:pt x="1094211" y="897208"/>
                  <a:pt x="1130807" y="860587"/>
                  <a:pt x="1174722" y="820304"/>
                </a:cubicBezTo>
                <a:cubicBezTo>
                  <a:pt x="1174722" y="820304"/>
                  <a:pt x="1185701" y="820304"/>
                  <a:pt x="1196680" y="820304"/>
                </a:cubicBezTo>
                <a:cubicBezTo>
                  <a:pt x="1207658" y="809318"/>
                  <a:pt x="1218637" y="798332"/>
                  <a:pt x="1229615" y="787346"/>
                </a:cubicBezTo>
                <a:cubicBezTo>
                  <a:pt x="1251573" y="787346"/>
                  <a:pt x="1269871" y="787346"/>
                  <a:pt x="1291828" y="787346"/>
                </a:cubicBezTo>
                <a:cubicBezTo>
                  <a:pt x="1302807" y="776360"/>
                  <a:pt x="1313785" y="769035"/>
                  <a:pt x="1324764" y="758049"/>
                </a:cubicBezTo>
                <a:cubicBezTo>
                  <a:pt x="1332083" y="765373"/>
                  <a:pt x="1339402" y="772697"/>
                  <a:pt x="1350381" y="783684"/>
                </a:cubicBezTo>
                <a:cubicBezTo>
                  <a:pt x="1390636" y="761711"/>
                  <a:pt x="1430892" y="739739"/>
                  <a:pt x="1471147" y="717766"/>
                </a:cubicBezTo>
                <a:cubicBezTo>
                  <a:pt x="1485785" y="732415"/>
                  <a:pt x="1496764" y="743401"/>
                  <a:pt x="1507742" y="754387"/>
                </a:cubicBezTo>
                <a:cubicBezTo>
                  <a:pt x="1518721" y="743401"/>
                  <a:pt x="1529700" y="736077"/>
                  <a:pt x="1547998" y="717766"/>
                </a:cubicBezTo>
                <a:cubicBezTo>
                  <a:pt x="1566296" y="728753"/>
                  <a:pt x="1584593" y="739739"/>
                  <a:pt x="1606551" y="754387"/>
                </a:cubicBezTo>
                <a:cubicBezTo>
                  <a:pt x="1624849" y="736077"/>
                  <a:pt x="1643146" y="717766"/>
                  <a:pt x="1661444" y="695794"/>
                </a:cubicBezTo>
                <a:cubicBezTo>
                  <a:pt x="1672423" y="703118"/>
                  <a:pt x="1683402" y="710442"/>
                  <a:pt x="1698040" y="721428"/>
                </a:cubicBezTo>
                <a:cubicBezTo>
                  <a:pt x="1785870" y="721428"/>
                  <a:pt x="1881018" y="721428"/>
                  <a:pt x="1972508" y="721428"/>
                </a:cubicBezTo>
                <a:cubicBezTo>
                  <a:pt x="1983486" y="732415"/>
                  <a:pt x="1994465" y="743401"/>
                  <a:pt x="2012763" y="758049"/>
                </a:cubicBezTo>
                <a:cubicBezTo>
                  <a:pt x="2016423" y="739739"/>
                  <a:pt x="2023742" y="721428"/>
                  <a:pt x="2027402" y="703118"/>
                </a:cubicBezTo>
                <a:cubicBezTo>
                  <a:pt x="2038380" y="699456"/>
                  <a:pt x="2045699" y="692132"/>
                  <a:pt x="2056678" y="692132"/>
                </a:cubicBezTo>
                <a:cubicBezTo>
                  <a:pt x="2133529" y="692132"/>
                  <a:pt x="2210380" y="692132"/>
                  <a:pt x="2290890" y="692132"/>
                </a:cubicBezTo>
                <a:cubicBezTo>
                  <a:pt x="2298209" y="681145"/>
                  <a:pt x="2301869" y="666497"/>
                  <a:pt x="2309188" y="648187"/>
                </a:cubicBezTo>
                <a:cubicBezTo>
                  <a:pt x="2283571" y="637201"/>
                  <a:pt x="2265273" y="626214"/>
                  <a:pt x="2239656" y="615228"/>
                </a:cubicBezTo>
                <a:cubicBezTo>
                  <a:pt x="2261614" y="604242"/>
                  <a:pt x="2283571" y="593256"/>
                  <a:pt x="2309188" y="578607"/>
                </a:cubicBezTo>
                <a:cubicBezTo>
                  <a:pt x="2298209" y="552973"/>
                  <a:pt x="2283571" y="527338"/>
                  <a:pt x="2272592" y="501704"/>
                </a:cubicBezTo>
                <a:cubicBezTo>
                  <a:pt x="2276252" y="468745"/>
                  <a:pt x="2305529" y="461421"/>
                  <a:pt x="2320167" y="439449"/>
                </a:cubicBezTo>
                <a:cubicBezTo>
                  <a:pt x="2349443" y="439449"/>
                  <a:pt x="2382379" y="439449"/>
                  <a:pt x="2411656" y="439449"/>
                </a:cubicBezTo>
                <a:cubicBezTo>
                  <a:pt x="2422635" y="450435"/>
                  <a:pt x="2433613" y="457759"/>
                  <a:pt x="2444592" y="468745"/>
                </a:cubicBezTo>
                <a:cubicBezTo>
                  <a:pt x="2451911" y="461421"/>
                  <a:pt x="2459230" y="454097"/>
                  <a:pt x="2473869" y="443111"/>
                </a:cubicBezTo>
                <a:cubicBezTo>
                  <a:pt x="2510464" y="443111"/>
                  <a:pt x="2558039" y="443111"/>
                  <a:pt x="2598294" y="443111"/>
                </a:cubicBezTo>
                <a:cubicBezTo>
                  <a:pt x="2620251" y="402828"/>
                  <a:pt x="2653187" y="410152"/>
                  <a:pt x="2682464" y="406490"/>
                </a:cubicBezTo>
                <a:cubicBezTo>
                  <a:pt x="2704421" y="399166"/>
                  <a:pt x="2726379" y="380856"/>
                  <a:pt x="2741017" y="369869"/>
                </a:cubicBezTo>
                <a:cubicBezTo>
                  <a:pt x="2766634" y="388180"/>
                  <a:pt x="2781272" y="399166"/>
                  <a:pt x="2803230" y="413814"/>
                </a:cubicBezTo>
                <a:cubicBezTo>
                  <a:pt x="2817868" y="402828"/>
                  <a:pt x="2832506" y="388180"/>
                  <a:pt x="2850804" y="377194"/>
                </a:cubicBezTo>
                <a:cubicBezTo>
                  <a:pt x="2858123" y="388180"/>
                  <a:pt x="2869102" y="395504"/>
                  <a:pt x="2880081" y="406490"/>
                </a:cubicBezTo>
                <a:cubicBezTo>
                  <a:pt x="2902038" y="406490"/>
                  <a:pt x="2923995" y="406490"/>
                  <a:pt x="2942293" y="406490"/>
                </a:cubicBezTo>
                <a:cubicBezTo>
                  <a:pt x="2953272" y="395504"/>
                  <a:pt x="2964251" y="384518"/>
                  <a:pt x="2982549" y="369869"/>
                </a:cubicBezTo>
                <a:cubicBezTo>
                  <a:pt x="3000846" y="380856"/>
                  <a:pt x="3019144" y="391842"/>
                  <a:pt x="3041102" y="402828"/>
                </a:cubicBezTo>
                <a:cubicBezTo>
                  <a:pt x="3048421" y="395504"/>
                  <a:pt x="3055740" y="388180"/>
                  <a:pt x="3070378" y="369869"/>
                </a:cubicBezTo>
                <a:cubicBezTo>
                  <a:pt x="3088677" y="395504"/>
                  <a:pt x="3103315" y="421138"/>
                  <a:pt x="3114294" y="439449"/>
                </a:cubicBezTo>
                <a:cubicBezTo>
                  <a:pt x="3150889" y="439449"/>
                  <a:pt x="3169187" y="439449"/>
                  <a:pt x="3191144" y="439449"/>
                </a:cubicBezTo>
                <a:cubicBezTo>
                  <a:pt x="3216761" y="465083"/>
                  <a:pt x="3242378" y="490718"/>
                  <a:pt x="3267995" y="520015"/>
                </a:cubicBezTo>
                <a:cubicBezTo>
                  <a:pt x="3249698" y="538325"/>
                  <a:pt x="3227740" y="560297"/>
                  <a:pt x="3205782" y="585932"/>
                </a:cubicBezTo>
                <a:cubicBezTo>
                  <a:pt x="3209442" y="600580"/>
                  <a:pt x="3213102" y="615228"/>
                  <a:pt x="3216761" y="629877"/>
                </a:cubicBezTo>
                <a:cubicBezTo>
                  <a:pt x="3231399" y="618890"/>
                  <a:pt x="3242378" y="607904"/>
                  <a:pt x="3253357" y="596918"/>
                </a:cubicBezTo>
                <a:cubicBezTo>
                  <a:pt x="3319229" y="596918"/>
                  <a:pt x="3385102" y="596918"/>
                  <a:pt x="3450974" y="596918"/>
                </a:cubicBezTo>
                <a:cubicBezTo>
                  <a:pt x="3450974" y="552973"/>
                  <a:pt x="3425357" y="571283"/>
                  <a:pt x="3407059" y="563959"/>
                </a:cubicBezTo>
                <a:cubicBezTo>
                  <a:pt x="3396080" y="538325"/>
                  <a:pt x="3381442" y="512690"/>
                  <a:pt x="3363143" y="476069"/>
                </a:cubicBezTo>
                <a:cubicBezTo>
                  <a:pt x="3363143" y="468745"/>
                  <a:pt x="3363143" y="446773"/>
                  <a:pt x="3363143" y="424800"/>
                </a:cubicBezTo>
                <a:cubicBezTo>
                  <a:pt x="3352165" y="413814"/>
                  <a:pt x="3341187" y="402828"/>
                  <a:pt x="3333867" y="391842"/>
                </a:cubicBezTo>
                <a:cubicBezTo>
                  <a:pt x="3359484" y="366207"/>
                  <a:pt x="3385102" y="336911"/>
                  <a:pt x="3410719" y="311276"/>
                </a:cubicBezTo>
                <a:cubicBezTo>
                  <a:pt x="3461952" y="311276"/>
                  <a:pt x="3513186" y="311276"/>
                  <a:pt x="3564420" y="311276"/>
                </a:cubicBezTo>
                <a:cubicBezTo>
                  <a:pt x="3575398" y="300290"/>
                  <a:pt x="3586377" y="292966"/>
                  <a:pt x="3597356" y="281980"/>
                </a:cubicBezTo>
                <a:cubicBezTo>
                  <a:pt x="3615654" y="311276"/>
                  <a:pt x="3630293" y="340573"/>
                  <a:pt x="3648590" y="373532"/>
                </a:cubicBezTo>
                <a:cubicBezTo>
                  <a:pt x="3674207" y="373532"/>
                  <a:pt x="3692505" y="373532"/>
                  <a:pt x="3718122" y="377194"/>
                </a:cubicBezTo>
                <a:cubicBezTo>
                  <a:pt x="3729101" y="384518"/>
                  <a:pt x="3743739" y="399166"/>
                  <a:pt x="3758377" y="410152"/>
                </a:cubicBezTo>
                <a:cubicBezTo>
                  <a:pt x="3787653" y="450435"/>
                  <a:pt x="3747398" y="498042"/>
                  <a:pt x="3783994" y="534663"/>
                </a:cubicBezTo>
                <a:cubicBezTo>
                  <a:pt x="3794973" y="512690"/>
                  <a:pt x="3802292" y="490718"/>
                  <a:pt x="3813270" y="472407"/>
                </a:cubicBezTo>
                <a:cubicBezTo>
                  <a:pt x="3824249" y="472407"/>
                  <a:pt x="3835228" y="472407"/>
                  <a:pt x="3846207" y="472407"/>
                </a:cubicBezTo>
                <a:cubicBezTo>
                  <a:pt x="3871824" y="450435"/>
                  <a:pt x="3857186" y="421138"/>
                  <a:pt x="3864504" y="388180"/>
                </a:cubicBezTo>
                <a:cubicBezTo>
                  <a:pt x="3875483" y="380856"/>
                  <a:pt x="3897441" y="366207"/>
                  <a:pt x="3919399" y="355221"/>
                </a:cubicBezTo>
                <a:cubicBezTo>
                  <a:pt x="3934037" y="369869"/>
                  <a:pt x="3955993" y="395504"/>
                  <a:pt x="3985271" y="358883"/>
                </a:cubicBezTo>
                <a:cubicBezTo>
                  <a:pt x="3974292" y="347897"/>
                  <a:pt x="3966973" y="336911"/>
                  <a:pt x="3955993" y="325925"/>
                </a:cubicBezTo>
                <a:cubicBezTo>
                  <a:pt x="3959654" y="322262"/>
                  <a:pt x="3963313" y="314938"/>
                  <a:pt x="3966973" y="314938"/>
                </a:cubicBezTo>
                <a:cubicBezTo>
                  <a:pt x="4010887" y="314938"/>
                  <a:pt x="4051142" y="314938"/>
                  <a:pt x="4095058" y="314938"/>
                </a:cubicBezTo>
                <a:cubicBezTo>
                  <a:pt x="4102376" y="322262"/>
                  <a:pt x="4117014" y="333249"/>
                  <a:pt x="4127993" y="344235"/>
                </a:cubicBezTo>
                <a:cubicBezTo>
                  <a:pt x="4135313" y="333249"/>
                  <a:pt x="4146292" y="322262"/>
                  <a:pt x="4157270" y="311276"/>
                </a:cubicBezTo>
                <a:cubicBezTo>
                  <a:pt x="4182887" y="340573"/>
                  <a:pt x="4179227" y="391842"/>
                  <a:pt x="4226802" y="402828"/>
                </a:cubicBezTo>
                <a:cubicBezTo>
                  <a:pt x="4234121" y="395504"/>
                  <a:pt x="4241440" y="388180"/>
                  <a:pt x="4248760" y="380856"/>
                </a:cubicBezTo>
                <a:cubicBezTo>
                  <a:pt x="4285355" y="402828"/>
                  <a:pt x="4285355" y="402828"/>
                  <a:pt x="4321951" y="399166"/>
                </a:cubicBezTo>
                <a:cubicBezTo>
                  <a:pt x="4321951" y="369869"/>
                  <a:pt x="4267057" y="344235"/>
                  <a:pt x="4325610" y="307614"/>
                </a:cubicBezTo>
                <a:cubicBezTo>
                  <a:pt x="4343908" y="325925"/>
                  <a:pt x="4365865" y="347897"/>
                  <a:pt x="4387823" y="373532"/>
                </a:cubicBezTo>
                <a:cubicBezTo>
                  <a:pt x="4413440" y="362545"/>
                  <a:pt x="4446376" y="347897"/>
                  <a:pt x="4479312" y="333249"/>
                </a:cubicBezTo>
                <a:cubicBezTo>
                  <a:pt x="4482971" y="322262"/>
                  <a:pt x="4486631" y="307614"/>
                  <a:pt x="4486631" y="292966"/>
                </a:cubicBezTo>
                <a:cubicBezTo>
                  <a:pt x="4512248" y="278318"/>
                  <a:pt x="4537865" y="267331"/>
                  <a:pt x="4563482" y="252683"/>
                </a:cubicBezTo>
                <a:cubicBezTo>
                  <a:pt x="4592758" y="270993"/>
                  <a:pt x="4625695" y="289304"/>
                  <a:pt x="4658631" y="307614"/>
                </a:cubicBezTo>
                <a:cubicBezTo>
                  <a:pt x="4665950" y="300290"/>
                  <a:pt x="4673269" y="292966"/>
                  <a:pt x="4687908" y="278318"/>
                </a:cubicBezTo>
                <a:cubicBezTo>
                  <a:pt x="4757439" y="278318"/>
                  <a:pt x="4834290" y="278318"/>
                  <a:pt x="4907481" y="278318"/>
                </a:cubicBezTo>
                <a:cubicBezTo>
                  <a:pt x="4918460" y="256345"/>
                  <a:pt x="4925780" y="238035"/>
                  <a:pt x="4929439" y="219724"/>
                </a:cubicBezTo>
                <a:cubicBezTo>
                  <a:pt x="4973354" y="238035"/>
                  <a:pt x="4940418" y="274656"/>
                  <a:pt x="4958715" y="303952"/>
                </a:cubicBezTo>
                <a:cubicBezTo>
                  <a:pt x="4966035" y="307614"/>
                  <a:pt x="4980673" y="311276"/>
                  <a:pt x="4998971" y="314938"/>
                </a:cubicBezTo>
                <a:cubicBezTo>
                  <a:pt x="5006290" y="296628"/>
                  <a:pt x="5009949" y="274656"/>
                  <a:pt x="5020928" y="260007"/>
                </a:cubicBezTo>
                <a:cubicBezTo>
                  <a:pt x="5024588" y="252683"/>
                  <a:pt x="5035566" y="252683"/>
                  <a:pt x="5046545" y="249021"/>
                </a:cubicBezTo>
                <a:cubicBezTo>
                  <a:pt x="5046545" y="263669"/>
                  <a:pt x="5046545" y="278318"/>
                  <a:pt x="5046545" y="296628"/>
                </a:cubicBezTo>
                <a:cubicBezTo>
                  <a:pt x="5046545" y="300290"/>
                  <a:pt x="5053865" y="307614"/>
                  <a:pt x="5053865" y="303952"/>
                </a:cubicBezTo>
                <a:cubicBezTo>
                  <a:pt x="5064843" y="303952"/>
                  <a:pt x="5075821" y="300290"/>
                  <a:pt x="5075821" y="296628"/>
                </a:cubicBezTo>
                <a:cubicBezTo>
                  <a:pt x="5079482" y="278318"/>
                  <a:pt x="5075821" y="263669"/>
                  <a:pt x="5075821" y="249021"/>
                </a:cubicBezTo>
                <a:cubicBezTo>
                  <a:pt x="5086801" y="252683"/>
                  <a:pt x="5097779" y="252683"/>
                  <a:pt x="5101439" y="260007"/>
                </a:cubicBezTo>
                <a:cubicBezTo>
                  <a:pt x="5108758" y="267331"/>
                  <a:pt x="5105098" y="278318"/>
                  <a:pt x="5108758" y="289304"/>
                </a:cubicBezTo>
                <a:cubicBezTo>
                  <a:pt x="5112418" y="296628"/>
                  <a:pt x="5119737" y="303952"/>
                  <a:pt x="5127056" y="311276"/>
                </a:cubicBezTo>
                <a:cubicBezTo>
                  <a:pt x="5134375" y="292966"/>
                  <a:pt x="5141694" y="274656"/>
                  <a:pt x="5149013" y="256345"/>
                </a:cubicBezTo>
                <a:cubicBezTo>
                  <a:pt x="5207566" y="212400"/>
                  <a:pt x="5244162" y="303952"/>
                  <a:pt x="5328332" y="260007"/>
                </a:cubicBezTo>
                <a:cubicBezTo>
                  <a:pt x="5313693" y="270993"/>
                  <a:pt x="5328332" y="263669"/>
                  <a:pt x="5339310" y="252683"/>
                </a:cubicBezTo>
                <a:cubicBezTo>
                  <a:pt x="5350290" y="260007"/>
                  <a:pt x="5361268" y="267331"/>
                  <a:pt x="5372247" y="278318"/>
                </a:cubicBezTo>
                <a:cubicBezTo>
                  <a:pt x="5394204" y="260007"/>
                  <a:pt x="5416162" y="238035"/>
                  <a:pt x="5438119" y="216062"/>
                </a:cubicBezTo>
                <a:cubicBezTo>
                  <a:pt x="5452758" y="241697"/>
                  <a:pt x="5478375" y="245359"/>
                  <a:pt x="5500331" y="252683"/>
                </a:cubicBezTo>
                <a:cubicBezTo>
                  <a:pt x="5522289" y="263669"/>
                  <a:pt x="5536927" y="289304"/>
                  <a:pt x="5555225" y="307614"/>
                </a:cubicBezTo>
                <a:cubicBezTo>
                  <a:pt x="5595481" y="267331"/>
                  <a:pt x="5632076" y="223387"/>
                  <a:pt x="5668672" y="183104"/>
                </a:cubicBezTo>
                <a:cubicBezTo>
                  <a:pt x="5719906" y="208738"/>
                  <a:pt x="5738203" y="252683"/>
                  <a:pt x="5782119" y="278318"/>
                </a:cubicBezTo>
                <a:cubicBezTo>
                  <a:pt x="5796757" y="278318"/>
                  <a:pt x="5818714" y="278318"/>
                  <a:pt x="5844331" y="278318"/>
                </a:cubicBezTo>
                <a:cubicBezTo>
                  <a:pt x="5847991" y="267331"/>
                  <a:pt x="5851650" y="256345"/>
                  <a:pt x="5855310" y="241697"/>
                </a:cubicBezTo>
                <a:cubicBezTo>
                  <a:pt x="5858970" y="227049"/>
                  <a:pt x="5866288" y="212400"/>
                  <a:pt x="5884587" y="212400"/>
                </a:cubicBezTo>
                <a:cubicBezTo>
                  <a:pt x="5891905" y="230711"/>
                  <a:pt x="5888246" y="256345"/>
                  <a:pt x="5913863" y="234373"/>
                </a:cubicBezTo>
                <a:cubicBezTo>
                  <a:pt x="5906543" y="227049"/>
                  <a:pt x="5899225" y="219724"/>
                  <a:pt x="5884587" y="212400"/>
                </a:cubicBezTo>
                <a:cubicBezTo>
                  <a:pt x="5884587" y="186766"/>
                  <a:pt x="5906543" y="186766"/>
                  <a:pt x="5935821" y="183104"/>
                </a:cubicBezTo>
                <a:cubicBezTo>
                  <a:pt x="5950459" y="205076"/>
                  <a:pt x="5968757" y="230711"/>
                  <a:pt x="5987054" y="252683"/>
                </a:cubicBezTo>
                <a:cubicBezTo>
                  <a:pt x="6016331" y="227049"/>
                  <a:pt x="6038288" y="205076"/>
                  <a:pt x="6063905" y="183104"/>
                </a:cubicBezTo>
                <a:cubicBezTo>
                  <a:pt x="6071225" y="205076"/>
                  <a:pt x="6074884" y="223387"/>
                  <a:pt x="6082203" y="241697"/>
                </a:cubicBezTo>
                <a:cubicBezTo>
                  <a:pt x="6111480" y="260007"/>
                  <a:pt x="6129777" y="241697"/>
                  <a:pt x="6155394" y="212400"/>
                </a:cubicBezTo>
                <a:cubicBezTo>
                  <a:pt x="6162714" y="230711"/>
                  <a:pt x="6173692" y="249021"/>
                  <a:pt x="6181012" y="267331"/>
                </a:cubicBezTo>
                <a:cubicBezTo>
                  <a:pt x="6213948" y="292966"/>
                  <a:pt x="6177352" y="340573"/>
                  <a:pt x="6213948" y="373532"/>
                </a:cubicBezTo>
                <a:cubicBezTo>
                  <a:pt x="6257863" y="340573"/>
                  <a:pt x="6199309" y="281980"/>
                  <a:pt x="6246884" y="249021"/>
                </a:cubicBezTo>
                <a:cubicBezTo>
                  <a:pt x="6272501" y="260007"/>
                  <a:pt x="6246884" y="318601"/>
                  <a:pt x="6294458" y="311276"/>
                </a:cubicBezTo>
                <a:cubicBezTo>
                  <a:pt x="6327394" y="300290"/>
                  <a:pt x="6342032" y="270993"/>
                  <a:pt x="6371309" y="249021"/>
                </a:cubicBezTo>
                <a:cubicBezTo>
                  <a:pt x="6374969" y="260007"/>
                  <a:pt x="6382287" y="270993"/>
                  <a:pt x="6385947" y="281980"/>
                </a:cubicBezTo>
                <a:cubicBezTo>
                  <a:pt x="6389607" y="303952"/>
                  <a:pt x="6378628" y="325925"/>
                  <a:pt x="6400586" y="340573"/>
                </a:cubicBezTo>
                <a:cubicBezTo>
                  <a:pt x="6415224" y="329587"/>
                  <a:pt x="6429862" y="314938"/>
                  <a:pt x="6444500" y="300290"/>
                </a:cubicBezTo>
                <a:cubicBezTo>
                  <a:pt x="6437181" y="289304"/>
                  <a:pt x="6429862" y="278318"/>
                  <a:pt x="6415224" y="263669"/>
                </a:cubicBezTo>
                <a:cubicBezTo>
                  <a:pt x="6429862" y="256345"/>
                  <a:pt x="6440841" y="249021"/>
                  <a:pt x="6451820" y="249021"/>
                </a:cubicBezTo>
                <a:cubicBezTo>
                  <a:pt x="6470118" y="245359"/>
                  <a:pt x="6492075" y="252683"/>
                  <a:pt x="6510373" y="234373"/>
                </a:cubicBezTo>
                <a:cubicBezTo>
                  <a:pt x="6517692" y="223387"/>
                  <a:pt x="6532330" y="219724"/>
                  <a:pt x="6543308" y="212400"/>
                </a:cubicBezTo>
                <a:cubicBezTo>
                  <a:pt x="6565266" y="227049"/>
                  <a:pt x="6579904" y="238035"/>
                  <a:pt x="6601862" y="252683"/>
                </a:cubicBezTo>
                <a:cubicBezTo>
                  <a:pt x="6616500" y="241697"/>
                  <a:pt x="6634798" y="230711"/>
                  <a:pt x="6653096" y="219724"/>
                </a:cubicBezTo>
                <a:cubicBezTo>
                  <a:pt x="6660415" y="227049"/>
                  <a:pt x="6671393" y="238035"/>
                  <a:pt x="6686032" y="252683"/>
                </a:cubicBezTo>
                <a:cubicBezTo>
                  <a:pt x="6704330" y="230711"/>
                  <a:pt x="6722627" y="205076"/>
                  <a:pt x="6744585" y="179442"/>
                </a:cubicBezTo>
                <a:cubicBezTo>
                  <a:pt x="6762882" y="186766"/>
                  <a:pt x="6777521" y="190428"/>
                  <a:pt x="6792159" y="197752"/>
                </a:cubicBezTo>
                <a:cubicBezTo>
                  <a:pt x="6777521" y="212400"/>
                  <a:pt x="6770202" y="223387"/>
                  <a:pt x="6755564" y="234373"/>
                </a:cubicBezTo>
                <a:cubicBezTo>
                  <a:pt x="6773862" y="241697"/>
                  <a:pt x="6784840" y="245359"/>
                  <a:pt x="6799479" y="249021"/>
                </a:cubicBezTo>
                <a:cubicBezTo>
                  <a:pt x="6821436" y="216062"/>
                  <a:pt x="6843393" y="183104"/>
                  <a:pt x="6861691" y="153807"/>
                </a:cubicBezTo>
                <a:cubicBezTo>
                  <a:pt x="6879989" y="153807"/>
                  <a:pt x="6887308" y="153807"/>
                  <a:pt x="6901947" y="153807"/>
                </a:cubicBezTo>
                <a:cubicBezTo>
                  <a:pt x="6909265" y="168455"/>
                  <a:pt x="6916585" y="190428"/>
                  <a:pt x="6923903" y="212400"/>
                </a:cubicBezTo>
                <a:cubicBezTo>
                  <a:pt x="6956840" y="212400"/>
                  <a:pt x="6989776" y="212400"/>
                  <a:pt x="7019053" y="212400"/>
                </a:cubicBezTo>
                <a:cubicBezTo>
                  <a:pt x="7037351" y="227049"/>
                  <a:pt x="7044670" y="238035"/>
                  <a:pt x="7062968" y="249021"/>
                </a:cubicBezTo>
                <a:cubicBezTo>
                  <a:pt x="7066627" y="230711"/>
                  <a:pt x="7070287" y="216062"/>
                  <a:pt x="7073946" y="201414"/>
                </a:cubicBezTo>
                <a:cubicBezTo>
                  <a:pt x="7095903" y="186766"/>
                  <a:pt x="7121520" y="175780"/>
                  <a:pt x="7147137" y="161131"/>
                </a:cubicBezTo>
                <a:cubicBezTo>
                  <a:pt x="7176414" y="183104"/>
                  <a:pt x="7227648" y="190428"/>
                  <a:pt x="7253265" y="230711"/>
                </a:cubicBezTo>
                <a:cubicBezTo>
                  <a:pt x="7245946" y="241697"/>
                  <a:pt x="7238626" y="252683"/>
                  <a:pt x="7231308" y="263669"/>
                </a:cubicBezTo>
                <a:cubicBezTo>
                  <a:pt x="7238626" y="285642"/>
                  <a:pt x="7256925" y="281980"/>
                  <a:pt x="7282541" y="274656"/>
                </a:cubicBezTo>
                <a:cubicBezTo>
                  <a:pt x="7282541" y="263669"/>
                  <a:pt x="7286201" y="249021"/>
                  <a:pt x="7293519" y="230711"/>
                </a:cubicBezTo>
                <a:cubicBezTo>
                  <a:pt x="7311817" y="216062"/>
                  <a:pt x="7322796" y="179442"/>
                  <a:pt x="7363051" y="183104"/>
                </a:cubicBezTo>
                <a:cubicBezTo>
                  <a:pt x="7381349" y="216062"/>
                  <a:pt x="7403307" y="249021"/>
                  <a:pt x="7425264" y="281980"/>
                </a:cubicBezTo>
                <a:cubicBezTo>
                  <a:pt x="7439903" y="270993"/>
                  <a:pt x="7450881" y="260007"/>
                  <a:pt x="7461860" y="249021"/>
                </a:cubicBezTo>
                <a:cubicBezTo>
                  <a:pt x="7472839" y="260007"/>
                  <a:pt x="7483817" y="270993"/>
                  <a:pt x="7498455" y="281980"/>
                </a:cubicBezTo>
                <a:cubicBezTo>
                  <a:pt x="7509434" y="278318"/>
                  <a:pt x="7524073" y="274656"/>
                  <a:pt x="7538711" y="267331"/>
                </a:cubicBezTo>
                <a:cubicBezTo>
                  <a:pt x="7527732" y="252683"/>
                  <a:pt x="7516753" y="241697"/>
                  <a:pt x="7509434" y="230711"/>
                </a:cubicBezTo>
                <a:cubicBezTo>
                  <a:pt x="7535051" y="205076"/>
                  <a:pt x="7564327" y="216062"/>
                  <a:pt x="7593604" y="223387"/>
                </a:cubicBezTo>
                <a:cubicBezTo>
                  <a:pt x="7597264" y="252683"/>
                  <a:pt x="7604583" y="281980"/>
                  <a:pt x="7608243" y="314938"/>
                </a:cubicBezTo>
                <a:cubicBezTo>
                  <a:pt x="7648498" y="289304"/>
                  <a:pt x="7619221" y="252683"/>
                  <a:pt x="7641179" y="223387"/>
                </a:cubicBezTo>
                <a:cubicBezTo>
                  <a:pt x="7648498" y="219724"/>
                  <a:pt x="7663136" y="216062"/>
                  <a:pt x="7681434" y="212400"/>
                </a:cubicBezTo>
                <a:cubicBezTo>
                  <a:pt x="7685093" y="208738"/>
                  <a:pt x="7692413" y="201414"/>
                  <a:pt x="7703391" y="194090"/>
                </a:cubicBezTo>
                <a:cubicBezTo>
                  <a:pt x="7707051" y="194090"/>
                  <a:pt x="7714370" y="194090"/>
                  <a:pt x="7721689" y="197752"/>
                </a:cubicBezTo>
                <a:cubicBezTo>
                  <a:pt x="7758285" y="216062"/>
                  <a:pt x="7791221" y="230711"/>
                  <a:pt x="7827817" y="249021"/>
                </a:cubicBezTo>
                <a:cubicBezTo>
                  <a:pt x="7835135" y="252683"/>
                  <a:pt x="7846115" y="249021"/>
                  <a:pt x="7860753" y="249021"/>
                </a:cubicBezTo>
                <a:cubicBezTo>
                  <a:pt x="7886369" y="270993"/>
                  <a:pt x="7911987" y="292966"/>
                  <a:pt x="7930285" y="311276"/>
                </a:cubicBezTo>
                <a:cubicBezTo>
                  <a:pt x="7966880" y="314938"/>
                  <a:pt x="7974199" y="292966"/>
                  <a:pt x="7988837" y="278318"/>
                </a:cubicBezTo>
                <a:cubicBezTo>
                  <a:pt x="7999817" y="270993"/>
                  <a:pt x="8010795" y="260007"/>
                  <a:pt x="8021773" y="249021"/>
                </a:cubicBezTo>
                <a:cubicBezTo>
                  <a:pt x="8032753" y="260007"/>
                  <a:pt x="8043731" y="270993"/>
                  <a:pt x="8054710" y="278318"/>
                </a:cubicBezTo>
                <a:cubicBezTo>
                  <a:pt x="8062029" y="267331"/>
                  <a:pt x="8069348" y="260007"/>
                  <a:pt x="8087646" y="245359"/>
                </a:cubicBezTo>
                <a:cubicBezTo>
                  <a:pt x="8098625" y="270993"/>
                  <a:pt x="8113263" y="300290"/>
                  <a:pt x="8127901" y="336911"/>
                </a:cubicBezTo>
                <a:cubicBezTo>
                  <a:pt x="8168157" y="274656"/>
                  <a:pt x="8215731" y="281980"/>
                  <a:pt x="8245007" y="249021"/>
                </a:cubicBezTo>
                <a:cubicBezTo>
                  <a:pt x="8252327" y="238035"/>
                  <a:pt x="8281603" y="249021"/>
                  <a:pt x="8299901" y="249021"/>
                </a:cubicBezTo>
                <a:cubicBezTo>
                  <a:pt x="8314539" y="260007"/>
                  <a:pt x="8325518" y="270993"/>
                  <a:pt x="8340156" y="281980"/>
                </a:cubicBezTo>
                <a:cubicBezTo>
                  <a:pt x="8369433" y="267331"/>
                  <a:pt x="8402369" y="256345"/>
                  <a:pt x="8435305" y="238035"/>
                </a:cubicBezTo>
                <a:cubicBezTo>
                  <a:pt x="8438965" y="227049"/>
                  <a:pt x="8442624" y="212400"/>
                  <a:pt x="8446284" y="197752"/>
                </a:cubicBezTo>
                <a:cubicBezTo>
                  <a:pt x="8475560" y="161131"/>
                  <a:pt x="8497518" y="194090"/>
                  <a:pt x="8519475" y="216062"/>
                </a:cubicBezTo>
                <a:cubicBezTo>
                  <a:pt x="8537773" y="216062"/>
                  <a:pt x="8559730" y="216062"/>
                  <a:pt x="8581688" y="216062"/>
                </a:cubicBezTo>
                <a:cubicBezTo>
                  <a:pt x="8592666" y="205076"/>
                  <a:pt x="8603645" y="194090"/>
                  <a:pt x="8614624" y="183104"/>
                </a:cubicBezTo>
                <a:cubicBezTo>
                  <a:pt x="8621943" y="201414"/>
                  <a:pt x="8629262" y="219724"/>
                  <a:pt x="8636581" y="241697"/>
                </a:cubicBezTo>
                <a:cubicBezTo>
                  <a:pt x="8647560" y="245359"/>
                  <a:pt x="8662198" y="245359"/>
                  <a:pt x="8680496" y="249021"/>
                </a:cubicBezTo>
                <a:cubicBezTo>
                  <a:pt x="8687815" y="227049"/>
                  <a:pt x="8691475" y="208738"/>
                  <a:pt x="8698794" y="190428"/>
                </a:cubicBezTo>
                <a:cubicBezTo>
                  <a:pt x="8739049" y="161131"/>
                  <a:pt x="8757347" y="230711"/>
                  <a:pt x="8793943" y="216062"/>
                </a:cubicBezTo>
                <a:cubicBezTo>
                  <a:pt x="8834198" y="201414"/>
                  <a:pt x="8848836" y="256345"/>
                  <a:pt x="8892751" y="249021"/>
                </a:cubicBezTo>
                <a:cubicBezTo>
                  <a:pt x="8900070" y="238035"/>
                  <a:pt x="8911049" y="227049"/>
                  <a:pt x="8925687" y="216062"/>
                </a:cubicBezTo>
                <a:cubicBezTo>
                  <a:pt x="8943985" y="216062"/>
                  <a:pt x="8965942" y="216062"/>
                  <a:pt x="8984240" y="216062"/>
                </a:cubicBezTo>
                <a:cubicBezTo>
                  <a:pt x="8995219" y="227049"/>
                  <a:pt x="9006198" y="238035"/>
                  <a:pt x="9020836" y="249021"/>
                </a:cubicBezTo>
                <a:cubicBezTo>
                  <a:pt x="9039134" y="249021"/>
                  <a:pt x="9061091" y="249021"/>
                  <a:pt x="9079389" y="249021"/>
                </a:cubicBezTo>
                <a:cubicBezTo>
                  <a:pt x="9090368" y="260007"/>
                  <a:pt x="9101346" y="267331"/>
                  <a:pt x="9119644" y="285642"/>
                </a:cubicBezTo>
                <a:cubicBezTo>
                  <a:pt x="9123304" y="249021"/>
                  <a:pt x="9126963" y="219724"/>
                  <a:pt x="9134282" y="183104"/>
                </a:cubicBezTo>
                <a:cubicBezTo>
                  <a:pt x="9156240" y="186766"/>
                  <a:pt x="9170878" y="190428"/>
                  <a:pt x="9189176" y="194090"/>
                </a:cubicBezTo>
                <a:cubicBezTo>
                  <a:pt x="9189176" y="212400"/>
                  <a:pt x="9189176" y="223387"/>
                  <a:pt x="9189176" y="238035"/>
                </a:cubicBezTo>
                <a:cubicBezTo>
                  <a:pt x="9214793" y="245359"/>
                  <a:pt x="9244070" y="249021"/>
                  <a:pt x="9273346" y="256345"/>
                </a:cubicBezTo>
                <a:cubicBezTo>
                  <a:pt x="9280665" y="263669"/>
                  <a:pt x="9287984" y="270993"/>
                  <a:pt x="9295304" y="278318"/>
                </a:cubicBezTo>
                <a:cubicBezTo>
                  <a:pt x="9324580" y="278318"/>
                  <a:pt x="9357516" y="278318"/>
                  <a:pt x="9390452" y="278318"/>
                </a:cubicBezTo>
                <a:cubicBezTo>
                  <a:pt x="9401431" y="260007"/>
                  <a:pt x="9412410" y="238035"/>
                  <a:pt x="9419729" y="216062"/>
                </a:cubicBezTo>
                <a:cubicBezTo>
                  <a:pt x="9430708" y="216062"/>
                  <a:pt x="9441686" y="216062"/>
                  <a:pt x="9456325" y="216062"/>
                </a:cubicBezTo>
                <a:cubicBezTo>
                  <a:pt x="9463644" y="238035"/>
                  <a:pt x="9474622" y="260007"/>
                  <a:pt x="9489261" y="289304"/>
                </a:cubicBezTo>
                <a:cubicBezTo>
                  <a:pt x="9511218" y="260007"/>
                  <a:pt x="9529516" y="234373"/>
                  <a:pt x="9544154" y="216062"/>
                </a:cubicBezTo>
                <a:cubicBezTo>
                  <a:pt x="9573431" y="216062"/>
                  <a:pt x="9595388" y="216062"/>
                  <a:pt x="9599048" y="245359"/>
                </a:cubicBezTo>
                <a:cubicBezTo>
                  <a:pt x="9577090" y="252683"/>
                  <a:pt x="9555133" y="249021"/>
                  <a:pt x="9577090" y="278318"/>
                </a:cubicBezTo>
                <a:cubicBezTo>
                  <a:pt x="9584409" y="267331"/>
                  <a:pt x="9591729" y="260007"/>
                  <a:pt x="9599048" y="245359"/>
                </a:cubicBezTo>
                <a:cubicBezTo>
                  <a:pt x="9610026" y="249021"/>
                  <a:pt x="9624665" y="249021"/>
                  <a:pt x="9642962" y="249021"/>
                </a:cubicBezTo>
                <a:cubicBezTo>
                  <a:pt x="9650282" y="230711"/>
                  <a:pt x="9657601" y="212400"/>
                  <a:pt x="9664920" y="186766"/>
                </a:cubicBezTo>
                <a:cubicBezTo>
                  <a:pt x="9679558" y="197752"/>
                  <a:pt x="9694196" y="212400"/>
                  <a:pt x="9708835" y="216062"/>
                </a:cubicBezTo>
                <a:cubicBezTo>
                  <a:pt x="9727133" y="219724"/>
                  <a:pt x="9749090" y="216062"/>
                  <a:pt x="9771047" y="216062"/>
                </a:cubicBezTo>
                <a:cubicBezTo>
                  <a:pt x="9778367" y="238035"/>
                  <a:pt x="9785686" y="256345"/>
                  <a:pt x="9789345" y="274656"/>
                </a:cubicBezTo>
                <a:cubicBezTo>
                  <a:pt x="9822281" y="267331"/>
                  <a:pt x="9833260" y="238035"/>
                  <a:pt x="9858877" y="216062"/>
                </a:cubicBezTo>
                <a:cubicBezTo>
                  <a:pt x="9869856" y="227049"/>
                  <a:pt x="9880834" y="238035"/>
                  <a:pt x="9891813" y="249021"/>
                </a:cubicBezTo>
                <a:cubicBezTo>
                  <a:pt x="9910111" y="249021"/>
                  <a:pt x="9932068" y="249021"/>
                  <a:pt x="9950366" y="249021"/>
                </a:cubicBezTo>
                <a:cubicBezTo>
                  <a:pt x="9961345" y="260007"/>
                  <a:pt x="9975983" y="270993"/>
                  <a:pt x="9983302" y="278318"/>
                </a:cubicBezTo>
                <a:cubicBezTo>
                  <a:pt x="10016238" y="292966"/>
                  <a:pt x="10027217" y="256345"/>
                  <a:pt x="10045515" y="249021"/>
                </a:cubicBezTo>
                <a:cubicBezTo>
                  <a:pt x="10082111" y="249021"/>
                  <a:pt x="10111387" y="249021"/>
                  <a:pt x="10140664" y="249021"/>
                </a:cubicBezTo>
                <a:cubicBezTo>
                  <a:pt x="10151642" y="260007"/>
                  <a:pt x="10162621" y="270993"/>
                  <a:pt x="10173600" y="278318"/>
                </a:cubicBezTo>
                <a:cubicBezTo>
                  <a:pt x="10195557" y="252683"/>
                  <a:pt x="10180919" y="223387"/>
                  <a:pt x="10188238" y="190428"/>
                </a:cubicBezTo>
                <a:cubicBezTo>
                  <a:pt x="10202876" y="190428"/>
                  <a:pt x="10221174" y="186766"/>
                  <a:pt x="10235813" y="183104"/>
                </a:cubicBezTo>
                <a:cubicBezTo>
                  <a:pt x="10246791" y="208738"/>
                  <a:pt x="10254110" y="227049"/>
                  <a:pt x="10261430" y="252683"/>
                </a:cubicBezTo>
                <a:cubicBezTo>
                  <a:pt x="10272408" y="227049"/>
                  <a:pt x="10283387" y="205076"/>
                  <a:pt x="10294366" y="186766"/>
                </a:cubicBezTo>
                <a:cubicBezTo>
                  <a:pt x="10316323" y="186766"/>
                  <a:pt x="10334621" y="186766"/>
                  <a:pt x="10356578" y="186766"/>
                </a:cubicBezTo>
                <a:cubicBezTo>
                  <a:pt x="10367557" y="175780"/>
                  <a:pt x="10378536" y="164793"/>
                  <a:pt x="10389514" y="153807"/>
                </a:cubicBezTo>
                <a:cubicBezTo>
                  <a:pt x="10400493" y="153807"/>
                  <a:pt x="10411472" y="153807"/>
                  <a:pt x="10426110" y="153807"/>
                </a:cubicBezTo>
                <a:cubicBezTo>
                  <a:pt x="10429770" y="168455"/>
                  <a:pt x="10433429" y="179442"/>
                  <a:pt x="10440748" y="201414"/>
                </a:cubicBezTo>
                <a:cubicBezTo>
                  <a:pt x="10459046" y="212400"/>
                  <a:pt x="10484663" y="223387"/>
                  <a:pt x="10521259" y="245359"/>
                </a:cubicBezTo>
                <a:cubicBezTo>
                  <a:pt x="10550535" y="245359"/>
                  <a:pt x="10598110" y="245359"/>
                  <a:pt x="10645684" y="245359"/>
                </a:cubicBezTo>
                <a:cubicBezTo>
                  <a:pt x="10649344" y="230711"/>
                  <a:pt x="10653003" y="216062"/>
                  <a:pt x="10656663" y="197752"/>
                </a:cubicBezTo>
                <a:cubicBezTo>
                  <a:pt x="10685939" y="164793"/>
                  <a:pt x="10707897" y="190428"/>
                  <a:pt x="10729854" y="216062"/>
                </a:cubicBezTo>
                <a:cubicBezTo>
                  <a:pt x="10748152" y="216062"/>
                  <a:pt x="10781088" y="223387"/>
                  <a:pt x="10788407" y="216062"/>
                </a:cubicBezTo>
                <a:cubicBezTo>
                  <a:pt x="10814024" y="179442"/>
                  <a:pt x="10868918" y="197752"/>
                  <a:pt x="10883556" y="150145"/>
                </a:cubicBezTo>
                <a:cubicBezTo>
                  <a:pt x="10923811" y="186766"/>
                  <a:pt x="10887216" y="234373"/>
                  <a:pt x="10909173" y="270993"/>
                </a:cubicBezTo>
                <a:cubicBezTo>
                  <a:pt x="10912833" y="274656"/>
                  <a:pt x="10920152" y="278318"/>
                  <a:pt x="10920152" y="278318"/>
                </a:cubicBezTo>
                <a:cubicBezTo>
                  <a:pt x="10949428" y="249021"/>
                  <a:pt x="10978705" y="216062"/>
                  <a:pt x="11011641" y="186766"/>
                </a:cubicBezTo>
                <a:cubicBezTo>
                  <a:pt x="11022620" y="205076"/>
                  <a:pt x="11029939" y="227049"/>
                  <a:pt x="11040918" y="249021"/>
                </a:cubicBezTo>
                <a:cubicBezTo>
                  <a:pt x="11051896" y="238035"/>
                  <a:pt x="11062875" y="227049"/>
                  <a:pt x="11073854" y="216062"/>
                </a:cubicBezTo>
                <a:cubicBezTo>
                  <a:pt x="11084832" y="227049"/>
                  <a:pt x="11095811" y="238035"/>
                  <a:pt x="11106790" y="245359"/>
                </a:cubicBezTo>
                <a:cubicBezTo>
                  <a:pt x="11117769" y="234373"/>
                  <a:pt x="11128747" y="223387"/>
                  <a:pt x="11147045" y="212400"/>
                </a:cubicBezTo>
                <a:cubicBezTo>
                  <a:pt x="11161683" y="219724"/>
                  <a:pt x="11179981" y="230711"/>
                  <a:pt x="11205598" y="245359"/>
                </a:cubicBezTo>
                <a:cubicBezTo>
                  <a:pt x="11220236" y="227049"/>
                  <a:pt x="11234875" y="201414"/>
                  <a:pt x="11253173" y="168455"/>
                </a:cubicBezTo>
                <a:cubicBezTo>
                  <a:pt x="11271470" y="205076"/>
                  <a:pt x="11282449" y="227049"/>
                  <a:pt x="11293428" y="256345"/>
                </a:cubicBezTo>
                <a:cubicBezTo>
                  <a:pt x="11315385" y="241697"/>
                  <a:pt x="11337343" y="230711"/>
                  <a:pt x="11359300" y="219724"/>
                </a:cubicBezTo>
                <a:cubicBezTo>
                  <a:pt x="11373938" y="238035"/>
                  <a:pt x="11388577" y="260007"/>
                  <a:pt x="11421513" y="241697"/>
                </a:cubicBezTo>
                <a:cubicBezTo>
                  <a:pt x="11428832" y="227049"/>
                  <a:pt x="11436151" y="208738"/>
                  <a:pt x="11443470" y="190428"/>
                </a:cubicBezTo>
                <a:cubicBezTo>
                  <a:pt x="11476406" y="190428"/>
                  <a:pt x="11458108" y="219724"/>
                  <a:pt x="11480066" y="249021"/>
                </a:cubicBezTo>
                <a:cubicBezTo>
                  <a:pt x="11480066" y="249021"/>
                  <a:pt x="11494704" y="263669"/>
                  <a:pt x="11509342" y="278318"/>
                </a:cubicBezTo>
                <a:cubicBezTo>
                  <a:pt x="11520321" y="278318"/>
                  <a:pt x="11527640" y="278318"/>
                  <a:pt x="11542278" y="278318"/>
                </a:cubicBezTo>
                <a:cubicBezTo>
                  <a:pt x="11567895" y="252683"/>
                  <a:pt x="11560576" y="201414"/>
                  <a:pt x="11608151" y="190428"/>
                </a:cubicBezTo>
                <a:cubicBezTo>
                  <a:pt x="11611810" y="194090"/>
                  <a:pt x="11619129" y="201414"/>
                  <a:pt x="11626449" y="208738"/>
                </a:cubicBezTo>
                <a:cubicBezTo>
                  <a:pt x="11663044" y="219724"/>
                  <a:pt x="11695980" y="227049"/>
                  <a:pt x="11725257" y="190428"/>
                </a:cubicBezTo>
                <a:cubicBezTo>
                  <a:pt x="11728916" y="194090"/>
                  <a:pt x="11736236" y="197752"/>
                  <a:pt x="11743555" y="201414"/>
                </a:cubicBezTo>
                <a:cubicBezTo>
                  <a:pt x="11780150" y="216062"/>
                  <a:pt x="11765512" y="270993"/>
                  <a:pt x="11798448" y="285642"/>
                </a:cubicBezTo>
                <a:cubicBezTo>
                  <a:pt x="11853342" y="263669"/>
                  <a:pt x="11878959" y="212400"/>
                  <a:pt x="11919214" y="186766"/>
                </a:cubicBezTo>
                <a:cubicBezTo>
                  <a:pt x="11952150" y="175780"/>
                  <a:pt x="11963129" y="208738"/>
                  <a:pt x="11985086" y="216062"/>
                </a:cubicBezTo>
                <a:cubicBezTo>
                  <a:pt x="12018022" y="205076"/>
                  <a:pt x="12047299" y="190428"/>
                  <a:pt x="12080235" y="175780"/>
                </a:cubicBezTo>
                <a:cubicBezTo>
                  <a:pt x="12083895" y="157469"/>
                  <a:pt x="12091214" y="139159"/>
                  <a:pt x="12098533" y="124511"/>
                </a:cubicBezTo>
                <a:cubicBezTo>
                  <a:pt x="12109512" y="120849"/>
                  <a:pt x="12120490" y="120849"/>
                  <a:pt x="12127809" y="120849"/>
                </a:cubicBezTo>
                <a:cubicBezTo>
                  <a:pt x="12182703" y="142821"/>
                  <a:pt x="12171724" y="216062"/>
                  <a:pt x="12226618" y="241697"/>
                </a:cubicBezTo>
                <a:cubicBezTo>
                  <a:pt x="12233937" y="238035"/>
                  <a:pt x="12241256" y="230711"/>
                  <a:pt x="12255894" y="219724"/>
                </a:cubicBezTo>
                <a:cubicBezTo>
                  <a:pt x="12292490" y="219724"/>
                  <a:pt x="12332745" y="219724"/>
                  <a:pt x="12387639" y="219724"/>
                </a:cubicBezTo>
                <a:cubicBezTo>
                  <a:pt x="12398617" y="205076"/>
                  <a:pt x="12413256" y="183104"/>
                  <a:pt x="12431554" y="161131"/>
                </a:cubicBezTo>
                <a:cubicBezTo>
                  <a:pt x="12431554" y="142821"/>
                  <a:pt x="12431554" y="124511"/>
                  <a:pt x="12431554" y="102538"/>
                </a:cubicBezTo>
                <a:cubicBezTo>
                  <a:pt x="12446192" y="87890"/>
                  <a:pt x="12460830" y="73242"/>
                  <a:pt x="12475468" y="58593"/>
                </a:cubicBezTo>
                <a:cubicBezTo>
                  <a:pt x="12497426" y="73242"/>
                  <a:pt x="12490107" y="95214"/>
                  <a:pt x="12493766" y="113524"/>
                </a:cubicBezTo>
                <a:cubicBezTo>
                  <a:pt x="12493766" y="128173"/>
                  <a:pt x="12501085" y="139159"/>
                  <a:pt x="12508404" y="164793"/>
                </a:cubicBezTo>
                <a:cubicBezTo>
                  <a:pt x="12519383" y="135497"/>
                  <a:pt x="12523043" y="117186"/>
                  <a:pt x="12530362" y="91552"/>
                </a:cubicBezTo>
                <a:cubicBezTo>
                  <a:pt x="12559638" y="91552"/>
                  <a:pt x="12588915" y="91552"/>
                  <a:pt x="12629170" y="91552"/>
                </a:cubicBezTo>
                <a:cubicBezTo>
                  <a:pt x="12658447" y="109862"/>
                  <a:pt x="12695042" y="128173"/>
                  <a:pt x="12731638" y="150145"/>
                </a:cubicBezTo>
                <a:cubicBezTo>
                  <a:pt x="12738957" y="128173"/>
                  <a:pt x="12746276" y="109862"/>
                  <a:pt x="12749936" y="91552"/>
                </a:cubicBezTo>
                <a:cubicBezTo>
                  <a:pt x="12790191" y="109862"/>
                  <a:pt x="12801170" y="150145"/>
                  <a:pt x="12819468" y="183104"/>
                </a:cubicBezTo>
                <a:cubicBezTo>
                  <a:pt x="12837766" y="161131"/>
                  <a:pt x="12870702" y="146483"/>
                  <a:pt x="12863383" y="106200"/>
                </a:cubicBezTo>
                <a:cubicBezTo>
                  <a:pt x="12889000" y="80566"/>
                  <a:pt x="12918276" y="54931"/>
                  <a:pt x="12947553" y="29297"/>
                </a:cubicBezTo>
                <a:cubicBezTo>
                  <a:pt x="12954872" y="43945"/>
                  <a:pt x="12958531" y="62255"/>
                  <a:pt x="12965851" y="84228"/>
                </a:cubicBezTo>
                <a:cubicBezTo>
                  <a:pt x="12976829" y="84228"/>
                  <a:pt x="12991467" y="87890"/>
                  <a:pt x="13009765" y="91552"/>
                </a:cubicBezTo>
                <a:cubicBezTo>
                  <a:pt x="13013425" y="73242"/>
                  <a:pt x="13020744" y="54931"/>
                  <a:pt x="13028063" y="29297"/>
                </a:cubicBezTo>
                <a:cubicBezTo>
                  <a:pt x="13071978" y="21973"/>
                  <a:pt x="13115893" y="29297"/>
                  <a:pt x="13163467" y="25635"/>
                </a:cubicBezTo>
                <a:cubicBezTo>
                  <a:pt x="13170786" y="18311"/>
                  <a:pt x="13178105" y="10986"/>
                  <a:pt x="13189084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86483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1"/>
          </p:nvPr>
        </p:nvSpPr>
        <p:spPr>
          <a:xfrm>
            <a:off x="10539663" y="1645130"/>
            <a:ext cx="5578241" cy="8641871"/>
          </a:xfrm>
          <a:custGeom>
            <a:avLst/>
            <a:gdLst>
              <a:gd name="connsiteX0" fmla="*/ 0 w 5578241"/>
              <a:gd name="connsiteY0" fmla="*/ 0 h 8641871"/>
              <a:gd name="connsiteX1" fmla="*/ 5578241 w 5578241"/>
              <a:gd name="connsiteY1" fmla="*/ 0 h 8641871"/>
              <a:gd name="connsiteX2" fmla="*/ 5578241 w 5578241"/>
              <a:gd name="connsiteY2" fmla="*/ 8641871 h 8641871"/>
              <a:gd name="connsiteX3" fmla="*/ 0 w 5578241"/>
              <a:gd name="connsiteY3" fmla="*/ 8641871 h 8641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8241" h="8641871">
                <a:moveTo>
                  <a:pt x="0" y="0"/>
                </a:moveTo>
                <a:lnTo>
                  <a:pt x="5578241" y="0"/>
                </a:lnTo>
                <a:lnTo>
                  <a:pt x="5578241" y="8641871"/>
                </a:lnTo>
                <a:lnTo>
                  <a:pt x="0" y="8641871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43844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901728" y="4913963"/>
            <a:ext cx="14637682" cy="3953992"/>
          </a:xfrm>
          <a:custGeom>
            <a:avLst/>
            <a:gdLst>
              <a:gd name="connsiteX0" fmla="*/ 3328330 w 14637682"/>
              <a:gd name="connsiteY0" fmla="*/ 810780 h 3953992"/>
              <a:gd name="connsiteX1" fmla="*/ 3326594 w 14637682"/>
              <a:gd name="connsiteY1" fmla="*/ 812086 h 3953992"/>
              <a:gd name="connsiteX2" fmla="*/ 3325719 w 14637682"/>
              <a:gd name="connsiteY2" fmla="*/ 811173 h 3953992"/>
              <a:gd name="connsiteX3" fmla="*/ 3324394 w 14637682"/>
              <a:gd name="connsiteY3" fmla="*/ 809788 h 3953992"/>
              <a:gd name="connsiteX4" fmla="*/ 3325719 w 14637682"/>
              <a:gd name="connsiteY4" fmla="*/ 811173 h 3953992"/>
              <a:gd name="connsiteX5" fmla="*/ 3319648 w 14637682"/>
              <a:gd name="connsiteY5" fmla="*/ 812086 h 3953992"/>
              <a:gd name="connsiteX6" fmla="*/ 983568 w 14637682"/>
              <a:gd name="connsiteY6" fmla="*/ 50 h 3953992"/>
              <a:gd name="connsiteX7" fmla="*/ 1020896 w 14637682"/>
              <a:gd name="connsiteY7" fmla="*/ 485 h 3953992"/>
              <a:gd name="connsiteX8" fmla="*/ 1055621 w 14637682"/>
              <a:gd name="connsiteY8" fmla="*/ 28351 h 3953992"/>
              <a:gd name="connsiteX9" fmla="*/ 1111180 w 14637682"/>
              <a:gd name="connsiteY9" fmla="*/ 28351 h 3953992"/>
              <a:gd name="connsiteX10" fmla="*/ 1142432 w 14637682"/>
              <a:gd name="connsiteY10" fmla="*/ 59701 h 3953992"/>
              <a:gd name="connsiteX11" fmla="*/ 1437589 w 14637682"/>
              <a:gd name="connsiteY11" fmla="*/ 59701 h 3953992"/>
              <a:gd name="connsiteX12" fmla="*/ 1468840 w 14637682"/>
              <a:gd name="connsiteY12" fmla="*/ 91050 h 3953992"/>
              <a:gd name="connsiteX13" fmla="*/ 1493147 w 14637682"/>
              <a:gd name="connsiteY13" fmla="*/ 63184 h 3953992"/>
              <a:gd name="connsiteX14" fmla="*/ 1677187 w 14637682"/>
              <a:gd name="connsiteY14" fmla="*/ 63184 h 3953992"/>
              <a:gd name="connsiteX15" fmla="*/ 1701494 w 14637682"/>
              <a:gd name="connsiteY15" fmla="*/ 87567 h 3953992"/>
              <a:gd name="connsiteX16" fmla="*/ 1795249 w 14637682"/>
              <a:gd name="connsiteY16" fmla="*/ 87567 h 3953992"/>
              <a:gd name="connsiteX17" fmla="*/ 1819556 w 14637682"/>
              <a:gd name="connsiteY17" fmla="*/ 63184 h 3953992"/>
              <a:gd name="connsiteX18" fmla="*/ 1850808 w 14637682"/>
              <a:gd name="connsiteY18" fmla="*/ 91050 h 3953992"/>
              <a:gd name="connsiteX19" fmla="*/ 1882060 w 14637682"/>
              <a:gd name="connsiteY19" fmla="*/ 59701 h 3953992"/>
              <a:gd name="connsiteX20" fmla="*/ 2145965 w 14637682"/>
              <a:gd name="connsiteY20" fmla="*/ 59701 h 3953992"/>
              <a:gd name="connsiteX21" fmla="*/ 2184162 w 14637682"/>
              <a:gd name="connsiteY21" fmla="*/ 94533 h 3953992"/>
              <a:gd name="connsiteX22" fmla="*/ 2239721 w 14637682"/>
              <a:gd name="connsiteY22" fmla="*/ 70150 h 3953992"/>
              <a:gd name="connsiteX23" fmla="*/ 2267501 w 14637682"/>
              <a:gd name="connsiteY23" fmla="*/ 87567 h 3953992"/>
              <a:gd name="connsiteX24" fmla="*/ 2382091 w 14637682"/>
              <a:gd name="connsiteY24" fmla="*/ 87567 h 3953992"/>
              <a:gd name="connsiteX25" fmla="*/ 2409871 w 14637682"/>
              <a:gd name="connsiteY25" fmla="*/ 66667 h 3953992"/>
              <a:gd name="connsiteX26" fmla="*/ 2458485 w 14637682"/>
              <a:gd name="connsiteY26" fmla="*/ 98017 h 3953992"/>
              <a:gd name="connsiteX27" fmla="*/ 2503627 w 14637682"/>
              <a:gd name="connsiteY27" fmla="*/ 63184 h 3953992"/>
              <a:gd name="connsiteX28" fmla="*/ 2531406 w 14637682"/>
              <a:gd name="connsiteY28" fmla="*/ 87567 h 3953992"/>
              <a:gd name="connsiteX29" fmla="*/ 2711973 w 14637682"/>
              <a:gd name="connsiteY29" fmla="*/ 94533 h 3953992"/>
              <a:gd name="connsiteX30" fmla="*/ 2736279 w 14637682"/>
              <a:gd name="connsiteY30" fmla="*/ 118916 h 3953992"/>
              <a:gd name="connsiteX31" fmla="*/ 2771003 w 14637682"/>
              <a:gd name="connsiteY31" fmla="*/ 91050 h 3953992"/>
              <a:gd name="connsiteX32" fmla="*/ 2885594 w 14637682"/>
              <a:gd name="connsiteY32" fmla="*/ 91050 h 3953992"/>
              <a:gd name="connsiteX33" fmla="*/ 2913374 w 14637682"/>
              <a:gd name="connsiteY33" fmla="*/ 63184 h 3953992"/>
              <a:gd name="connsiteX34" fmla="*/ 3097413 w 14637682"/>
              <a:gd name="connsiteY34" fmla="*/ 63184 h 3953992"/>
              <a:gd name="connsiteX35" fmla="*/ 3121720 w 14637682"/>
              <a:gd name="connsiteY35" fmla="*/ 91050 h 3953992"/>
              <a:gd name="connsiteX36" fmla="*/ 3357846 w 14637682"/>
              <a:gd name="connsiteY36" fmla="*/ 91050 h 3953992"/>
              <a:gd name="connsiteX37" fmla="*/ 3389098 w 14637682"/>
              <a:gd name="connsiteY37" fmla="*/ 59701 h 3953992"/>
              <a:gd name="connsiteX38" fmla="*/ 3479380 w 14637682"/>
              <a:gd name="connsiteY38" fmla="*/ 59701 h 3953992"/>
              <a:gd name="connsiteX39" fmla="*/ 3500215 w 14637682"/>
              <a:gd name="connsiteY39" fmla="*/ 84083 h 3953992"/>
              <a:gd name="connsiteX40" fmla="*/ 3524522 w 14637682"/>
              <a:gd name="connsiteY40" fmla="*/ 91050 h 3953992"/>
              <a:gd name="connsiteX41" fmla="*/ 3653003 w 14637682"/>
              <a:gd name="connsiteY41" fmla="*/ 91050 h 3953992"/>
              <a:gd name="connsiteX42" fmla="*/ 3687727 w 14637682"/>
              <a:gd name="connsiteY42" fmla="*/ 63184 h 3953992"/>
              <a:gd name="connsiteX43" fmla="*/ 3760648 w 14637682"/>
              <a:gd name="connsiteY43" fmla="*/ 94533 h 3953992"/>
              <a:gd name="connsiteX44" fmla="*/ 3809262 w 14637682"/>
              <a:gd name="connsiteY44" fmla="*/ 63184 h 3953992"/>
              <a:gd name="connsiteX45" fmla="*/ 3861349 w 14637682"/>
              <a:gd name="connsiteY45" fmla="*/ 63184 h 3953992"/>
              <a:gd name="connsiteX46" fmla="*/ 3892601 w 14637682"/>
              <a:gd name="connsiteY46" fmla="*/ 91050 h 3953992"/>
              <a:gd name="connsiteX47" fmla="*/ 4510694 w 14637682"/>
              <a:gd name="connsiteY47" fmla="*/ 91050 h 3953992"/>
              <a:gd name="connsiteX48" fmla="*/ 4541946 w 14637682"/>
              <a:gd name="connsiteY48" fmla="*/ 118916 h 3953992"/>
              <a:gd name="connsiteX49" fmla="*/ 4580142 w 14637682"/>
              <a:gd name="connsiteY49" fmla="*/ 87567 h 3953992"/>
              <a:gd name="connsiteX50" fmla="*/ 4642646 w 14637682"/>
              <a:gd name="connsiteY50" fmla="*/ 118916 h 3953992"/>
              <a:gd name="connsiteX51" fmla="*/ 4719040 w 14637682"/>
              <a:gd name="connsiteY51" fmla="*/ 118916 h 3953992"/>
              <a:gd name="connsiteX52" fmla="*/ 4746819 w 14637682"/>
              <a:gd name="connsiteY52" fmla="*/ 98017 h 3953992"/>
              <a:gd name="connsiteX53" fmla="*/ 4795434 w 14637682"/>
              <a:gd name="connsiteY53" fmla="*/ 125883 h 3953992"/>
              <a:gd name="connsiteX54" fmla="*/ 4840575 w 14637682"/>
              <a:gd name="connsiteY54" fmla="*/ 94533 h 3953992"/>
              <a:gd name="connsiteX55" fmla="*/ 4857938 w 14637682"/>
              <a:gd name="connsiteY55" fmla="*/ 111950 h 3953992"/>
              <a:gd name="connsiteX56" fmla="*/ 4882245 w 14637682"/>
              <a:gd name="connsiteY56" fmla="*/ 122399 h 3953992"/>
              <a:gd name="connsiteX57" fmla="*/ 5073229 w 14637682"/>
              <a:gd name="connsiteY57" fmla="*/ 122399 h 3953992"/>
              <a:gd name="connsiteX58" fmla="*/ 5104481 w 14637682"/>
              <a:gd name="connsiteY58" fmla="*/ 91050 h 3953992"/>
              <a:gd name="connsiteX59" fmla="*/ 5177402 w 14637682"/>
              <a:gd name="connsiteY59" fmla="*/ 122399 h 3953992"/>
              <a:gd name="connsiteX60" fmla="*/ 5222543 w 14637682"/>
              <a:gd name="connsiteY60" fmla="*/ 98017 h 3953992"/>
              <a:gd name="connsiteX61" fmla="*/ 5253795 w 14637682"/>
              <a:gd name="connsiteY61" fmla="*/ 118916 h 3953992"/>
              <a:gd name="connsiteX62" fmla="*/ 5573259 w 14637682"/>
              <a:gd name="connsiteY62" fmla="*/ 118916 h 3953992"/>
              <a:gd name="connsiteX63" fmla="*/ 5607984 w 14637682"/>
              <a:gd name="connsiteY63" fmla="*/ 150265 h 3953992"/>
              <a:gd name="connsiteX64" fmla="*/ 5635763 w 14637682"/>
              <a:gd name="connsiteY64" fmla="*/ 122399 h 3953992"/>
              <a:gd name="connsiteX65" fmla="*/ 5667015 w 14637682"/>
              <a:gd name="connsiteY65" fmla="*/ 122399 h 3953992"/>
              <a:gd name="connsiteX66" fmla="*/ 5691322 w 14637682"/>
              <a:gd name="connsiteY66" fmla="*/ 150265 h 3953992"/>
              <a:gd name="connsiteX67" fmla="*/ 5868416 w 14637682"/>
              <a:gd name="connsiteY67" fmla="*/ 153749 h 3953992"/>
              <a:gd name="connsiteX68" fmla="*/ 5913558 w 14637682"/>
              <a:gd name="connsiteY68" fmla="*/ 115433 h 3953992"/>
              <a:gd name="connsiteX69" fmla="*/ 5972589 w 14637682"/>
              <a:gd name="connsiteY69" fmla="*/ 153749 h 3953992"/>
              <a:gd name="connsiteX70" fmla="*/ 6288581 w 14637682"/>
              <a:gd name="connsiteY70" fmla="*/ 153749 h 3953992"/>
              <a:gd name="connsiteX71" fmla="*/ 6316361 w 14637682"/>
              <a:gd name="connsiteY71" fmla="*/ 181615 h 3953992"/>
              <a:gd name="connsiteX72" fmla="*/ 6347612 w 14637682"/>
              <a:gd name="connsiteY72" fmla="*/ 150265 h 3953992"/>
              <a:gd name="connsiteX73" fmla="*/ 6493454 w 14637682"/>
              <a:gd name="connsiteY73" fmla="*/ 150265 h 3953992"/>
              <a:gd name="connsiteX74" fmla="*/ 6524706 w 14637682"/>
              <a:gd name="connsiteY74" fmla="*/ 181615 h 3953992"/>
              <a:gd name="connsiteX75" fmla="*/ 6549013 w 14637682"/>
              <a:gd name="connsiteY75" fmla="*/ 153749 h 3953992"/>
              <a:gd name="connsiteX76" fmla="*/ 6580265 w 14637682"/>
              <a:gd name="connsiteY76" fmla="*/ 178132 h 3953992"/>
              <a:gd name="connsiteX77" fmla="*/ 6809446 w 14637682"/>
              <a:gd name="connsiteY77" fmla="*/ 178132 h 3953992"/>
              <a:gd name="connsiteX78" fmla="*/ 6847642 w 14637682"/>
              <a:gd name="connsiteY78" fmla="*/ 209481 h 3953992"/>
              <a:gd name="connsiteX79" fmla="*/ 6906674 w 14637682"/>
              <a:gd name="connsiteY79" fmla="*/ 209481 h 3953992"/>
              <a:gd name="connsiteX80" fmla="*/ 6937926 w 14637682"/>
              <a:gd name="connsiteY80" fmla="*/ 185098 h 3953992"/>
              <a:gd name="connsiteX81" fmla="*/ 6965705 w 14637682"/>
              <a:gd name="connsiteY81" fmla="*/ 212964 h 3953992"/>
              <a:gd name="connsiteX82" fmla="*/ 7142800 w 14637682"/>
              <a:gd name="connsiteY82" fmla="*/ 212964 h 3953992"/>
              <a:gd name="connsiteX83" fmla="*/ 7174052 w 14637682"/>
              <a:gd name="connsiteY83" fmla="*/ 240830 h 3953992"/>
              <a:gd name="connsiteX84" fmla="*/ 7198358 w 14637682"/>
              <a:gd name="connsiteY84" fmla="*/ 216448 h 3953992"/>
              <a:gd name="connsiteX85" fmla="*/ 7323366 w 14637682"/>
              <a:gd name="connsiteY85" fmla="*/ 216448 h 3953992"/>
              <a:gd name="connsiteX86" fmla="*/ 7347673 w 14637682"/>
              <a:gd name="connsiteY86" fmla="*/ 240830 h 3953992"/>
              <a:gd name="connsiteX87" fmla="*/ 7698389 w 14637682"/>
              <a:gd name="connsiteY87" fmla="*/ 240830 h 3953992"/>
              <a:gd name="connsiteX88" fmla="*/ 7733114 w 14637682"/>
              <a:gd name="connsiteY88" fmla="*/ 268697 h 3953992"/>
              <a:gd name="connsiteX89" fmla="*/ 7764366 w 14637682"/>
              <a:gd name="connsiteY89" fmla="*/ 244314 h 3953992"/>
              <a:gd name="connsiteX90" fmla="*/ 7851176 w 14637682"/>
              <a:gd name="connsiteY90" fmla="*/ 244314 h 3953992"/>
              <a:gd name="connsiteX91" fmla="*/ 7882428 w 14637682"/>
              <a:gd name="connsiteY91" fmla="*/ 272180 h 3953992"/>
              <a:gd name="connsiteX92" fmla="*/ 8472742 w 14637682"/>
              <a:gd name="connsiteY92" fmla="*/ 272180 h 3953992"/>
              <a:gd name="connsiteX93" fmla="*/ 8503994 w 14637682"/>
              <a:gd name="connsiteY93" fmla="*/ 300046 h 3953992"/>
              <a:gd name="connsiteX94" fmla="*/ 8542191 w 14637682"/>
              <a:gd name="connsiteY94" fmla="*/ 268697 h 3953992"/>
              <a:gd name="connsiteX95" fmla="*/ 8601222 w 14637682"/>
              <a:gd name="connsiteY95" fmla="*/ 300046 h 3953992"/>
              <a:gd name="connsiteX96" fmla="*/ 9042221 w 14637682"/>
              <a:gd name="connsiteY96" fmla="*/ 300046 h 3953992"/>
              <a:gd name="connsiteX97" fmla="*/ 9132505 w 14637682"/>
              <a:gd name="connsiteY97" fmla="*/ 324429 h 3953992"/>
              <a:gd name="connsiteX98" fmla="*/ 9153339 w 14637682"/>
              <a:gd name="connsiteY98" fmla="*/ 303529 h 3953992"/>
              <a:gd name="connsiteX99" fmla="*/ 9330434 w 14637682"/>
              <a:gd name="connsiteY99" fmla="*/ 303529 h 3953992"/>
              <a:gd name="connsiteX100" fmla="*/ 9375575 w 14637682"/>
              <a:gd name="connsiteY100" fmla="*/ 341845 h 3953992"/>
              <a:gd name="connsiteX101" fmla="*/ 9420717 w 14637682"/>
              <a:gd name="connsiteY101" fmla="*/ 303529 h 3953992"/>
              <a:gd name="connsiteX102" fmla="*/ 9629063 w 14637682"/>
              <a:gd name="connsiteY102" fmla="*/ 303529 h 3953992"/>
              <a:gd name="connsiteX103" fmla="*/ 9649898 w 14637682"/>
              <a:gd name="connsiteY103" fmla="*/ 327912 h 3953992"/>
              <a:gd name="connsiteX104" fmla="*/ 9754071 w 14637682"/>
              <a:gd name="connsiteY104" fmla="*/ 307012 h 3953992"/>
              <a:gd name="connsiteX105" fmla="*/ 9792267 w 14637682"/>
              <a:gd name="connsiteY105" fmla="*/ 362745 h 3953992"/>
              <a:gd name="connsiteX106" fmla="*/ 9861716 w 14637682"/>
              <a:gd name="connsiteY106" fmla="*/ 362745 h 3953992"/>
              <a:gd name="connsiteX107" fmla="*/ 9892968 w 14637682"/>
              <a:gd name="connsiteY107" fmla="*/ 334879 h 3953992"/>
              <a:gd name="connsiteX108" fmla="*/ 10146456 w 14637682"/>
              <a:gd name="connsiteY108" fmla="*/ 334879 h 3953992"/>
              <a:gd name="connsiteX109" fmla="*/ 10267991 w 14637682"/>
              <a:gd name="connsiteY109" fmla="*/ 394094 h 3953992"/>
              <a:gd name="connsiteX110" fmla="*/ 10309660 w 14637682"/>
              <a:gd name="connsiteY110" fmla="*/ 390611 h 3953992"/>
              <a:gd name="connsiteX111" fmla="*/ 10333967 w 14637682"/>
              <a:gd name="connsiteY111" fmla="*/ 366228 h 3953992"/>
              <a:gd name="connsiteX112" fmla="*/ 10424251 w 14637682"/>
              <a:gd name="connsiteY112" fmla="*/ 366228 h 3953992"/>
              <a:gd name="connsiteX113" fmla="*/ 10455503 w 14637682"/>
              <a:gd name="connsiteY113" fmla="*/ 390611 h 3953992"/>
              <a:gd name="connsiteX114" fmla="*/ 10538841 w 14637682"/>
              <a:gd name="connsiteY114" fmla="*/ 390611 h 3953992"/>
              <a:gd name="connsiteX115" fmla="*/ 10573565 w 14637682"/>
              <a:gd name="connsiteY115" fmla="*/ 421960 h 3953992"/>
              <a:gd name="connsiteX116" fmla="*/ 10601345 w 14637682"/>
              <a:gd name="connsiteY116" fmla="*/ 394094 h 3953992"/>
              <a:gd name="connsiteX117" fmla="*/ 10632597 w 14637682"/>
              <a:gd name="connsiteY117" fmla="*/ 421960 h 3953992"/>
              <a:gd name="connsiteX118" fmla="*/ 10656904 w 14637682"/>
              <a:gd name="connsiteY118" fmla="*/ 397577 h 3953992"/>
              <a:gd name="connsiteX119" fmla="*/ 10833998 w 14637682"/>
              <a:gd name="connsiteY119" fmla="*/ 397577 h 3953992"/>
              <a:gd name="connsiteX120" fmla="*/ 10879140 w 14637682"/>
              <a:gd name="connsiteY120" fmla="*/ 425444 h 3953992"/>
              <a:gd name="connsiteX121" fmla="*/ 10941644 w 14637682"/>
              <a:gd name="connsiteY121" fmla="*/ 390611 h 3953992"/>
              <a:gd name="connsiteX122" fmla="*/ 11004147 w 14637682"/>
              <a:gd name="connsiteY122" fmla="*/ 428927 h 3953992"/>
              <a:gd name="connsiteX123" fmla="*/ 11045817 w 14637682"/>
              <a:gd name="connsiteY123" fmla="*/ 394094 h 3953992"/>
              <a:gd name="connsiteX124" fmla="*/ 11077069 w 14637682"/>
              <a:gd name="connsiteY124" fmla="*/ 421960 h 3953992"/>
              <a:gd name="connsiteX125" fmla="*/ 11125683 w 14637682"/>
              <a:gd name="connsiteY125" fmla="*/ 421960 h 3953992"/>
              <a:gd name="connsiteX126" fmla="*/ 11181242 w 14637682"/>
              <a:gd name="connsiteY126" fmla="*/ 456793 h 3953992"/>
              <a:gd name="connsiteX127" fmla="*/ 11236801 w 14637682"/>
              <a:gd name="connsiteY127" fmla="*/ 418477 h 3953992"/>
              <a:gd name="connsiteX128" fmla="*/ 11281942 w 14637682"/>
              <a:gd name="connsiteY128" fmla="*/ 449826 h 3953992"/>
              <a:gd name="connsiteX129" fmla="*/ 11313194 w 14637682"/>
              <a:gd name="connsiteY129" fmla="*/ 421960 h 3953992"/>
              <a:gd name="connsiteX130" fmla="*/ 11400005 w 14637682"/>
              <a:gd name="connsiteY130" fmla="*/ 421960 h 3953992"/>
              <a:gd name="connsiteX131" fmla="*/ 11424312 w 14637682"/>
              <a:gd name="connsiteY131" fmla="*/ 449826 h 3953992"/>
              <a:gd name="connsiteX132" fmla="*/ 11542375 w 14637682"/>
              <a:gd name="connsiteY132" fmla="*/ 449826 h 3953992"/>
              <a:gd name="connsiteX133" fmla="*/ 11587517 w 14637682"/>
              <a:gd name="connsiteY133" fmla="*/ 488142 h 3953992"/>
              <a:gd name="connsiteX134" fmla="*/ 11646548 w 14637682"/>
              <a:gd name="connsiteY134" fmla="*/ 456793 h 3953992"/>
              <a:gd name="connsiteX135" fmla="*/ 11736831 w 14637682"/>
              <a:gd name="connsiteY135" fmla="*/ 456793 h 3953992"/>
              <a:gd name="connsiteX136" fmla="*/ 11792390 w 14637682"/>
              <a:gd name="connsiteY136" fmla="*/ 474209 h 3953992"/>
              <a:gd name="connsiteX137" fmla="*/ 11813225 w 14637682"/>
              <a:gd name="connsiteY137" fmla="*/ 456793 h 3953992"/>
              <a:gd name="connsiteX138" fmla="*/ 11875729 w 14637682"/>
              <a:gd name="connsiteY138" fmla="*/ 512525 h 3953992"/>
              <a:gd name="connsiteX139" fmla="*/ 11900036 w 14637682"/>
              <a:gd name="connsiteY139" fmla="*/ 488142 h 3953992"/>
              <a:gd name="connsiteX140" fmla="*/ 12202138 w 14637682"/>
              <a:gd name="connsiteY140" fmla="*/ 488142 h 3953992"/>
              <a:gd name="connsiteX141" fmla="*/ 12222972 w 14637682"/>
              <a:gd name="connsiteY141" fmla="*/ 509042 h 3953992"/>
              <a:gd name="connsiteX142" fmla="*/ 12271586 w 14637682"/>
              <a:gd name="connsiteY142" fmla="*/ 481176 h 3953992"/>
              <a:gd name="connsiteX143" fmla="*/ 12379232 w 14637682"/>
              <a:gd name="connsiteY143" fmla="*/ 540391 h 3953992"/>
              <a:gd name="connsiteX144" fmla="*/ 12407011 w 14637682"/>
              <a:gd name="connsiteY144" fmla="*/ 516008 h 3953992"/>
              <a:gd name="connsiteX145" fmla="*/ 12493822 w 14637682"/>
              <a:gd name="connsiteY145" fmla="*/ 516008 h 3953992"/>
              <a:gd name="connsiteX146" fmla="*/ 12518129 w 14637682"/>
              <a:gd name="connsiteY146" fmla="*/ 536908 h 3953992"/>
              <a:gd name="connsiteX147" fmla="*/ 12608412 w 14637682"/>
              <a:gd name="connsiteY147" fmla="*/ 568257 h 3953992"/>
              <a:gd name="connsiteX148" fmla="*/ 12754255 w 14637682"/>
              <a:gd name="connsiteY148" fmla="*/ 575224 h 3953992"/>
              <a:gd name="connsiteX149" fmla="*/ 12788979 w 14637682"/>
              <a:gd name="connsiteY149" fmla="*/ 547358 h 3953992"/>
              <a:gd name="connsiteX150" fmla="*/ 12848011 w 14637682"/>
              <a:gd name="connsiteY150" fmla="*/ 547358 h 3953992"/>
              <a:gd name="connsiteX151" fmla="*/ 12913987 w 14637682"/>
              <a:gd name="connsiteY151" fmla="*/ 564774 h 3953992"/>
              <a:gd name="connsiteX152" fmla="*/ 12938294 w 14637682"/>
              <a:gd name="connsiteY152" fmla="*/ 543875 h 3953992"/>
              <a:gd name="connsiteX153" fmla="*/ 12959128 w 14637682"/>
              <a:gd name="connsiteY153" fmla="*/ 564774 h 3953992"/>
              <a:gd name="connsiteX154" fmla="*/ 12969546 w 14637682"/>
              <a:gd name="connsiteY154" fmla="*/ 575224 h 3953992"/>
              <a:gd name="connsiteX155" fmla="*/ 13261230 w 14637682"/>
              <a:gd name="connsiteY155" fmla="*/ 575224 h 3953992"/>
              <a:gd name="connsiteX156" fmla="*/ 13289010 w 14637682"/>
              <a:gd name="connsiteY156" fmla="*/ 603090 h 3953992"/>
              <a:gd name="connsiteX157" fmla="*/ 13605001 w 14637682"/>
              <a:gd name="connsiteY157" fmla="*/ 603090 h 3953992"/>
              <a:gd name="connsiteX158" fmla="*/ 13660560 w 14637682"/>
              <a:gd name="connsiteY158" fmla="*/ 637923 h 3953992"/>
              <a:gd name="connsiteX159" fmla="*/ 13709174 w 14637682"/>
              <a:gd name="connsiteY159" fmla="*/ 610057 h 3953992"/>
              <a:gd name="connsiteX160" fmla="*/ 13736954 w 14637682"/>
              <a:gd name="connsiteY160" fmla="*/ 634439 h 3953992"/>
              <a:gd name="connsiteX161" fmla="*/ 14059890 w 14637682"/>
              <a:gd name="connsiteY161" fmla="*/ 634439 h 3953992"/>
              <a:gd name="connsiteX162" fmla="*/ 14091142 w 14637682"/>
              <a:gd name="connsiteY162" fmla="*/ 662306 h 3953992"/>
              <a:gd name="connsiteX163" fmla="*/ 14129339 w 14637682"/>
              <a:gd name="connsiteY163" fmla="*/ 630956 h 3953992"/>
              <a:gd name="connsiteX164" fmla="*/ 14184898 w 14637682"/>
              <a:gd name="connsiteY164" fmla="*/ 662306 h 3953992"/>
              <a:gd name="connsiteX165" fmla="*/ 14212678 w 14637682"/>
              <a:gd name="connsiteY165" fmla="*/ 630956 h 3953992"/>
              <a:gd name="connsiteX166" fmla="*/ 14250874 w 14637682"/>
              <a:gd name="connsiteY166" fmla="*/ 711071 h 3953992"/>
              <a:gd name="connsiteX167" fmla="*/ 14299488 w 14637682"/>
              <a:gd name="connsiteY167" fmla="*/ 665789 h 3953992"/>
              <a:gd name="connsiteX168" fmla="*/ 14355047 w 14637682"/>
              <a:gd name="connsiteY168" fmla="*/ 665789 h 3953992"/>
              <a:gd name="connsiteX169" fmla="*/ 14389772 w 14637682"/>
              <a:gd name="connsiteY169" fmla="*/ 697138 h 3953992"/>
              <a:gd name="connsiteX170" fmla="*/ 14445331 w 14637682"/>
              <a:gd name="connsiteY170" fmla="*/ 697138 h 3953992"/>
              <a:gd name="connsiteX171" fmla="*/ 14483528 w 14637682"/>
              <a:gd name="connsiteY171" fmla="*/ 728488 h 3953992"/>
              <a:gd name="connsiteX172" fmla="*/ 14539087 w 14637682"/>
              <a:gd name="connsiteY172" fmla="*/ 700622 h 3953992"/>
              <a:gd name="connsiteX173" fmla="*/ 14549504 w 14637682"/>
              <a:gd name="connsiteY173" fmla="*/ 714555 h 3953992"/>
              <a:gd name="connsiteX174" fmla="*/ 14549504 w 14637682"/>
              <a:gd name="connsiteY174" fmla="*/ 920067 h 3953992"/>
              <a:gd name="connsiteX175" fmla="*/ 14518252 w 14637682"/>
              <a:gd name="connsiteY175" fmla="*/ 958383 h 3953992"/>
              <a:gd name="connsiteX176" fmla="*/ 14566866 w 14637682"/>
              <a:gd name="connsiteY176" fmla="*/ 968833 h 3953992"/>
              <a:gd name="connsiteX177" fmla="*/ 14608535 w 14637682"/>
              <a:gd name="connsiteY177" fmla="*/ 1017599 h 3953992"/>
              <a:gd name="connsiteX178" fmla="*/ 14577283 w 14637682"/>
              <a:gd name="connsiteY178" fmla="*/ 1101197 h 3953992"/>
              <a:gd name="connsiteX179" fmla="*/ 14493945 w 14637682"/>
              <a:gd name="connsiteY179" fmla="*/ 1146480 h 3953992"/>
              <a:gd name="connsiteX180" fmla="*/ 14410606 w 14637682"/>
              <a:gd name="connsiteY180" fmla="*/ 1149963 h 3953992"/>
              <a:gd name="connsiteX181" fmla="*/ 14403662 w 14637682"/>
              <a:gd name="connsiteY181" fmla="*/ 1219628 h 3953992"/>
              <a:gd name="connsiteX182" fmla="*/ 14441858 w 14637682"/>
              <a:gd name="connsiteY182" fmla="*/ 1282327 h 3953992"/>
              <a:gd name="connsiteX183" fmla="*/ 14361992 w 14637682"/>
              <a:gd name="connsiteY183" fmla="*/ 1334576 h 3953992"/>
              <a:gd name="connsiteX184" fmla="*/ 14410606 w 14637682"/>
              <a:gd name="connsiteY184" fmla="*/ 1386825 h 3953992"/>
              <a:gd name="connsiteX185" fmla="*/ 14476583 w 14637682"/>
              <a:gd name="connsiteY185" fmla="*/ 1386825 h 3953992"/>
              <a:gd name="connsiteX186" fmla="*/ 14570338 w 14637682"/>
              <a:gd name="connsiteY186" fmla="*/ 1411208 h 3953992"/>
              <a:gd name="connsiteX187" fmla="*/ 14591173 w 14637682"/>
              <a:gd name="connsiteY187" fmla="*/ 1393791 h 3953992"/>
              <a:gd name="connsiteX188" fmla="*/ 14636315 w 14637682"/>
              <a:gd name="connsiteY188" fmla="*/ 1428624 h 3953992"/>
              <a:gd name="connsiteX189" fmla="*/ 14580756 w 14637682"/>
              <a:gd name="connsiteY189" fmla="*/ 1494806 h 3953992"/>
              <a:gd name="connsiteX190" fmla="*/ 14636315 w 14637682"/>
              <a:gd name="connsiteY190" fmla="*/ 1557505 h 3953992"/>
              <a:gd name="connsiteX191" fmla="*/ 14552976 w 14637682"/>
              <a:gd name="connsiteY191" fmla="*/ 1641103 h 3953992"/>
              <a:gd name="connsiteX192" fmla="*/ 14556449 w 14637682"/>
              <a:gd name="connsiteY192" fmla="*/ 1651553 h 3953992"/>
              <a:gd name="connsiteX193" fmla="*/ 14608535 w 14637682"/>
              <a:gd name="connsiteY193" fmla="*/ 1672453 h 3953992"/>
              <a:gd name="connsiteX194" fmla="*/ 14608535 w 14637682"/>
              <a:gd name="connsiteY194" fmla="*/ 1735152 h 3953992"/>
              <a:gd name="connsiteX195" fmla="*/ 14559921 w 14637682"/>
              <a:gd name="connsiteY195" fmla="*/ 1756051 h 3953992"/>
              <a:gd name="connsiteX196" fmla="*/ 14504362 w 14637682"/>
              <a:gd name="connsiteY196" fmla="*/ 1811783 h 3953992"/>
              <a:gd name="connsiteX197" fmla="*/ 14445331 w 14637682"/>
              <a:gd name="connsiteY197" fmla="*/ 1811783 h 3953992"/>
              <a:gd name="connsiteX198" fmla="*/ 14386299 w 14637682"/>
              <a:gd name="connsiteY198" fmla="*/ 1933698 h 3953992"/>
              <a:gd name="connsiteX199" fmla="*/ 14355047 w 14637682"/>
              <a:gd name="connsiteY199" fmla="*/ 1933698 h 3953992"/>
              <a:gd name="connsiteX200" fmla="*/ 14302961 w 14637682"/>
              <a:gd name="connsiteY200" fmla="*/ 2017296 h 3953992"/>
              <a:gd name="connsiteX201" fmla="*/ 14230040 w 14637682"/>
              <a:gd name="connsiteY201" fmla="*/ 2093928 h 3953992"/>
              <a:gd name="connsiteX202" fmla="*/ 14219622 w 14637682"/>
              <a:gd name="connsiteY202" fmla="*/ 2132244 h 3953992"/>
              <a:gd name="connsiteX203" fmla="*/ 14139756 w 14637682"/>
              <a:gd name="connsiteY203" fmla="*/ 2174043 h 3953992"/>
              <a:gd name="connsiteX204" fmla="*/ 14084197 w 14637682"/>
              <a:gd name="connsiteY204" fmla="*/ 2174043 h 3953992"/>
              <a:gd name="connsiteX205" fmla="*/ 13931410 w 14637682"/>
              <a:gd name="connsiteY205" fmla="*/ 2261125 h 3953992"/>
              <a:gd name="connsiteX206" fmla="*/ 13823765 w 14637682"/>
              <a:gd name="connsiteY206" fmla="*/ 2355173 h 3953992"/>
              <a:gd name="connsiteX207" fmla="*/ 13702230 w 14637682"/>
              <a:gd name="connsiteY207" fmla="*/ 2390006 h 3953992"/>
              <a:gd name="connsiteX208" fmla="*/ 13587639 w 14637682"/>
              <a:gd name="connsiteY208" fmla="*/ 2417872 h 3953992"/>
              <a:gd name="connsiteX209" fmla="*/ 13559860 w 14637682"/>
              <a:gd name="connsiteY209" fmla="*/ 2390006 h 3953992"/>
              <a:gd name="connsiteX210" fmla="*/ 13292482 w 14637682"/>
              <a:gd name="connsiteY210" fmla="*/ 2390006 h 3953992"/>
              <a:gd name="connsiteX211" fmla="*/ 13226506 w 14637682"/>
              <a:gd name="connsiteY211" fmla="*/ 2407422 h 3953992"/>
              <a:gd name="connsiteX212" fmla="*/ 13202199 w 14637682"/>
              <a:gd name="connsiteY212" fmla="*/ 2386522 h 3953992"/>
              <a:gd name="connsiteX213" fmla="*/ 13170947 w 14637682"/>
              <a:gd name="connsiteY213" fmla="*/ 2417872 h 3953992"/>
              <a:gd name="connsiteX214" fmla="*/ 13115388 w 14637682"/>
              <a:gd name="connsiteY214" fmla="*/ 2417872 h 3953992"/>
              <a:gd name="connsiteX215" fmla="*/ 13080664 w 14637682"/>
              <a:gd name="connsiteY215" fmla="*/ 2449221 h 3953992"/>
              <a:gd name="connsiteX216" fmla="*/ 12875790 w 14637682"/>
              <a:gd name="connsiteY216" fmla="*/ 2449221 h 3953992"/>
              <a:gd name="connsiteX217" fmla="*/ 12848011 w 14637682"/>
              <a:gd name="connsiteY217" fmla="*/ 2477087 h 3953992"/>
              <a:gd name="connsiteX218" fmla="*/ 12643137 w 14637682"/>
              <a:gd name="connsiteY218" fmla="*/ 2477087 h 3953992"/>
              <a:gd name="connsiteX219" fmla="*/ 12615357 w 14637682"/>
              <a:gd name="connsiteY219" fmla="*/ 2504953 h 3953992"/>
              <a:gd name="connsiteX220" fmla="*/ 12504239 w 14637682"/>
              <a:gd name="connsiteY220" fmla="*/ 2504953 h 3953992"/>
              <a:gd name="connsiteX221" fmla="*/ 12434791 w 14637682"/>
              <a:gd name="connsiteY221" fmla="*/ 2536303 h 3953992"/>
              <a:gd name="connsiteX222" fmla="*/ 12403539 w 14637682"/>
              <a:gd name="connsiteY222" fmla="*/ 2508437 h 3953992"/>
              <a:gd name="connsiteX223" fmla="*/ 12316728 w 14637682"/>
              <a:gd name="connsiteY223" fmla="*/ 2508437 h 3953992"/>
              <a:gd name="connsiteX224" fmla="*/ 12285476 w 14637682"/>
              <a:gd name="connsiteY224" fmla="*/ 2539786 h 3953992"/>
              <a:gd name="connsiteX225" fmla="*/ 12139634 w 14637682"/>
              <a:gd name="connsiteY225" fmla="*/ 2539786 h 3953992"/>
              <a:gd name="connsiteX226" fmla="*/ 12111854 w 14637682"/>
              <a:gd name="connsiteY226" fmla="*/ 2564169 h 3953992"/>
              <a:gd name="connsiteX227" fmla="*/ 11993791 w 14637682"/>
              <a:gd name="connsiteY227" fmla="*/ 2564169 h 3953992"/>
              <a:gd name="connsiteX228" fmla="*/ 11962540 w 14637682"/>
              <a:gd name="connsiteY228" fmla="*/ 2599002 h 3953992"/>
              <a:gd name="connsiteX229" fmla="*/ 11813225 w 14637682"/>
              <a:gd name="connsiteY229" fmla="*/ 2599002 h 3953992"/>
              <a:gd name="connsiteX230" fmla="*/ 11785445 w 14637682"/>
              <a:gd name="connsiteY230" fmla="*/ 2626868 h 3953992"/>
              <a:gd name="connsiteX231" fmla="*/ 11702107 w 14637682"/>
              <a:gd name="connsiteY231" fmla="*/ 2626868 h 3953992"/>
              <a:gd name="connsiteX232" fmla="*/ 11667383 w 14637682"/>
              <a:gd name="connsiteY232" fmla="*/ 2658217 h 3953992"/>
              <a:gd name="connsiteX233" fmla="*/ 11462509 w 14637682"/>
              <a:gd name="connsiteY233" fmla="*/ 2658217 h 3953992"/>
              <a:gd name="connsiteX234" fmla="*/ 11427784 w 14637682"/>
              <a:gd name="connsiteY234" fmla="*/ 2689566 h 3953992"/>
              <a:gd name="connsiteX235" fmla="*/ 11281942 w 14637682"/>
              <a:gd name="connsiteY235" fmla="*/ 2689566 h 3953992"/>
              <a:gd name="connsiteX236" fmla="*/ 11257635 w 14637682"/>
              <a:gd name="connsiteY236" fmla="*/ 2713949 h 3953992"/>
              <a:gd name="connsiteX237" fmla="*/ 11108320 w 14637682"/>
              <a:gd name="connsiteY237" fmla="*/ 2713949 h 3953992"/>
              <a:gd name="connsiteX238" fmla="*/ 11077069 w 14637682"/>
              <a:gd name="connsiteY238" fmla="*/ 2748782 h 3953992"/>
              <a:gd name="connsiteX239" fmla="*/ 10927754 w 14637682"/>
              <a:gd name="connsiteY239" fmla="*/ 2748782 h 3953992"/>
              <a:gd name="connsiteX240" fmla="*/ 10896502 w 14637682"/>
              <a:gd name="connsiteY240" fmla="*/ 2780131 h 3953992"/>
              <a:gd name="connsiteX241" fmla="*/ 10660376 w 14637682"/>
              <a:gd name="connsiteY241" fmla="*/ 2780131 h 3953992"/>
              <a:gd name="connsiteX242" fmla="*/ 10632597 w 14637682"/>
              <a:gd name="connsiteY242" fmla="*/ 2807998 h 3953992"/>
              <a:gd name="connsiteX243" fmla="*/ 10490227 w 14637682"/>
              <a:gd name="connsiteY243" fmla="*/ 2807998 h 3953992"/>
              <a:gd name="connsiteX244" fmla="*/ 10455503 w 14637682"/>
              <a:gd name="connsiteY244" fmla="*/ 2839347 h 3953992"/>
              <a:gd name="connsiteX245" fmla="*/ 10337440 w 14637682"/>
              <a:gd name="connsiteY245" fmla="*/ 2839347 h 3953992"/>
              <a:gd name="connsiteX246" fmla="*/ 10306188 w 14637682"/>
              <a:gd name="connsiteY246" fmla="*/ 2870696 h 3953992"/>
              <a:gd name="connsiteX247" fmla="*/ 10129094 w 14637682"/>
              <a:gd name="connsiteY247" fmla="*/ 2870696 h 3953992"/>
              <a:gd name="connsiteX248" fmla="*/ 10101314 w 14637682"/>
              <a:gd name="connsiteY248" fmla="*/ 2898562 h 3953992"/>
              <a:gd name="connsiteX249" fmla="*/ 9920748 w 14637682"/>
              <a:gd name="connsiteY249" fmla="*/ 2902046 h 3953992"/>
              <a:gd name="connsiteX250" fmla="*/ 9892968 w 14637682"/>
              <a:gd name="connsiteY250" fmla="*/ 2929912 h 3953992"/>
              <a:gd name="connsiteX251" fmla="*/ 9774905 w 14637682"/>
              <a:gd name="connsiteY251" fmla="*/ 2929912 h 3953992"/>
              <a:gd name="connsiteX252" fmla="*/ 9761016 w 14637682"/>
              <a:gd name="connsiteY252" fmla="*/ 2943845 h 3953992"/>
              <a:gd name="connsiteX253" fmla="*/ 9761016 w 14637682"/>
              <a:gd name="connsiteY253" fmla="*/ 2975194 h 3953992"/>
              <a:gd name="connsiteX254" fmla="*/ 9854771 w 14637682"/>
              <a:gd name="connsiteY254" fmla="*/ 2989127 h 3953992"/>
              <a:gd name="connsiteX255" fmla="*/ 9931165 w 14637682"/>
              <a:gd name="connsiteY255" fmla="*/ 2968228 h 3953992"/>
              <a:gd name="connsiteX256" fmla="*/ 9952000 w 14637682"/>
              <a:gd name="connsiteY256" fmla="*/ 2989127 h 3953992"/>
              <a:gd name="connsiteX257" fmla="*/ 10011031 w 14637682"/>
              <a:gd name="connsiteY257" fmla="*/ 2989127 h 3953992"/>
              <a:gd name="connsiteX258" fmla="*/ 10038810 w 14637682"/>
              <a:gd name="connsiteY258" fmla="*/ 2961261 h 3953992"/>
              <a:gd name="connsiteX259" fmla="*/ 10097842 w 14637682"/>
              <a:gd name="connsiteY259" fmla="*/ 2989127 h 3953992"/>
              <a:gd name="connsiteX260" fmla="*/ 10188125 w 14637682"/>
              <a:gd name="connsiteY260" fmla="*/ 2989127 h 3953992"/>
              <a:gd name="connsiteX261" fmla="*/ 10215905 w 14637682"/>
              <a:gd name="connsiteY261" fmla="*/ 2964745 h 3953992"/>
              <a:gd name="connsiteX262" fmla="*/ 10535369 w 14637682"/>
              <a:gd name="connsiteY262" fmla="*/ 2964745 h 3953992"/>
              <a:gd name="connsiteX263" fmla="*/ 10573565 w 14637682"/>
              <a:gd name="connsiteY263" fmla="*/ 2933395 h 3953992"/>
              <a:gd name="connsiteX264" fmla="*/ 11038872 w 14637682"/>
              <a:gd name="connsiteY264" fmla="*/ 2933395 h 3953992"/>
              <a:gd name="connsiteX265" fmla="*/ 11073596 w 14637682"/>
              <a:gd name="connsiteY265" fmla="*/ 2902046 h 3953992"/>
              <a:gd name="connsiteX266" fmla="*/ 11132627 w 14637682"/>
              <a:gd name="connsiteY266" fmla="*/ 2929912 h 3953992"/>
              <a:gd name="connsiteX267" fmla="*/ 11163879 w 14637682"/>
              <a:gd name="connsiteY267" fmla="*/ 2902046 h 3953992"/>
              <a:gd name="connsiteX268" fmla="*/ 11191659 w 14637682"/>
              <a:gd name="connsiteY268" fmla="*/ 2926429 h 3953992"/>
              <a:gd name="connsiteX269" fmla="*/ 11229856 w 14637682"/>
              <a:gd name="connsiteY269" fmla="*/ 2898562 h 3953992"/>
              <a:gd name="connsiteX270" fmla="*/ 11340974 w 14637682"/>
              <a:gd name="connsiteY270" fmla="*/ 2926429 h 3953992"/>
              <a:gd name="connsiteX271" fmla="*/ 11372226 w 14637682"/>
              <a:gd name="connsiteY271" fmla="*/ 2902046 h 3953992"/>
              <a:gd name="connsiteX272" fmla="*/ 11459036 w 14637682"/>
              <a:gd name="connsiteY272" fmla="*/ 2902046 h 3953992"/>
              <a:gd name="connsiteX273" fmla="*/ 11490288 w 14637682"/>
              <a:gd name="connsiteY273" fmla="*/ 2929912 h 3953992"/>
              <a:gd name="connsiteX274" fmla="*/ 11549320 w 14637682"/>
              <a:gd name="connsiteY274" fmla="*/ 2929912 h 3953992"/>
              <a:gd name="connsiteX275" fmla="*/ 11580572 w 14637682"/>
              <a:gd name="connsiteY275" fmla="*/ 2898562 h 3953992"/>
              <a:gd name="connsiteX276" fmla="*/ 11636131 w 14637682"/>
              <a:gd name="connsiteY276" fmla="*/ 2898562 h 3953992"/>
              <a:gd name="connsiteX277" fmla="*/ 11674327 w 14637682"/>
              <a:gd name="connsiteY277" fmla="*/ 2933395 h 3953992"/>
              <a:gd name="connsiteX278" fmla="*/ 11733359 w 14637682"/>
              <a:gd name="connsiteY278" fmla="*/ 2902046 h 3953992"/>
              <a:gd name="connsiteX279" fmla="*/ 11813225 w 14637682"/>
              <a:gd name="connsiteY279" fmla="*/ 2902046 h 3953992"/>
              <a:gd name="connsiteX280" fmla="*/ 11844477 w 14637682"/>
              <a:gd name="connsiteY280" fmla="*/ 2926429 h 3953992"/>
              <a:gd name="connsiteX281" fmla="*/ 11875729 w 14637682"/>
              <a:gd name="connsiteY281" fmla="*/ 2902046 h 3953992"/>
              <a:gd name="connsiteX282" fmla="*/ 11931288 w 14637682"/>
              <a:gd name="connsiteY282" fmla="*/ 2902046 h 3953992"/>
              <a:gd name="connsiteX283" fmla="*/ 11962540 w 14637682"/>
              <a:gd name="connsiteY283" fmla="*/ 2870696 h 3953992"/>
              <a:gd name="connsiteX284" fmla="*/ 11990319 w 14637682"/>
              <a:gd name="connsiteY284" fmla="*/ 2929912 h 3953992"/>
              <a:gd name="connsiteX285" fmla="*/ 12035461 w 14637682"/>
              <a:gd name="connsiteY285" fmla="*/ 2884629 h 3953992"/>
              <a:gd name="connsiteX286" fmla="*/ 12007681 w 14637682"/>
              <a:gd name="connsiteY286" fmla="*/ 2853280 h 3953992"/>
              <a:gd name="connsiteX287" fmla="*/ 12084075 w 14637682"/>
              <a:gd name="connsiteY287" fmla="*/ 2811481 h 3953992"/>
              <a:gd name="connsiteX288" fmla="*/ 12094492 w 14637682"/>
              <a:gd name="connsiteY288" fmla="*/ 2846313 h 3953992"/>
              <a:gd name="connsiteX289" fmla="*/ 12125744 w 14637682"/>
              <a:gd name="connsiteY289" fmla="*/ 2870696 h 3953992"/>
              <a:gd name="connsiteX290" fmla="*/ 12125744 w 14637682"/>
              <a:gd name="connsiteY290" fmla="*/ 2915979 h 3953992"/>
              <a:gd name="connsiteX291" fmla="*/ 12205610 w 14637682"/>
              <a:gd name="connsiteY291" fmla="*/ 2922945 h 3953992"/>
              <a:gd name="connsiteX292" fmla="*/ 12226445 w 14637682"/>
              <a:gd name="connsiteY292" fmla="*/ 2902046 h 3953992"/>
              <a:gd name="connsiteX293" fmla="*/ 12268114 w 14637682"/>
              <a:gd name="connsiteY293" fmla="*/ 2933395 h 3953992"/>
              <a:gd name="connsiteX294" fmla="*/ 12327145 w 14637682"/>
              <a:gd name="connsiteY294" fmla="*/ 2898562 h 3953992"/>
              <a:gd name="connsiteX295" fmla="*/ 12407011 w 14637682"/>
              <a:gd name="connsiteY295" fmla="*/ 2985644 h 3953992"/>
              <a:gd name="connsiteX296" fmla="*/ 12438263 w 14637682"/>
              <a:gd name="connsiteY296" fmla="*/ 2961261 h 3953992"/>
              <a:gd name="connsiteX297" fmla="*/ 12448680 w 14637682"/>
              <a:gd name="connsiteY297" fmla="*/ 3065759 h 3953992"/>
              <a:gd name="connsiteX298" fmla="*/ 12413956 w 14637682"/>
              <a:gd name="connsiteY298" fmla="*/ 3104075 h 3953992"/>
              <a:gd name="connsiteX299" fmla="*/ 12479932 w 14637682"/>
              <a:gd name="connsiteY299" fmla="*/ 3170257 h 3953992"/>
              <a:gd name="connsiteX300" fmla="*/ 12466043 w 14637682"/>
              <a:gd name="connsiteY300" fmla="*/ 3201607 h 3953992"/>
              <a:gd name="connsiteX301" fmla="*/ 12434791 w 14637682"/>
              <a:gd name="connsiteY301" fmla="*/ 3170257 h 3953992"/>
              <a:gd name="connsiteX302" fmla="*/ 12365342 w 14637682"/>
              <a:gd name="connsiteY302" fmla="*/ 3184190 h 3953992"/>
              <a:gd name="connsiteX303" fmla="*/ 12452153 w 14637682"/>
              <a:gd name="connsiteY303" fmla="*/ 3264305 h 3953992"/>
              <a:gd name="connsiteX304" fmla="*/ 12410484 w 14637682"/>
              <a:gd name="connsiteY304" fmla="*/ 3320038 h 3953992"/>
              <a:gd name="connsiteX305" fmla="*/ 12351452 w 14637682"/>
              <a:gd name="connsiteY305" fmla="*/ 3320038 h 3953992"/>
              <a:gd name="connsiteX306" fmla="*/ 12316728 w 14637682"/>
              <a:gd name="connsiteY306" fmla="*/ 3351387 h 3953992"/>
              <a:gd name="connsiteX307" fmla="*/ 12285476 w 14637682"/>
              <a:gd name="connsiteY307" fmla="*/ 3323521 h 3953992"/>
              <a:gd name="connsiteX308" fmla="*/ 12261169 w 14637682"/>
              <a:gd name="connsiteY308" fmla="*/ 3351387 h 3953992"/>
              <a:gd name="connsiteX309" fmla="*/ 12195193 w 14637682"/>
              <a:gd name="connsiteY309" fmla="*/ 3354870 h 3953992"/>
              <a:gd name="connsiteX310" fmla="*/ 12174358 w 14637682"/>
              <a:gd name="connsiteY310" fmla="*/ 3410603 h 3953992"/>
              <a:gd name="connsiteX311" fmla="*/ 12097965 w 14637682"/>
              <a:gd name="connsiteY311" fmla="*/ 3410603 h 3953992"/>
              <a:gd name="connsiteX312" fmla="*/ 12007681 w 14637682"/>
              <a:gd name="connsiteY312" fmla="*/ 3459368 h 3953992"/>
              <a:gd name="connsiteX313" fmla="*/ 12035461 w 14637682"/>
              <a:gd name="connsiteY313" fmla="*/ 3490717 h 3953992"/>
              <a:gd name="connsiteX314" fmla="*/ 11941705 w 14637682"/>
              <a:gd name="connsiteY314" fmla="*/ 3501167 h 3953992"/>
              <a:gd name="connsiteX315" fmla="*/ 11837532 w 14637682"/>
              <a:gd name="connsiteY315" fmla="*/ 3563866 h 3953992"/>
              <a:gd name="connsiteX316" fmla="*/ 11788918 w 14637682"/>
              <a:gd name="connsiteY316" fmla="*/ 3563866 h 3953992"/>
              <a:gd name="connsiteX317" fmla="*/ 11747249 w 14637682"/>
              <a:gd name="connsiteY317" fmla="*/ 3595215 h 3953992"/>
              <a:gd name="connsiteX318" fmla="*/ 11677800 w 14637682"/>
              <a:gd name="connsiteY318" fmla="*/ 3546450 h 3953992"/>
              <a:gd name="connsiteX319" fmla="*/ 11729886 w 14637682"/>
              <a:gd name="connsiteY319" fmla="*/ 3529033 h 3953992"/>
              <a:gd name="connsiteX320" fmla="*/ 11736831 w 14637682"/>
              <a:gd name="connsiteY320" fmla="*/ 3504651 h 3953992"/>
              <a:gd name="connsiteX321" fmla="*/ 11757666 w 14637682"/>
              <a:gd name="connsiteY321" fmla="*/ 3476785 h 3953992"/>
              <a:gd name="connsiteX322" fmla="*/ 11736831 w 14637682"/>
              <a:gd name="connsiteY322" fmla="*/ 3504651 h 3953992"/>
              <a:gd name="connsiteX323" fmla="*/ 11667383 w 14637682"/>
              <a:gd name="connsiteY323" fmla="*/ 3504651 h 3953992"/>
              <a:gd name="connsiteX324" fmla="*/ 11625713 w 14637682"/>
              <a:gd name="connsiteY324" fmla="*/ 3546450 h 3953992"/>
              <a:gd name="connsiteX325" fmla="*/ 11639603 w 14637682"/>
              <a:gd name="connsiteY325" fmla="*/ 3619599 h 3953992"/>
              <a:gd name="connsiteX326" fmla="*/ 11590989 w 14637682"/>
              <a:gd name="connsiteY326" fmla="*/ 3591732 h 3953992"/>
              <a:gd name="connsiteX327" fmla="*/ 11545847 w 14637682"/>
              <a:gd name="connsiteY327" fmla="*/ 3623082 h 3953992"/>
              <a:gd name="connsiteX328" fmla="*/ 11490288 w 14637682"/>
              <a:gd name="connsiteY328" fmla="*/ 3623082 h 3953992"/>
              <a:gd name="connsiteX329" fmla="*/ 11459036 w 14637682"/>
              <a:gd name="connsiteY329" fmla="*/ 3654431 h 3953992"/>
              <a:gd name="connsiteX330" fmla="*/ 11163879 w 14637682"/>
              <a:gd name="connsiteY330" fmla="*/ 3654431 h 3953992"/>
              <a:gd name="connsiteX331" fmla="*/ 11132627 w 14637682"/>
              <a:gd name="connsiteY331" fmla="*/ 3682297 h 3953992"/>
              <a:gd name="connsiteX332" fmla="*/ 11111793 w 14637682"/>
              <a:gd name="connsiteY332" fmla="*/ 3661398 h 3953992"/>
              <a:gd name="connsiteX333" fmla="*/ 11011092 w 14637682"/>
              <a:gd name="connsiteY333" fmla="*/ 3678814 h 3953992"/>
              <a:gd name="connsiteX334" fmla="*/ 10986785 w 14637682"/>
              <a:gd name="connsiteY334" fmla="*/ 3657914 h 3953992"/>
              <a:gd name="connsiteX335" fmla="*/ 10899974 w 14637682"/>
              <a:gd name="connsiteY335" fmla="*/ 3657914 h 3953992"/>
              <a:gd name="connsiteX336" fmla="*/ 10868722 w 14637682"/>
              <a:gd name="connsiteY336" fmla="*/ 3682297 h 3953992"/>
              <a:gd name="connsiteX337" fmla="*/ 10604817 w 14637682"/>
              <a:gd name="connsiteY337" fmla="*/ 3682297 h 3953992"/>
              <a:gd name="connsiteX338" fmla="*/ 10573565 w 14637682"/>
              <a:gd name="connsiteY338" fmla="*/ 3713647 h 3953992"/>
              <a:gd name="connsiteX339" fmla="*/ 10535369 w 14637682"/>
              <a:gd name="connsiteY339" fmla="*/ 3678814 h 3953992"/>
              <a:gd name="connsiteX340" fmla="*/ 10469392 w 14637682"/>
              <a:gd name="connsiteY340" fmla="*/ 3713647 h 3953992"/>
              <a:gd name="connsiteX341" fmla="*/ 10278408 w 14637682"/>
              <a:gd name="connsiteY341" fmla="*/ 3713647 h 3953992"/>
              <a:gd name="connsiteX342" fmla="*/ 10250629 w 14637682"/>
              <a:gd name="connsiteY342" fmla="*/ 3741513 h 3953992"/>
              <a:gd name="connsiteX343" fmla="*/ 10219377 w 14637682"/>
              <a:gd name="connsiteY343" fmla="*/ 3717130 h 3953992"/>
              <a:gd name="connsiteX344" fmla="*/ 10101314 w 14637682"/>
              <a:gd name="connsiteY344" fmla="*/ 3717130 h 3953992"/>
              <a:gd name="connsiteX345" fmla="*/ 10070062 w 14637682"/>
              <a:gd name="connsiteY345" fmla="*/ 3744996 h 3953992"/>
              <a:gd name="connsiteX346" fmla="*/ 10011031 w 14637682"/>
              <a:gd name="connsiteY346" fmla="*/ 3744996 h 3953992"/>
              <a:gd name="connsiteX347" fmla="*/ 9979779 w 14637682"/>
              <a:gd name="connsiteY347" fmla="*/ 3713647 h 3953992"/>
              <a:gd name="connsiteX348" fmla="*/ 9861716 w 14637682"/>
              <a:gd name="connsiteY348" fmla="*/ 3713647 h 3953992"/>
              <a:gd name="connsiteX349" fmla="*/ 9840882 w 14637682"/>
              <a:gd name="connsiteY349" fmla="*/ 3738029 h 3953992"/>
              <a:gd name="connsiteX350" fmla="*/ 9743653 w 14637682"/>
              <a:gd name="connsiteY350" fmla="*/ 3744996 h 3953992"/>
              <a:gd name="connsiteX351" fmla="*/ 9712401 w 14637682"/>
              <a:gd name="connsiteY351" fmla="*/ 3717130 h 3953992"/>
              <a:gd name="connsiteX352" fmla="*/ 9684622 w 14637682"/>
              <a:gd name="connsiteY352" fmla="*/ 3744996 h 3953992"/>
              <a:gd name="connsiteX353" fmla="*/ 9420717 w 14637682"/>
              <a:gd name="connsiteY353" fmla="*/ 3744996 h 3953992"/>
              <a:gd name="connsiteX354" fmla="*/ 9392937 w 14637682"/>
              <a:gd name="connsiteY354" fmla="*/ 3772862 h 3953992"/>
              <a:gd name="connsiteX355" fmla="*/ 9208898 w 14637682"/>
              <a:gd name="connsiteY355" fmla="*/ 3772862 h 3953992"/>
              <a:gd name="connsiteX356" fmla="*/ 9184591 w 14637682"/>
              <a:gd name="connsiteY356" fmla="*/ 3744996 h 3953992"/>
              <a:gd name="connsiteX357" fmla="*/ 9118615 w 14637682"/>
              <a:gd name="connsiteY357" fmla="*/ 3811178 h 3953992"/>
              <a:gd name="connsiteX358" fmla="*/ 9052639 w 14637682"/>
              <a:gd name="connsiteY358" fmla="*/ 3776345 h 3953992"/>
              <a:gd name="connsiteX359" fmla="*/ 8476215 w 14637682"/>
              <a:gd name="connsiteY359" fmla="*/ 3776345 h 3953992"/>
              <a:gd name="connsiteX360" fmla="*/ 8448435 w 14637682"/>
              <a:gd name="connsiteY360" fmla="*/ 3748479 h 3953992"/>
              <a:gd name="connsiteX361" fmla="*/ 8413711 w 14637682"/>
              <a:gd name="connsiteY361" fmla="*/ 3772862 h 3953992"/>
              <a:gd name="connsiteX362" fmla="*/ 7917152 w 14637682"/>
              <a:gd name="connsiteY362" fmla="*/ 3772862 h 3953992"/>
              <a:gd name="connsiteX363" fmla="*/ 7882428 w 14637682"/>
              <a:gd name="connsiteY363" fmla="*/ 3804211 h 3953992"/>
              <a:gd name="connsiteX364" fmla="*/ 7851176 w 14637682"/>
              <a:gd name="connsiteY364" fmla="*/ 3776345 h 3953992"/>
              <a:gd name="connsiteX365" fmla="*/ 7556019 w 14637682"/>
              <a:gd name="connsiteY365" fmla="*/ 3776345 h 3953992"/>
              <a:gd name="connsiteX366" fmla="*/ 7535184 w 14637682"/>
              <a:gd name="connsiteY366" fmla="*/ 3800728 h 3953992"/>
              <a:gd name="connsiteX367" fmla="*/ 7385870 w 14637682"/>
              <a:gd name="connsiteY367" fmla="*/ 3807695 h 3953992"/>
              <a:gd name="connsiteX368" fmla="*/ 7340728 w 14637682"/>
              <a:gd name="connsiteY368" fmla="*/ 3769379 h 3953992"/>
              <a:gd name="connsiteX369" fmla="*/ 7285169 w 14637682"/>
              <a:gd name="connsiteY369" fmla="*/ 3804211 h 3953992"/>
              <a:gd name="connsiteX370" fmla="*/ 7003902 w 14637682"/>
              <a:gd name="connsiteY370" fmla="*/ 3804211 h 3953992"/>
              <a:gd name="connsiteX371" fmla="*/ 6965705 w 14637682"/>
              <a:gd name="connsiteY371" fmla="*/ 3835561 h 3953992"/>
              <a:gd name="connsiteX372" fmla="*/ 6906674 w 14637682"/>
              <a:gd name="connsiteY372" fmla="*/ 3835561 h 3953992"/>
              <a:gd name="connsiteX373" fmla="*/ 6878894 w 14637682"/>
              <a:gd name="connsiteY373" fmla="*/ 3807695 h 3953992"/>
              <a:gd name="connsiteX374" fmla="*/ 6555958 w 14637682"/>
              <a:gd name="connsiteY374" fmla="*/ 3807695 h 3953992"/>
              <a:gd name="connsiteX375" fmla="*/ 6524706 w 14637682"/>
              <a:gd name="connsiteY375" fmla="*/ 3776345 h 3953992"/>
              <a:gd name="connsiteX376" fmla="*/ 6465675 w 14637682"/>
              <a:gd name="connsiteY376" fmla="*/ 3804211 h 3953992"/>
              <a:gd name="connsiteX377" fmla="*/ 6375391 w 14637682"/>
              <a:gd name="connsiteY377" fmla="*/ 3804211 h 3953992"/>
              <a:gd name="connsiteX378" fmla="*/ 6347612 w 14637682"/>
              <a:gd name="connsiteY378" fmla="*/ 3779829 h 3953992"/>
              <a:gd name="connsiteX379" fmla="*/ 6316361 w 14637682"/>
              <a:gd name="connsiteY379" fmla="*/ 3804211 h 3953992"/>
              <a:gd name="connsiteX380" fmla="*/ 6170518 w 14637682"/>
              <a:gd name="connsiteY380" fmla="*/ 3804211 h 3953992"/>
              <a:gd name="connsiteX381" fmla="*/ 6139266 w 14637682"/>
              <a:gd name="connsiteY381" fmla="*/ 3779829 h 3953992"/>
              <a:gd name="connsiteX382" fmla="*/ 6108014 w 14637682"/>
              <a:gd name="connsiteY382" fmla="*/ 3804211 h 3953992"/>
              <a:gd name="connsiteX383" fmla="*/ 6080235 w 14637682"/>
              <a:gd name="connsiteY383" fmla="*/ 3776345 h 3953992"/>
              <a:gd name="connsiteX384" fmla="*/ 6052455 w 14637682"/>
              <a:gd name="connsiteY384" fmla="*/ 3804211 h 3953992"/>
              <a:gd name="connsiteX385" fmla="*/ 5726047 w 14637682"/>
              <a:gd name="connsiteY385" fmla="*/ 3807695 h 3953992"/>
              <a:gd name="connsiteX386" fmla="*/ 5694795 w 14637682"/>
              <a:gd name="connsiteY386" fmla="*/ 3835561 h 3953992"/>
              <a:gd name="connsiteX387" fmla="*/ 5667015 w 14637682"/>
              <a:gd name="connsiteY387" fmla="*/ 3807695 h 3953992"/>
              <a:gd name="connsiteX388" fmla="*/ 5427417 w 14637682"/>
              <a:gd name="connsiteY388" fmla="*/ 3807695 h 3953992"/>
              <a:gd name="connsiteX389" fmla="*/ 5403110 w 14637682"/>
              <a:gd name="connsiteY389" fmla="*/ 3832078 h 3953992"/>
              <a:gd name="connsiteX390" fmla="*/ 5222543 w 14637682"/>
              <a:gd name="connsiteY390" fmla="*/ 3832078 h 3953992"/>
              <a:gd name="connsiteX391" fmla="*/ 5163512 w 14637682"/>
              <a:gd name="connsiteY391" fmla="*/ 3807695 h 3953992"/>
              <a:gd name="connsiteX392" fmla="*/ 5132260 w 14637682"/>
              <a:gd name="connsiteY392" fmla="*/ 3835561 h 3953992"/>
              <a:gd name="connsiteX393" fmla="*/ 4778071 w 14637682"/>
              <a:gd name="connsiteY393" fmla="*/ 3835561 h 3953992"/>
              <a:gd name="connsiteX394" fmla="*/ 4743347 w 14637682"/>
              <a:gd name="connsiteY394" fmla="*/ 3800728 h 3953992"/>
              <a:gd name="connsiteX395" fmla="*/ 4673898 w 14637682"/>
              <a:gd name="connsiteY395" fmla="*/ 3832078 h 3953992"/>
              <a:gd name="connsiteX396" fmla="*/ 4222482 w 14637682"/>
              <a:gd name="connsiteY396" fmla="*/ 3832078 h 3953992"/>
              <a:gd name="connsiteX397" fmla="*/ 4177340 w 14637682"/>
              <a:gd name="connsiteY397" fmla="*/ 3870393 h 3953992"/>
              <a:gd name="connsiteX398" fmla="*/ 4125253 w 14637682"/>
              <a:gd name="connsiteY398" fmla="*/ 3839044 h 3953992"/>
              <a:gd name="connsiteX399" fmla="*/ 3889128 w 14637682"/>
              <a:gd name="connsiteY399" fmla="*/ 3839044 h 3953992"/>
              <a:gd name="connsiteX400" fmla="*/ 3864821 w 14637682"/>
              <a:gd name="connsiteY400" fmla="*/ 3863427 h 3953992"/>
              <a:gd name="connsiteX401" fmla="*/ 3097413 w 14637682"/>
              <a:gd name="connsiteY401" fmla="*/ 3863427 h 3953992"/>
              <a:gd name="connsiteX402" fmla="*/ 3062689 w 14637682"/>
              <a:gd name="connsiteY402" fmla="*/ 3894777 h 3953992"/>
              <a:gd name="connsiteX403" fmla="*/ 2975878 w 14637682"/>
              <a:gd name="connsiteY403" fmla="*/ 3894777 h 3953992"/>
              <a:gd name="connsiteX404" fmla="*/ 2944626 w 14637682"/>
              <a:gd name="connsiteY404" fmla="*/ 3866910 h 3953992"/>
              <a:gd name="connsiteX405" fmla="*/ 2882122 w 14637682"/>
              <a:gd name="connsiteY405" fmla="*/ 3894777 h 3953992"/>
              <a:gd name="connsiteX406" fmla="*/ 2802255 w 14637682"/>
              <a:gd name="connsiteY406" fmla="*/ 3894777 h 3953992"/>
              <a:gd name="connsiteX407" fmla="*/ 2764059 w 14637682"/>
              <a:gd name="connsiteY407" fmla="*/ 3866910 h 3953992"/>
              <a:gd name="connsiteX408" fmla="*/ 2590438 w 14637682"/>
              <a:gd name="connsiteY408" fmla="*/ 3866910 h 3953992"/>
              <a:gd name="connsiteX409" fmla="*/ 2566131 w 14637682"/>
              <a:gd name="connsiteY409" fmla="*/ 3839044 h 3953992"/>
              <a:gd name="connsiteX410" fmla="*/ 2441123 w 14637682"/>
              <a:gd name="connsiteY410" fmla="*/ 3839044 h 3953992"/>
              <a:gd name="connsiteX411" fmla="*/ 2416816 w 14637682"/>
              <a:gd name="connsiteY411" fmla="*/ 3863427 h 3953992"/>
              <a:gd name="connsiteX412" fmla="*/ 2062627 w 14637682"/>
              <a:gd name="connsiteY412" fmla="*/ 3863427 h 3953992"/>
              <a:gd name="connsiteX413" fmla="*/ 2027903 w 14637682"/>
              <a:gd name="connsiteY413" fmla="*/ 3894777 h 3953992"/>
              <a:gd name="connsiteX414" fmla="*/ 1645935 w 14637682"/>
              <a:gd name="connsiteY414" fmla="*/ 3894777 h 3953992"/>
              <a:gd name="connsiteX415" fmla="*/ 1614683 w 14637682"/>
              <a:gd name="connsiteY415" fmla="*/ 3926126 h 3953992"/>
              <a:gd name="connsiteX416" fmla="*/ 1350778 w 14637682"/>
              <a:gd name="connsiteY416" fmla="*/ 3926126 h 3953992"/>
              <a:gd name="connsiteX417" fmla="*/ 1312581 w 14637682"/>
              <a:gd name="connsiteY417" fmla="*/ 3891293 h 3953992"/>
              <a:gd name="connsiteX418" fmla="*/ 1250077 w 14637682"/>
              <a:gd name="connsiteY418" fmla="*/ 3922643 h 3953992"/>
              <a:gd name="connsiteX419" fmla="*/ 708377 w 14637682"/>
              <a:gd name="connsiteY419" fmla="*/ 3922643 h 3953992"/>
              <a:gd name="connsiteX420" fmla="*/ 670180 w 14637682"/>
              <a:gd name="connsiteY420" fmla="*/ 3953992 h 3953992"/>
              <a:gd name="connsiteX421" fmla="*/ 524338 w 14637682"/>
              <a:gd name="connsiteY421" fmla="*/ 3953992 h 3953992"/>
              <a:gd name="connsiteX422" fmla="*/ 493086 w 14637682"/>
              <a:gd name="connsiteY422" fmla="*/ 3926126 h 3953992"/>
              <a:gd name="connsiteX423" fmla="*/ 427110 w 14637682"/>
              <a:gd name="connsiteY423" fmla="*/ 3926126 h 3953992"/>
              <a:gd name="connsiteX424" fmla="*/ 347244 w 14637682"/>
              <a:gd name="connsiteY424" fmla="*/ 3828595 h 3953992"/>
              <a:gd name="connsiteX425" fmla="*/ 336827 w 14637682"/>
              <a:gd name="connsiteY425" fmla="*/ 3842527 h 3953992"/>
              <a:gd name="connsiteX426" fmla="*/ 277795 w 14637682"/>
              <a:gd name="connsiteY426" fmla="*/ 3807695 h 3953992"/>
              <a:gd name="connsiteX427" fmla="*/ 232654 w 14637682"/>
              <a:gd name="connsiteY427" fmla="*/ 3804211 h 3953992"/>
              <a:gd name="connsiteX428" fmla="*/ 184039 w 14637682"/>
              <a:gd name="connsiteY428" fmla="*/ 3762412 h 3953992"/>
              <a:gd name="connsiteX429" fmla="*/ 211819 w 14637682"/>
              <a:gd name="connsiteY429" fmla="*/ 3650948 h 3953992"/>
              <a:gd name="connsiteX430" fmla="*/ 236126 w 14637682"/>
              <a:gd name="connsiteY430" fmla="*/ 3542967 h 3953992"/>
              <a:gd name="connsiteX431" fmla="*/ 163205 w 14637682"/>
              <a:gd name="connsiteY431" fmla="*/ 3501167 h 3953992"/>
              <a:gd name="connsiteX432" fmla="*/ 72921 w 14637682"/>
              <a:gd name="connsiteY432" fmla="*/ 3501167 h 3953992"/>
              <a:gd name="connsiteX433" fmla="*/ 62504 w 14637682"/>
              <a:gd name="connsiteY433" fmla="*/ 3459368 h 3953992"/>
              <a:gd name="connsiteX434" fmla="*/ 121535 w 14637682"/>
              <a:gd name="connsiteY434" fmla="*/ 3428019 h 3953992"/>
              <a:gd name="connsiteX435" fmla="*/ 69449 w 14637682"/>
              <a:gd name="connsiteY435" fmla="*/ 3337454 h 3953992"/>
              <a:gd name="connsiteX436" fmla="*/ 107646 w 14637682"/>
              <a:gd name="connsiteY436" fmla="*/ 3292172 h 3953992"/>
              <a:gd name="connsiteX437" fmla="*/ 187512 w 14637682"/>
              <a:gd name="connsiteY437" fmla="*/ 3292172 h 3953992"/>
              <a:gd name="connsiteX438" fmla="*/ 270850 w 14637682"/>
              <a:gd name="connsiteY438" fmla="*/ 3246889 h 3953992"/>
              <a:gd name="connsiteX439" fmla="*/ 270850 w 14637682"/>
              <a:gd name="connsiteY439" fmla="*/ 3187674 h 3953992"/>
              <a:gd name="connsiteX440" fmla="*/ 305575 w 14637682"/>
              <a:gd name="connsiteY440" fmla="*/ 3152841 h 3953992"/>
              <a:gd name="connsiteX441" fmla="*/ 218764 w 14637682"/>
              <a:gd name="connsiteY441" fmla="*/ 3135425 h 3953992"/>
              <a:gd name="connsiteX442" fmla="*/ 256961 w 14637682"/>
              <a:gd name="connsiteY442" fmla="*/ 3079692 h 3953992"/>
              <a:gd name="connsiteX443" fmla="*/ 315992 w 14637682"/>
              <a:gd name="connsiteY443" fmla="*/ 3079692 h 3953992"/>
              <a:gd name="connsiteX444" fmla="*/ 347244 w 14637682"/>
              <a:gd name="connsiteY444" fmla="*/ 3111042 h 3953992"/>
              <a:gd name="connsiteX445" fmla="*/ 524338 w 14637682"/>
              <a:gd name="connsiteY445" fmla="*/ 2992611 h 3953992"/>
              <a:gd name="connsiteX446" fmla="*/ 635456 w 14637682"/>
              <a:gd name="connsiteY446" fmla="*/ 2992611 h 3953992"/>
              <a:gd name="connsiteX447" fmla="*/ 670180 w 14637682"/>
              <a:gd name="connsiteY447" fmla="*/ 2961261 h 3953992"/>
              <a:gd name="connsiteX448" fmla="*/ 819495 w 14637682"/>
              <a:gd name="connsiteY448" fmla="*/ 2961261 h 3953992"/>
              <a:gd name="connsiteX449" fmla="*/ 829913 w 14637682"/>
              <a:gd name="connsiteY449" fmla="*/ 2943845 h 3953992"/>
              <a:gd name="connsiteX450" fmla="*/ 847275 w 14637682"/>
              <a:gd name="connsiteY450" fmla="*/ 2929912 h 3953992"/>
              <a:gd name="connsiteX451" fmla="*/ 1055621 w 14637682"/>
              <a:gd name="connsiteY451" fmla="*/ 2929912 h 3953992"/>
              <a:gd name="connsiteX452" fmla="*/ 1079928 w 14637682"/>
              <a:gd name="connsiteY452" fmla="*/ 2902046 h 3953992"/>
              <a:gd name="connsiteX453" fmla="*/ 1197990 w 14637682"/>
              <a:gd name="connsiteY453" fmla="*/ 2902046 h 3953992"/>
              <a:gd name="connsiteX454" fmla="*/ 1229242 w 14637682"/>
              <a:gd name="connsiteY454" fmla="*/ 2870696 h 3953992"/>
              <a:gd name="connsiteX455" fmla="*/ 1319526 w 14637682"/>
              <a:gd name="connsiteY455" fmla="*/ 2870696 h 3953992"/>
              <a:gd name="connsiteX456" fmla="*/ 1350778 w 14637682"/>
              <a:gd name="connsiteY456" fmla="*/ 2839347 h 3953992"/>
              <a:gd name="connsiteX457" fmla="*/ 1527872 w 14637682"/>
              <a:gd name="connsiteY457" fmla="*/ 2839347 h 3953992"/>
              <a:gd name="connsiteX458" fmla="*/ 1555651 w 14637682"/>
              <a:gd name="connsiteY458" fmla="*/ 2811481 h 3953992"/>
              <a:gd name="connsiteX459" fmla="*/ 1670242 w 14637682"/>
              <a:gd name="connsiteY459" fmla="*/ 2811481 h 3953992"/>
              <a:gd name="connsiteX460" fmla="*/ 1704966 w 14637682"/>
              <a:gd name="connsiteY460" fmla="*/ 2780131 h 3953992"/>
              <a:gd name="connsiteX461" fmla="*/ 1882060 w 14637682"/>
              <a:gd name="connsiteY461" fmla="*/ 2780131 h 3953992"/>
              <a:gd name="connsiteX462" fmla="*/ 1902895 w 14637682"/>
              <a:gd name="connsiteY462" fmla="*/ 2759232 h 3953992"/>
              <a:gd name="connsiteX463" fmla="*/ 1913312 w 14637682"/>
              <a:gd name="connsiteY463" fmla="*/ 2748782 h 3953992"/>
              <a:gd name="connsiteX464" fmla="*/ 2059154 w 14637682"/>
              <a:gd name="connsiteY464" fmla="*/ 2748782 h 3953992"/>
              <a:gd name="connsiteX465" fmla="*/ 2086934 w 14637682"/>
              <a:gd name="connsiteY465" fmla="*/ 2720916 h 3953992"/>
              <a:gd name="connsiteX466" fmla="*/ 2253611 w 14637682"/>
              <a:gd name="connsiteY466" fmla="*/ 2713949 h 3953992"/>
              <a:gd name="connsiteX467" fmla="*/ 2184162 w 14637682"/>
              <a:gd name="connsiteY467" fmla="*/ 2689566 h 3953992"/>
              <a:gd name="connsiteX468" fmla="*/ 2132076 w 14637682"/>
              <a:gd name="connsiteY468" fmla="*/ 2672150 h 3953992"/>
              <a:gd name="connsiteX469" fmla="*/ 2066100 w 14637682"/>
              <a:gd name="connsiteY469" fmla="*/ 2654734 h 3953992"/>
              <a:gd name="connsiteX470" fmla="*/ 2027903 w 14637682"/>
              <a:gd name="connsiteY470" fmla="*/ 2686083 h 3953992"/>
              <a:gd name="connsiteX471" fmla="*/ 1941092 w 14637682"/>
              <a:gd name="connsiteY471" fmla="*/ 2686083 h 3953992"/>
              <a:gd name="connsiteX472" fmla="*/ 1909840 w 14637682"/>
              <a:gd name="connsiteY472" fmla="*/ 2658217 h 3953992"/>
              <a:gd name="connsiteX473" fmla="*/ 1823029 w 14637682"/>
              <a:gd name="connsiteY473" fmla="*/ 2658217 h 3953992"/>
              <a:gd name="connsiteX474" fmla="*/ 1788304 w 14637682"/>
              <a:gd name="connsiteY474" fmla="*/ 2623384 h 3953992"/>
              <a:gd name="connsiteX475" fmla="*/ 1729273 w 14637682"/>
              <a:gd name="connsiteY475" fmla="*/ 2651251 h 3953992"/>
              <a:gd name="connsiteX476" fmla="*/ 1628572 w 14637682"/>
              <a:gd name="connsiteY476" fmla="*/ 2595518 h 3953992"/>
              <a:gd name="connsiteX477" fmla="*/ 1524399 w 14637682"/>
              <a:gd name="connsiteY477" fmla="*/ 2595518 h 3953992"/>
              <a:gd name="connsiteX478" fmla="*/ 1500092 w 14637682"/>
              <a:gd name="connsiteY478" fmla="*/ 2567652 h 3953992"/>
              <a:gd name="connsiteX479" fmla="*/ 1413281 w 14637682"/>
              <a:gd name="connsiteY479" fmla="*/ 2567652 h 3953992"/>
              <a:gd name="connsiteX480" fmla="*/ 1378557 w 14637682"/>
              <a:gd name="connsiteY480" fmla="*/ 2539786 h 3953992"/>
              <a:gd name="connsiteX481" fmla="*/ 1347305 w 14637682"/>
              <a:gd name="connsiteY481" fmla="*/ 2567652 h 3953992"/>
              <a:gd name="connsiteX482" fmla="*/ 1322998 w 14637682"/>
              <a:gd name="connsiteY482" fmla="*/ 2539786 h 3953992"/>
              <a:gd name="connsiteX483" fmla="*/ 1142432 w 14637682"/>
              <a:gd name="connsiteY483" fmla="*/ 2532819 h 3953992"/>
              <a:gd name="connsiteX484" fmla="*/ 1100762 w 14637682"/>
              <a:gd name="connsiteY484" fmla="*/ 2494504 h 3953992"/>
              <a:gd name="connsiteX485" fmla="*/ 1086873 w 14637682"/>
              <a:gd name="connsiteY485" fmla="*/ 2431805 h 3953992"/>
              <a:gd name="connsiteX486" fmla="*/ 1038258 w 14637682"/>
              <a:gd name="connsiteY486" fmla="*/ 2508437 h 3953992"/>
              <a:gd name="connsiteX487" fmla="*/ 975755 w 14637682"/>
              <a:gd name="connsiteY487" fmla="*/ 2508437 h 3953992"/>
              <a:gd name="connsiteX488" fmla="*/ 895889 w 14637682"/>
              <a:gd name="connsiteY488" fmla="*/ 2463154 h 3953992"/>
              <a:gd name="connsiteX489" fmla="*/ 847275 w 14637682"/>
              <a:gd name="connsiteY489" fmla="*/ 2417872 h 3953992"/>
              <a:gd name="connsiteX490" fmla="*/ 816023 w 14637682"/>
              <a:gd name="connsiteY490" fmla="*/ 2445738 h 3953992"/>
              <a:gd name="connsiteX491" fmla="*/ 767409 w 14637682"/>
              <a:gd name="connsiteY491" fmla="*/ 2396972 h 3953992"/>
              <a:gd name="connsiteX492" fmla="*/ 718794 w 14637682"/>
              <a:gd name="connsiteY492" fmla="*/ 2376073 h 3953992"/>
              <a:gd name="connsiteX493" fmla="*/ 704905 w 14637682"/>
              <a:gd name="connsiteY493" fmla="*/ 2327307 h 3953992"/>
              <a:gd name="connsiteX494" fmla="*/ 635456 w 14637682"/>
              <a:gd name="connsiteY494" fmla="*/ 2323824 h 3953992"/>
              <a:gd name="connsiteX495" fmla="*/ 618094 w 14637682"/>
              <a:gd name="connsiteY495" fmla="*/ 2271575 h 3953992"/>
              <a:gd name="connsiteX496" fmla="*/ 576425 w 14637682"/>
              <a:gd name="connsiteY496" fmla="*/ 2261125 h 3953992"/>
              <a:gd name="connsiteX497" fmla="*/ 566007 w 14637682"/>
              <a:gd name="connsiteY497" fmla="*/ 2191459 h 3953992"/>
              <a:gd name="connsiteX498" fmla="*/ 538228 w 14637682"/>
              <a:gd name="connsiteY498" fmla="*/ 2160110 h 3953992"/>
              <a:gd name="connsiteX499" fmla="*/ 538228 w 14637682"/>
              <a:gd name="connsiteY499" fmla="*/ 2097411 h 3953992"/>
              <a:gd name="connsiteX500" fmla="*/ 513921 w 14637682"/>
              <a:gd name="connsiteY500" fmla="*/ 2083478 h 3953992"/>
              <a:gd name="connsiteX501" fmla="*/ 315992 w 14637682"/>
              <a:gd name="connsiteY501" fmla="*/ 2083478 h 3953992"/>
              <a:gd name="connsiteX502" fmla="*/ 288212 w 14637682"/>
              <a:gd name="connsiteY502" fmla="*/ 2055612 h 3953992"/>
              <a:gd name="connsiteX503" fmla="*/ 107646 w 14637682"/>
              <a:gd name="connsiteY503" fmla="*/ 2055612 h 3953992"/>
              <a:gd name="connsiteX504" fmla="*/ 79866 w 14637682"/>
              <a:gd name="connsiteY504" fmla="*/ 2083478 h 3953992"/>
              <a:gd name="connsiteX505" fmla="*/ 6945 w 14637682"/>
              <a:gd name="connsiteY505" fmla="*/ 1937181 h 3953992"/>
              <a:gd name="connsiteX506" fmla="*/ 6945 w 14637682"/>
              <a:gd name="connsiteY506" fmla="*/ 1860549 h 3953992"/>
              <a:gd name="connsiteX507" fmla="*/ 34725 w 14637682"/>
              <a:gd name="connsiteY507" fmla="*/ 1825717 h 3953992"/>
              <a:gd name="connsiteX508" fmla="*/ 0 w 14637682"/>
              <a:gd name="connsiteY508" fmla="*/ 1790884 h 3953992"/>
              <a:gd name="connsiteX509" fmla="*/ 34725 w 14637682"/>
              <a:gd name="connsiteY509" fmla="*/ 1731668 h 3953992"/>
              <a:gd name="connsiteX510" fmla="*/ 34725 w 14637682"/>
              <a:gd name="connsiteY510" fmla="*/ 1675936 h 3953992"/>
              <a:gd name="connsiteX511" fmla="*/ 111118 w 14637682"/>
              <a:gd name="connsiteY511" fmla="*/ 1662003 h 3953992"/>
              <a:gd name="connsiteX512" fmla="*/ 135425 w 14637682"/>
              <a:gd name="connsiteY512" fmla="*/ 1602787 h 3953992"/>
              <a:gd name="connsiteX513" fmla="*/ 170150 w 14637682"/>
              <a:gd name="connsiteY513" fmla="*/ 1630654 h 3953992"/>
              <a:gd name="connsiteX514" fmla="*/ 170150 w 14637682"/>
              <a:gd name="connsiteY514" fmla="*/ 1543572 h 3953992"/>
              <a:gd name="connsiteX515" fmla="*/ 138898 w 14637682"/>
              <a:gd name="connsiteY515" fmla="*/ 1567955 h 3953992"/>
              <a:gd name="connsiteX516" fmla="*/ 111118 w 14637682"/>
              <a:gd name="connsiteY516" fmla="*/ 1543572 h 3953992"/>
              <a:gd name="connsiteX517" fmla="*/ 62504 w 14637682"/>
              <a:gd name="connsiteY517" fmla="*/ 1571438 h 3953992"/>
              <a:gd name="connsiteX518" fmla="*/ 62504 w 14637682"/>
              <a:gd name="connsiteY518" fmla="*/ 1522672 h 3953992"/>
              <a:gd name="connsiteX519" fmla="*/ 114591 w 14637682"/>
              <a:gd name="connsiteY519" fmla="*/ 1505256 h 3953992"/>
              <a:gd name="connsiteX520" fmla="*/ 135425 w 14637682"/>
              <a:gd name="connsiteY520" fmla="*/ 1453007 h 3953992"/>
              <a:gd name="connsiteX521" fmla="*/ 218764 w 14637682"/>
              <a:gd name="connsiteY521" fmla="*/ 1400758 h 3953992"/>
              <a:gd name="connsiteX522" fmla="*/ 288212 w 14637682"/>
              <a:gd name="connsiteY522" fmla="*/ 1386825 h 3953992"/>
              <a:gd name="connsiteX523" fmla="*/ 302102 w 14637682"/>
              <a:gd name="connsiteY523" fmla="*/ 1285810 h 3953992"/>
              <a:gd name="connsiteX524" fmla="*/ 343771 w 14637682"/>
              <a:gd name="connsiteY524" fmla="*/ 1240528 h 3953992"/>
              <a:gd name="connsiteX525" fmla="*/ 395858 w 14637682"/>
              <a:gd name="connsiteY525" fmla="*/ 1237045 h 3953992"/>
              <a:gd name="connsiteX526" fmla="*/ 441000 w 14637682"/>
              <a:gd name="connsiteY526" fmla="*/ 1209178 h 3953992"/>
              <a:gd name="connsiteX527" fmla="*/ 506976 w 14637682"/>
              <a:gd name="connsiteY527" fmla="*/ 1177829 h 3953992"/>
              <a:gd name="connsiteX528" fmla="*/ 635456 w 14637682"/>
              <a:gd name="connsiteY528" fmla="*/ 1177829 h 3953992"/>
              <a:gd name="connsiteX529" fmla="*/ 670180 w 14637682"/>
              <a:gd name="connsiteY529" fmla="*/ 1149963 h 3953992"/>
              <a:gd name="connsiteX530" fmla="*/ 756991 w 14637682"/>
              <a:gd name="connsiteY530" fmla="*/ 1149963 h 3953992"/>
              <a:gd name="connsiteX531" fmla="*/ 791716 w 14637682"/>
              <a:gd name="connsiteY531" fmla="*/ 1118613 h 3953992"/>
              <a:gd name="connsiteX532" fmla="*/ 965337 w 14637682"/>
              <a:gd name="connsiteY532" fmla="*/ 1118613 h 3953992"/>
              <a:gd name="connsiteX533" fmla="*/ 993117 w 14637682"/>
              <a:gd name="connsiteY533" fmla="*/ 1090747 h 3953992"/>
              <a:gd name="connsiteX534" fmla="*/ 1142432 w 14637682"/>
              <a:gd name="connsiteY534" fmla="*/ 1090747 h 3953992"/>
              <a:gd name="connsiteX535" fmla="*/ 1173683 w 14637682"/>
              <a:gd name="connsiteY535" fmla="*/ 1059398 h 3953992"/>
              <a:gd name="connsiteX536" fmla="*/ 1378557 w 14637682"/>
              <a:gd name="connsiteY536" fmla="*/ 1059398 h 3953992"/>
              <a:gd name="connsiteX537" fmla="*/ 1406337 w 14637682"/>
              <a:gd name="connsiteY537" fmla="*/ 1028049 h 3953992"/>
              <a:gd name="connsiteX538" fmla="*/ 1437589 w 14637682"/>
              <a:gd name="connsiteY538" fmla="*/ 1055915 h 3953992"/>
              <a:gd name="connsiteX539" fmla="*/ 1468840 w 14637682"/>
              <a:gd name="connsiteY539" fmla="*/ 1028049 h 3953992"/>
              <a:gd name="connsiteX540" fmla="*/ 1763997 w 14637682"/>
              <a:gd name="connsiteY540" fmla="*/ 1028049 h 3953992"/>
              <a:gd name="connsiteX541" fmla="*/ 1781360 w 14637682"/>
              <a:gd name="connsiteY541" fmla="*/ 1007149 h 3953992"/>
              <a:gd name="connsiteX542" fmla="*/ 1795249 w 14637682"/>
              <a:gd name="connsiteY542" fmla="*/ 996699 h 3953992"/>
              <a:gd name="connsiteX543" fmla="*/ 2149438 w 14637682"/>
              <a:gd name="connsiteY543" fmla="*/ 996699 h 3953992"/>
              <a:gd name="connsiteX544" fmla="*/ 2177217 w 14637682"/>
              <a:gd name="connsiteY544" fmla="*/ 968833 h 3953992"/>
              <a:gd name="connsiteX545" fmla="*/ 2531406 w 14637682"/>
              <a:gd name="connsiteY545" fmla="*/ 968833 h 3953992"/>
              <a:gd name="connsiteX546" fmla="*/ 2559186 w 14637682"/>
              <a:gd name="connsiteY546" fmla="*/ 940967 h 3953992"/>
              <a:gd name="connsiteX547" fmla="*/ 2739752 w 14637682"/>
              <a:gd name="connsiteY547" fmla="*/ 940967 h 3953992"/>
              <a:gd name="connsiteX548" fmla="*/ 2771003 w 14637682"/>
              <a:gd name="connsiteY548" fmla="*/ 965350 h 3953992"/>
              <a:gd name="connsiteX549" fmla="*/ 2823090 w 14637682"/>
              <a:gd name="connsiteY549" fmla="*/ 965350 h 3953992"/>
              <a:gd name="connsiteX550" fmla="*/ 2920318 w 14637682"/>
              <a:gd name="connsiteY550" fmla="*/ 909618 h 3953992"/>
              <a:gd name="connsiteX551" fmla="*/ 2948098 w 14637682"/>
              <a:gd name="connsiteY551" fmla="*/ 934000 h 3953992"/>
              <a:gd name="connsiteX552" fmla="*/ 2979350 w 14637682"/>
              <a:gd name="connsiteY552" fmla="*/ 906134 h 3953992"/>
              <a:gd name="connsiteX553" fmla="*/ 3000185 w 14637682"/>
              <a:gd name="connsiteY553" fmla="*/ 965350 h 3953992"/>
              <a:gd name="connsiteX554" fmla="*/ 3059216 w 14637682"/>
              <a:gd name="connsiteY554" fmla="*/ 968833 h 3953992"/>
              <a:gd name="connsiteX555" fmla="*/ 3093941 w 14637682"/>
              <a:gd name="connsiteY555" fmla="*/ 940967 h 3953992"/>
              <a:gd name="connsiteX556" fmla="*/ 3125193 w 14637682"/>
              <a:gd name="connsiteY556" fmla="*/ 965350 h 3953992"/>
              <a:gd name="connsiteX557" fmla="*/ 3184224 w 14637682"/>
              <a:gd name="connsiteY557" fmla="*/ 965350 h 3953992"/>
              <a:gd name="connsiteX558" fmla="*/ 3201586 w 14637682"/>
              <a:gd name="connsiteY558" fmla="*/ 920067 h 3953992"/>
              <a:gd name="connsiteX559" fmla="*/ 3212004 w 14637682"/>
              <a:gd name="connsiteY559" fmla="*/ 906134 h 3953992"/>
              <a:gd name="connsiteX560" fmla="*/ 3357846 w 14637682"/>
              <a:gd name="connsiteY560" fmla="*/ 906134 h 3953992"/>
              <a:gd name="connsiteX561" fmla="*/ 3389098 w 14637682"/>
              <a:gd name="connsiteY561" fmla="*/ 934000 h 3953992"/>
              <a:gd name="connsiteX562" fmla="*/ 3416876 w 14637682"/>
              <a:gd name="connsiteY562" fmla="*/ 909618 h 3953992"/>
              <a:gd name="connsiteX563" fmla="*/ 3541884 w 14637682"/>
              <a:gd name="connsiteY563" fmla="*/ 909618 h 3953992"/>
              <a:gd name="connsiteX564" fmla="*/ 3604388 w 14637682"/>
              <a:gd name="connsiteY564" fmla="*/ 930517 h 3953992"/>
              <a:gd name="connsiteX565" fmla="*/ 3600916 w 14637682"/>
              <a:gd name="connsiteY565" fmla="*/ 878268 h 3953992"/>
              <a:gd name="connsiteX566" fmla="*/ 3507160 w 14637682"/>
              <a:gd name="connsiteY566" fmla="*/ 815569 h 3953992"/>
              <a:gd name="connsiteX567" fmla="*/ 3420350 w 14637682"/>
              <a:gd name="connsiteY567" fmla="*/ 815569 h 3953992"/>
              <a:gd name="connsiteX568" fmla="*/ 3382152 w 14637682"/>
              <a:gd name="connsiteY568" fmla="*/ 780737 h 3953992"/>
              <a:gd name="connsiteX569" fmla="*/ 3357411 w 14637682"/>
              <a:gd name="connsiteY569" fmla="*/ 793799 h 3953992"/>
              <a:gd name="connsiteX570" fmla="*/ 3324394 w 14637682"/>
              <a:gd name="connsiteY570" fmla="*/ 809788 h 3953992"/>
              <a:gd name="connsiteX571" fmla="*/ 3243255 w 14637682"/>
              <a:gd name="connsiteY571" fmla="*/ 725004 h 3953992"/>
              <a:gd name="connsiteX572" fmla="*/ 3184224 w 14637682"/>
              <a:gd name="connsiteY572" fmla="*/ 725004 h 3953992"/>
              <a:gd name="connsiteX573" fmla="*/ 3152972 w 14637682"/>
              <a:gd name="connsiteY573" fmla="*/ 697138 h 3953992"/>
              <a:gd name="connsiteX574" fmla="*/ 3093941 w 14637682"/>
              <a:gd name="connsiteY574" fmla="*/ 697138 h 3953992"/>
              <a:gd name="connsiteX575" fmla="*/ 3062689 w 14637682"/>
              <a:gd name="connsiteY575" fmla="*/ 725004 h 3953992"/>
              <a:gd name="connsiteX576" fmla="*/ 2982822 w 14637682"/>
              <a:gd name="connsiteY576" fmla="*/ 725004 h 3953992"/>
              <a:gd name="connsiteX577" fmla="*/ 2944626 w 14637682"/>
              <a:gd name="connsiteY577" fmla="*/ 697138 h 3953992"/>
              <a:gd name="connsiteX578" fmla="*/ 2854342 w 14637682"/>
              <a:gd name="connsiteY578" fmla="*/ 697138 h 3953992"/>
              <a:gd name="connsiteX579" fmla="*/ 2830035 w 14637682"/>
              <a:gd name="connsiteY579" fmla="*/ 721521 h 3953992"/>
              <a:gd name="connsiteX580" fmla="*/ 2618217 w 14637682"/>
              <a:gd name="connsiteY580" fmla="*/ 721521 h 3953992"/>
              <a:gd name="connsiteX581" fmla="*/ 2593910 w 14637682"/>
              <a:gd name="connsiteY581" fmla="*/ 697138 h 3953992"/>
              <a:gd name="connsiteX582" fmla="*/ 2562658 w 14637682"/>
              <a:gd name="connsiteY582" fmla="*/ 725004 h 3953992"/>
              <a:gd name="connsiteX583" fmla="*/ 2503627 w 14637682"/>
              <a:gd name="connsiteY583" fmla="*/ 725004 h 3953992"/>
              <a:gd name="connsiteX584" fmla="*/ 2472375 w 14637682"/>
              <a:gd name="connsiteY584" fmla="*/ 697138 h 3953992"/>
              <a:gd name="connsiteX585" fmla="*/ 2413343 w 14637682"/>
              <a:gd name="connsiteY585" fmla="*/ 697138 h 3953992"/>
              <a:gd name="connsiteX586" fmla="*/ 2385564 w 14637682"/>
              <a:gd name="connsiteY586" fmla="*/ 725004 h 3953992"/>
              <a:gd name="connsiteX587" fmla="*/ 2312642 w 14637682"/>
              <a:gd name="connsiteY587" fmla="*/ 690172 h 3953992"/>
              <a:gd name="connsiteX588" fmla="*/ 2264028 w 14637682"/>
              <a:gd name="connsiteY588" fmla="*/ 721521 h 3953992"/>
              <a:gd name="connsiteX589" fmla="*/ 2236249 w 14637682"/>
              <a:gd name="connsiteY589" fmla="*/ 697138 h 3953992"/>
              <a:gd name="connsiteX590" fmla="*/ 1944564 w 14637682"/>
              <a:gd name="connsiteY590" fmla="*/ 697138 h 3953992"/>
              <a:gd name="connsiteX591" fmla="*/ 1909840 w 14637682"/>
              <a:gd name="connsiteY591" fmla="*/ 665789 h 3953992"/>
              <a:gd name="connsiteX592" fmla="*/ 1892478 w 14637682"/>
              <a:gd name="connsiteY592" fmla="*/ 686688 h 3953992"/>
              <a:gd name="connsiteX593" fmla="*/ 1791777 w 14637682"/>
              <a:gd name="connsiteY593" fmla="*/ 693655 h 3953992"/>
              <a:gd name="connsiteX594" fmla="*/ 1763997 w 14637682"/>
              <a:gd name="connsiteY594" fmla="*/ 665789 h 3953992"/>
              <a:gd name="connsiteX595" fmla="*/ 1645935 w 14637682"/>
              <a:gd name="connsiteY595" fmla="*/ 665789 h 3953992"/>
              <a:gd name="connsiteX596" fmla="*/ 1618155 w 14637682"/>
              <a:gd name="connsiteY596" fmla="*/ 637923 h 3953992"/>
              <a:gd name="connsiteX597" fmla="*/ 1586903 w 14637682"/>
              <a:gd name="connsiteY597" fmla="*/ 662306 h 3953992"/>
              <a:gd name="connsiteX598" fmla="*/ 1555651 w 14637682"/>
              <a:gd name="connsiteY598" fmla="*/ 634439 h 3953992"/>
              <a:gd name="connsiteX599" fmla="*/ 1441061 w 14637682"/>
              <a:gd name="connsiteY599" fmla="*/ 634439 h 3953992"/>
              <a:gd name="connsiteX600" fmla="*/ 1409809 w 14637682"/>
              <a:gd name="connsiteY600" fmla="*/ 603090 h 3953992"/>
              <a:gd name="connsiteX601" fmla="*/ 1319526 w 14637682"/>
              <a:gd name="connsiteY601" fmla="*/ 603090 h 3953992"/>
              <a:gd name="connsiteX602" fmla="*/ 1295219 w 14637682"/>
              <a:gd name="connsiteY602" fmla="*/ 578707 h 3953992"/>
              <a:gd name="connsiteX603" fmla="*/ 1177156 w 14637682"/>
              <a:gd name="connsiteY603" fmla="*/ 578707 h 3953992"/>
              <a:gd name="connsiteX604" fmla="*/ 1114652 w 14637682"/>
              <a:gd name="connsiteY604" fmla="*/ 516008 h 3953992"/>
              <a:gd name="connsiteX605" fmla="*/ 1048676 w 14637682"/>
              <a:gd name="connsiteY605" fmla="*/ 512525 h 3953992"/>
              <a:gd name="connsiteX606" fmla="*/ 1007007 w 14637682"/>
              <a:gd name="connsiteY606" fmla="*/ 453310 h 3953992"/>
              <a:gd name="connsiteX607" fmla="*/ 892417 w 14637682"/>
              <a:gd name="connsiteY607" fmla="*/ 421960 h 3953992"/>
              <a:gd name="connsiteX608" fmla="*/ 805606 w 14637682"/>
              <a:gd name="connsiteY608" fmla="*/ 380161 h 3953992"/>
              <a:gd name="connsiteX609" fmla="*/ 802133 w 14637682"/>
              <a:gd name="connsiteY609" fmla="*/ 348812 h 3953992"/>
              <a:gd name="connsiteX610" fmla="*/ 687543 w 14637682"/>
              <a:gd name="connsiteY610" fmla="*/ 237347 h 3953992"/>
              <a:gd name="connsiteX611" fmla="*/ 652818 w 14637682"/>
              <a:gd name="connsiteY611" fmla="*/ 115433 h 3953992"/>
              <a:gd name="connsiteX612" fmla="*/ 704905 w 14637682"/>
              <a:gd name="connsiteY612" fmla="*/ 91050 h 3953992"/>
              <a:gd name="connsiteX613" fmla="*/ 722267 w 14637682"/>
              <a:gd name="connsiteY613" fmla="*/ 38801 h 3953992"/>
              <a:gd name="connsiteX614" fmla="*/ 784771 w 14637682"/>
              <a:gd name="connsiteY614" fmla="*/ 59701 h 3953992"/>
              <a:gd name="connsiteX615" fmla="*/ 816023 w 14637682"/>
              <a:gd name="connsiteY615" fmla="*/ 35318 h 3953992"/>
              <a:gd name="connsiteX616" fmla="*/ 809078 w 14637682"/>
              <a:gd name="connsiteY616" fmla="*/ 101500 h 3953992"/>
              <a:gd name="connsiteX617" fmla="*/ 847275 w 14637682"/>
              <a:gd name="connsiteY617" fmla="*/ 181615 h 3953992"/>
              <a:gd name="connsiteX618" fmla="*/ 920196 w 14637682"/>
              <a:gd name="connsiteY618" fmla="*/ 136332 h 3953992"/>
              <a:gd name="connsiteX619" fmla="*/ 892417 w 14637682"/>
              <a:gd name="connsiteY619" fmla="*/ 104983 h 3953992"/>
              <a:gd name="connsiteX620" fmla="*/ 934085 w 14637682"/>
              <a:gd name="connsiteY620" fmla="*/ 63184 h 3953992"/>
              <a:gd name="connsiteX621" fmla="*/ 965337 w 14637682"/>
              <a:gd name="connsiteY621" fmla="*/ 91050 h 3953992"/>
              <a:gd name="connsiteX622" fmla="*/ 1010479 w 14637682"/>
              <a:gd name="connsiteY622" fmla="*/ 45768 h 3953992"/>
              <a:gd name="connsiteX623" fmla="*/ 951448 w 14637682"/>
              <a:gd name="connsiteY623" fmla="*/ 17901 h 3953992"/>
              <a:gd name="connsiteX624" fmla="*/ 983568 w 14637682"/>
              <a:gd name="connsiteY624" fmla="*/ 50 h 3953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</a:cxnLst>
            <a:rect l="l" t="t" r="r" b="b"/>
            <a:pathLst>
              <a:path w="14637682" h="3953992">
                <a:moveTo>
                  <a:pt x="3328330" y="810780"/>
                </a:moveTo>
                <a:cubicBezTo>
                  <a:pt x="3328330" y="811215"/>
                  <a:pt x="3326594" y="812086"/>
                  <a:pt x="3326594" y="812086"/>
                </a:cubicBezTo>
                <a:lnTo>
                  <a:pt x="3325719" y="811173"/>
                </a:lnTo>
                <a:close/>
                <a:moveTo>
                  <a:pt x="3324394" y="809788"/>
                </a:moveTo>
                <a:lnTo>
                  <a:pt x="3325719" y="811173"/>
                </a:lnTo>
                <a:lnTo>
                  <a:pt x="3319648" y="812086"/>
                </a:lnTo>
                <a:close/>
                <a:moveTo>
                  <a:pt x="983568" y="50"/>
                </a:moveTo>
                <a:cubicBezTo>
                  <a:pt x="995721" y="-386"/>
                  <a:pt x="1008743" y="2227"/>
                  <a:pt x="1020896" y="485"/>
                </a:cubicBezTo>
                <a:cubicBezTo>
                  <a:pt x="1031314" y="7452"/>
                  <a:pt x="1041731" y="17901"/>
                  <a:pt x="1055621" y="28351"/>
                </a:cubicBezTo>
                <a:cubicBezTo>
                  <a:pt x="1072983" y="28351"/>
                  <a:pt x="1090345" y="28351"/>
                  <a:pt x="1111180" y="28351"/>
                </a:cubicBezTo>
                <a:cubicBezTo>
                  <a:pt x="1121597" y="38801"/>
                  <a:pt x="1132014" y="49251"/>
                  <a:pt x="1142432" y="59701"/>
                </a:cubicBezTo>
                <a:cubicBezTo>
                  <a:pt x="1239660" y="59701"/>
                  <a:pt x="1340360" y="59701"/>
                  <a:pt x="1437589" y="59701"/>
                </a:cubicBezTo>
                <a:cubicBezTo>
                  <a:pt x="1448006" y="70150"/>
                  <a:pt x="1458423" y="80600"/>
                  <a:pt x="1468840" y="91050"/>
                </a:cubicBezTo>
                <a:cubicBezTo>
                  <a:pt x="1475786" y="84083"/>
                  <a:pt x="1482731" y="77117"/>
                  <a:pt x="1493147" y="63184"/>
                </a:cubicBezTo>
                <a:cubicBezTo>
                  <a:pt x="1552179" y="63184"/>
                  <a:pt x="1614683" y="63184"/>
                  <a:pt x="1677187" y="63184"/>
                </a:cubicBezTo>
                <a:cubicBezTo>
                  <a:pt x="1684131" y="70150"/>
                  <a:pt x="1691076" y="77117"/>
                  <a:pt x="1701494" y="87567"/>
                </a:cubicBezTo>
                <a:cubicBezTo>
                  <a:pt x="1732746" y="87567"/>
                  <a:pt x="1763997" y="87567"/>
                  <a:pt x="1795249" y="87567"/>
                </a:cubicBezTo>
                <a:cubicBezTo>
                  <a:pt x="1805667" y="80600"/>
                  <a:pt x="1812612" y="73634"/>
                  <a:pt x="1819556" y="63184"/>
                </a:cubicBezTo>
                <a:cubicBezTo>
                  <a:pt x="1829974" y="70150"/>
                  <a:pt x="1840391" y="80600"/>
                  <a:pt x="1850808" y="91050"/>
                </a:cubicBezTo>
                <a:cubicBezTo>
                  <a:pt x="1861226" y="80600"/>
                  <a:pt x="1871643" y="70150"/>
                  <a:pt x="1882060" y="59701"/>
                </a:cubicBezTo>
                <a:cubicBezTo>
                  <a:pt x="1968871" y="59701"/>
                  <a:pt x="2059154" y="59701"/>
                  <a:pt x="2145965" y="59701"/>
                </a:cubicBezTo>
                <a:cubicBezTo>
                  <a:pt x="2156383" y="70150"/>
                  <a:pt x="2170272" y="80600"/>
                  <a:pt x="2184162" y="94533"/>
                </a:cubicBezTo>
                <a:cubicBezTo>
                  <a:pt x="2198052" y="87567"/>
                  <a:pt x="2215414" y="80600"/>
                  <a:pt x="2239721" y="70150"/>
                </a:cubicBezTo>
                <a:cubicBezTo>
                  <a:pt x="2243194" y="70150"/>
                  <a:pt x="2253611" y="77117"/>
                  <a:pt x="2267501" y="87567"/>
                </a:cubicBezTo>
                <a:cubicBezTo>
                  <a:pt x="2298753" y="87567"/>
                  <a:pt x="2336949" y="87567"/>
                  <a:pt x="2382091" y="87567"/>
                </a:cubicBezTo>
                <a:cubicBezTo>
                  <a:pt x="2389036" y="84083"/>
                  <a:pt x="2399453" y="73634"/>
                  <a:pt x="2409871" y="66667"/>
                </a:cubicBezTo>
                <a:cubicBezTo>
                  <a:pt x="2423760" y="73634"/>
                  <a:pt x="2441123" y="84083"/>
                  <a:pt x="2458485" y="98017"/>
                </a:cubicBezTo>
                <a:cubicBezTo>
                  <a:pt x="2475847" y="84083"/>
                  <a:pt x="2489737" y="73634"/>
                  <a:pt x="2503627" y="63184"/>
                </a:cubicBezTo>
                <a:cubicBezTo>
                  <a:pt x="2510572" y="66667"/>
                  <a:pt x="2517516" y="73634"/>
                  <a:pt x="2531406" y="87567"/>
                </a:cubicBezTo>
                <a:cubicBezTo>
                  <a:pt x="2586965" y="94533"/>
                  <a:pt x="2649469" y="87567"/>
                  <a:pt x="2711973" y="94533"/>
                </a:cubicBezTo>
                <a:cubicBezTo>
                  <a:pt x="2718918" y="101500"/>
                  <a:pt x="2725863" y="108466"/>
                  <a:pt x="2736279" y="118916"/>
                </a:cubicBezTo>
                <a:cubicBezTo>
                  <a:pt x="2746696" y="111950"/>
                  <a:pt x="2753641" y="104983"/>
                  <a:pt x="2771003" y="91050"/>
                </a:cubicBezTo>
                <a:cubicBezTo>
                  <a:pt x="2805729" y="91050"/>
                  <a:pt x="2850870" y="91050"/>
                  <a:pt x="2885594" y="91050"/>
                </a:cubicBezTo>
                <a:cubicBezTo>
                  <a:pt x="2899484" y="77117"/>
                  <a:pt x="2906429" y="70150"/>
                  <a:pt x="2913374" y="63184"/>
                </a:cubicBezTo>
                <a:cubicBezTo>
                  <a:pt x="2975878" y="63184"/>
                  <a:pt x="3038382" y="63184"/>
                  <a:pt x="3097413" y="63184"/>
                </a:cubicBezTo>
                <a:cubicBezTo>
                  <a:pt x="3107830" y="77117"/>
                  <a:pt x="3114775" y="84083"/>
                  <a:pt x="3121720" y="91050"/>
                </a:cubicBezTo>
                <a:cubicBezTo>
                  <a:pt x="3201586" y="91050"/>
                  <a:pt x="3277980" y="91050"/>
                  <a:pt x="3357846" y="91050"/>
                </a:cubicBezTo>
                <a:cubicBezTo>
                  <a:pt x="3368262" y="80600"/>
                  <a:pt x="3378680" y="70150"/>
                  <a:pt x="3389098" y="59701"/>
                </a:cubicBezTo>
                <a:cubicBezTo>
                  <a:pt x="3420350" y="59701"/>
                  <a:pt x="3448128" y="59701"/>
                  <a:pt x="3479380" y="59701"/>
                </a:cubicBezTo>
                <a:cubicBezTo>
                  <a:pt x="3486325" y="70150"/>
                  <a:pt x="3493270" y="77117"/>
                  <a:pt x="3500215" y="84083"/>
                </a:cubicBezTo>
                <a:cubicBezTo>
                  <a:pt x="3507160" y="84083"/>
                  <a:pt x="3517577" y="91050"/>
                  <a:pt x="3524522" y="91050"/>
                </a:cubicBezTo>
                <a:cubicBezTo>
                  <a:pt x="3569664" y="91050"/>
                  <a:pt x="3614806" y="91050"/>
                  <a:pt x="3653003" y="91050"/>
                </a:cubicBezTo>
                <a:cubicBezTo>
                  <a:pt x="3666892" y="80600"/>
                  <a:pt x="3677310" y="70150"/>
                  <a:pt x="3687727" y="63184"/>
                </a:cubicBezTo>
                <a:cubicBezTo>
                  <a:pt x="3722451" y="49251"/>
                  <a:pt x="3729396" y="87567"/>
                  <a:pt x="3760648" y="94533"/>
                </a:cubicBezTo>
                <a:cubicBezTo>
                  <a:pt x="3771066" y="87567"/>
                  <a:pt x="3784955" y="77117"/>
                  <a:pt x="3809262" y="63184"/>
                </a:cubicBezTo>
                <a:cubicBezTo>
                  <a:pt x="3819680" y="63184"/>
                  <a:pt x="3840514" y="63184"/>
                  <a:pt x="3861349" y="63184"/>
                </a:cubicBezTo>
                <a:cubicBezTo>
                  <a:pt x="3868294" y="70150"/>
                  <a:pt x="3878710" y="80600"/>
                  <a:pt x="3892601" y="91050"/>
                </a:cubicBezTo>
                <a:cubicBezTo>
                  <a:pt x="4097475" y="91050"/>
                  <a:pt x="4305820" y="91050"/>
                  <a:pt x="4510694" y="91050"/>
                </a:cubicBezTo>
                <a:cubicBezTo>
                  <a:pt x="4521111" y="101500"/>
                  <a:pt x="4531529" y="111950"/>
                  <a:pt x="4541946" y="118916"/>
                </a:cubicBezTo>
                <a:cubicBezTo>
                  <a:pt x="4552363" y="111950"/>
                  <a:pt x="4562781" y="101500"/>
                  <a:pt x="4580142" y="87567"/>
                </a:cubicBezTo>
                <a:cubicBezTo>
                  <a:pt x="4594033" y="94533"/>
                  <a:pt x="4611394" y="101500"/>
                  <a:pt x="4642646" y="118916"/>
                </a:cubicBezTo>
                <a:cubicBezTo>
                  <a:pt x="4653064" y="118916"/>
                  <a:pt x="4680844" y="118916"/>
                  <a:pt x="4719040" y="118916"/>
                </a:cubicBezTo>
                <a:cubicBezTo>
                  <a:pt x="4722512" y="115433"/>
                  <a:pt x="4732930" y="104983"/>
                  <a:pt x="4746819" y="98017"/>
                </a:cubicBezTo>
                <a:cubicBezTo>
                  <a:pt x="4760709" y="104983"/>
                  <a:pt x="4774599" y="111950"/>
                  <a:pt x="4795434" y="125883"/>
                </a:cubicBezTo>
                <a:cubicBezTo>
                  <a:pt x="4809323" y="115433"/>
                  <a:pt x="4823213" y="104983"/>
                  <a:pt x="4840575" y="94533"/>
                </a:cubicBezTo>
                <a:cubicBezTo>
                  <a:pt x="4844048" y="98017"/>
                  <a:pt x="4850993" y="104983"/>
                  <a:pt x="4857938" y="111950"/>
                </a:cubicBezTo>
                <a:cubicBezTo>
                  <a:pt x="4864882" y="115433"/>
                  <a:pt x="4875300" y="122399"/>
                  <a:pt x="4882245" y="122399"/>
                </a:cubicBezTo>
                <a:cubicBezTo>
                  <a:pt x="4948221" y="122399"/>
                  <a:pt x="5010725" y="122399"/>
                  <a:pt x="5073229" y="122399"/>
                </a:cubicBezTo>
                <a:cubicBezTo>
                  <a:pt x="5087118" y="111950"/>
                  <a:pt x="5097536" y="101500"/>
                  <a:pt x="5104481" y="91050"/>
                </a:cubicBezTo>
                <a:cubicBezTo>
                  <a:pt x="5139204" y="80600"/>
                  <a:pt x="5146150" y="115433"/>
                  <a:pt x="5177402" y="122399"/>
                </a:cubicBezTo>
                <a:cubicBezTo>
                  <a:pt x="5187819" y="118916"/>
                  <a:pt x="5205181" y="108466"/>
                  <a:pt x="5222543" y="98017"/>
                </a:cubicBezTo>
                <a:cubicBezTo>
                  <a:pt x="5229488" y="101500"/>
                  <a:pt x="5239906" y="108466"/>
                  <a:pt x="5253795" y="118916"/>
                </a:cubicBezTo>
                <a:cubicBezTo>
                  <a:pt x="5357968" y="118916"/>
                  <a:pt x="5465614" y="118916"/>
                  <a:pt x="5573259" y="118916"/>
                </a:cubicBezTo>
                <a:cubicBezTo>
                  <a:pt x="5583677" y="129366"/>
                  <a:pt x="5594094" y="139816"/>
                  <a:pt x="5607984" y="150265"/>
                </a:cubicBezTo>
                <a:cubicBezTo>
                  <a:pt x="5614929" y="139816"/>
                  <a:pt x="5625346" y="132849"/>
                  <a:pt x="5635763" y="122399"/>
                </a:cubicBezTo>
                <a:cubicBezTo>
                  <a:pt x="5646181" y="122399"/>
                  <a:pt x="5656598" y="122399"/>
                  <a:pt x="5667015" y="122399"/>
                </a:cubicBezTo>
                <a:cubicBezTo>
                  <a:pt x="5673960" y="129366"/>
                  <a:pt x="5680905" y="136332"/>
                  <a:pt x="5691322" y="150265"/>
                </a:cubicBezTo>
                <a:cubicBezTo>
                  <a:pt x="5750354" y="157232"/>
                  <a:pt x="5812857" y="146782"/>
                  <a:pt x="5868416" y="153749"/>
                </a:cubicBezTo>
                <a:cubicBezTo>
                  <a:pt x="5885779" y="139816"/>
                  <a:pt x="5896195" y="129366"/>
                  <a:pt x="5913558" y="115433"/>
                </a:cubicBezTo>
                <a:cubicBezTo>
                  <a:pt x="5927447" y="125883"/>
                  <a:pt x="5944809" y="136332"/>
                  <a:pt x="5972589" y="153749"/>
                </a:cubicBezTo>
                <a:cubicBezTo>
                  <a:pt x="6069817" y="153749"/>
                  <a:pt x="6180936" y="153749"/>
                  <a:pt x="6288581" y="153749"/>
                </a:cubicBezTo>
                <a:cubicBezTo>
                  <a:pt x="6298998" y="164199"/>
                  <a:pt x="6305943" y="171165"/>
                  <a:pt x="6316361" y="181615"/>
                </a:cubicBezTo>
                <a:cubicBezTo>
                  <a:pt x="6323305" y="171165"/>
                  <a:pt x="6333723" y="160715"/>
                  <a:pt x="6347612" y="150265"/>
                </a:cubicBezTo>
                <a:cubicBezTo>
                  <a:pt x="6392754" y="150265"/>
                  <a:pt x="6444841" y="150265"/>
                  <a:pt x="6493454" y="150265"/>
                </a:cubicBezTo>
                <a:cubicBezTo>
                  <a:pt x="6503872" y="160715"/>
                  <a:pt x="6514288" y="171165"/>
                  <a:pt x="6524706" y="181615"/>
                </a:cubicBezTo>
                <a:cubicBezTo>
                  <a:pt x="6531651" y="174648"/>
                  <a:pt x="6538596" y="167682"/>
                  <a:pt x="6549013" y="153749"/>
                </a:cubicBezTo>
                <a:cubicBezTo>
                  <a:pt x="6559430" y="160715"/>
                  <a:pt x="6566375" y="167682"/>
                  <a:pt x="6580265" y="178132"/>
                </a:cubicBezTo>
                <a:cubicBezTo>
                  <a:pt x="6653186" y="178132"/>
                  <a:pt x="6733052" y="178132"/>
                  <a:pt x="6809446" y="178132"/>
                </a:cubicBezTo>
                <a:cubicBezTo>
                  <a:pt x="6823336" y="188581"/>
                  <a:pt x="6833752" y="199031"/>
                  <a:pt x="6847642" y="209481"/>
                </a:cubicBezTo>
                <a:cubicBezTo>
                  <a:pt x="6865004" y="209481"/>
                  <a:pt x="6882366" y="209481"/>
                  <a:pt x="6906674" y="209481"/>
                </a:cubicBezTo>
                <a:cubicBezTo>
                  <a:pt x="6913618" y="202514"/>
                  <a:pt x="6924036" y="195548"/>
                  <a:pt x="6937926" y="185098"/>
                </a:cubicBezTo>
                <a:cubicBezTo>
                  <a:pt x="6944870" y="192065"/>
                  <a:pt x="6955288" y="202514"/>
                  <a:pt x="6965705" y="212964"/>
                </a:cubicBezTo>
                <a:cubicBezTo>
                  <a:pt x="7024736" y="212964"/>
                  <a:pt x="7083768" y="212964"/>
                  <a:pt x="7142800" y="212964"/>
                </a:cubicBezTo>
                <a:cubicBezTo>
                  <a:pt x="7153216" y="223414"/>
                  <a:pt x="7163634" y="230381"/>
                  <a:pt x="7174052" y="240830"/>
                </a:cubicBezTo>
                <a:cubicBezTo>
                  <a:pt x="7180996" y="233864"/>
                  <a:pt x="7187941" y="226897"/>
                  <a:pt x="7198358" y="216448"/>
                </a:cubicBezTo>
                <a:cubicBezTo>
                  <a:pt x="7240028" y="216448"/>
                  <a:pt x="7281697" y="216448"/>
                  <a:pt x="7323366" y="216448"/>
                </a:cubicBezTo>
                <a:cubicBezTo>
                  <a:pt x="7330311" y="223414"/>
                  <a:pt x="7337256" y="230381"/>
                  <a:pt x="7347673" y="240830"/>
                </a:cubicBezTo>
                <a:cubicBezTo>
                  <a:pt x="7462264" y="240830"/>
                  <a:pt x="7580326" y="240830"/>
                  <a:pt x="7698389" y="240830"/>
                </a:cubicBezTo>
                <a:cubicBezTo>
                  <a:pt x="7708806" y="251280"/>
                  <a:pt x="7722696" y="258247"/>
                  <a:pt x="7733114" y="268697"/>
                </a:cubicBezTo>
                <a:cubicBezTo>
                  <a:pt x="7743530" y="261730"/>
                  <a:pt x="7753948" y="254763"/>
                  <a:pt x="7764366" y="244314"/>
                </a:cubicBezTo>
                <a:cubicBezTo>
                  <a:pt x="7792145" y="244314"/>
                  <a:pt x="7819924" y="244314"/>
                  <a:pt x="7851176" y="244314"/>
                </a:cubicBezTo>
                <a:cubicBezTo>
                  <a:pt x="7861594" y="251280"/>
                  <a:pt x="7872011" y="261730"/>
                  <a:pt x="7882428" y="272180"/>
                </a:cubicBezTo>
                <a:cubicBezTo>
                  <a:pt x="8080357" y="272180"/>
                  <a:pt x="8278286" y="272180"/>
                  <a:pt x="8472742" y="272180"/>
                </a:cubicBezTo>
                <a:cubicBezTo>
                  <a:pt x="8483159" y="282630"/>
                  <a:pt x="8493577" y="293079"/>
                  <a:pt x="8503994" y="300046"/>
                </a:cubicBezTo>
                <a:cubicBezTo>
                  <a:pt x="8514411" y="289596"/>
                  <a:pt x="8524829" y="282630"/>
                  <a:pt x="8542191" y="268697"/>
                </a:cubicBezTo>
                <a:cubicBezTo>
                  <a:pt x="8556081" y="275663"/>
                  <a:pt x="8573443" y="286113"/>
                  <a:pt x="8601222" y="300046"/>
                </a:cubicBezTo>
                <a:cubicBezTo>
                  <a:pt x="8743592" y="300046"/>
                  <a:pt x="8899852" y="300046"/>
                  <a:pt x="9042221" y="300046"/>
                </a:cubicBezTo>
                <a:cubicBezTo>
                  <a:pt x="9080418" y="307012"/>
                  <a:pt x="9087363" y="345328"/>
                  <a:pt x="9132505" y="324429"/>
                </a:cubicBezTo>
                <a:cubicBezTo>
                  <a:pt x="9132505" y="324429"/>
                  <a:pt x="9142922" y="313979"/>
                  <a:pt x="9153339" y="303529"/>
                </a:cubicBezTo>
                <a:cubicBezTo>
                  <a:pt x="9212371" y="303529"/>
                  <a:pt x="9271402" y="303529"/>
                  <a:pt x="9330434" y="303529"/>
                </a:cubicBezTo>
                <a:cubicBezTo>
                  <a:pt x="9344323" y="313979"/>
                  <a:pt x="9358213" y="327912"/>
                  <a:pt x="9375575" y="341845"/>
                </a:cubicBezTo>
                <a:cubicBezTo>
                  <a:pt x="9392937" y="324429"/>
                  <a:pt x="9406827" y="313979"/>
                  <a:pt x="9420717" y="303529"/>
                </a:cubicBezTo>
                <a:cubicBezTo>
                  <a:pt x="9490166" y="303529"/>
                  <a:pt x="9559614" y="303529"/>
                  <a:pt x="9629063" y="303529"/>
                </a:cubicBezTo>
                <a:cubicBezTo>
                  <a:pt x="9636008" y="310496"/>
                  <a:pt x="9642953" y="317462"/>
                  <a:pt x="9649898" y="327912"/>
                </a:cubicBezTo>
                <a:cubicBezTo>
                  <a:pt x="9677677" y="317462"/>
                  <a:pt x="9705457" y="293079"/>
                  <a:pt x="9754071" y="307012"/>
                </a:cubicBezTo>
                <a:cubicBezTo>
                  <a:pt x="9761016" y="320946"/>
                  <a:pt x="9778378" y="345328"/>
                  <a:pt x="9792267" y="362745"/>
                </a:cubicBezTo>
                <a:cubicBezTo>
                  <a:pt x="9823519" y="362745"/>
                  <a:pt x="9840882" y="362745"/>
                  <a:pt x="9861716" y="362745"/>
                </a:cubicBezTo>
                <a:cubicBezTo>
                  <a:pt x="9872133" y="352295"/>
                  <a:pt x="9882551" y="341845"/>
                  <a:pt x="9892968" y="334879"/>
                </a:cubicBezTo>
                <a:cubicBezTo>
                  <a:pt x="9983251" y="334879"/>
                  <a:pt x="10070062" y="334879"/>
                  <a:pt x="10146456" y="334879"/>
                </a:cubicBezTo>
                <a:cubicBezTo>
                  <a:pt x="10195070" y="355778"/>
                  <a:pt x="10229794" y="376678"/>
                  <a:pt x="10267991" y="394094"/>
                </a:cubicBezTo>
                <a:cubicBezTo>
                  <a:pt x="10281881" y="397577"/>
                  <a:pt x="10295771" y="390611"/>
                  <a:pt x="10309660" y="390611"/>
                </a:cubicBezTo>
                <a:cubicBezTo>
                  <a:pt x="10316605" y="383644"/>
                  <a:pt x="10323550" y="373195"/>
                  <a:pt x="10333967" y="366228"/>
                </a:cubicBezTo>
                <a:cubicBezTo>
                  <a:pt x="10361747" y="366228"/>
                  <a:pt x="10389526" y="366228"/>
                  <a:pt x="10424251" y="366228"/>
                </a:cubicBezTo>
                <a:cubicBezTo>
                  <a:pt x="10431196" y="369711"/>
                  <a:pt x="10441613" y="380161"/>
                  <a:pt x="10455503" y="390611"/>
                </a:cubicBezTo>
                <a:cubicBezTo>
                  <a:pt x="10479810" y="390611"/>
                  <a:pt x="10511062" y="390611"/>
                  <a:pt x="10538841" y="390611"/>
                </a:cubicBezTo>
                <a:cubicBezTo>
                  <a:pt x="10549258" y="401061"/>
                  <a:pt x="10563148" y="411510"/>
                  <a:pt x="10573565" y="421960"/>
                </a:cubicBezTo>
                <a:cubicBezTo>
                  <a:pt x="10583983" y="411510"/>
                  <a:pt x="10594400" y="404544"/>
                  <a:pt x="10601345" y="394094"/>
                </a:cubicBezTo>
                <a:cubicBezTo>
                  <a:pt x="10611762" y="404544"/>
                  <a:pt x="10622180" y="411510"/>
                  <a:pt x="10632597" y="421960"/>
                </a:cubicBezTo>
                <a:cubicBezTo>
                  <a:pt x="10643014" y="414994"/>
                  <a:pt x="10649959" y="408027"/>
                  <a:pt x="10656904" y="397577"/>
                </a:cubicBezTo>
                <a:cubicBezTo>
                  <a:pt x="10712463" y="397577"/>
                  <a:pt x="10771494" y="397577"/>
                  <a:pt x="10833998" y="397577"/>
                </a:cubicBezTo>
                <a:cubicBezTo>
                  <a:pt x="10844415" y="404544"/>
                  <a:pt x="10861778" y="414994"/>
                  <a:pt x="10879140" y="425444"/>
                </a:cubicBezTo>
                <a:cubicBezTo>
                  <a:pt x="10899974" y="414994"/>
                  <a:pt x="10917337" y="404544"/>
                  <a:pt x="10941644" y="390611"/>
                </a:cubicBezTo>
                <a:cubicBezTo>
                  <a:pt x="10959006" y="401061"/>
                  <a:pt x="10979840" y="414994"/>
                  <a:pt x="11004147" y="428927"/>
                </a:cubicBezTo>
                <a:cubicBezTo>
                  <a:pt x="11018037" y="418477"/>
                  <a:pt x="11031927" y="404544"/>
                  <a:pt x="11045817" y="394094"/>
                </a:cubicBezTo>
                <a:cubicBezTo>
                  <a:pt x="11056234" y="404544"/>
                  <a:pt x="11066651" y="414994"/>
                  <a:pt x="11077069" y="421960"/>
                </a:cubicBezTo>
                <a:cubicBezTo>
                  <a:pt x="11094431" y="421960"/>
                  <a:pt x="11108320" y="421960"/>
                  <a:pt x="11125683" y="421960"/>
                </a:cubicBezTo>
                <a:cubicBezTo>
                  <a:pt x="11143045" y="435893"/>
                  <a:pt x="11163879" y="446343"/>
                  <a:pt x="11181242" y="456793"/>
                </a:cubicBezTo>
                <a:cubicBezTo>
                  <a:pt x="11202076" y="442860"/>
                  <a:pt x="11215966" y="432410"/>
                  <a:pt x="11236801" y="418477"/>
                </a:cubicBezTo>
                <a:cubicBezTo>
                  <a:pt x="11250690" y="428927"/>
                  <a:pt x="11268052" y="439377"/>
                  <a:pt x="11281942" y="449826"/>
                </a:cubicBezTo>
                <a:cubicBezTo>
                  <a:pt x="11292360" y="442860"/>
                  <a:pt x="11302777" y="432410"/>
                  <a:pt x="11313194" y="421960"/>
                </a:cubicBezTo>
                <a:cubicBezTo>
                  <a:pt x="11340974" y="421960"/>
                  <a:pt x="11368753" y="421960"/>
                  <a:pt x="11400005" y="421960"/>
                </a:cubicBezTo>
                <a:cubicBezTo>
                  <a:pt x="11406950" y="428927"/>
                  <a:pt x="11413895" y="439377"/>
                  <a:pt x="11424312" y="449826"/>
                </a:cubicBezTo>
                <a:cubicBezTo>
                  <a:pt x="11462509" y="449826"/>
                  <a:pt x="11507651" y="449826"/>
                  <a:pt x="11542375" y="449826"/>
                </a:cubicBezTo>
                <a:cubicBezTo>
                  <a:pt x="11559737" y="463759"/>
                  <a:pt x="11570154" y="474209"/>
                  <a:pt x="11587517" y="488142"/>
                </a:cubicBezTo>
                <a:cubicBezTo>
                  <a:pt x="11601406" y="481176"/>
                  <a:pt x="11618768" y="470726"/>
                  <a:pt x="11646548" y="456793"/>
                </a:cubicBezTo>
                <a:cubicBezTo>
                  <a:pt x="11660438" y="456793"/>
                  <a:pt x="11688217" y="456793"/>
                  <a:pt x="11736831" y="456793"/>
                </a:cubicBezTo>
                <a:cubicBezTo>
                  <a:pt x="11740304" y="456793"/>
                  <a:pt x="11747249" y="495109"/>
                  <a:pt x="11792390" y="474209"/>
                </a:cubicBezTo>
                <a:cubicBezTo>
                  <a:pt x="11792390" y="474209"/>
                  <a:pt x="11802808" y="467243"/>
                  <a:pt x="11813225" y="456793"/>
                </a:cubicBezTo>
                <a:cubicBezTo>
                  <a:pt x="11834059" y="474209"/>
                  <a:pt x="11854894" y="495109"/>
                  <a:pt x="11875729" y="512525"/>
                </a:cubicBezTo>
                <a:cubicBezTo>
                  <a:pt x="11882674" y="505559"/>
                  <a:pt x="11889618" y="498592"/>
                  <a:pt x="11900036" y="488142"/>
                </a:cubicBezTo>
                <a:cubicBezTo>
                  <a:pt x="11997264" y="488142"/>
                  <a:pt x="12101437" y="488142"/>
                  <a:pt x="12202138" y="488142"/>
                </a:cubicBezTo>
                <a:cubicBezTo>
                  <a:pt x="12209082" y="495109"/>
                  <a:pt x="12216027" y="502075"/>
                  <a:pt x="12222972" y="509042"/>
                </a:cubicBezTo>
                <a:cubicBezTo>
                  <a:pt x="12236862" y="502075"/>
                  <a:pt x="12254224" y="491626"/>
                  <a:pt x="12271586" y="481176"/>
                </a:cubicBezTo>
                <a:cubicBezTo>
                  <a:pt x="12306311" y="502075"/>
                  <a:pt x="12341035" y="519492"/>
                  <a:pt x="12379232" y="540391"/>
                </a:cubicBezTo>
                <a:cubicBezTo>
                  <a:pt x="12386177" y="533425"/>
                  <a:pt x="12396594" y="522975"/>
                  <a:pt x="12407011" y="516008"/>
                </a:cubicBezTo>
                <a:cubicBezTo>
                  <a:pt x="12438263" y="516008"/>
                  <a:pt x="12466043" y="516008"/>
                  <a:pt x="12493822" y="516008"/>
                </a:cubicBezTo>
                <a:cubicBezTo>
                  <a:pt x="12504239" y="522975"/>
                  <a:pt x="12507712" y="529941"/>
                  <a:pt x="12518129" y="536908"/>
                </a:cubicBezTo>
                <a:cubicBezTo>
                  <a:pt x="12545909" y="554324"/>
                  <a:pt x="12587578" y="526458"/>
                  <a:pt x="12608412" y="568257"/>
                </a:cubicBezTo>
                <a:cubicBezTo>
                  <a:pt x="12657027" y="571741"/>
                  <a:pt x="12705641" y="575224"/>
                  <a:pt x="12754255" y="575224"/>
                </a:cubicBezTo>
                <a:cubicBezTo>
                  <a:pt x="12764672" y="568257"/>
                  <a:pt x="12775089" y="557808"/>
                  <a:pt x="12788979" y="547358"/>
                </a:cubicBezTo>
                <a:cubicBezTo>
                  <a:pt x="12806341" y="547358"/>
                  <a:pt x="12823703" y="547358"/>
                  <a:pt x="12848011" y="547358"/>
                </a:cubicBezTo>
                <a:cubicBezTo>
                  <a:pt x="12865373" y="554324"/>
                  <a:pt x="12875790" y="589157"/>
                  <a:pt x="12913987" y="564774"/>
                </a:cubicBezTo>
                <a:cubicBezTo>
                  <a:pt x="12917459" y="564774"/>
                  <a:pt x="12927877" y="554324"/>
                  <a:pt x="12938294" y="543875"/>
                </a:cubicBezTo>
                <a:cubicBezTo>
                  <a:pt x="12945239" y="550841"/>
                  <a:pt x="12952184" y="557808"/>
                  <a:pt x="12959128" y="564774"/>
                </a:cubicBezTo>
                <a:cubicBezTo>
                  <a:pt x="12962601" y="568257"/>
                  <a:pt x="12966073" y="575224"/>
                  <a:pt x="12969546" y="575224"/>
                </a:cubicBezTo>
                <a:cubicBezTo>
                  <a:pt x="13070246" y="575224"/>
                  <a:pt x="13167475" y="575224"/>
                  <a:pt x="13261230" y="575224"/>
                </a:cubicBezTo>
                <a:cubicBezTo>
                  <a:pt x="13271648" y="582190"/>
                  <a:pt x="13278593" y="592640"/>
                  <a:pt x="13289010" y="603090"/>
                </a:cubicBezTo>
                <a:cubicBezTo>
                  <a:pt x="13393183" y="603090"/>
                  <a:pt x="13500828" y="603090"/>
                  <a:pt x="13605001" y="603090"/>
                </a:cubicBezTo>
                <a:cubicBezTo>
                  <a:pt x="13625836" y="613540"/>
                  <a:pt x="13639726" y="623990"/>
                  <a:pt x="13660560" y="637923"/>
                </a:cubicBezTo>
                <a:cubicBezTo>
                  <a:pt x="13674450" y="630956"/>
                  <a:pt x="13688340" y="620506"/>
                  <a:pt x="13709174" y="610057"/>
                </a:cubicBezTo>
                <a:cubicBezTo>
                  <a:pt x="13716119" y="613540"/>
                  <a:pt x="13726537" y="623990"/>
                  <a:pt x="13736954" y="634439"/>
                </a:cubicBezTo>
                <a:cubicBezTo>
                  <a:pt x="13844599" y="634439"/>
                  <a:pt x="13952245" y="634439"/>
                  <a:pt x="14059890" y="634439"/>
                </a:cubicBezTo>
                <a:cubicBezTo>
                  <a:pt x="14070308" y="644889"/>
                  <a:pt x="14080725" y="655339"/>
                  <a:pt x="14091142" y="662306"/>
                </a:cubicBezTo>
                <a:cubicBezTo>
                  <a:pt x="14101560" y="655339"/>
                  <a:pt x="14111977" y="644889"/>
                  <a:pt x="14129339" y="630956"/>
                </a:cubicBezTo>
                <a:cubicBezTo>
                  <a:pt x="14146701" y="637923"/>
                  <a:pt x="14164063" y="648373"/>
                  <a:pt x="14184898" y="662306"/>
                </a:cubicBezTo>
                <a:cubicBezTo>
                  <a:pt x="14191843" y="651856"/>
                  <a:pt x="14198788" y="644889"/>
                  <a:pt x="14212678" y="630956"/>
                </a:cubicBezTo>
                <a:cubicBezTo>
                  <a:pt x="14226567" y="658822"/>
                  <a:pt x="14236985" y="683205"/>
                  <a:pt x="14250874" y="711071"/>
                </a:cubicBezTo>
                <a:cubicBezTo>
                  <a:pt x="14278654" y="683205"/>
                  <a:pt x="14289071" y="676239"/>
                  <a:pt x="14299488" y="665789"/>
                </a:cubicBezTo>
                <a:cubicBezTo>
                  <a:pt x="14316851" y="665789"/>
                  <a:pt x="14337685" y="665789"/>
                  <a:pt x="14355047" y="665789"/>
                </a:cubicBezTo>
                <a:cubicBezTo>
                  <a:pt x="14368937" y="676239"/>
                  <a:pt x="14379354" y="686688"/>
                  <a:pt x="14389772" y="697138"/>
                </a:cubicBezTo>
                <a:cubicBezTo>
                  <a:pt x="14410606" y="697138"/>
                  <a:pt x="14427969" y="697138"/>
                  <a:pt x="14445331" y="697138"/>
                </a:cubicBezTo>
                <a:cubicBezTo>
                  <a:pt x="14459220" y="707588"/>
                  <a:pt x="14469638" y="718038"/>
                  <a:pt x="14483528" y="728488"/>
                </a:cubicBezTo>
                <a:cubicBezTo>
                  <a:pt x="14500890" y="718038"/>
                  <a:pt x="14521724" y="711071"/>
                  <a:pt x="14539087" y="700622"/>
                </a:cubicBezTo>
                <a:cubicBezTo>
                  <a:pt x="14542559" y="704105"/>
                  <a:pt x="14549504" y="711071"/>
                  <a:pt x="14549504" y="714555"/>
                </a:cubicBezTo>
                <a:cubicBezTo>
                  <a:pt x="14549504" y="784220"/>
                  <a:pt x="14549504" y="853885"/>
                  <a:pt x="14549504" y="920067"/>
                </a:cubicBezTo>
                <a:cubicBezTo>
                  <a:pt x="14539087" y="934000"/>
                  <a:pt x="14528669" y="944450"/>
                  <a:pt x="14518252" y="958383"/>
                </a:cubicBezTo>
                <a:cubicBezTo>
                  <a:pt x="14535614" y="961867"/>
                  <a:pt x="14549504" y="965350"/>
                  <a:pt x="14566866" y="968833"/>
                </a:cubicBezTo>
                <a:cubicBezTo>
                  <a:pt x="14577283" y="979283"/>
                  <a:pt x="14591173" y="996699"/>
                  <a:pt x="14608535" y="1017599"/>
                </a:cubicBezTo>
                <a:cubicBezTo>
                  <a:pt x="14629370" y="1048948"/>
                  <a:pt x="14559921" y="1062881"/>
                  <a:pt x="14577283" y="1101197"/>
                </a:cubicBezTo>
                <a:cubicBezTo>
                  <a:pt x="14552976" y="1115130"/>
                  <a:pt x="14532142" y="1129063"/>
                  <a:pt x="14493945" y="1146480"/>
                </a:cubicBezTo>
                <a:cubicBezTo>
                  <a:pt x="14476583" y="1146480"/>
                  <a:pt x="14441858" y="1149963"/>
                  <a:pt x="14410606" y="1149963"/>
                </a:cubicBezTo>
                <a:cubicBezTo>
                  <a:pt x="14393244" y="1177829"/>
                  <a:pt x="14403662" y="1202212"/>
                  <a:pt x="14403662" y="1219628"/>
                </a:cubicBezTo>
                <a:cubicBezTo>
                  <a:pt x="14414079" y="1240528"/>
                  <a:pt x="14424496" y="1254461"/>
                  <a:pt x="14441858" y="1282327"/>
                </a:cubicBezTo>
                <a:cubicBezTo>
                  <a:pt x="14414079" y="1299743"/>
                  <a:pt x="14389772" y="1317160"/>
                  <a:pt x="14361992" y="1334576"/>
                </a:cubicBezTo>
                <a:cubicBezTo>
                  <a:pt x="14386299" y="1355476"/>
                  <a:pt x="14396717" y="1369409"/>
                  <a:pt x="14410606" y="1386825"/>
                </a:cubicBezTo>
                <a:cubicBezTo>
                  <a:pt x="14438386" y="1386825"/>
                  <a:pt x="14469638" y="1386825"/>
                  <a:pt x="14476583" y="1386825"/>
                </a:cubicBezTo>
                <a:cubicBezTo>
                  <a:pt x="14521724" y="1393791"/>
                  <a:pt x="14528669" y="1432107"/>
                  <a:pt x="14570338" y="1411208"/>
                </a:cubicBezTo>
                <a:cubicBezTo>
                  <a:pt x="14570338" y="1411208"/>
                  <a:pt x="14580756" y="1400758"/>
                  <a:pt x="14591173" y="1393791"/>
                </a:cubicBezTo>
                <a:cubicBezTo>
                  <a:pt x="14608535" y="1407725"/>
                  <a:pt x="14625897" y="1421658"/>
                  <a:pt x="14636315" y="1428624"/>
                </a:cubicBezTo>
                <a:cubicBezTo>
                  <a:pt x="14646732" y="1491323"/>
                  <a:pt x="14594645" y="1470423"/>
                  <a:pt x="14580756" y="1494806"/>
                </a:cubicBezTo>
                <a:cubicBezTo>
                  <a:pt x="14598118" y="1515706"/>
                  <a:pt x="14618953" y="1536605"/>
                  <a:pt x="14636315" y="1557505"/>
                </a:cubicBezTo>
                <a:cubicBezTo>
                  <a:pt x="14608535" y="1585371"/>
                  <a:pt x="14580756" y="1613237"/>
                  <a:pt x="14552976" y="1641103"/>
                </a:cubicBezTo>
                <a:cubicBezTo>
                  <a:pt x="14552976" y="1644587"/>
                  <a:pt x="14552976" y="1648070"/>
                  <a:pt x="14556449" y="1651553"/>
                </a:cubicBezTo>
                <a:cubicBezTo>
                  <a:pt x="14573811" y="1658520"/>
                  <a:pt x="14591173" y="1665486"/>
                  <a:pt x="14608535" y="1672453"/>
                </a:cubicBezTo>
                <a:cubicBezTo>
                  <a:pt x="14608535" y="1693352"/>
                  <a:pt x="14608535" y="1714252"/>
                  <a:pt x="14608535" y="1735152"/>
                </a:cubicBezTo>
                <a:cubicBezTo>
                  <a:pt x="14598118" y="1756051"/>
                  <a:pt x="14577283" y="1749085"/>
                  <a:pt x="14559921" y="1756051"/>
                </a:cubicBezTo>
                <a:cubicBezTo>
                  <a:pt x="14542559" y="1773468"/>
                  <a:pt x="14525197" y="1790884"/>
                  <a:pt x="14504362" y="1811783"/>
                </a:cubicBezTo>
                <a:cubicBezTo>
                  <a:pt x="14487000" y="1811783"/>
                  <a:pt x="14469638" y="1811783"/>
                  <a:pt x="14445331" y="1811783"/>
                </a:cubicBezTo>
                <a:cubicBezTo>
                  <a:pt x="14427969" y="1853583"/>
                  <a:pt x="14407134" y="1891899"/>
                  <a:pt x="14386299" y="1933698"/>
                </a:cubicBezTo>
                <a:cubicBezTo>
                  <a:pt x="14375882" y="1933698"/>
                  <a:pt x="14365465" y="1933698"/>
                  <a:pt x="14355047" y="1933698"/>
                </a:cubicBezTo>
                <a:cubicBezTo>
                  <a:pt x="14327268" y="1954597"/>
                  <a:pt x="14316851" y="1985947"/>
                  <a:pt x="14302961" y="2017296"/>
                </a:cubicBezTo>
                <a:cubicBezTo>
                  <a:pt x="14285599" y="2045162"/>
                  <a:pt x="14254347" y="2066062"/>
                  <a:pt x="14230040" y="2093928"/>
                </a:cubicBezTo>
                <a:cubicBezTo>
                  <a:pt x="14226567" y="2104378"/>
                  <a:pt x="14223095" y="2118311"/>
                  <a:pt x="14219622" y="2132244"/>
                </a:cubicBezTo>
                <a:cubicBezTo>
                  <a:pt x="14195315" y="2146177"/>
                  <a:pt x="14171008" y="2156627"/>
                  <a:pt x="14139756" y="2174043"/>
                </a:cubicBezTo>
                <a:cubicBezTo>
                  <a:pt x="14118922" y="2174043"/>
                  <a:pt x="14091142" y="2174043"/>
                  <a:pt x="14084197" y="2174043"/>
                </a:cubicBezTo>
                <a:cubicBezTo>
                  <a:pt x="14011276" y="2198426"/>
                  <a:pt x="13976552" y="2243708"/>
                  <a:pt x="13931410" y="2261125"/>
                </a:cubicBezTo>
                <a:cubicBezTo>
                  <a:pt x="13886269" y="2285508"/>
                  <a:pt x="13865434" y="2330790"/>
                  <a:pt x="13823765" y="2355173"/>
                </a:cubicBezTo>
                <a:cubicBezTo>
                  <a:pt x="13782096" y="2358656"/>
                  <a:pt x="13750844" y="2400455"/>
                  <a:pt x="13702230" y="2390006"/>
                </a:cubicBezTo>
                <a:cubicBezTo>
                  <a:pt x="13670978" y="2438771"/>
                  <a:pt x="13622364" y="2407422"/>
                  <a:pt x="13587639" y="2417872"/>
                </a:cubicBezTo>
                <a:cubicBezTo>
                  <a:pt x="13577222" y="2403939"/>
                  <a:pt x="13570277" y="2396972"/>
                  <a:pt x="13559860" y="2390006"/>
                </a:cubicBezTo>
                <a:cubicBezTo>
                  <a:pt x="13473049" y="2386522"/>
                  <a:pt x="13386238" y="2390006"/>
                  <a:pt x="13292482" y="2390006"/>
                </a:cubicBezTo>
                <a:cubicBezTo>
                  <a:pt x="13275120" y="2393489"/>
                  <a:pt x="13268175" y="2431805"/>
                  <a:pt x="13226506" y="2407422"/>
                </a:cubicBezTo>
                <a:cubicBezTo>
                  <a:pt x="13226506" y="2407422"/>
                  <a:pt x="13216089" y="2396972"/>
                  <a:pt x="13202199" y="2386522"/>
                </a:cubicBezTo>
                <a:cubicBezTo>
                  <a:pt x="13195254" y="2396972"/>
                  <a:pt x="13181364" y="2407422"/>
                  <a:pt x="13170947" y="2417872"/>
                </a:cubicBezTo>
                <a:cubicBezTo>
                  <a:pt x="13153585" y="2417872"/>
                  <a:pt x="13132750" y="2417872"/>
                  <a:pt x="13115388" y="2417872"/>
                </a:cubicBezTo>
                <a:cubicBezTo>
                  <a:pt x="13104971" y="2428322"/>
                  <a:pt x="13091081" y="2438771"/>
                  <a:pt x="13080664" y="2449221"/>
                </a:cubicBezTo>
                <a:cubicBezTo>
                  <a:pt x="13011215" y="2449221"/>
                  <a:pt x="12945239" y="2449221"/>
                  <a:pt x="12875790" y="2449221"/>
                </a:cubicBezTo>
                <a:cubicBezTo>
                  <a:pt x="12868845" y="2456188"/>
                  <a:pt x="12861900" y="2463154"/>
                  <a:pt x="12848011" y="2477087"/>
                </a:cubicBezTo>
                <a:cubicBezTo>
                  <a:pt x="12782034" y="2477087"/>
                  <a:pt x="12709113" y="2477087"/>
                  <a:pt x="12643137" y="2477087"/>
                </a:cubicBezTo>
                <a:cubicBezTo>
                  <a:pt x="12629247" y="2487537"/>
                  <a:pt x="12622302" y="2494504"/>
                  <a:pt x="12615357" y="2504953"/>
                </a:cubicBezTo>
                <a:cubicBezTo>
                  <a:pt x="12577161" y="2504953"/>
                  <a:pt x="12538964" y="2504953"/>
                  <a:pt x="12504239" y="2504953"/>
                </a:cubicBezTo>
                <a:cubicBezTo>
                  <a:pt x="12476460" y="2515403"/>
                  <a:pt x="12469515" y="2550236"/>
                  <a:pt x="12434791" y="2536303"/>
                </a:cubicBezTo>
                <a:cubicBezTo>
                  <a:pt x="12427846" y="2529336"/>
                  <a:pt x="12417429" y="2518886"/>
                  <a:pt x="12403539" y="2508437"/>
                </a:cubicBezTo>
                <a:cubicBezTo>
                  <a:pt x="12375759" y="2508437"/>
                  <a:pt x="12347980" y="2508437"/>
                  <a:pt x="12316728" y="2508437"/>
                </a:cubicBezTo>
                <a:cubicBezTo>
                  <a:pt x="12306311" y="2518886"/>
                  <a:pt x="12295893" y="2525853"/>
                  <a:pt x="12285476" y="2539786"/>
                </a:cubicBezTo>
                <a:cubicBezTo>
                  <a:pt x="12236862" y="2539786"/>
                  <a:pt x="12188248" y="2539786"/>
                  <a:pt x="12139634" y="2539786"/>
                </a:cubicBezTo>
                <a:cubicBezTo>
                  <a:pt x="12129216" y="2546753"/>
                  <a:pt x="12122272" y="2553719"/>
                  <a:pt x="12111854" y="2564169"/>
                </a:cubicBezTo>
                <a:cubicBezTo>
                  <a:pt x="12073657" y="2564169"/>
                  <a:pt x="12031988" y="2564169"/>
                  <a:pt x="11993791" y="2564169"/>
                </a:cubicBezTo>
                <a:cubicBezTo>
                  <a:pt x="11979902" y="2578102"/>
                  <a:pt x="11972957" y="2585068"/>
                  <a:pt x="11962540" y="2599002"/>
                </a:cubicBezTo>
                <a:cubicBezTo>
                  <a:pt x="11913925" y="2599002"/>
                  <a:pt x="11861839" y="2599002"/>
                  <a:pt x="11813225" y="2599002"/>
                </a:cubicBezTo>
                <a:cubicBezTo>
                  <a:pt x="11802808" y="2609451"/>
                  <a:pt x="11795863" y="2616418"/>
                  <a:pt x="11785445" y="2626868"/>
                </a:cubicBezTo>
                <a:cubicBezTo>
                  <a:pt x="11757666" y="2626868"/>
                  <a:pt x="11729886" y="2626868"/>
                  <a:pt x="11702107" y="2626868"/>
                </a:cubicBezTo>
                <a:cubicBezTo>
                  <a:pt x="11688217" y="2637317"/>
                  <a:pt x="11677800" y="2647767"/>
                  <a:pt x="11667383" y="2658217"/>
                </a:cubicBezTo>
                <a:cubicBezTo>
                  <a:pt x="11597934" y="2658217"/>
                  <a:pt x="11531958" y="2658217"/>
                  <a:pt x="11462509" y="2658217"/>
                </a:cubicBezTo>
                <a:cubicBezTo>
                  <a:pt x="11452092" y="2668667"/>
                  <a:pt x="11441674" y="2679117"/>
                  <a:pt x="11427784" y="2689566"/>
                </a:cubicBezTo>
                <a:cubicBezTo>
                  <a:pt x="11379170" y="2689566"/>
                  <a:pt x="11330556" y="2689566"/>
                  <a:pt x="11281942" y="2689566"/>
                </a:cubicBezTo>
                <a:cubicBezTo>
                  <a:pt x="11274997" y="2696533"/>
                  <a:pt x="11268052" y="2703500"/>
                  <a:pt x="11257635" y="2713949"/>
                </a:cubicBezTo>
                <a:cubicBezTo>
                  <a:pt x="11209021" y="2713949"/>
                  <a:pt x="11156935" y="2713949"/>
                  <a:pt x="11108320" y="2713949"/>
                </a:cubicBezTo>
                <a:cubicBezTo>
                  <a:pt x="11094431" y="2727882"/>
                  <a:pt x="11087486" y="2734849"/>
                  <a:pt x="11077069" y="2748782"/>
                </a:cubicBezTo>
                <a:cubicBezTo>
                  <a:pt x="11028454" y="2748782"/>
                  <a:pt x="10976368" y="2748782"/>
                  <a:pt x="10927754" y="2748782"/>
                </a:cubicBezTo>
                <a:cubicBezTo>
                  <a:pt x="10917337" y="2759232"/>
                  <a:pt x="10910392" y="2766198"/>
                  <a:pt x="10896502" y="2780131"/>
                </a:cubicBezTo>
                <a:cubicBezTo>
                  <a:pt x="10820108" y="2780131"/>
                  <a:pt x="10736770" y="2780131"/>
                  <a:pt x="10660376" y="2780131"/>
                </a:cubicBezTo>
                <a:cubicBezTo>
                  <a:pt x="10649959" y="2790581"/>
                  <a:pt x="10643014" y="2797548"/>
                  <a:pt x="10632597" y="2807998"/>
                </a:cubicBezTo>
                <a:cubicBezTo>
                  <a:pt x="10587455" y="2807998"/>
                  <a:pt x="10538841" y="2807998"/>
                  <a:pt x="10490227" y="2807998"/>
                </a:cubicBezTo>
                <a:cubicBezTo>
                  <a:pt x="10476337" y="2818447"/>
                  <a:pt x="10465920" y="2828897"/>
                  <a:pt x="10455503" y="2839347"/>
                </a:cubicBezTo>
                <a:cubicBezTo>
                  <a:pt x="10417306" y="2839347"/>
                  <a:pt x="10379109" y="2839347"/>
                  <a:pt x="10337440" y="2839347"/>
                </a:cubicBezTo>
                <a:cubicBezTo>
                  <a:pt x="10327023" y="2849797"/>
                  <a:pt x="10316605" y="2860247"/>
                  <a:pt x="10306188" y="2870696"/>
                </a:cubicBezTo>
                <a:cubicBezTo>
                  <a:pt x="10247157" y="2870696"/>
                  <a:pt x="10188125" y="2870696"/>
                  <a:pt x="10129094" y="2870696"/>
                </a:cubicBezTo>
                <a:cubicBezTo>
                  <a:pt x="10122149" y="2877663"/>
                  <a:pt x="10115204" y="2884629"/>
                  <a:pt x="10101314" y="2898562"/>
                </a:cubicBezTo>
                <a:cubicBezTo>
                  <a:pt x="10045755" y="2905529"/>
                  <a:pt x="9983251" y="2895079"/>
                  <a:pt x="9920748" y="2902046"/>
                </a:cubicBezTo>
                <a:cubicBezTo>
                  <a:pt x="9913803" y="2909012"/>
                  <a:pt x="9906858" y="2915979"/>
                  <a:pt x="9892968" y="2929912"/>
                </a:cubicBezTo>
                <a:cubicBezTo>
                  <a:pt x="9858244" y="2929912"/>
                  <a:pt x="9813102" y="2929912"/>
                  <a:pt x="9774905" y="2929912"/>
                </a:cubicBezTo>
                <a:cubicBezTo>
                  <a:pt x="9767960" y="2936878"/>
                  <a:pt x="9761016" y="2940362"/>
                  <a:pt x="9761016" y="2943845"/>
                </a:cubicBezTo>
                <a:cubicBezTo>
                  <a:pt x="9761016" y="2954295"/>
                  <a:pt x="9761016" y="2964745"/>
                  <a:pt x="9761016" y="2975194"/>
                </a:cubicBezTo>
                <a:cubicBezTo>
                  <a:pt x="9788795" y="3006544"/>
                  <a:pt x="9823519" y="2985644"/>
                  <a:pt x="9854771" y="2989127"/>
                </a:cubicBezTo>
                <a:cubicBezTo>
                  <a:pt x="9879078" y="2985644"/>
                  <a:pt x="9886023" y="2947328"/>
                  <a:pt x="9931165" y="2968228"/>
                </a:cubicBezTo>
                <a:cubicBezTo>
                  <a:pt x="9931165" y="2968228"/>
                  <a:pt x="9941582" y="2978678"/>
                  <a:pt x="9952000" y="2989127"/>
                </a:cubicBezTo>
                <a:cubicBezTo>
                  <a:pt x="9969362" y="2989127"/>
                  <a:pt x="9990196" y="2989127"/>
                  <a:pt x="10011031" y="2989127"/>
                </a:cubicBezTo>
                <a:cubicBezTo>
                  <a:pt x="10021448" y="2978678"/>
                  <a:pt x="10031866" y="2971711"/>
                  <a:pt x="10038810" y="2961261"/>
                </a:cubicBezTo>
                <a:cubicBezTo>
                  <a:pt x="10070062" y="2950811"/>
                  <a:pt x="10083952" y="2975194"/>
                  <a:pt x="10097842" y="2989127"/>
                </a:cubicBezTo>
                <a:cubicBezTo>
                  <a:pt x="10132566" y="2989127"/>
                  <a:pt x="10160346" y="2989127"/>
                  <a:pt x="10188125" y="2989127"/>
                </a:cubicBezTo>
                <a:cubicBezTo>
                  <a:pt x="10198542" y="2982161"/>
                  <a:pt x="10205487" y="2975194"/>
                  <a:pt x="10215905" y="2964745"/>
                </a:cubicBezTo>
                <a:cubicBezTo>
                  <a:pt x="10320078" y="2964745"/>
                  <a:pt x="10427723" y="2964745"/>
                  <a:pt x="10535369" y="2964745"/>
                </a:cubicBezTo>
                <a:cubicBezTo>
                  <a:pt x="10545786" y="2954295"/>
                  <a:pt x="10559676" y="2943845"/>
                  <a:pt x="10573565" y="2933395"/>
                </a:cubicBezTo>
                <a:cubicBezTo>
                  <a:pt x="10726353" y="2933395"/>
                  <a:pt x="10882612" y="2933395"/>
                  <a:pt x="11038872" y="2933395"/>
                </a:cubicBezTo>
                <a:cubicBezTo>
                  <a:pt x="11052761" y="2922945"/>
                  <a:pt x="11063179" y="2912496"/>
                  <a:pt x="11073596" y="2902046"/>
                </a:cubicBezTo>
                <a:cubicBezTo>
                  <a:pt x="11094431" y="2909012"/>
                  <a:pt x="11104848" y="2940362"/>
                  <a:pt x="11132627" y="2929912"/>
                </a:cubicBezTo>
                <a:cubicBezTo>
                  <a:pt x="11143045" y="2919462"/>
                  <a:pt x="11153462" y="2909012"/>
                  <a:pt x="11163879" y="2902046"/>
                </a:cubicBezTo>
                <a:cubicBezTo>
                  <a:pt x="11170824" y="2909012"/>
                  <a:pt x="11177769" y="2915979"/>
                  <a:pt x="11191659" y="2926429"/>
                </a:cubicBezTo>
                <a:cubicBezTo>
                  <a:pt x="11202076" y="2919462"/>
                  <a:pt x="11215966" y="2909012"/>
                  <a:pt x="11229856" y="2898562"/>
                </a:cubicBezTo>
                <a:cubicBezTo>
                  <a:pt x="11268052" y="2898562"/>
                  <a:pt x="11292360" y="2954295"/>
                  <a:pt x="11340974" y="2926429"/>
                </a:cubicBezTo>
                <a:cubicBezTo>
                  <a:pt x="11347918" y="2922945"/>
                  <a:pt x="11358336" y="2912496"/>
                  <a:pt x="11372226" y="2902046"/>
                </a:cubicBezTo>
                <a:cubicBezTo>
                  <a:pt x="11396533" y="2902046"/>
                  <a:pt x="11427784" y="2902046"/>
                  <a:pt x="11459036" y="2902046"/>
                </a:cubicBezTo>
                <a:cubicBezTo>
                  <a:pt x="11465981" y="2909012"/>
                  <a:pt x="11479871" y="2919462"/>
                  <a:pt x="11490288" y="2929912"/>
                </a:cubicBezTo>
                <a:cubicBezTo>
                  <a:pt x="11507651" y="2929912"/>
                  <a:pt x="11528485" y="2929912"/>
                  <a:pt x="11549320" y="2929912"/>
                </a:cubicBezTo>
                <a:cubicBezTo>
                  <a:pt x="11559737" y="2919462"/>
                  <a:pt x="11570154" y="2909012"/>
                  <a:pt x="11580572" y="2898562"/>
                </a:cubicBezTo>
                <a:cubicBezTo>
                  <a:pt x="11597934" y="2898562"/>
                  <a:pt x="11618768" y="2898562"/>
                  <a:pt x="11636131" y="2898562"/>
                </a:cubicBezTo>
                <a:cubicBezTo>
                  <a:pt x="11650020" y="2912496"/>
                  <a:pt x="11660438" y="2919462"/>
                  <a:pt x="11674327" y="2933395"/>
                </a:cubicBezTo>
                <a:cubicBezTo>
                  <a:pt x="11688217" y="2926429"/>
                  <a:pt x="11705579" y="2919462"/>
                  <a:pt x="11733359" y="2902046"/>
                </a:cubicBezTo>
                <a:cubicBezTo>
                  <a:pt x="11747249" y="2902046"/>
                  <a:pt x="11778500" y="2902046"/>
                  <a:pt x="11813225" y="2902046"/>
                </a:cubicBezTo>
                <a:cubicBezTo>
                  <a:pt x="11820170" y="2905529"/>
                  <a:pt x="11830587" y="2915979"/>
                  <a:pt x="11844477" y="2926429"/>
                </a:cubicBezTo>
                <a:cubicBezTo>
                  <a:pt x="11851422" y="2919462"/>
                  <a:pt x="11861839" y="2912496"/>
                  <a:pt x="11875729" y="2902046"/>
                </a:cubicBezTo>
                <a:cubicBezTo>
                  <a:pt x="11889618" y="2902046"/>
                  <a:pt x="11910453" y="2902046"/>
                  <a:pt x="11931288" y="2902046"/>
                </a:cubicBezTo>
                <a:cubicBezTo>
                  <a:pt x="11941705" y="2891596"/>
                  <a:pt x="11952122" y="2881146"/>
                  <a:pt x="11962540" y="2870696"/>
                </a:cubicBezTo>
                <a:cubicBezTo>
                  <a:pt x="11972957" y="2888113"/>
                  <a:pt x="11983374" y="2909012"/>
                  <a:pt x="11990319" y="2929912"/>
                </a:cubicBezTo>
                <a:cubicBezTo>
                  <a:pt x="12007681" y="2912496"/>
                  <a:pt x="12021571" y="2898562"/>
                  <a:pt x="12035461" y="2884629"/>
                </a:cubicBezTo>
                <a:cubicBezTo>
                  <a:pt x="12025043" y="2874180"/>
                  <a:pt x="12018098" y="2863730"/>
                  <a:pt x="12007681" y="2853280"/>
                </a:cubicBezTo>
                <a:cubicBezTo>
                  <a:pt x="12031988" y="2839347"/>
                  <a:pt x="12056295" y="2828897"/>
                  <a:pt x="12084075" y="2811481"/>
                </a:cubicBezTo>
                <a:cubicBezTo>
                  <a:pt x="12087547" y="2821931"/>
                  <a:pt x="12091020" y="2832380"/>
                  <a:pt x="12094492" y="2846313"/>
                </a:cubicBezTo>
                <a:cubicBezTo>
                  <a:pt x="12097965" y="2860247"/>
                  <a:pt x="12104909" y="2874180"/>
                  <a:pt x="12125744" y="2870696"/>
                </a:cubicBezTo>
                <a:cubicBezTo>
                  <a:pt x="12125744" y="2884629"/>
                  <a:pt x="12125744" y="2898562"/>
                  <a:pt x="12125744" y="2915979"/>
                </a:cubicBezTo>
                <a:cubicBezTo>
                  <a:pt x="12150051" y="2940362"/>
                  <a:pt x="12177831" y="2929912"/>
                  <a:pt x="12205610" y="2922945"/>
                </a:cubicBezTo>
                <a:cubicBezTo>
                  <a:pt x="12212555" y="2915979"/>
                  <a:pt x="12219500" y="2909012"/>
                  <a:pt x="12226445" y="2902046"/>
                </a:cubicBezTo>
                <a:cubicBezTo>
                  <a:pt x="12240334" y="2912496"/>
                  <a:pt x="12254224" y="2922945"/>
                  <a:pt x="12268114" y="2933395"/>
                </a:cubicBezTo>
                <a:cubicBezTo>
                  <a:pt x="12292421" y="2919462"/>
                  <a:pt x="12309783" y="2909012"/>
                  <a:pt x="12327145" y="2898562"/>
                </a:cubicBezTo>
                <a:cubicBezTo>
                  <a:pt x="12379232" y="2909012"/>
                  <a:pt x="12386177" y="2954295"/>
                  <a:pt x="12407011" y="2985644"/>
                </a:cubicBezTo>
                <a:cubicBezTo>
                  <a:pt x="12417429" y="2978678"/>
                  <a:pt x="12427846" y="2971711"/>
                  <a:pt x="12438263" y="2961261"/>
                </a:cubicBezTo>
                <a:cubicBezTo>
                  <a:pt x="12459098" y="2996094"/>
                  <a:pt x="12445208" y="3030927"/>
                  <a:pt x="12448680" y="3065759"/>
                </a:cubicBezTo>
                <a:cubicBezTo>
                  <a:pt x="12441736" y="3076209"/>
                  <a:pt x="12431318" y="3086659"/>
                  <a:pt x="12413956" y="3104075"/>
                </a:cubicBezTo>
                <a:cubicBezTo>
                  <a:pt x="12434791" y="3124975"/>
                  <a:pt x="12455625" y="3145874"/>
                  <a:pt x="12479932" y="3170257"/>
                </a:cubicBezTo>
                <a:cubicBezTo>
                  <a:pt x="12476460" y="3177224"/>
                  <a:pt x="12472988" y="3191157"/>
                  <a:pt x="12466043" y="3201607"/>
                </a:cubicBezTo>
                <a:cubicBezTo>
                  <a:pt x="12455625" y="3191157"/>
                  <a:pt x="12445208" y="3180707"/>
                  <a:pt x="12434791" y="3170257"/>
                </a:cubicBezTo>
                <a:cubicBezTo>
                  <a:pt x="12410484" y="3177224"/>
                  <a:pt x="12382704" y="3159807"/>
                  <a:pt x="12365342" y="3184190"/>
                </a:cubicBezTo>
                <a:cubicBezTo>
                  <a:pt x="12396594" y="3205090"/>
                  <a:pt x="12441736" y="3212056"/>
                  <a:pt x="12452153" y="3264305"/>
                </a:cubicBezTo>
                <a:cubicBezTo>
                  <a:pt x="12452153" y="3292172"/>
                  <a:pt x="12417429" y="3295655"/>
                  <a:pt x="12410484" y="3320038"/>
                </a:cubicBezTo>
                <a:cubicBezTo>
                  <a:pt x="12389649" y="3320038"/>
                  <a:pt x="12368814" y="3320038"/>
                  <a:pt x="12351452" y="3320038"/>
                </a:cubicBezTo>
                <a:cubicBezTo>
                  <a:pt x="12337563" y="3330487"/>
                  <a:pt x="12327145" y="3340937"/>
                  <a:pt x="12316728" y="3351387"/>
                </a:cubicBezTo>
                <a:cubicBezTo>
                  <a:pt x="12306311" y="3340937"/>
                  <a:pt x="12295893" y="3333971"/>
                  <a:pt x="12285476" y="3323521"/>
                </a:cubicBezTo>
                <a:cubicBezTo>
                  <a:pt x="12278531" y="3330487"/>
                  <a:pt x="12271586" y="3337454"/>
                  <a:pt x="12261169" y="3351387"/>
                </a:cubicBezTo>
                <a:cubicBezTo>
                  <a:pt x="12243807" y="3351387"/>
                  <a:pt x="12219500" y="3351387"/>
                  <a:pt x="12195193" y="3354870"/>
                </a:cubicBezTo>
                <a:cubicBezTo>
                  <a:pt x="12188248" y="3372287"/>
                  <a:pt x="12181303" y="3389703"/>
                  <a:pt x="12174358" y="3410603"/>
                </a:cubicBezTo>
                <a:cubicBezTo>
                  <a:pt x="12146579" y="3410603"/>
                  <a:pt x="12118799" y="3410603"/>
                  <a:pt x="12097965" y="3410603"/>
                </a:cubicBezTo>
                <a:cubicBezTo>
                  <a:pt x="12063240" y="3428019"/>
                  <a:pt x="12035461" y="3441952"/>
                  <a:pt x="12007681" y="3459368"/>
                </a:cubicBezTo>
                <a:cubicBezTo>
                  <a:pt x="12018098" y="3469818"/>
                  <a:pt x="12025043" y="3480268"/>
                  <a:pt x="12035461" y="3490717"/>
                </a:cubicBezTo>
                <a:cubicBezTo>
                  <a:pt x="12004209" y="3518584"/>
                  <a:pt x="11969484" y="3497684"/>
                  <a:pt x="11941705" y="3501167"/>
                </a:cubicBezTo>
                <a:cubicBezTo>
                  <a:pt x="11906981" y="3522067"/>
                  <a:pt x="11872256" y="3542967"/>
                  <a:pt x="11837532" y="3563866"/>
                </a:cubicBezTo>
                <a:cubicBezTo>
                  <a:pt x="11823642" y="3563866"/>
                  <a:pt x="11806280" y="3563866"/>
                  <a:pt x="11788918" y="3563866"/>
                </a:cubicBezTo>
                <a:cubicBezTo>
                  <a:pt x="11771556" y="3577799"/>
                  <a:pt x="11757666" y="3588249"/>
                  <a:pt x="11747249" y="3595215"/>
                </a:cubicBezTo>
                <a:cubicBezTo>
                  <a:pt x="11709052" y="3591732"/>
                  <a:pt x="11702107" y="3563866"/>
                  <a:pt x="11677800" y="3546450"/>
                </a:cubicBezTo>
                <a:cubicBezTo>
                  <a:pt x="11698634" y="3539483"/>
                  <a:pt x="11715997" y="3536000"/>
                  <a:pt x="11729886" y="3529033"/>
                </a:cubicBezTo>
                <a:cubicBezTo>
                  <a:pt x="11736831" y="3525550"/>
                  <a:pt x="11736831" y="3511617"/>
                  <a:pt x="11736831" y="3504651"/>
                </a:cubicBezTo>
                <a:cubicBezTo>
                  <a:pt x="11754193" y="3501167"/>
                  <a:pt x="11778500" y="3501167"/>
                  <a:pt x="11757666" y="3476785"/>
                </a:cubicBezTo>
                <a:cubicBezTo>
                  <a:pt x="11750721" y="3483751"/>
                  <a:pt x="11743776" y="3494201"/>
                  <a:pt x="11736831" y="3504651"/>
                </a:cubicBezTo>
                <a:cubicBezTo>
                  <a:pt x="11715997" y="3504651"/>
                  <a:pt x="11691690" y="3504651"/>
                  <a:pt x="11667383" y="3504651"/>
                </a:cubicBezTo>
                <a:cubicBezTo>
                  <a:pt x="11653493" y="3518584"/>
                  <a:pt x="11639603" y="3532517"/>
                  <a:pt x="11625713" y="3546450"/>
                </a:cubicBezTo>
                <a:cubicBezTo>
                  <a:pt x="11632658" y="3570833"/>
                  <a:pt x="11681272" y="3584766"/>
                  <a:pt x="11639603" y="3619599"/>
                </a:cubicBezTo>
                <a:cubicBezTo>
                  <a:pt x="11625713" y="3612632"/>
                  <a:pt x="11611824" y="3602182"/>
                  <a:pt x="11590989" y="3591732"/>
                </a:cubicBezTo>
                <a:cubicBezTo>
                  <a:pt x="11577099" y="3598699"/>
                  <a:pt x="11563209" y="3609149"/>
                  <a:pt x="11545847" y="3623082"/>
                </a:cubicBezTo>
                <a:cubicBezTo>
                  <a:pt x="11531958" y="3623082"/>
                  <a:pt x="11511123" y="3623082"/>
                  <a:pt x="11490288" y="3623082"/>
                </a:cubicBezTo>
                <a:cubicBezTo>
                  <a:pt x="11479871" y="3633531"/>
                  <a:pt x="11469454" y="3643981"/>
                  <a:pt x="11459036" y="3654431"/>
                </a:cubicBezTo>
                <a:cubicBezTo>
                  <a:pt x="11361808" y="3654431"/>
                  <a:pt x="11261108" y="3654431"/>
                  <a:pt x="11163879" y="3654431"/>
                </a:cubicBezTo>
                <a:cubicBezTo>
                  <a:pt x="11153462" y="3664881"/>
                  <a:pt x="11143045" y="3675331"/>
                  <a:pt x="11132627" y="3682297"/>
                </a:cubicBezTo>
                <a:cubicBezTo>
                  <a:pt x="11125683" y="3675331"/>
                  <a:pt x="11118738" y="3668364"/>
                  <a:pt x="11111793" y="3661398"/>
                </a:cubicBezTo>
                <a:cubicBezTo>
                  <a:pt x="11073596" y="3640498"/>
                  <a:pt x="11042344" y="3664881"/>
                  <a:pt x="11011092" y="3678814"/>
                </a:cubicBezTo>
                <a:cubicBezTo>
                  <a:pt x="11004147" y="3671847"/>
                  <a:pt x="10997203" y="3664881"/>
                  <a:pt x="10986785" y="3657914"/>
                </a:cubicBezTo>
                <a:cubicBezTo>
                  <a:pt x="10962478" y="3657914"/>
                  <a:pt x="10931226" y="3657914"/>
                  <a:pt x="10899974" y="3657914"/>
                </a:cubicBezTo>
                <a:cubicBezTo>
                  <a:pt x="10889557" y="3664881"/>
                  <a:pt x="10879140" y="3671847"/>
                  <a:pt x="10868722" y="3682297"/>
                </a:cubicBezTo>
                <a:cubicBezTo>
                  <a:pt x="10781912" y="3682297"/>
                  <a:pt x="10691628" y="3682297"/>
                  <a:pt x="10604817" y="3682297"/>
                </a:cubicBezTo>
                <a:cubicBezTo>
                  <a:pt x="10594400" y="3692747"/>
                  <a:pt x="10583983" y="3703197"/>
                  <a:pt x="10573565" y="3713647"/>
                </a:cubicBezTo>
                <a:cubicBezTo>
                  <a:pt x="10563148" y="3703197"/>
                  <a:pt x="10552731" y="3692747"/>
                  <a:pt x="10535369" y="3678814"/>
                </a:cubicBezTo>
                <a:cubicBezTo>
                  <a:pt x="10521479" y="3685781"/>
                  <a:pt x="10504117" y="3696230"/>
                  <a:pt x="10469392" y="3713647"/>
                </a:cubicBezTo>
                <a:cubicBezTo>
                  <a:pt x="10417306" y="3713647"/>
                  <a:pt x="10344385" y="3713647"/>
                  <a:pt x="10278408" y="3713647"/>
                </a:cubicBezTo>
                <a:cubicBezTo>
                  <a:pt x="10267991" y="3724097"/>
                  <a:pt x="10261046" y="3734546"/>
                  <a:pt x="10250629" y="3741513"/>
                </a:cubicBezTo>
                <a:cubicBezTo>
                  <a:pt x="10240212" y="3734546"/>
                  <a:pt x="10229794" y="3727580"/>
                  <a:pt x="10219377" y="3717130"/>
                </a:cubicBezTo>
                <a:cubicBezTo>
                  <a:pt x="10181180" y="3717130"/>
                  <a:pt x="10142983" y="3717130"/>
                  <a:pt x="10101314" y="3717130"/>
                </a:cubicBezTo>
                <a:cubicBezTo>
                  <a:pt x="10094369" y="3724097"/>
                  <a:pt x="10080480" y="3734546"/>
                  <a:pt x="10070062" y="3744996"/>
                </a:cubicBezTo>
                <a:cubicBezTo>
                  <a:pt x="10052700" y="3744996"/>
                  <a:pt x="10031866" y="3744996"/>
                  <a:pt x="10011031" y="3744996"/>
                </a:cubicBezTo>
                <a:cubicBezTo>
                  <a:pt x="10004086" y="3734546"/>
                  <a:pt x="9990196" y="3724097"/>
                  <a:pt x="9979779" y="3713647"/>
                </a:cubicBezTo>
                <a:cubicBezTo>
                  <a:pt x="9941582" y="3713647"/>
                  <a:pt x="9903385" y="3713647"/>
                  <a:pt x="9861716" y="3713647"/>
                </a:cubicBezTo>
                <a:cubicBezTo>
                  <a:pt x="9854771" y="3720613"/>
                  <a:pt x="9847826" y="3731063"/>
                  <a:pt x="9840882" y="3738029"/>
                </a:cubicBezTo>
                <a:cubicBezTo>
                  <a:pt x="9809630" y="3751963"/>
                  <a:pt x="9774905" y="3744996"/>
                  <a:pt x="9743653" y="3744996"/>
                </a:cubicBezTo>
                <a:cubicBezTo>
                  <a:pt x="9733236" y="3734546"/>
                  <a:pt x="9722819" y="3724097"/>
                  <a:pt x="9712401" y="3717130"/>
                </a:cubicBezTo>
                <a:cubicBezTo>
                  <a:pt x="9705457" y="3724097"/>
                  <a:pt x="9698512" y="3734546"/>
                  <a:pt x="9684622" y="3744996"/>
                </a:cubicBezTo>
                <a:cubicBezTo>
                  <a:pt x="9597811" y="3744996"/>
                  <a:pt x="9507528" y="3744996"/>
                  <a:pt x="9420717" y="3744996"/>
                </a:cubicBezTo>
                <a:cubicBezTo>
                  <a:pt x="9406827" y="3758929"/>
                  <a:pt x="9399882" y="3765895"/>
                  <a:pt x="9392937" y="3772862"/>
                </a:cubicBezTo>
                <a:cubicBezTo>
                  <a:pt x="9330434" y="3772862"/>
                  <a:pt x="9267930" y="3772862"/>
                  <a:pt x="9208898" y="3772862"/>
                </a:cubicBezTo>
                <a:cubicBezTo>
                  <a:pt x="9198481" y="3762412"/>
                  <a:pt x="9191536" y="3755446"/>
                  <a:pt x="9184591" y="3744996"/>
                </a:cubicBezTo>
                <a:cubicBezTo>
                  <a:pt x="9163757" y="3765895"/>
                  <a:pt x="9142922" y="3786795"/>
                  <a:pt x="9118615" y="3811178"/>
                </a:cubicBezTo>
                <a:cubicBezTo>
                  <a:pt x="9101253" y="3804211"/>
                  <a:pt x="9087363" y="3793762"/>
                  <a:pt x="9052639" y="3776345"/>
                </a:cubicBezTo>
                <a:cubicBezTo>
                  <a:pt x="8872072" y="3776345"/>
                  <a:pt x="8670671" y="3776345"/>
                  <a:pt x="8476215" y="3776345"/>
                </a:cubicBezTo>
                <a:cubicBezTo>
                  <a:pt x="8462325" y="3765895"/>
                  <a:pt x="8455380" y="3758929"/>
                  <a:pt x="8448435" y="3748479"/>
                </a:cubicBezTo>
                <a:cubicBezTo>
                  <a:pt x="8438018" y="3755446"/>
                  <a:pt x="8427600" y="3762412"/>
                  <a:pt x="8413711" y="3772862"/>
                </a:cubicBezTo>
                <a:cubicBezTo>
                  <a:pt x="8250506" y="3772862"/>
                  <a:pt x="8083830" y="3772862"/>
                  <a:pt x="7917152" y="3772862"/>
                </a:cubicBezTo>
                <a:cubicBezTo>
                  <a:pt x="7906735" y="3783312"/>
                  <a:pt x="7896318" y="3793762"/>
                  <a:pt x="7882428" y="3804211"/>
                </a:cubicBezTo>
                <a:cubicBezTo>
                  <a:pt x="7872011" y="3793762"/>
                  <a:pt x="7861594" y="3786795"/>
                  <a:pt x="7851176" y="3776345"/>
                </a:cubicBezTo>
                <a:cubicBezTo>
                  <a:pt x="7753948" y="3776345"/>
                  <a:pt x="7656720" y="3776345"/>
                  <a:pt x="7556019" y="3776345"/>
                </a:cubicBezTo>
                <a:cubicBezTo>
                  <a:pt x="7549074" y="3783312"/>
                  <a:pt x="7545602" y="3790279"/>
                  <a:pt x="7535184" y="3800728"/>
                </a:cubicBezTo>
                <a:cubicBezTo>
                  <a:pt x="7486570" y="3814661"/>
                  <a:pt x="7431012" y="3797245"/>
                  <a:pt x="7385870" y="3807695"/>
                </a:cubicBezTo>
                <a:cubicBezTo>
                  <a:pt x="7368508" y="3793762"/>
                  <a:pt x="7358090" y="3783312"/>
                  <a:pt x="7340728" y="3769379"/>
                </a:cubicBezTo>
                <a:cubicBezTo>
                  <a:pt x="7326838" y="3779829"/>
                  <a:pt x="7309476" y="3786795"/>
                  <a:pt x="7285169" y="3804211"/>
                </a:cubicBezTo>
                <a:cubicBezTo>
                  <a:pt x="7198358" y="3804211"/>
                  <a:pt x="7101130" y="3804211"/>
                  <a:pt x="7003902" y="3804211"/>
                </a:cubicBezTo>
                <a:cubicBezTo>
                  <a:pt x="6990012" y="3811178"/>
                  <a:pt x="6979595" y="3821628"/>
                  <a:pt x="6965705" y="3835561"/>
                </a:cubicBezTo>
                <a:cubicBezTo>
                  <a:pt x="6951816" y="3835561"/>
                  <a:pt x="6930981" y="3835561"/>
                  <a:pt x="6906674" y="3835561"/>
                </a:cubicBezTo>
                <a:cubicBezTo>
                  <a:pt x="6899729" y="3828595"/>
                  <a:pt x="6889312" y="3818145"/>
                  <a:pt x="6878894" y="3807695"/>
                </a:cubicBezTo>
                <a:cubicBezTo>
                  <a:pt x="6771249" y="3807695"/>
                  <a:pt x="6663604" y="3807695"/>
                  <a:pt x="6555958" y="3807695"/>
                </a:cubicBezTo>
                <a:cubicBezTo>
                  <a:pt x="6545540" y="3797245"/>
                  <a:pt x="6535123" y="3786795"/>
                  <a:pt x="6524706" y="3776345"/>
                </a:cubicBezTo>
                <a:cubicBezTo>
                  <a:pt x="6493454" y="3765895"/>
                  <a:pt x="6479564" y="3790279"/>
                  <a:pt x="6465675" y="3804211"/>
                </a:cubicBezTo>
                <a:cubicBezTo>
                  <a:pt x="6430950" y="3804211"/>
                  <a:pt x="6403171" y="3804211"/>
                  <a:pt x="6375391" y="3804211"/>
                </a:cubicBezTo>
                <a:cubicBezTo>
                  <a:pt x="6368447" y="3797245"/>
                  <a:pt x="6358030" y="3790279"/>
                  <a:pt x="6347612" y="3779829"/>
                </a:cubicBezTo>
                <a:cubicBezTo>
                  <a:pt x="6340668" y="3783312"/>
                  <a:pt x="6330250" y="3790279"/>
                  <a:pt x="6316361" y="3804211"/>
                </a:cubicBezTo>
                <a:cubicBezTo>
                  <a:pt x="6274691" y="3804211"/>
                  <a:pt x="6226077" y="3804211"/>
                  <a:pt x="6170518" y="3804211"/>
                </a:cubicBezTo>
                <a:cubicBezTo>
                  <a:pt x="6163573" y="3797245"/>
                  <a:pt x="6153156" y="3790279"/>
                  <a:pt x="6139266" y="3779829"/>
                </a:cubicBezTo>
                <a:cubicBezTo>
                  <a:pt x="6132321" y="3786795"/>
                  <a:pt x="6121904" y="3793762"/>
                  <a:pt x="6108014" y="3804211"/>
                </a:cubicBezTo>
                <a:cubicBezTo>
                  <a:pt x="6101069" y="3793762"/>
                  <a:pt x="6090652" y="3786795"/>
                  <a:pt x="6080235" y="3776345"/>
                </a:cubicBezTo>
                <a:cubicBezTo>
                  <a:pt x="6073290" y="3783312"/>
                  <a:pt x="6066345" y="3790279"/>
                  <a:pt x="6052455" y="3804211"/>
                </a:cubicBezTo>
                <a:cubicBezTo>
                  <a:pt x="5948282" y="3807695"/>
                  <a:pt x="5833692" y="3804211"/>
                  <a:pt x="5726047" y="3807695"/>
                </a:cubicBezTo>
                <a:cubicBezTo>
                  <a:pt x="5712157" y="3818145"/>
                  <a:pt x="5705212" y="3825111"/>
                  <a:pt x="5694795" y="3835561"/>
                </a:cubicBezTo>
                <a:cubicBezTo>
                  <a:pt x="5684377" y="3825111"/>
                  <a:pt x="5677432" y="3818145"/>
                  <a:pt x="5667015" y="3807695"/>
                </a:cubicBezTo>
                <a:cubicBezTo>
                  <a:pt x="5587149" y="3807695"/>
                  <a:pt x="5507283" y="3807695"/>
                  <a:pt x="5427417" y="3807695"/>
                </a:cubicBezTo>
                <a:cubicBezTo>
                  <a:pt x="5416999" y="3818145"/>
                  <a:pt x="5410055" y="3825111"/>
                  <a:pt x="5403110" y="3832078"/>
                </a:cubicBezTo>
                <a:cubicBezTo>
                  <a:pt x="5344078" y="3832078"/>
                  <a:pt x="5285047" y="3832078"/>
                  <a:pt x="5222543" y="3832078"/>
                </a:cubicBezTo>
                <a:cubicBezTo>
                  <a:pt x="5205181" y="3828595"/>
                  <a:pt x="5198236" y="3793762"/>
                  <a:pt x="5163512" y="3807695"/>
                </a:cubicBezTo>
                <a:cubicBezTo>
                  <a:pt x="5153095" y="3814661"/>
                  <a:pt x="5142677" y="3825111"/>
                  <a:pt x="5132260" y="3835561"/>
                </a:cubicBezTo>
                <a:cubicBezTo>
                  <a:pt x="5014197" y="3835561"/>
                  <a:pt x="4896134" y="3835561"/>
                  <a:pt x="4778071" y="3835561"/>
                </a:cubicBezTo>
                <a:cubicBezTo>
                  <a:pt x="4767654" y="3825111"/>
                  <a:pt x="4757237" y="3814661"/>
                  <a:pt x="4743347" y="3800728"/>
                </a:cubicBezTo>
                <a:cubicBezTo>
                  <a:pt x="4729457" y="3807695"/>
                  <a:pt x="4712095" y="3814661"/>
                  <a:pt x="4673898" y="3832078"/>
                </a:cubicBezTo>
                <a:cubicBezTo>
                  <a:pt x="4535001" y="3832078"/>
                  <a:pt x="4375269" y="3832078"/>
                  <a:pt x="4222482" y="3832078"/>
                </a:cubicBezTo>
                <a:cubicBezTo>
                  <a:pt x="4205120" y="3849494"/>
                  <a:pt x="4191230" y="3856461"/>
                  <a:pt x="4177340" y="3870393"/>
                </a:cubicBezTo>
                <a:cubicBezTo>
                  <a:pt x="4163450" y="3863427"/>
                  <a:pt x="4146088" y="3852977"/>
                  <a:pt x="4125253" y="3839044"/>
                </a:cubicBezTo>
                <a:cubicBezTo>
                  <a:pt x="4048860" y="3839044"/>
                  <a:pt x="3968994" y="3839044"/>
                  <a:pt x="3889128" y="3839044"/>
                </a:cubicBezTo>
                <a:cubicBezTo>
                  <a:pt x="3878710" y="3849494"/>
                  <a:pt x="3871765" y="3856461"/>
                  <a:pt x="3864821" y="3863427"/>
                </a:cubicBezTo>
                <a:cubicBezTo>
                  <a:pt x="3607861" y="3863427"/>
                  <a:pt x="3354373" y="3863427"/>
                  <a:pt x="3097413" y="3863427"/>
                </a:cubicBezTo>
                <a:cubicBezTo>
                  <a:pt x="3086996" y="3873877"/>
                  <a:pt x="3076578" y="3884327"/>
                  <a:pt x="3062689" y="3894777"/>
                </a:cubicBezTo>
                <a:cubicBezTo>
                  <a:pt x="3034909" y="3894777"/>
                  <a:pt x="3007130" y="3894777"/>
                  <a:pt x="2975878" y="3894777"/>
                </a:cubicBezTo>
                <a:cubicBezTo>
                  <a:pt x="2965460" y="3884327"/>
                  <a:pt x="2955043" y="3877360"/>
                  <a:pt x="2944626" y="3866910"/>
                </a:cubicBezTo>
                <a:cubicBezTo>
                  <a:pt x="2913374" y="3852977"/>
                  <a:pt x="2902956" y="3887810"/>
                  <a:pt x="2882122" y="3894777"/>
                </a:cubicBezTo>
                <a:cubicBezTo>
                  <a:pt x="2857814" y="3894777"/>
                  <a:pt x="2833507" y="3894777"/>
                  <a:pt x="2802255" y="3894777"/>
                </a:cubicBezTo>
                <a:cubicBezTo>
                  <a:pt x="2795311" y="3891293"/>
                  <a:pt x="2784893" y="3880843"/>
                  <a:pt x="2764059" y="3866910"/>
                </a:cubicBezTo>
                <a:cubicBezTo>
                  <a:pt x="2711973" y="3866910"/>
                  <a:pt x="2649469" y="3866910"/>
                  <a:pt x="2590438" y="3866910"/>
                </a:cubicBezTo>
                <a:cubicBezTo>
                  <a:pt x="2580020" y="3852977"/>
                  <a:pt x="2573075" y="3846011"/>
                  <a:pt x="2566131" y="3839044"/>
                </a:cubicBezTo>
                <a:cubicBezTo>
                  <a:pt x="2524461" y="3839044"/>
                  <a:pt x="2479320" y="3839044"/>
                  <a:pt x="2441123" y="3839044"/>
                </a:cubicBezTo>
                <a:cubicBezTo>
                  <a:pt x="2430705" y="3849494"/>
                  <a:pt x="2423760" y="3856461"/>
                  <a:pt x="2416816" y="3863427"/>
                </a:cubicBezTo>
                <a:cubicBezTo>
                  <a:pt x="2298753" y="3863427"/>
                  <a:pt x="2180690" y="3863427"/>
                  <a:pt x="2062627" y="3863427"/>
                </a:cubicBezTo>
                <a:cubicBezTo>
                  <a:pt x="2052210" y="3873877"/>
                  <a:pt x="2041792" y="3884327"/>
                  <a:pt x="2027903" y="3894777"/>
                </a:cubicBezTo>
                <a:cubicBezTo>
                  <a:pt x="1902895" y="3894777"/>
                  <a:pt x="1774415" y="3894777"/>
                  <a:pt x="1645935" y="3894777"/>
                </a:cubicBezTo>
                <a:cubicBezTo>
                  <a:pt x="1635517" y="3905226"/>
                  <a:pt x="1625100" y="3915676"/>
                  <a:pt x="1614683" y="3926126"/>
                </a:cubicBezTo>
                <a:cubicBezTo>
                  <a:pt x="1524399" y="3926126"/>
                  <a:pt x="1437589" y="3926126"/>
                  <a:pt x="1350778" y="3926126"/>
                </a:cubicBezTo>
                <a:cubicBezTo>
                  <a:pt x="1340360" y="3915676"/>
                  <a:pt x="1326471" y="3905226"/>
                  <a:pt x="1312581" y="3891293"/>
                </a:cubicBezTo>
                <a:cubicBezTo>
                  <a:pt x="1298691" y="3898260"/>
                  <a:pt x="1281329" y="3908709"/>
                  <a:pt x="1250077" y="3922643"/>
                </a:cubicBezTo>
                <a:cubicBezTo>
                  <a:pt x="1079928" y="3922643"/>
                  <a:pt x="895889" y="3922643"/>
                  <a:pt x="708377" y="3922643"/>
                </a:cubicBezTo>
                <a:cubicBezTo>
                  <a:pt x="694487" y="3933093"/>
                  <a:pt x="684070" y="3943542"/>
                  <a:pt x="670180" y="3953992"/>
                </a:cubicBezTo>
                <a:cubicBezTo>
                  <a:pt x="625039" y="3953992"/>
                  <a:pt x="576425" y="3953992"/>
                  <a:pt x="524338" y="3953992"/>
                </a:cubicBezTo>
                <a:cubicBezTo>
                  <a:pt x="517393" y="3947025"/>
                  <a:pt x="506976" y="3940059"/>
                  <a:pt x="493086" y="3926126"/>
                </a:cubicBezTo>
                <a:cubicBezTo>
                  <a:pt x="475724" y="3926126"/>
                  <a:pt x="458362" y="3926126"/>
                  <a:pt x="427110" y="3926126"/>
                </a:cubicBezTo>
                <a:cubicBezTo>
                  <a:pt x="402803" y="3898260"/>
                  <a:pt x="375023" y="3863427"/>
                  <a:pt x="347244" y="3828595"/>
                </a:cubicBezTo>
                <a:cubicBezTo>
                  <a:pt x="343771" y="3832078"/>
                  <a:pt x="340299" y="3839044"/>
                  <a:pt x="336827" y="3842527"/>
                </a:cubicBezTo>
                <a:cubicBezTo>
                  <a:pt x="319464" y="3828595"/>
                  <a:pt x="298630" y="3814661"/>
                  <a:pt x="277795" y="3807695"/>
                </a:cubicBezTo>
                <a:cubicBezTo>
                  <a:pt x="260433" y="3800728"/>
                  <a:pt x="243071" y="3804211"/>
                  <a:pt x="232654" y="3804211"/>
                </a:cubicBezTo>
                <a:cubicBezTo>
                  <a:pt x="208346" y="3786795"/>
                  <a:pt x="194457" y="3772862"/>
                  <a:pt x="184039" y="3762412"/>
                </a:cubicBezTo>
                <a:cubicBezTo>
                  <a:pt x="173622" y="3717130"/>
                  <a:pt x="236126" y="3696230"/>
                  <a:pt x="211819" y="3650948"/>
                </a:cubicBezTo>
                <a:cubicBezTo>
                  <a:pt x="229181" y="3616115"/>
                  <a:pt x="256961" y="3584766"/>
                  <a:pt x="236126" y="3542967"/>
                </a:cubicBezTo>
                <a:cubicBezTo>
                  <a:pt x="211819" y="3532517"/>
                  <a:pt x="184039" y="3525550"/>
                  <a:pt x="163205" y="3501167"/>
                </a:cubicBezTo>
                <a:cubicBezTo>
                  <a:pt x="135425" y="3501167"/>
                  <a:pt x="104173" y="3501167"/>
                  <a:pt x="72921" y="3501167"/>
                </a:cubicBezTo>
                <a:cubicBezTo>
                  <a:pt x="69449" y="3487234"/>
                  <a:pt x="65977" y="3473301"/>
                  <a:pt x="62504" y="3459368"/>
                </a:cubicBezTo>
                <a:cubicBezTo>
                  <a:pt x="83339" y="3448919"/>
                  <a:pt x="104173" y="3438469"/>
                  <a:pt x="121535" y="3428019"/>
                </a:cubicBezTo>
                <a:cubicBezTo>
                  <a:pt x="131953" y="3379253"/>
                  <a:pt x="79866" y="3368803"/>
                  <a:pt x="69449" y="3337454"/>
                </a:cubicBezTo>
                <a:cubicBezTo>
                  <a:pt x="83339" y="3320038"/>
                  <a:pt x="93756" y="3306105"/>
                  <a:pt x="107646" y="3292172"/>
                </a:cubicBezTo>
                <a:cubicBezTo>
                  <a:pt x="138898" y="3292172"/>
                  <a:pt x="166677" y="3292172"/>
                  <a:pt x="187512" y="3292172"/>
                </a:cubicBezTo>
                <a:cubicBezTo>
                  <a:pt x="218764" y="3274755"/>
                  <a:pt x="243071" y="3260822"/>
                  <a:pt x="270850" y="3246889"/>
                </a:cubicBezTo>
                <a:cubicBezTo>
                  <a:pt x="270850" y="3229473"/>
                  <a:pt x="270850" y="3208573"/>
                  <a:pt x="270850" y="3187674"/>
                </a:cubicBezTo>
                <a:cubicBezTo>
                  <a:pt x="281268" y="3177224"/>
                  <a:pt x="291685" y="3166774"/>
                  <a:pt x="305575" y="3152841"/>
                </a:cubicBezTo>
                <a:cubicBezTo>
                  <a:pt x="274323" y="3145874"/>
                  <a:pt x="246544" y="3138908"/>
                  <a:pt x="218764" y="3135425"/>
                </a:cubicBezTo>
                <a:cubicBezTo>
                  <a:pt x="218764" y="3107558"/>
                  <a:pt x="243071" y="3100592"/>
                  <a:pt x="256961" y="3079692"/>
                </a:cubicBezTo>
                <a:cubicBezTo>
                  <a:pt x="274323" y="3079692"/>
                  <a:pt x="295157" y="3079692"/>
                  <a:pt x="315992" y="3079692"/>
                </a:cubicBezTo>
                <a:cubicBezTo>
                  <a:pt x="322937" y="3090142"/>
                  <a:pt x="336827" y="3100592"/>
                  <a:pt x="347244" y="3111042"/>
                </a:cubicBezTo>
                <a:cubicBezTo>
                  <a:pt x="385441" y="3041376"/>
                  <a:pt x="468779" y="3041376"/>
                  <a:pt x="524338" y="2992611"/>
                </a:cubicBezTo>
                <a:cubicBezTo>
                  <a:pt x="559062" y="2992611"/>
                  <a:pt x="597259" y="2992611"/>
                  <a:pt x="635456" y="2992611"/>
                </a:cubicBezTo>
                <a:cubicBezTo>
                  <a:pt x="649346" y="2982161"/>
                  <a:pt x="659763" y="2971711"/>
                  <a:pt x="670180" y="2961261"/>
                </a:cubicBezTo>
                <a:cubicBezTo>
                  <a:pt x="718794" y="2961261"/>
                  <a:pt x="767409" y="2961261"/>
                  <a:pt x="819495" y="2961261"/>
                </a:cubicBezTo>
                <a:cubicBezTo>
                  <a:pt x="822968" y="2954295"/>
                  <a:pt x="829913" y="2947328"/>
                  <a:pt x="829913" y="2943845"/>
                </a:cubicBezTo>
                <a:cubicBezTo>
                  <a:pt x="840330" y="2936878"/>
                  <a:pt x="843802" y="2929912"/>
                  <a:pt x="847275" y="2929912"/>
                </a:cubicBezTo>
                <a:cubicBezTo>
                  <a:pt x="916723" y="2929912"/>
                  <a:pt x="986172" y="2929912"/>
                  <a:pt x="1055621" y="2929912"/>
                </a:cubicBezTo>
                <a:cubicBezTo>
                  <a:pt x="1062566" y="2922945"/>
                  <a:pt x="1069510" y="2915979"/>
                  <a:pt x="1079928" y="2902046"/>
                </a:cubicBezTo>
                <a:cubicBezTo>
                  <a:pt x="1118124" y="2902046"/>
                  <a:pt x="1163266" y="2902046"/>
                  <a:pt x="1197990" y="2902046"/>
                </a:cubicBezTo>
                <a:cubicBezTo>
                  <a:pt x="1211880" y="2888113"/>
                  <a:pt x="1218825" y="2881146"/>
                  <a:pt x="1229242" y="2870696"/>
                </a:cubicBezTo>
                <a:cubicBezTo>
                  <a:pt x="1260494" y="2870696"/>
                  <a:pt x="1291746" y="2870696"/>
                  <a:pt x="1319526" y="2870696"/>
                </a:cubicBezTo>
                <a:cubicBezTo>
                  <a:pt x="1333415" y="2856763"/>
                  <a:pt x="1340360" y="2849797"/>
                  <a:pt x="1350778" y="2839347"/>
                </a:cubicBezTo>
                <a:cubicBezTo>
                  <a:pt x="1409809" y="2839347"/>
                  <a:pt x="1472313" y="2839347"/>
                  <a:pt x="1527872" y="2839347"/>
                </a:cubicBezTo>
                <a:cubicBezTo>
                  <a:pt x="1541762" y="2825414"/>
                  <a:pt x="1548706" y="2818447"/>
                  <a:pt x="1555651" y="2811481"/>
                </a:cubicBezTo>
                <a:cubicBezTo>
                  <a:pt x="1593848" y="2811481"/>
                  <a:pt x="1632045" y="2811481"/>
                  <a:pt x="1670242" y="2811481"/>
                </a:cubicBezTo>
                <a:cubicBezTo>
                  <a:pt x="1684131" y="2801031"/>
                  <a:pt x="1694549" y="2790581"/>
                  <a:pt x="1704966" y="2780131"/>
                </a:cubicBezTo>
                <a:cubicBezTo>
                  <a:pt x="1763997" y="2780131"/>
                  <a:pt x="1823029" y="2780131"/>
                  <a:pt x="1882060" y="2780131"/>
                </a:cubicBezTo>
                <a:cubicBezTo>
                  <a:pt x="1889005" y="2773165"/>
                  <a:pt x="1895950" y="2766198"/>
                  <a:pt x="1902895" y="2759232"/>
                </a:cubicBezTo>
                <a:cubicBezTo>
                  <a:pt x="1906367" y="2755749"/>
                  <a:pt x="1909840" y="2748782"/>
                  <a:pt x="1913312" y="2748782"/>
                </a:cubicBezTo>
                <a:cubicBezTo>
                  <a:pt x="1961926" y="2748782"/>
                  <a:pt x="2010541" y="2748782"/>
                  <a:pt x="2059154" y="2748782"/>
                </a:cubicBezTo>
                <a:cubicBezTo>
                  <a:pt x="2066100" y="2741815"/>
                  <a:pt x="2073044" y="2734849"/>
                  <a:pt x="2086934" y="2720916"/>
                </a:cubicBezTo>
                <a:cubicBezTo>
                  <a:pt x="2135548" y="2710466"/>
                  <a:pt x="2194579" y="2724399"/>
                  <a:pt x="2253611" y="2713949"/>
                </a:cubicBezTo>
                <a:cubicBezTo>
                  <a:pt x="2232776" y="2675633"/>
                  <a:pt x="2208469" y="2689566"/>
                  <a:pt x="2184162" y="2689566"/>
                </a:cubicBezTo>
                <a:cubicBezTo>
                  <a:pt x="2166800" y="2686083"/>
                  <a:pt x="2145965" y="2693050"/>
                  <a:pt x="2132076" y="2672150"/>
                </a:cubicBezTo>
                <a:cubicBezTo>
                  <a:pt x="2114713" y="2647767"/>
                  <a:pt x="2086934" y="2661700"/>
                  <a:pt x="2066100" y="2654734"/>
                </a:cubicBezTo>
                <a:cubicBezTo>
                  <a:pt x="2052210" y="2665184"/>
                  <a:pt x="2041792" y="2675633"/>
                  <a:pt x="2027903" y="2686083"/>
                </a:cubicBezTo>
                <a:cubicBezTo>
                  <a:pt x="2003596" y="2686083"/>
                  <a:pt x="1972344" y="2686083"/>
                  <a:pt x="1941092" y="2686083"/>
                </a:cubicBezTo>
                <a:cubicBezTo>
                  <a:pt x="1934147" y="2679117"/>
                  <a:pt x="1923729" y="2668667"/>
                  <a:pt x="1909840" y="2658217"/>
                </a:cubicBezTo>
                <a:cubicBezTo>
                  <a:pt x="1882060" y="2658217"/>
                  <a:pt x="1854281" y="2658217"/>
                  <a:pt x="1823029" y="2658217"/>
                </a:cubicBezTo>
                <a:cubicBezTo>
                  <a:pt x="1812612" y="2647767"/>
                  <a:pt x="1802194" y="2637317"/>
                  <a:pt x="1788304" y="2623384"/>
                </a:cubicBezTo>
                <a:cubicBezTo>
                  <a:pt x="1774415" y="2630351"/>
                  <a:pt x="1757053" y="2637317"/>
                  <a:pt x="1729273" y="2651251"/>
                </a:cubicBezTo>
                <a:cubicBezTo>
                  <a:pt x="1708438" y="2637317"/>
                  <a:pt x="1677187" y="2623384"/>
                  <a:pt x="1628572" y="2595518"/>
                </a:cubicBezTo>
                <a:cubicBezTo>
                  <a:pt x="1607738" y="2595518"/>
                  <a:pt x="1562596" y="2595518"/>
                  <a:pt x="1524399" y="2595518"/>
                </a:cubicBezTo>
                <a:cubicBezTo>
                  <a:pt x="1513982" y="2585068"/>
                  <a:pt x="1507038" y="2578102"/>
                  <a:pt x="1500092" y="2567652"/>
                </a:cubicBezTo>
                <a:cubicBezTo>
                  <a:pt x="1472313" y="2567652"/>
                  <a:pt x="1441061" y="2567652"/>
                  <a:pt x="1413281" y="2567652"/>
                </a:cubicBezTo>
                <a:cubicBezTo>
                  <a:pt x="1399392" y="2557202"/>
                  <a:pt x="1388975" y="2546753"/>
                  <a:pt x="1378557" y="2539786"/>
                </a:cubicBezTo>
                <a:cubicBezTo>
                  <a:pt x="1368140" y="2546753"/>
                  <a:pt x="1357723" y="2557202"/>
                  <a:pt x="1347305" y="2567652"/>
                </a:cubicBezTo>
                <a:cubicBezTo>
                  <a:pt x="1340360" y="2560686"/>
                  <a:pt x="1333415" y="2553719"/>
                  <a:pt x="1322998" y="2539786"/>
                </a:cubicBezTo>
                <a:cubicBezTo>
                  <a:pt x="1267439" y="2529336"/>
                  <a:pt x="1201463" y="2543269"/>
                  <a:pt x="1142432" y="2532819"/>
                </a:cubicBezTo>
                <a:cubicBezTo>
                  <a:pt x="1125069" y="2518886"/>
                  <a:pt x="1111180" y="2504953"/>
                  <a:pt x="1100762" y="2494504"/>
                </a:cubicBezTo>
                <a:cubicBezTo>
                  <a:pt x="1097290" y="2477087"/>
                  <a:pt x="1093817" y="2463154"/>
                  <a:pt x="1086873" y="2431805"/>
                </a:cubicBezTo>
                <a:cubicBezTo>
                  <a:pt x="1066038" y="2466637"/>
                  <a:pt x="1048676" y="2491020"/>
                  <a:pt x="1038258" y="2508437"/>
                </a:cubicBezTo>
                <a:cubicBezTo>
                  <a:pt x="1007007" y="2508437"/>
                  <a:pt x="986172" y="2508437"/>
                  <a:pt x="975755" y="2508437"/>
                </a:cubicBezTo>
                <a:cubicBezTo>
                  <a:pt x="944503" y="2491020"/>
                  <a:pt x="916723" y="2480570"/>
                  <a:pt x="895889" y="2463154"/>
                </a:cubicBezTo>
                <a:cubicBezTo>
                  <a:pt x="878526" y="2452704"/>
                  <a:pt x="864637" y="2431805"/>
                  <a:pt x="847275" y="2417872"/>
                </a:cubicBezTo>
                <a:cubicBezTo>
                  <a:pt x="836858" y="2428322"/>
                  <a:pt x="829913" y="2435288"/>
                  <a:pt x="816023" y="2445738"/>
                </a:cubicBezTo>
                <a:cubicBezTo>
                  <a:pt x="802133" y="2431805"/>
                  <a:pt x="788243" y="2410905"/>
                  <a:pt x="767409" y="2396972"/>
                </a:cubicBezTo>
                <a:cubicBezTo>
                  <a:pt x="753519" y="2386522"/>
                  <a:pt x="736157" y="2383039"/>
                  <a:pt x="718794" y="2376073"/>
                </a:cubicBezTo>
                <a:cubicBezTo>
                  <a:pt x="715322" y="2362139"/>
                  <a:pt x="711850" y="2348206"/>
                  <a:pt x="704905" y="2327307"/>
                </a:cubicBezTo>
                <a:cubicBezTo>
                  <a:pt x="684070" y="2327307"/>
                  <a:pt x="663235" y="2327307"/>
                  <a:pt x="635456" y="2323824"/>
                </a:cubicBezTo>
                <a:cubicBezTo>
                  <a:pt x="628511" y="2306407"/>
                  <a:pt x="625039" y="2288991"/>
                  <a:pt x="618094" y="2271575"/>
                </a:cubicBezTo>
                <a:cubicBezTo>
                  <a:pt x="604204" y="2268091"/>
                  <a:pt x="590314" y="2264608"/>
                  <a:pt x="576425" y="2261125"/>
                </a:cubicBezTo>
                <a:cubicBezTo>
                  <a:pt x="555590" y="2240225"/>
                  <a:pt x="572952" y="2215842"/>
                  <a:pt x="566007" y="2191459"/>
                </a:cubicBezTo>
                <a:cubicBezTo>
                  <a:pt x="555590" y="2181010"/>
                  <a:pt x="545173" y="2170560"/>
                  <a:pt x="538228" y="2160110"/>
                </a:cubicBezTo>
                <a:cubicBezTo>
                  <a:pt x="538228" y="2139210"/>
                  <a:pt x="538228" y="2118311"/>
                  <a:pt x="538228" y="2097411"/>
                </a:cubicBezTo>
                <a:cubicBezTo>
                  <a:pt x="527811" y="2093928"/>
                  <a:pt x="520866" y="2083478"/>
                  <a:pt x="513921" y="2083478"/>
                </a:cubicBezTo>
                <a:cubicBezTo>
                  <a:pt x="444472" y="2083478"/>
                  <a:pt x="375023" y="2083478"/>
                  <a:pt x="315992" y="2083478"/>
                </a:cubicBezTo>
                <a:cubicBezTo>
                  <a:pt x="302102" y="2069545"/>
                  <a:pt x="295157" y="2062579"/>
                  <a:pt x="288212" y="2055612"/>
                </a:cubicBezTo>
                <a:cubicBezTo>
                  <a:pt x="229181" y="2055612"/>
                  <a:pt x="170150" y="2055612"/>
                  <a:pt x="107646" y="2055612"/>
                </a:cubicBezTo>
                <a:cubicBezTo>
                  <a:pt x="100701" y="2062579"/>
                  <a:pt x="90284" y="2073028"/>
                  <a:pt x="79866" y="2083478"/>
                </a:cubicBezTo>
                <a:cubicBezTo>
                  <a:pt x="55559" y="2038196"/>
                  <a:pt x="31252" y="1992913"/>
                  <a:pt x="6945" y="1937181"/>
                </a:cubicBezTo>
                <a:cubicBezTo>
                  <a:pt x="6945" y="1919765"/>
                  <a:pt x="6945" y="1888415"/>
                  <a:pt x="6945" y="1860549"/>
                </a:cubicBezTo>
                <a:cubicBezTo>
                  <a:pt x="13890" y="1850099"/>
                  <a:pt x="24307" y="1836166"/>
                  <a:pt x="34725" y="1825717"/>
                </a:cubicBezTo>
                <a:cubicBezTo>
                  <a:pt x="24307" y="1815267"/>
                  <a:pt x="13890" y="1804817"/>
                  <a:pt x="0" y="1790884"/>
                </a:cubicBezTo>
                <a:cubicBezTo>
                  <a:pt x="10418" y="1769984"/>
                  <a:pt x="27780" y="1752568"/>
                  <a:pt x="34725" y="1731668"/>
                </a:cubicBezTo>
                <a:cubicBezTo>
                  <a:pt x="38197" y="1714252"/>
                  <a:pt x="34725" y="1693352"/>
                  <a:pt x="34725" y="1675936"/>
                </a:cubicBezTo>
                <a:cubicBezTo>
                  <a:pt x="59032" y="1651553"/>
                  <a:pt x="83339" y="1665486"/>
                  <a:pt x="111118" y="1662003"/>
                </a:cubicBezTo>
                <a:cubicBezTo>
                  <a:pt x="118063" y="1641103"/>
                  <a:pt x="128480" y="1620204"/>
                  <a:pt x="135425" y="1602787"/>
                </a:cubicBezTo>
                <a:cubicBezTo>
                  <a:pt x="149315" y="1613237"/>
                  <a:pt x="159732" y="1620204"/>
                  <a:pt x="170150" y="1630654"/>
                </a:cubicBezTo>
                <a:cubicBezTo>
                  <a:pt x="187512" y="1602787"/>
                  <a:pt x="187512" y="1574921"/>
                  <a:pt x="170150" y="1543572"/>
                </a:cubicBezTo>
                <a:cubicBezTo>
                  <a:pt x="159732" y="1550538"/>
                  <a:pt x="149315" y="1557505"/>
                  <a:pt x="138898" y="1567955"/>
                </a:cubicBezTo>
                <a:cubicBezTo>
                  <a:pt x="128480" y="1560988"/>
                  <a:pt x="118063" y="1550538"/>
                  <a:pt x="111118" y="1543572"/>
                </a:cubicBezTo>
                <a:cubicBezTo>
                  <a:pt x="93756" y="1547055"/>
                  <a:pt x="86811" y="1574921"/>
                  <a:pt x="62504" y="1571438"/>
                </a:cubicBezTo>
                <a:cubicBezTo>
                  <a:pt x="62504" y="1557505"/>
                  <a:pt x="62504" y="1540089"/>
                  <a:pt x="62504" y="1522672"/>
                </a:cubicBezTo>
                <a:cubicBezTo>
                  <a:pt x="79866" y="1515706"/>
                  <a:pt x="97229" y="1508739"/>
                  <a:pt x="114591" y="1505256"/>
                </a:cubicBezTo>
                <a:cubicBezTo>
                  <a:pt x="121535" y="1487840"/>
                  <a:pt x="128480" y="1470423"/>
                  <a:pt x="135425" y="1453007"/>
                </a:cubicBezTo>
                <a:cubicBezTo>
                  <a:pt x="149315" y="1414691"/>
                  <a:pt x="194457" y="1425141"/>
                  <a:pt x="218764" y="1400758"/>
                </a:cubicBezTo>
                <a:cubicBezTo>
                  <a:pt x="232654" y="1386825"/>
                  <a:pt x="263905" y="1390308"/>
                  <a:pt x="288212" y="1386825"/>
                </a:cubicBezTo>
                <a:cubicBezTo>
                  <a:pt x="315992" y="1358959"/>
                  <a:pt x="295157" y="1320643"/>
                  <a:pt x="302102" y="1285810"/>
                </a:cubicBezTo>
                <a:cubicBezTo>
                  <a:pt x="312520" y="1271877"/>
                  <a:pt x="326409" y="1257944"/>
                  <a:pt x="343771" y="1240528"/>
                </a:cubicBezTo>
                <a:cubicBezTo>
                  <a:pt x="357661" y="1240528"/>
                  <a:pt x="378496" y="1244011"/>
                  <a:pt x="395858" y="1237045"/>
                </a:cubicBezTo>
                <a:cubicBezTo>
                  <a:pt x="413220" y="1233561"/>
                  <a:pt x="427110" y="1216145"/>
                  <a:pt x="441000" y="1209178"/>
                </a:cubicBezTo>
                <a:cubicBezTo>
                  <a:pt x="458362" y="1198729"/>
                  <a:pt x="475724" y="1191762"/>
                  <a:pt x="506976" y="1177829"/>
                </a:cubicBezTo>
                <a:cubicBezTo>
                  <a:pt x="538228" y="1177829"/>
                  <a:pt x="586842" y="1177829"/>
                  <a:pt x="635456" y="1177829"/>
                </a:cubicBezTo>
                <a:cubicBezTo>
                  <a:pt x="649346" y="1167379"/>
                  <a:pt x="659763" y="1160413"/>
                  <a:pt x="670180" y="1149963"/>
                </a:cubicBezTo>
                <a:cubicBezTo>
                  <a:pt x="697960" y="1149963"/>
                  <a:pt x="729212" y="1149963"/>
                  <a:pt x="756991" y="1149963"/>
                </a:cubicBezTo>
                <a:cubicBezTo>
                  <a:pt x="767409" y="1139513"/>
                  <a:pt x="777826" y="1129063"/>
                  <a:pt x="791716" y="1118613"/>
                </a:cubicBezTo>
                <a:cubicBezTo>
                  <a:pt x="847275" y="1118613"/>
                  <a:pt x="906306" y="1118613"/>
                  <a:pt x="965337" y="1118613"/>
                </a:cubicBezTo>
                <a:cubicBezTo>
                  <a:pt x="972282" y="1108164"/>
                  <a:pt x="979227" y="1101197"/>
                  <a:pt x="993117" y="1090747"/>
                </a:cubicBezTo>
                <a:cubicBezTo>
                  <a:pt x="1041731" y="1090747"/>
                  <a:pt x="1093817" y="1090747"/>
                  <a:pt x="1142432" y="1090747"/>
                </a:cubicBezTo>
                <a:cubicBezTo>
                  <a:pt x="1152849" y="1076814"/>
                  <a:pt x="1159794" y="1069848"/>
                  <a:pt x="1173683" y="1059398"/>
                </a:cubicBezTo>
                <a:cubicBezTo>
                  <a:pt x="1239660" y="1059398"/>
                  <a:pt x="1312581" y="1059398"/>
                  <a:pt x="1378557" y="1059398"/>
                </a:cubicBezTo>
                <a:cubicBezTo>
                  <a:pt x="1392447" y="1045465"/>
                  <a:pt x="1399392" y="1038498"/>
                  <a:pt x="1406337" y="1028049"/>
                </a:cubicBezTo>
                <a:cubicBezTo>
                  <a:pt x="1416754" y="1038498"/>
                  <a:pt x="1427171" y="1045465"/>
                  <a:pt x="1437589" y="1055915"/>
                </a:cubicBezTo>
                <a:cubicBezTo>
                  <a:pt x="1448006" y="1045465"/>
                  <a:pt x="1458423" y="1038498"/>
                  <a:pt x="1468840" y="1028049"/>
                </a:cubicBezTo>
                <a:cubicBezTo>
                  <a:pt x="1566069" y="1028049"/>
                  <a:pt x="1663297" y="1028049"/>
                  <a:pt x="1763997" y="1028049"/>
                </a:cubicBezTo>
                <a:cubicBezTo>
                  <a:pt x="1770942" y="1021082"/>
                  <a:pt x="1777887" y="1014115"/>
                  <a:pt x="1781360" y="1007149"/>
                </a:cubicBezTo>
                <a:cubicBezTo>
                  <a:pt x="1788304" y="1003666"/>
                  <a:pt x="1791777" y="996699"/>
                  <a:pt x="1795249" y="996699"/>
                </a:cubicBezTo>
                <a:cubicBezTo>
                  <a:pt x="1913312" y="996699"/>
                  <a:pt x="2031375" y="996699"/>
                  <a:pt x="2149438" y="996699"/>
                </a:cubicBezTo>
                <a:cubicBezTo>
                  <a:pt x="2156383" y="989733"/>
                  <a:pt x="2163328" y="982766"/>
                  <a:pt x="2177217" y="968833"/>
                </a:cubicBezTo>
                <a:cubicBezTo>
                  <a:pt x="2291808" y="968833"/>
                  <a:pt x="2413343" y="968833"/>
                  <a:pt x="2531406" y="968833"/>
                </a:cubicBezTo>
                <a:cubicBezTo>
                  <a:pt x="2541823" y="954900"/>
                  <a:pt x="2548768" y="947933"/>
                  <a:pt x="2559186" y="940967"/>
                </a:cubicBezTo>
                <a:cubicBezTo>
                  <a:pt x="2614745" y="940967"/>
                  <a:pt x="2673775" y="940967"/>
                  <a:pt x="2739752" y="940967"/>
                </a:cubicBezTo>
                <a:cubicBezTo>
                  <a:pt x="2743225" y="944450"/>
                  <a:pt x="2753641" y="954900"/>
                  <a:pt x="2771003" y="965350"/>
                </a:cubicBezTo>
                <a:cubicBezTo>
                  <a:pt x="2784893" y="965350"/>
                  <a:pt x="2805729" y="972316"/>
                  <a:pt x="2823090" y="965350"/>
                </a:cubicBezTo>
                <a:cubicBezTo>
                  <a:pt x="2854342" y="951417"/>
                  <a:pt x="2885594" y="930517"/>
                  <a:pt x="2920318" y="909618"/>
                </a:cubicBezTo>
                <a:cubicBezTo>
                  <a:pt x="2927263" y="916584"/>
                  <a:pt x="2937681" y="927034"/>
                  <a:pt x="2948098" y="934000"/>
                </a:cubicBezTo>
                <a:cubicBezTo>
                  <a:pt x="2958515" y="927034"/>
                  <a:pt x="2968933" y="916584"/>
                  <a:pt x="2979350" y="906134"/>
                </a:cubicBezTo>
                <a:cubicBezTo>
                  <a:pt x="2986295" y="927034"/>
                  <a:pt x="2993240" y="944450"/>
                  <a:pt x="3000185" y="965350"/>
                </a:cubicBezTo>
                <a:cubicBezTo>
                  <a:pt x="3017547" y="965350"/>
                  <a:pt x="3038382" y="965350"/>
                  <a:pt x="3059216" y="968833"/>
                </a:cubicBezTo>
                <a:cubicBezTo>
                  <a:pt x="3069634" y="958383"/>
                  <a:pt x="3080051" y="951417"/>
                  <a:pt x="3093941" y="940967"/>
                </a:cubicBezTo>
                <a:cubicBezTo>
                  <a:pt x="3100886" y="947933"/>
                  <a:pt x="3111303" y="954900"/>
                  <a:pt x="3125193" y="965350"/>
                </a:cubicBezTo>
                <a:cubicBezTo>
                  <a:pt x="3142555" y="965350"/>
                  <a:pt x="3159917" y="965350"/>
                  <a:pt x="3184224" y="965350"/>
                </a:cubicBezTo>
                <a:cubicBezTo>
                  <a:pt x="3191169" y="951417"/>
                  <a:pt x="3194641" y="934000"/>
                  <a:pt x="3201586" y="920067"/>
                </a:cubicBezTo>
                <a:cubicBezTo>
                  <a:pt x="3205059" y="913101"/>
                  <a:pt x="3208531" y="906134"/>
                  <a:pt x="3212004" y="906134"/>
                </a:cubicBezTo>
                <a:cubicBezTo>
                  <a:pt x="3260618" y="906134"/>
                  <a:pt x="3312703" y="906134"/>
                  <a:pt x="3357846" y="906134"/>
                </a:cubicBezTo>
                <a:cubicBezTo>
                  <a:pt x="3371736" y="916584"/>
                  <a:pt x="3382152" y="927034"/>
                  <a:pt x="3389098" y="934000"/>
                </a:cubicBezTo>
                <a:cubicBezTo>
                  <a:pt x="3399514" y="927034"/>
                  <a:pt x="3406459" y="920067"/>
                  <a:pt x="3416876" y="909618"/>
                </a:cubicBezTo>
                <a:cubicBezTo>
                  <a:pt x="3455073" y="909618"/>
                  <a:pt x="3496743" y="909618"/>
                  <a:pt x="3541884" y="909618"/>
                </a:cubicBezTo>
                <a:cubicBezTo>
                  <a:pt x="3559247" y="930517"/>
                  <a:pt x="3573136" y="947933"/>
                  <a:pt x="3604388" y="930517"/>
                </a:cubicBezTo>
                <a:cubicBezTo>
                  <a:pt x="3614806" y="913101"/>
                  <a:pt x="3611333" y="899168"/>
                  <a:pt x="3600916" y="878268"/>
                </a:cubicBezTo>
                <a:cubicBezTo>
                  <a:pt x="3576609" y="843435"/>
                  <a:pt x="3527995" y="853885"/>
                  <a:pt x="3507160" y="815569"/>
                </a:cubicBezTo>
                <a:cubicBezTo>
                  <a:pt x="3475908" y="815569"/>
                  <a:pt x="3448128" y="815569"/>
                  <a:pt x="3420350" y="815569"/>
                </a:cubicBezTo>
                <a:cubicBezTo>
                  <a:pt x="3406459" y="805120"/>
                  <a:pt x="3396043" y="794670"/>
                  <a:pt x="3382152" y="780737"/>
                </a:cubicBezTo>
                <a:cubicBezTo>
                  <a:pt x="3375207" y="784220"/>
                  <a:pt x="3367394" y="788574"/>
                  <a:pt x="3357411" y="793799"/>
                </a:cubicBezTo>
                <a:lnTo>
                  <a:pt x="3324394" y="809788"/>
                </a:lnTo>
                <a:lnTo>
                  <a:pt x="3243255" y="725004"/>
                </a:lnTo>
                <a:cubicBezTo>
                  <a:pt x="3222421" y="725004"/>
                  <a:pt x="3205059" y="725004"/>
                  <a:pt x="3184224" y="725004"/>
                </a:cubicBezTo>
                <a:cubicBezTo>
                  <a:pt x="3173807" y="714555"/>
                  <a:pt x="3163389" y="704105"/>
                  <a:pt x="3152972" y="697138"/>
                </a:cubicBezTo>
                <a:cubicBezTo>
                  <a:pt x="3132137" y="697138"/>
                  <a:pt x="3111303" y="697138"/>
                  <a:pt x="3093941" y="697138"/>
                </a:cubicBezTo>
                <a:cubicBezTo>
                  <a:pt x="3083523" y="707588"/>
                  <a:pt x="3073106" y="714555"/>
                  <a:pt x="3062689" y="725004"/>
                </a:cubicBezTo>
                <a:cubicBezTo>
                  <a:pt x="3034909" y="725004"/>
                  <a:pt x="3010602" y="725004"/>
                  <a:pt x="2982822" y="725004"/>
                </a:cubicBezTo>
                <a:cubicBezTo>
                  <a:pt x="2972405" y="718038"/>
                  <a:pt x="2961988" y="711071"/>
                  <a:pt x="2944626" y="697138"/>
                </a:cubicBezTo>
                <a:cubicBezTo>
                  <a:pt x="2920318" y="697138"/>
                  <a:pt x="2885594" y="697138"/>
                  <a:pt x="2854342" y="697138"/>
                </a:cubicBezTo>
                <a:cubicBezTo>
                  <a:pt x="2847397" y="707588"/>
                  <a:pt x="2840452" y="714555"/>
                  <a:pt x="2830035" y="721521"/>
                </a:cubicBezTo>
                <a:cubicBezTo>
                  <a:pt x="2760586" y="721521"/>
                  <a:pt x="2687666" y="721521"/>
                  <a:pt x="2618217" y="721521"/>
                </a:cubicBezTo>
                <a:cubicBezTo>
                  <a:pt x="2607800" y="711071"/>
                  <a:pt x="2600855" y="704105"/>
                  <a:pt x="2593910" y="697138"/>
                </a:cubicBezTo>
                <a:cubicBezTo>
                  <a:pt x="2583493" y="704105"/>
                  <a:pt x="2573075" y="714555"/>
                  <a:pt x="2562658" y="725004"/>
                </a:cubicBezTo>
                <a:cubicBezTo>
                  <a:pt x="2541823" y="725004"/>
                  <a:pt x="2524461" y="725004"/>
                  <a:pt x="2503627" y="725004"/>
                </a:cubicBezTo>
                <a:cubicBezTo>
                  <a:pt x="2493209" y="714555"/>
                  <a:pt x="2482792" y="704105"/>
                  <a:pt x="2472375" y="697138"/>
                </a:cubicBezTo>
                <a:cubicBezTo>
                  <a:pt x="2451540" y="697138"/>
                  <a:pt x="2430705" y="697138"/>
                  <a:pt x="2413343" y="697138"/>
                </a:cubicBezTo>
                <a:cubicBezTo>
                  <a:pt x="2402926" y="707588"/>
                  <a:pt x="2392508" y="718038"/>
                  <a:pt x="2385564" y="725004"/>
                </a:cubicBezTo>
                <a:cubicBezTo>
                  <a:pt x="2350839" y="735454"/>
                  <a:pt x="2340422" y="704105"/>
                  <a:pt x="2312642" y="690172"/>
                </a:cubicBezTo>
                <a:cubicBezTo>
                  <a:pt x="2298753" y="700622"/>
                  <a:pt x="2284863" y="707588"/>
                  <a:pt x="2264028" y="721521"/>
                </a:cubicBezTo>
                <a:cubicBezTo>
                  <a:pt x="2257083" y="714555"/>
                  <a:pt x="2246666" y="707588"/>
                  <a:pt x="2236249" y="697138"/>
                </a:cubicBezTo>
                <a:cubicBezTo>
                  <a:pt x="2139021" y="697138"/>
                  <a:pt x="2041792" y="697138"/>
                  <a:pt x="1944564" y="697138"/>
                </a:cubicBezTo>
                <a:cubicBezTo>
                  <a:pt x="1934147" y="686688"/>
                  <a:pt x="1923729" y="676239"/>
                  <a:pt x="1909840" y="665789"/>
                </a:cubicBezTo>
                <a:cubicBezTo>
                  <a:pt x="1906367" y="672755"/>
                  <a:pt x="1899422" y="679722"/>
                  <a:pt x="1892478" y="686688"/>
                </a:cubicBezTo>
                <a:cubicBezTo>
                  <a:pt x="1857753" y="704105"/>
                  <a:pt x="1826501" y="693655"/>
                  <a:pt x="1791777" y="693655"/>
                </a:cubicBezTo>
                <a:cubicBezTo>
                  <a:pt x="1784832" y="686688"/>
                  <a:pt x="1777887" y="679722"/>
                  <a:pt x="1763997" y="665789"/>
                </a:cubicBezTo>
                <a:cubicBezTo>
                  <a:pt x="1729273" y="665789"/>
                  <a:pt x="1684131" y="665789"/>
                  <a:pt x="1645935" y="665789"/>
                </a:cubicBezTo>
                <a:cubicBezTo>
                  <a:pt x="1635517" y="655339"/>
                  <a:pt x="1628572" y="648373"/>
                  <a:pt x="1618155" y="637923"/>
                </a:cubicBezTo>
                <a:cubicBezTo>
                  <a:pt x="1607738" y="644889"/>
                  <a:pt x="1600793" y="651856"/>
                  <a:pt x="1586903" y="662306"/>
                </a:cubicBezTo>
                <a:cubicBezTo>
                  <a:pt x="1579958" y="655339"/>
                  <a:pt x="1569541" y="644889"/>
                  <a:pt x="1555651" y="634439"/>
                </a:cubicBezTo>
                <a:cubicBezTo>
                  <a:pt x="1520927" y="634439"/>
                  <a:pt x="1479258" y="634439"/>
                  <a:pt x="1441061" y="634439"/>
                </a:cubicBezTo>
                <a:cubicBezTo>
                  <a:pt x="1430644" y="623990"/>
                  <a:pt x="1420227" y="613540"/>
                  <a:pt x="1409809" y="603090"/>
                </a:cubicBezTo>
                <a:cubicBezTo>
                  <a:pt x="1378557" y="603090"/>
                  <a:pt x="1350778" y="603090"/>
                  <a:pt x="1319526" y="603090"/>
                </a:cubicBezTo>
                <a:cubicBezTo>
                  <a:pt x="1312581" y="596124"/>
                  <a:pt x="1305636" y="589157"/>
                  <a:pt x="1295219" y="578707"/>
                </a:cubicBezTo>
                <a:cubicBezTo>
                  <a:pt x="1257022" y="578707"/>
                  <a:pt x="1215353" y="578707"/>
                  <a:pt x="1177156" y="578707"/>
                </a:cubicBezTo>
                <a:cubicBezTo>
                  <a:pt x="1152849" y="554324"/>
                  <a:pt x="1135487" y="536908"/>
                  <a:pt x="1114652" y="516008"/>
                </a:cubicBezTo>
                <a:cubicBezTo>
                  <a:pt x="1100762" y="516008"/>
                  <a:pt x="1079928" y="512525"/>
                  <a:pt x="1048676" y="512525"/>
                </a:cubicBezTo>
                <a:cubicBezTo>
                  <a:pt x="1038258" y="498592"/>
                  <a:pt x="1020896" y="470726"/>
                  <a:pt x="1007007" y="453310"/>
                </a:cubicBezTo>
                <a:cubicBezTo>
                  <a:pt x="954920" y="463759"/>
                  <a:pt x="923668" y="439377"/>
                  <a:pt x="892417" y="421960"/>
                </a:cubicBezTo>
                <a:cubicBezTo>
                  <a:pt x="861165" y="408027"/>
                  <a:pt x="833385" y="394094"/>
                  <a:pt x="805606" y="380161"/>
                </a:cubicBezTo>
                <a:cubicBezTo>
                  <a:pt x="805606" y="369711"/>
                  <a:pt x="802133" y="362745"/>
                  <a:pt x="802133" y="348812"/>
                </a:cubicBezTo>
                <a:cubicBezTo>
                  <a:pt x="763936" y="313979"/>
                  <a:pt x="725739" y="275663"/>
                  <a:pt x="687543" y="237347"/>
                </a:cubicBezTo>
                <a:cubicBezTo>
                  <a:pt x="694487" y="188581"/>
                  <a:pt x="666708" y="153749"/>
                  <a:pt x="652818" y="115433"/>
                </a:cubicBezTo>
                <a:cubicBezTo>
                  <a:pt x="663235" y="87567"/>
                  <a:pt x="684070" y="91050"/>
                  <a:pt x="704905" y="91050"/>
                </a:cubicBezTo>
                <a:cubicBezTo>
                  <a:pt x="711850" y="73634"/>
                  <a:pt x="715322" y="56217"/>
                  <a:pt x="722267" y="38801"/>
                </a:cubicBezTo>
                <a:cubicBezTo>
                  <a:pt x="750046" y="17901"/>
                  <a:pt x="767409" y="38801"/>
                  <a:pt x="784771" y="59701"/>
                </a:cubicBezTo>
                <a:cubicBezTo>
                  <a:pt x="795188" y="49251"/>
                  <a:pt x="805606" y="42284"/>
                  <a:pt x="816023" y="35318"/>
                </a:cubicBezTo>
                <a:cubicBezTo>
                  <a:pt x="836858" y="63184"/>
                  <a:pt x="836858" y="63184"/>
                  <a:pt x="809078" y="101500"/>
                </a:cubicBezTo>
                <a:cubicBezTo>
                  <a:pt x="822968" y="129366"/>
                  <a:pt x="833385" y="157232"/>
                  <a:pt x="847275" y="181615"/>
                </a:cubicBezTo>
                <a:cubicBezTo>
                  <a:pt x="888944" y="171165"/>
                  <a:pt x="888944" y="171165"/>
                  <a:pt x="920196" y="136332"/>
                </a:cubicBezTo>
                <a:cubicBezTo>
                  <a:pt x="909778" y="125883"/>
                  <a:pt x="902834" y="115433"/>
                  <a:pt x="892417" y="104983"/>
                </a:cubicBezTo>
                <a:cubicBezTo>
                  <a:pt x="906306" y="91050"/>
                  <a:pt x="920196" y="77117"/>
                  <a:pt x="934085" y="63184"/>
                </a:cubicBezTo>
                <a:cubicBezTo>
                  <a:pt x="944503" y="70150"/>
                  <a:pt x="954920" y="80600"/>
                  <a:pt x="965337" y="91050"/>
                </a:cubicBezTo>
                <a:cubicBezTo>
                  <a:pt x="979227" y="77117"/>
                  <a:pt x="993117" y="63184"/>
                  <a:pt x="1010479" y="45768"/>
                </a:cubicBezTo>
                <a:cubicBezTo>
                  <a:pt x="989644" y="35318"/>
                  <a:pt x="968810" y="24868"/>
                  <a:pt x="951448" y="17901"/>
                </a:cubicBezTo>
                <a:cubicBezTo>
                  <a:pt x="960129" y="3968"/>
                  <a:pt x="971414" y="485"/>
                  <a:pt x="983568" y="5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10674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786440" y="1"/>
            <a:ext cx="11501560" cy="8735077"/>
          </a:xfrm>
          <a:custGeom>
            <a:avLst/>
            <a:gdLst>
              <a:gd name="connsiteX0" fmla="*/ 4462734 w 11501560"/>
              <a:gd name="connsiteY0" fmla="*/ 5754381 h 8735077"/>
              <a:gd name="connsiteX1" fmla="*/ 4460394 w 11501560"/>
              <a:gd name="connsiteY1" fmla="*/ 5758988 h 8735077"/>
              <a:gd name="connsiteX2" fmla="*/ 4460394 w 11501560"/>
              <a:gd name="connsiteY2" fmla="*/ 5754553 h 8735077"/>
              <a:gd name="connsiteX3" fmla="*/ 10844670 w 11501560"/>
              <a:gd name="connsiteY3" fmla="*/ 5613600 h 8735077"/>
              <a:gd name="connsiteX4" fmla="*/ 10843792 w 11501560"/>
              <a:gd name="connsiteY4" fmla="*/ 5617059 h 8735077"/>
              <a:gd name="connsiteX5" fmla="*/ 10839358 w 11501560"/>
              <a:gd name="connsiteY5" fmla="*/ 5617059 h 8735077"/>
              <a:gd name="connsiteX6" fmla="*/ 11501560 w 11501560"/>
              <a:gd name="connsiteY6" fmla="*/ 4731378 h 8735077"/>
              <a:gd name="connsiteX7" fmla="*/ 11501560 w 11501560"/>
              <a:gd name="connsiteY7" fmla="*/ 4992455 h 8735077"/>
              <a:gd name="connsiteX8" fmla="*/ 11442234 w 11501560"/>
              <a:gd name="connsiteY8" fmla="*/ 5044905 h 8735077"/>
              <a:gd name="connsiteX9" fmla="*/ 11295948 w 11501560"/>
              <a:gd name="connsiteY9" fmla="*/ 5204576 h 8735077"/>
              <a:gd name="connsiteX10" fmla="*/ 11114200 w 11501560"/>
              <a:gd name="connsiteY10" fmla="*/ 5364247 h 8735077"/>
              <a:gd name="connsiteX11" fmla="*/ 11034406 w 11501560"/>
              <a:gd name="connsiteY11" fmla="*/ 5435211 h 8735077"/>
              <a:gd name="connsiteX12" fmla="*/ 10905852 w 11501560"/>
              <a:gd name="connsiteY12" fmla="*/ 5568270 h 8735077"/>
              <a:gd name="connsiteX13" fmla="*/ 10874268 w 11501560"/>
              <a:gd name="connsiteY13" fmla="*/ 5594328 h 8735077"/>
              <a:gd name="connsiteX14" fmla="*/ 10844670 w 11501560"/>
              <a:gd name="connsiteY14" fmla="*/ 5613600 h 8735077"/>
              <a:gd name="connsiteX15" fmla="*/ 10860968 w 11501560"/>
              <a:gd name="connsiteY15" fmla="*/ 5549421 h 8735077"/>
              <a:gd name="connsiteX16" fmla="*/ 10901420 w 11501560"/>
              <a:gd name="connsiteY16" fmla="*/ 5488435 h 8735077"/>
              <a:gd name="connsiteX17" fmla="*/ 11034406 w 11501560"/>
              <a:gd name="connsiteY17" fmla="*/ 5319894 h 8735077"/>
              <a:gd name="connsiteX18" fmla="*/ 11087600 w 11501560"/>
              <a:gd name="connsiteY18" fmla="*/ 5253364 h 8735077"/>
              <a:gd name="connsiteX19" fmla="*/ 11269352 w 11501560"/>
              <a:gd name="connsiteY19" fmla="*/ 5036034 h 8735077"/>
              <a:gd name="connsiteX20" fmla="*/ 11300380 w 11501560"/>
              <a:gd name="connsiteY20" fmla="*/ 4996116 h 8735077"/>
              <a:gd name="connsiteX21" fmla="*/ 11397904 w 11501560"/>
              <a:gd name="connsiteY21" fmla="*/ 4876363 h 8735077"/>
              <a:gd name="connsiteX22" fmla="*/ 11486564 w 11501560"/>
              <a:gd name="connsiteY22" fmla="*/ 4761045 h 8735077"/>
              <a:gd name="connsiteX23" fmla="*/ 531328 w 11501560"/>
              <a:gd name="connsiteY23" fmla="*/ 3636026 h 8735077"/>
              <a:gd name="connsiteX24" fmla="*/ 528400 w 11501560"/>
              <a:gd name="connsiteY24" fmla="*/ 3643349 h 8735077"/>
              <a:gd name="connsiteX25" fmla="*/ 523967 w 11501560"/>
              <a:gd name="connsiteY25" fmla="*/ 3638914 h 8735077"/>
              <a:gd name="connsiteX26" fmla="*/ 2784528 w 11501560"/>
              <a:gd name="connsiteY26" fmla="*/ 0 h 8735077"/>
              <a:gd name="connsiteX27" fmla="*/ 11501560 w 11501560"/>
              <a:gd name="connsiteY27" fmla="*/ 0 h 8735077"/>
              <a:gd name="connsiteX28" fmla="*/ 11501560 w 11501560"/>
              <a:gd name="connsiteY28" fmla="*/ 4542425 h 8735077"/>
              <a:gd name="connsiteX29" fmla="*/ 11458304 w 11501560"/>
              <a:gd name="connsiteY29" fmla="*/ 4546488 h 8735077"/>
              <a:gd name="connsiteX30" fmla="*/ 11375740 w 11501560"/>
              <a:gd name="connsiteY30" fmla="*/ 4601374 h 8735077"/>
              <a:gd name="connsiteX31" fmla="*/ 11242752 w 11501560"/>
              <a:gd name="connsiteY31" fmla="*/ 4641292 h 8735077"/>
              <a:gd name="connsiteX32" fmla="*/ 11100900 w 11501560"/>
              <a:gd name="connsiteY32" fmla="*/ 4792092 h 8735077"/>
              <a:gd name="connsiteX33" fmla="*/ 10954614 w 11501560"/>
              <a:gd name="connsiteY33" fmla="*/ 4982810 h 8735077"/>
              <a:gd name="connsiteX34" fmla="*/ 10910284 w 11501560"/>
              <a:gd name="connsiteY34" fmla="*/ 4951763 h 8735077"/>
              <a:gd name="connsiteX35" fmla="*/ 10741834 w 11501560"/>
              <a:gd name="connsiteY35" fmla="*/ 5111434 h 8735077"/>
              <a:gd name="connsiteX36" fmla="*/ 10560084 w 11501560"/>
              <a:gd name="connsiteY36" fmla="*/ 5302152 h 8735077"/>
              <a:gd name="connsiteX37" fmla="*/ 10475860 w 11501560"/>
              <a:gd name="connsiteY37" fmla="*/ 5399729 h 8735077"/>
              <a:gd name="connsiteX38" fmla="*/ 10201018 w 11501560"/>
              <a:gd name="connsiteY38" fmla="*/ 5807777 h 8735077"/>
              <a:gd name="connsiteX39" fmla="*/ 10099060 w 11501560"/>
              <a:gd name="connsiteY39" fmla="*/ 5949707 h 8735077"/>
              <a:gd name="connsiteX40" fmla="*/ 10010404 w 11501560"/>
              <a:gd name="connsiteY40" fmla="*/ 5985189 h 8735077"/>
              <a:gd name="connsiteX41" fmla="*/ 9921745 w 11501560"/>
              <a:gd name="connsiteY41" fmla="*/ 6047283 h 8735077"/>
              <a:gd name="connsiteX42" fmla="*/ 9899580 w 11501560"/>
              <a:gd name="connsiteY42" fmla="*/ 6069460 h 8735077"/>
              <a:gd name="connsiteX43" fmla="*/ 9717831 w 11501560"/>
              <a:gd name="connsiteY43" fmla="*/ 6273484 h 8735077"/>
              <a:gd name="connsiteX44" fmla="*/ 9367630 w 11501560"/>
              <a:gd name="connsiteY44" fmla="*/ 6725885 h 8735077"/>
              <a:gd name="connsiteX45" fmla="*/ 9314435 w 11501560"/>
              <a:gd name="connsiteY45" fmla="*/ 6805720 h 8735077"/>
              <a:gd name="connsiteX46" fmla="*/ 9199180 w 11501560"/>
              <a:gd name="connsiteY46" fmla="*/ 6907732 h 8735077"/>
              <a:gd name="connsiteX47" fmla="*/ 9110521 w 11501560"/>
              <a:gd name="connsiteY47" fmla="*/ 6987567 h 8735077"/>
              <a:gd name="connsiteX48" fmla="*/ 8946504 w 11501560"/>
              <a:gd name="connsiteY48" fmla="*/ 7231509 h 8735077"/>
              <a:gd name="connsiteX49" fmla="*/ 8866711 w 11501560"/>
              <a:gd name="connsiteY49" fmla="*/ 7320215 h 8735077"/>
              <a:gd name="connsiteX50" fmla="*/ 8817949 w 11501560"/>
              <a:gd name="connsiteY50" fmla="*/ 7377874 h 8735077"/>
              <a:gd name="connsiteX51" fmla="*/ 8724858 w 11501560"/>
              <a:gd name="connsiteY51" fmla="*/ 7528674 h 8735077"/>
              <a:gd name="connsiteX52" fmla="*/ 8627334 w 11501560"/>
              <a:gd name="connsiteY52" fmla="*/ 7635122 h 8735077"/>
              <a:gd name="connsiteX53" fmla="*/ 8591870 w 11501560"/>
              <a:gd name="connsiteY53" fmla="*/ 7683910 h 8735077"/>
              <a:gd name="connsiteX54" fmla="*/ 8485481 w 11501560"/>
              <a:gd name="connsiteY54" fmla="*/ 7861322 h 8735077"/>
              <a:gd name="connsiteX55" fmla="*/ 8441151 w 11501560"/>
              <a:gd name="connsiteY55" fmla="*/ 7945593 h 8735077"/>
              <a:gd name="connsiteX56" fmla="*/ 8401255 w 11501560"/>
              <a:gd name="connsiteY56" fmla="*/ 8003252 h 8735077"/>
              <a:gd name="connsiteX57" fmla="*/ 8308164 w 11501560"/>
              <a:gd name="connsiteY57" fmla="*/ 8162923 h 8735077"/>
              <a:gd name="connsiteX58" fmla="*/ 8290432 w 11501560"/>
              <a:gd name="connsiteY58" fmla="*/ 8193970 h 8735077"/>
              <a:gd name="connsiteX59" fmla="*/ 8170744 w 11501560"/>
              <a:gd name="connsiteY59" fmla="*/ 8371382 h 8735077"/>
              <a:gd name="connsiteX60" fmla="*/ 8090951 w 11501560"/>
              <a:gd name="connsiteY60" fmla="*/ 8557665 h 8735077"/>
              <a:gd name="connsiteX61" fmla="*/ 7966830 w 11501560"/>
              <a:gd name="connsiteY61" fmla="*/ 8557665 h 8735077"/>
              <a:gd name="connsiteX62" fmla="*/ 7922500 w 11501560"/>
              <a:gd name="connsiteY62" fmla="*/ 8677418 h 8735077"/>
              <a:gd name="connsiteX63" fmla="*/ 7882604 w 11501560"/>
              <a:gd name="connsiteY63" fmla="*/ 8735077 h 8735077"/>
              <a:gd name="connsiteX64" fmla="*/ 7838275 w 11501560"/>
              <a:gd name="connsiteY64" fmla="*/ 8712900 h 8735077"/>
              <a:gd name="connsiteX65" fmla="*/ 7842708 w 11501560"/>
              <a:gd name="connsiteY65" fmla="*/ 8500006 h 8735077"/>
              <a:gd name="connsiteX66" fmla="*/ 7816110 w 11501560"/>
              <a:gd name="connsiteY66" fmla="*/ 8406864 h 8735077"/>
              <a:gd name="connsiteX67" fmla="*/ 7816110 w 11501560"/>
              <a:gd name="connsiteY67" fmla="*/ 8216146 h 8735077"/>
              <a:gd name="connsiteX68" fmla="*/ 7895903 w 11501560"/>
              <a:gd name="connsiteY68" fmla="*/ 8029864 h 8735077"/>
              <a:gd name="connsiteX69" fmla="*/ 7873738 w 11501560"/>
              <a:gd name="connsiteY69" fmla="*/ 7923416 h 8735077"/>
              <a:gd name="connsiteX70" fmla="*/ 7842708 w 11501560"/>
              <a:gd name="connsiteY70" fmla="*/ 7830275 h 8735077"/>
              <a:gd name="connsiteX71" fmla="*/ 7616630 w 11501560"/>
              <a:gd name="connsiteY71" fmla="*/ 7683910 h 8735077"/>
              <a:gd name="connsiteX72" fmla="*/ 7643227 w 11501560"/>
              <a:gd name="connsiteY72" fmla="*/ 7573027 h 8735077"/>
              <a:gd name="connsiteX73" fmla="*/ 7678690 w 11501560"/>
              <a:gd name="connsiteY73" fmla="*/ 7488757 h 8735077"/>
              <a:gd name="connsiteX74" fmla="*/ 7674257 w 11501560"/>
              <a:gd name="connsiteY74" fmla="*/ 7426662 h 8735077"/>
              <a:gd name="connsiteX75" fmla="*/ 7612196 w 11501560"/>
              <a:gd name="connsiteY75" fmla="*/ 7444404 h 8735077"/>
              <a:gd name="connsiteX76" fmla="*/ 7519105 w 11501560"/>
              <a:gd name="connsiteY76" fmla="*/ 7533110 h 8735077"/>
              <a:gd name="connsiteX77" fmla="*/ 7480871 w 11501560"/>
              <a:gd name="connsiteY77" fmla="*/ 7546416 h 8735077"/>
              <a:gd name="connsiteX78" fmla="*/ 7442671 w 11501560"/>
              <a:gd name="connsiteY78" fmla="*/ 7534185 h 8735077"/>
              <a:gd name="connsiteX79" fmla="*/ 7443746 w 11501560"/>
              <a:gd name="connsiteY79" fmla="*/ 7533110 h 8735077"/>
              <a:gd name="connsiteX80" fmla="*/ 7439313 w 11501560"/>
              <a:gd name="connsiteY80" fmla="*/ 7533110 h 8735077"/>
              <a:gd name="connsiteX81" fmla="*/ 7442671 w 11501560"/>
              <a:gd name="connsiteY81" fmla="*/ 7534185 h 8735077"/>
              <a:gd name="connsiteX82" fmla="*/ 7439313 w 11501560"/>
              <a:gd name="connsiteY82" fmla="*/ 7537545 h 8735077"/>
              <a:gd name="connsiteX83" fmla="*/ 7430447 w 11501560"/>
              <a:gd name="connsiteY83" fmla="*/ 7515368 h 8735077"/>
              <a:gd name="connsiteX84" fmla="*/ 7468126 w 11501560"/>
              <a:gd name="connsiteY84" fmla="*/ 7461590 h 8735077"/>
              <a:gd name="connsiteX85" fmla="*/ 7516720 w 11501560"/>
              <a:gd name="connsiteY85" fmla="*/ 7419841 h 8735077"/>
              <a:gd name="connsiteX86" fmla="*/ 7519105 w 11501560"/>
              <a:gd name="connsiteY86" fmla="*/ 7422227 h 8735077"/>
              <a:gd name="connsiteX87" fmla="*/ 7519105 w 11501560"/>
              <a:gd name="connsiteY87" fmla="*/ 7417792 h 8735077"/>
              <a:gd name="connsiteX88" fmla="*/ 7516720 w 11501560"/>
              <a:gd name="connsiteY88" fmla="*/ 7419841 h 8735077"/>
              <a:gd name="connsiteX89" fmla="*/ 7514672 w 11501560"/>
              <a:gd name="connsiteY89" fmla="*/ 7417792 h 8735077"/>
              <a:gd name="connsiteX90" fmla="*/ 7554568 w 11501560"/>
              <a:gd name="connsiteY90" fmla="*/ 7386745 h 8735077"/>
              <a:gd name="connsiteX91" fmla="*/ 7816110 w 11501560"/>
              <a:gd name="connsiteY91" fmla="*/ 7142803 h 8735077"/>
              <a:gd name="connsiteX92" fmla="*/ 7895903 w 11501560"/>
              <a:gd name="connsiteY92" fmla="*/ 7009744 h 8735077"/>
              <a:gd name="connsiteX93" fmla="*/ 7807244 w 11501560"/>
              <a:gd name="connsiteY93" fmla="*/ 6992003 h 8735077"/>
              <a:gd name="connsiteX94" fmla="*/ 7820544 w 11501560"/>
              <a:gd name="connsiteY94" fmla="*/ 6934344 h 8735077"/>
              <a:gd name="connsiteX95" fmla="*/ 7785080 w 11501560"/>
              <a:gd name="connsiteY95" fmla="*/ 6912167 h 8735077"/>
              <a:gd name="connsiteX96" fmla="*/ 7793946 w 11501560"/>
              <a:gd name="connsiteY96" fmla="*/ 6894426 h 8735077"/>
              <a:gd name="connsiteX97" fmla="*/ 7931366 w 11501560"/>
              <a:gd name="connsiteY97" fmla="*/ 6783543 h 8735077"/>
              <a:gd name="connsiteX98" fmla="*/ 8170744 w 11501560"/>
              <a:gd name="connsiteY98" fmla="*/ 6557343 h 8735077"/>
              <a:gd name="connsiteX99" fmla="*/ 8206207 w 11501560"/>
              <a:gd name="connsiteY99" fmla="*/ 6512990 h 8735077"/>
              <a:gd name="connsiteX100" fmla="*/ 8379091 w 11501560"/>
              <a:gd name="connsiteY100" fmla="*/ 6260178 h 8735077"/>
              <a:gd name="connsiteX101" fmla="*/ 8441151 w 11501560"/>
              <a:gd name="connsiteY101" fmla="*/ 6175907 h 8735077"/>
              <a:gd name="connsiteX102" fmla="*/ 8463316 w 11501560"/>
              <a:gd name="connsiteY102" fmla="*/ 6127119 h 8735077"/>
              <a:gd name="connsiteX103" fmla="*/ 8427853 w 11501560"/>
              <a:gd name="connsiteY103" fmla="*/ 6131554 h 8735077"/>
              <a:gd name="connsiteX104" fmla="*/ 8073220 w 11501560"/>
              <a:gd name="connsiteY104" fmla="*/ 6428719 h 8735077"/>
              <a:gd name="connsiteX105" fmla="*/ 7838275 w 11501560"/>
              <a:gd name="connsiteY105" fmla="*/ 6619437 h 8735077"/>
              <a:gd name="connsiteX106" fmla="*/ 7754050 w 11501560"/>
              <a:gd name="connsiteY106" fmla="*/ 6690402 h 8735077"/>
              <a:gd name="connsiteX107" fmla="*/ 7306326 w 11501560"/>
              <a:gd name="connsiteY107" fmla="*/ 7062968 h 8735077"/>
              <a:gd name="connsiteX108" fmla="*/ 7000454 w 11501560"/>
              <a:gd name="connsiteY108" fmla="*/ 7306909 h 8735077"/>
              <a:gd name="connsiteX109" fmla="*/ 6845302 w 11501560"/>
              <a:gd name="connsiteY109" fmla="*/ 7408921 h 8735077"/>
              <a:gd name="connsiteX110" fmla="*/ 6623656 w 11501560"/>
              <a:gd name="connsiteY110" fmla="*/ 7586333 h 8735077"/>
              <a:gd name="connsiteX111" fmla="*/ 6605925 w 11501560"/>
              <a:gd name="connsiteY111" fmla="*/ 7630686 h 8735077"/>
              <a:gd name="connsiteX112" fmla="*/ 6605925 w 11501560"/>
              <a:gd name="connsiteY112" fmla="*/ 7683910 h 8735077"/>
              <a:gd name="connsiteX113" fmla="*/ 6481804 w 11501560"/>
              <a:gd name="connsiteY113" fmla="*/ 7772616 h 8735077"/>
              <a:gd name="connsiteX114" fmla="*/ 6189231 w 11501560"/>
              <a:gd name="connsiteY114" fmla="*/ 7950028 h 8735077"/>
              <a:gd name="connsiteX115" fmla="*/ 6118304 w 11501560"/>
              <a:gd name="connsiteY115" fmla="*/ 7989946 h 8735077"/>
              <a:gd name="connsiteX116" fmla="*/ 5980884 w 11501560"/>
              <a:gd name="connsiteY116" fmla="*/ 8052040 h 8735077"/>
              <a:gd name="connsiteX117" fmla="*/ 5737074 w 11501560"/>
              <a:gd name="connsiteY117" fmla="*/ 8180664 h 8735077"/>
              <a:gd name="connsiteX118" fmla="*/ 5670580 w 11501560"/>
              <a:gd name="connsiteY118" fmla="*/ 8233887 h 8735077"/>
              <a:gd name="connsiteX119" fmla="*/ 5710476 w 11501560"/>
              <a:gd name="connsiteY119" fmla="*/ 8331464 h 8735077"/>
              <a:gd name="connsiteX120" fmla="*/ 5608519 w 11501560"/>
              <a:gd name="connsiteY120" fmla="*/ 8411300 h 8735077"/>
              <a:gd name="connsiteX121" fmla="*/ 5617385 w 11501560"/>
              <a:gd name="connsiteY121" fmla="*/ 8460088 h 8735077"/>
              <a:gd name="connsiteX122" fmla="*/ 5550892 w 11501560"/>
              <a:gd name="connsiteY122" fmla="*/ 8486700 h 8735077"/>
              <a:gd name="connsiteX123" fmla="*/ 5462233 w 11501560"/>
              <a:gd name="connsiteY123" fmla="*/ 8686288 h 8735077"/>
              <a:gd name="connsiteX124" fmla="*/ 5462233 w 11501560"/>
              <a:gd name="connsiteY124" fmla="*/ 8681853 h 8735077"/>
              <a:gd name="connsiteX125" fmla="*/ 5426770 w 11501560"/>
              <a:gd name="connsiteY125" fmla="*/ 8602018 h 8735077"/>
              <a:gd name="connsiteX126" fmla="*/ 5391306 w 11501560"/>
              <a:gd name="connsiteY126" fmla="*/ 8562100 h 8735077"/>
              <a:gd name="connsiteX127" fmla="*/ 5360276 w 11501560"/>
              <a:gd name="connsiteY127" fmla="*/ 8637500 h 8735077"/>
              <a:gd name="connsiteX128" fmla="*/ 5315947 w 11501560"/>
              <a:gd name="connsiteY128" fmla="*/ 8681853 h 8735077"/>
              <a:gd name="connsiteX129" fmla="*/ 5271618 w 11501560"/>
              <a:gd name="connsiteY129" fmla="*/ 8721771 h 8735077"/>
              <a:gd name="connsiteX130" fmla="*/ 5329246 w 11501560"/>
              <a:gd name="connsiteY130" fmla="*/ 8641935 h 8735077"/>
              <a:gd name="connsiteX131" fmla="*/ 5324812 w 11501560"/>
              <a:gd name="connsiteY131" fmla="*/ 8579841 h 8735077"/>
              <a:gd name="connsiteX132" fmla="*/ 5360276 w 11501560"/>
              <a:gd name="connsiteY132" fmla="*/ 8535488 h 8735077"/>
              <a:gd name="connsiteX133" fmla="*/ 5351410 w 11501560"/>
              <a:gd name="connsiteY133" fmla="*/ 8504441 h 8735077"/>
              <a:gd name="connsiteX134" fmla="*/ 5351410 w 11501560"/>
              <a:gd name="connsiteY134" fmla="*/ 8300417 h 8735077"/>
              <a:gd name="connsiteX135" fmla="*/ 5342544 w 11501560"/>
              <a:gd name="connsiteY135" fmla="*/ 8211711 h 8735077"/>
              <a:gd name="connsiteX136" fmla="*/ 5116466 w 11501560"/>
              <a:gd name="connsiteY136" fmla="*/ 8247193 h 8735077"/>
              <a:gd name="connsiteX137" fmla="*/ 5018942 w 11501560"/>
              <a:gd name="connsiteY137" fmla="*/ 8229452 h 8735077"/>
              <a:gd name="connsiteX138" fmla="*/ 5010076 w 11501560"/>
              <a:gd name="connsiteY138" fmla="*/ 8123005 h 8735077"/>
              <a:gd name="connsiteX139" fmla="*/ 4761832 w 11501560"/>
              <a:gd name="connsiteY139" fmla="*/ 8078652 h 8735077"/>
              <a:gd name="connsiteX140" fmla="*/ 4788430 w 11501560"/>
              <a:gd name="connsiteY140" fmla="*/ 7998816 h 8735077"/>
              <a:gd name="connsiteX141" fmla="*/ 4841625 w 11501560"/>
              <a:gd name="connsiteY141" fmla="*/ 7941157 h 8735077"/>
              <a:gd name="connsiteX142" fmla="*/ 4886508 w 11501560"/>
              <a:gd name="connsiteY142" fmla="*/ 7927297 h 8735077"/>
              <a:gd name="connsiteX143" fmla="*/ 4929797 w 11501560"/>
              <a:gd name="connsiteY143" fmla="*/ 7911864 h 8735077"/>
              <a:gd name="connsiteX144" fmla="*/ 4930284 w 11501560"/>
              <a:gd name="connsiteY144" fmla="*/ 7914546 h 8735077"/>
              <a:gd name="connsiteX145" fmla="*/ 4934291 w 11501560"/>
              <a:gd name="connsiteY145" fmla="*/ 7911813 h 8735077"/>
              <a:gd name="connsiteX146" fmla="*/ 4927513 w 11501560"/>
              <a:gd name="connsiteY146" fmla="*/ 7938940 h 8735077"/>
              <a:gd name="connsiteX147" fmla="*/ 4943582 w 11501560"/>
              <a:gd name="connsiteY147" fmla="*/ 7967769 h 8735077"/>
              <a:gd name="connsiteX148" fmla="*/ 4996777 w 11501560"/>
              <a:gd name="connsiteY148" fmla="*/ 7954463 h 8735077"/>
              <a:gd name="connsiteX149" fmla="*/ 5058838 w 11501560"/>
              <a:gd name="connsiteY149" fmla="*/ 7954463 h 8735077"/>
              <a:gd name="connsiteX150" fmla="*/ 5116466 w 11501560"/>
              <a:gd name="connsiteY150" fmla="*/ 7848016 h 8735077"/>
              <a:gd name="connsiteX151" fmla="*/ 5098734 w 11501560"/>
              <a:gd name="connsiteY151" fmla="*/ 7834710 h 8735077"/>
              <a:gd name="connsiteX152" fmla="*/ 5027808 w 11501560"/>
              <a:gd name="connsiteY152" fmla="*/ 7848016 h 8735077"/>
              <a:gd name="connsiteX153" fmla="*/ 4934291 w 11501560"/>
              <a:gd name="connsiteY153" fmla="*/ 7911813 h 8735077"/>
              <a:gd name="connsiteX154" fmla="*/ 4934716 w 11501560"/>
              <a:gd name="connsiteY154" fmla="*/ 7910110 h 8735077"/>
              <a:gd name="connsiteX155" fmla="*/ 4929797 w 11501560"/>
              <a:gd name="connsiteY155" fmla="*/ 7911864 h 8735077"/>
              <a:gd name="connsiteX156" fmla="*/ 4921418 w 11501560"/>
              <a:gd name="connsiteY156" fmla="*/ 7865757 h 8735077"/>
              <a:gd name="connsiteX157" fmla="*/ 4801729 w 11501560"/>
              <a:gd name="connsiteY157" fmla="*/ 7874628 h 8735077"/>
              <a:gd name="connsiteX158" fmla="*/ 4823894 w 11501560"/>
              <a:gd name="connsiteY158" fmla="*/ 7839146 h 8735077"/>
              <a:gd name="connsiteX159" fmla="*/ 4890387 w 11501560"/>
              <a:gd name="connsiteY159" fmla="*/ 7830275 h 8735077"/>
              <a:gd name="connsiteX160" fmla="*/ 4912552 w 11501560"/>
              <a:gd name="connsiteY160" fmla="*/ 7799228 h 8735077"/>
              <a:gd name="connsiteX161" fmla="*/ 4894820 w 11501560"/>
              <a:gd name="connsiteY161" fmla="*/ 7768181 h 8735077"/>
              <a:gd name="connsiteX162" fmla="*/ 4819460 w 11501560"/>
              <a:gd name="connsiteY162" fmla="*/ 7750439 h 8735077"/>
              <a:gd name="connsiteX163" fmla="*/ 4748534 w 11501560"/>
              <a:gd name="connsiteY163" fmla="*/ 7750439 h 8735077"/>
              <a:gd name="connsiteX164" fmla="*/ 4686473 w 11501560"/>
              <a:gd name="connsiteY164" fmla="*/ 7701651 h 8735077"/>
              <a:gd name="connsiteX165" fmla="*/ 4495858 w 11501560"/>
              <a:gd name="connsiteY165" fmla="*/ 7728263 h 8735077"/>
              <a:gd name="connsiteX166" fmla="*/ 4185554 w 11501560"/>
              <a:gd name="connsiteY166" fmla="*/ 7706086 h 8735077"/>
              <a:gd name="connsiteX167" fmla="*/ 4127926 w 11501560"/>
              <a:gd name="connsiteY167" fmla="*/ 7661733 h 8735077"/>
              <a:gd name="connsiteX168" fmla="*/ 4132359 w 11501560"/>
              <a:gd name="connsiteY168" fmla="*/ 7639557 h 8735077"/>
              <a:gd name="connsiteX169" fmla="*/ 4189986 w 11501560"/>
              <a:gd name="connsiteY169" fmla="*/ 7524239 h 8735077"/>
              <a:gd name="connsiteX170" fmla="*/ 4194420 w 11501560"/>
              <a:gd name="connsiteY170" fmla="*/ 7435533 h 8735077"/>
              <a:gd name="connsiteX171" fmla="*/ 4141224 w 11501560"/>
              <a:gd name="connsiteY171" fmla="*/ 7324650 h 8735077"/>
              <a:gd name="connsiteX172" fmla="*/ 4110194 w 11501560"/>
              <a:gd name="connsiteY172" fmla="*/ 7311344 h 8735077"/>
              <a:gd name="connsiteX173" fmla="*/ 4234316 w 11501560"/>
              <a:gd name="connsiteY173" fmla="*/ 7138368 h 8735077"/>
              <a:gd name="connsiteX174" fmla="*/ 4269779 w 11501560"/>
              <a:gd name="connsiteY174" fmla="*/ 7102885 h 8735077"/>
              <a:gd name="connsiteX175" fmla="*/ 4291944 w 11501560"/>
              <a:gd name="connsiteY175" fmla="*/ 7023050 h 8735077"/>
              <a:gd name="connsiteX176" fmla="*/ 4278645 w 11501560"/>
              <a:gd name="connsiteY176" fmla="*/ 6912167 h 8735077"/>
              <a:gd name="connsiteX177" fmla="*/ 4252048 w 11501560"/>
              <a:gd name="connsiteY177" fmla="*/ 6863379 h 8735077"/>
              <a:gd name="connsiteX178" fmla="*/ 4181121 w 11501560"/>
              <a:gd name="connsiteY178" fmla="*/ 6814591 h 8735077"/>
              <a:gd name="connsiteX179" fmla="*/ 4017103 w 11501560"/>
              <a:gd name="connsiteY179" fmla="*/ 6796849 h 8735077"/>
              <a:gd name="connsiteX180" fmla="*/ 3990506 w 11501560"/>
              <a:gd name="connsiteY180" fmla="*/ 6752496 h 8735077"/>
              <a:gd name="connsiteX181" fmla="*/ 4030402 w 11501560"/>
              <a:gd name="connsiteY181" fmla="*/ 6592825 h 8735077"/>
              <a:gd name="connsiteX182" fmla="*/ 4030402 w 11501560"/>
              <a:gd name="connsiteY182" fmla="*/ 6468637 h 8735077"/>
              <a:gd name="connsiteX183" fmla="*/ 4123493 w 11501560"/>
              <a:gd name="connsiteY183" fmla="*/ 6366625 h 8735077"/>
              <a:gd name="connsiteX184" fmla="*/ 4096896 w 11501560"/>
              <a:gd name="connsiteY184" fmla="*/ 6331143 h 8735077"/>
              <a:gd name="connsiteX185" fmla="*/ 4234316 w 11501560"/>
              <a:gd name="connsiteY185" fmla="*/ 6251307 h 8735077"/>
              <a:gd name="connsiteX186" fmla="*/ 4296376 w 11501560"/>
              <a:gd name="connsiteY186" fmla="*/ 6167036 h 8735077"/>
              <a:gd name="connsiteX187" fmla="*/ 4340706 w 11501560"/>
              <a:gd name="connsiteY187" fmla="*/ 6078330 h 8735077"/>
              <a:gd name="connsiteX188" fmla="*/ 4274212 w 11501560"/>
              <a:gd name="connsiteY188" fmla="*/ 6042848 h 8735077"/>
              <a:gd name="connsiteX189" fmla="*/ 4349572 w 11501560"/>
              <a:gd name="connsiteY189" fmla="*/ 5967448 h 8735077"/>
              <a:gd name="connsiteX190" fmla="*/ 4557918 w 11501560"/>
              <a:gd name="connsiteY190" fmla="*/ 5790036 h 8735077"/>
              <a:gd name="connsiteX191" fmla="*/ 4593382 w 11501560"/>
              <a:gd name="connsiteY191" fmla="*/ 5736812 h 8735077"/>
              <a:gd name="connsiteX192" fmla="*/ 4549052 w 11501560"/>
              <a:gd name="connsiteY192" fmla="*/ 5719071 h 8735077"/>
              <a:gd name="connsiteX193" fmla="*/ 4484845 w 11501560"/>
              <a:gd name="connsiteY193" fmla="*/ 5752751 h 8735077"/>
              <a:gd name="connsiteX194" fmla="*/ 4462734 w 11501560"/>
              <a:gd name="connsiteY194" fmla="*/ 5754381 h 8735077"/>
              <a:gd name="connsiteX195" fmla="*/ 4471338 w 11501560"/>
              <a:gd name="connsiteY195" fmla="*/ 5737436 h 8735077"/>
              <a:gd name="connsiteX196" fmla="*/ 4522455 w 11501560"/>
              <a:gd name="connsiteY196" fmla="*/ 5696894 h 8735077"/>
              <a:gd name="connsiteX197" fmla="*/ 4535754 w 11501560"/>
              <a:gd name="connsiteY197" fmla="*/ 5656977 h 8735077"/>
              <a:gd name="connsiteX198" fmla="*/ 4420498 w 11501560"/>
              <a:gd name="connsiteY198" fmla="*/ 5696894 h 8735077"/>
              <a:gd name="connsiteX199" fmla="*/ 4198852 w 11501560"/>
              <a:gd name="connsiteY199" fmla="*/ 5816647 h 8735077"/>
              <a:gd name="connsiteX200" fmla="*/ 3968341 w 11501560"/>
              <a:gd name="connsiteY200" fmla="*/ 5918659 h 8735077"/>
              <a:gd name="connsiteX201" fmla="*/ 3977207 w 11501560"/>
              <a:gd name="connsiteY201" fmla="*/ 5883177 h 8735077"/>
              <a:gd name="connsiteX202" fmla="*/ 4056999 w 11501560"/>
              <a:gd name="connsiteY202" fmla="*/ 5847695 h 8735077"/>
              <a:gd name="connsiteX203" fmla="*/ 4252048 w 11501560"/>
              <a:gd name="connsiteY203" fmla="*/ 5754553 h 8735077"/>
              <a:gd name="connsiteX204" fmla="*/ 4455962 w 11501560"/>
              <a:gd name="connsiteY204" fmla="*/ 5639235 h 8735077"/>
              <a:gd name="connsiteX205" fmla="*/ 4682040 w 11501560"/>
              <a:gd name="connsiteY205" fmla="*/ 5479564 h 8735077"/>
              <a:gd name="connsiteX206" fmla="*/ 4699772 w 11501560"/>
              <a:gd name="connsiteY206" fmla="*/ 5408600 h 8735077"/>
              <a:gd name="connsiteX207" fmla="*/ 4859356 w 11501560"/>
              <a:gd name="connsiteY207" fmla="*/ 5297717 h 8735077"/>
              <a:gd name="connsiteX208" fmla="*/ 4974612 w 11501560"/>
              <a:gd name="connsiteY208" fmla="*/ 5222317 h 8735077"/>
              <a:gd name="connsiteX209" fmla="*/ 5120898 w 11501560"/>
              <a:gd name="connsiteY209" fmla="*/ 5044905 h 8735077"/>
              <a:gd name="connsiteX210" fmla="*/ 5107600 w 11501560"/>
              <a:gd name="connsiteY210" fmla="*/ 5009422 h 8735077"/>
              <a:gd name="connsiteX211" fmla="*/ 5182960 w 11501560"/>
              <a:gd name="connsiteY211" fmla="*/ 4965069 h 8735077"/>
              <a:gd name="connsiteX212" fmla="*/ 5258319 w 11501560"/>
              <a:gd name="connsiteY212" fmla="*/ 4894104 h 8735077"/>
              <a:gd name="connsiteX213" fmla="*/ 5298215 w 11501560"/>
              <a:gd name="connsiteY213" fmla="*/ 4849751 h 8735077"/>
              <a:gd name="connsiteX214" fmla="*/ 5409038 w 11501560"/>
              <a:gd name="connsiteY214" fmla="*/ 4716692 h 8735077"/>
              <a:gd name="connsiteX215" fmla="*/ 5462233 w 11501560"/>
              <a:gd name="connsiteY215" fmla="*/ 4632422 h 8735077"/>
              <a:gd name="connsiteX216" fmla="*/ 5453367 w 11501560"/>
              <a:gd name="connsiteY216" fmla="*/ 4579198 h 8735077"/>
              <a:gd name="connsiteX217" fmla="*/ 5342544 w 11501560"/>
              <a:gd name="connsiteY217" fmla="*/ 4654598 h 8735077"/>
              <a:gd name="connsiteX218" fmla="*/ 5227288 w 11501560"/>
              <a:gd name="connsiteY218" fmla="*/ 4734434 h 8735077"/>
              <a:gd name="connsiteX219" fmla="*/ 5094301 w 11501560"/>
              <a:gd name="connsiteY219" fmla="*/ 4818704 h 8735077"/>
              <a:gd name="connsiteX220" fmla="*/ 4970180 w 11501560"/>
              <a:gd name="connsiteY220" fmla="*/ 4911846 h 8735077"/>
              <a:gd name="connsiteX221" fmla="*/ 4854924 w 11501560"/>
              <a:gd name="connsiteY221" fmla="*/ 5004987 h 8735077"/>
              <a:gd name="connsiteX222" fmla="*/ 4810594 w 11501560"/>
              <a:gd name="connsiteY222" fmla="*/ 5058211 h 8735077"/>
              <a:gd name="connsiteX223" fmla="*/ 4841625 w 11501560"/>
              <a:gd name="connsiteY223" fmla="*/ 5098128 h 8735077"/>
              <a:gd name="connsiteX224" fmla="*/ 4961314 w 11501560"/>
              <a:gd name="connsiteY224" fmla="*/ 5058211 h 8735077"/>
              <a:gd name="connsiteX225" fmla="*/ 5010076 w 11501560"/>
              <a:gd name="connsiteY225" fmla="*/ 5044905 h 8735077"/>
              <a:gd name="connsiteX226" fmla="*/ 5018942 w 11501560"/>
              <a:gd name="connsiteY226" fmla="*/ 5049340 h 8735077"/>
              <a:gd name="connsiteX227" fmla="*/ 4961314 w 11501560"/>
              <a:gd name="connsiteY227" fmla="*/ 5111434 h 8735077"/>
              <a:gd name="connsiteX228" fmla="*/ 4721936 w 11501560"/>
              <a:gd name="connsiteY228" fmla="*/ 5266670 h 8735077"/>
              <a:gd name="connsiteX229" fmla="*/ 4491425 w 11501560"/>
              <a:gd name="connsiteY229" fmla="*/ 5430776 h 8735077"/>
              <a:gd name="connsiteX230" fmla="*/ 4314108 w 11501560"/>
              <a:gd name="connsiteY230" fmla="*/ 5559400 h 8735077"/>
              <a:gd name="connsiteX231" fmla="*/ 4150090 w 11501560"/>
              <a:gd name="connsiteY231" fmla="*/ 5661412 h 8735077"/>
              <a:gd name="connsiteX232" fmla="*/ 3986072 w 11501560"/>
              <a:gd name="connsiteY232" fmla="*/ 5754553 h 8735077"/>
              <a:gd name="connsiteX233" fmla="*/ 3884116 w 11501560"/>
              <a:gd name="connsiteY233" fmla="*/ 5812212 h 8735077"/>
              <a:gd name="connsiteX234" fmla="*/ 3866384 w 11501560"/>
              <a:gd name="connsiteY234" fmla="*/ 5825518 h 8735077"/>
              <a:gd name="connsiteX235" fmla="*/ 3578244 w 11501560"/>
              <a:gd name="connsiteY235" fmla="*/ 5963012 h 8735077"/>
              <a:gd name="connsiteX236" fmla="*/ 3449690 w 11501560"/>
              <a:gd name="connsiteY236" fmla="*/ 6016236 h 8735077"/>
              <a:gd name="connsiteX237" fmla="*/ 3312270 w 11501560"/>
              <a:gd name="connsiteY237" fmla="*/ 6087201 h 8735077"/>
              <a:gd name="connsiteX238" fmla="*/ 2957636 w 11501560"/>
              <a:gd name="connsiteY238" fmla="*/ 6229131 h 8735077"/>
              <a:gd name="connsiteX239" fmla="*/ 2900009 w 11501560"/>
              <a:gd name="connsiteY239" fmla="*/ 6246872 h 8735077"/>
              <a:gd name="connsiteX240" fmla="*/ 2798052 w 11501560"/>
              <a:gd name="connsiteY240" fmla="*/ 6282354 h 8735077"/>
              <a:gd name="connsiteX241" fmla="*/ 2767021 w 11501560"/>
              <a:gd name="connsiteY241" fmla="*/ 6300095 h 8735077"/>
              <a:gd name="connsiteX242" fmla="*/ 2696094 w 11501560"/>
              <a:gd name="connsiteY242" fmla="*/ 6446460 h 8735077"/>
              <a:gd name="connsiteX243" fmla="*/ 2687229 w 11501560"/>
              <a:gd name="connsiteY243" fmla="*/ 6446460 h 8735077"/>
              <a:gd name="connsiteX244" fmla="*/ 2567540 w 11501560"/>
              <a:gd name="connsiteY244" fmla="*/ 6517425 h 8735077"/>
              <a:gd name="connsiteX245" fmla="*/ 2443418 w 11501560"/>
              <a:gd name="connsiteY245" fmla="*/ 6570649 h 8735077"/>
              <a:gd name="connsiteX246" fmla="*/ 2235072 w 11501560"/>
              <a:gd name="connsiteY246" fmla="*/ 6588390 h 8735077"/>
              <a:gd name="connsiteX247" fmla="*/ 2221773 w 11501560"/>
              <a:gd name="connsiteY247" fmla="*/ 6717014 h 8735077"/>
              <a:gd name="connsiteX248" fmla="*/ 2195175 w 11501560"/>
              <a:gd name="connsiteY248" fmla="*/ 6685967 h 8735077"/>
              <a:gd name="connsiteX249" fmla="*/ 2186310 w 11501560"/>
              <a:gd name="connsiteY249" fmla="*/ 6597261 h 8735077"/>
              <a:gd name="connsiteX250" fmla="*/ 2173011 w 11501560"/>
              <a:gd name="connsiteY250" fmla="*/ 6473072 h 8735077"/>
              <a:gd name="connsiteX251" fmla="*/ 2173011 w 11501560"/>
              <a:gd name="connsiteY251" fmla="*/ 6397672 h 8735077"/>
              <a:gd name="connsiteX252" fmla="*/ 2181876 w 11501560"/>
              <a:gd name="connsiteY252" fmla="*/ 6246872 h 8735077"/>
              <a:gd name="connsiteX253" fmla="*/ 1889304 w 11501560"/>
              <a:gd name="connsiteY253" fmla="*/ 6149295 h 8735077"/>
              <a:gd name="connsiteX254" fmla="*/ 1849408 w 11501560"/>
              <a:gd name="connsiteY254" fmla="*/ 6140425 h 8735077"/>
              <a:gd name="connsiteX255" fmla="*/ 1725286 w 11501560"/>
              <a:gd name="connsiteY255" fmla="*/ 6127119 h 8735077"/>
              <a:gd name="connsiteX256" fmla="*/ 1574568 w 11501560"/>
              <a:gd name="connsiteY256" fmla="*/ 6096072 h 8735077"/>
              <a:gd name="connsiteX257" fmla="*/ 1494776 w 11501560"/>
              <a:gd name="connsiteY257" fmla="*/ 5989624 h 8735077"/>
              <a:gd name="connsiteX258" fmla="*/ 1534672 w 11501560"/>
              <a:gd name="connsiteY258" fmla="*/ 5794471 h 8735077"/>
              <a:gd name="connsiteX259" fmla="*/ 1561269 w 11501560"/>
              <a:gd name="connsiteY259" fmla="*/ 5705765 h 8735077"/>
              <a:gd name="connsiteX260" fmla="*/ 1392818 w 11501560"/>
              <a:gd name="connsiteY260" fmla="*/ 5612623 h 8735077"/>
              <a:gd name="connsiteX261" fmla="*/ 1317459 w 11501560"/>
              <a:gd name="connsiteY261" fmla="*/ 5612623 h 8735077"/>
              <a:gd name="connsiteX262" fmla="*/ 1060349 w 11501560"/>
              <a:gd name="connsiteY262" fmla="*/ 5732377 h 8735077"/>
              <a:gd name="connsiteX263" fmla="*/ 940661 w 11501560"/>
              <a:gd name="connsiteY263" fmla="*/ 5776730 h 8735077"/>
              <a:gd name="connsiteX264" fmla="*/ 750046 w 11501560"/>
              <a:gd name="connsiteY264" fmla="*/ 5670282 h 8735077"/>
              <a:gd name="connsiteX265" fmla="*/ 745613 w 11501560"/>
              <a:gd name="connsiteY265" fmla="*/ 5612623 h 8735077"/>
              <a:gd name="connsiteX266" fmla="*/ 843137 w 11501560"/>
              <a:gd name="connsiteY266" fmla="*/ 5253364 h 8735077"/>
              <a:gd name="connsiteX267" fmla="*/ 922930 w 11501560"/>
              <a:gd name="connsiteY267" fmla="*/ 5080387 h 8735077"/>
              <a:gd name="connsiteX268" fmla="*/ 1055917 w 11501560"/>
              <a:gd name="connsiteY268" fmla="*/ 4809834 h 8735077"/>
              <a:gd name="connsiteX269" fmla="*/ 976125 w 11501560"/>
              <a:gd name="connsiteY269" fmla="*/ 4690081 h 8735077"/>
              <a:gd name="connsiteX270" fmla="*/ 940661 w 11501560"/>
              <a:gd name="connsiteY270" fmla="*/ 4477186 h 8735077"/>
              <a:gd name="connsiteX271" fmla="*/ 953960 w 11501560"/>
              <a:gd name="connsiteY271" fmla="*/ 4361868 h 8735077"/>
              <a:gd name="connsiteX272" fmla="*/ 971692 w 11501560"/>
              <a:gd name="connsiteY272" fmla="*/ 4326386 h 8735077"/>
              <a:gd name="connsiteX273" fmla="*/ 1020454 w 11501560"/>
              <a:gd name="connsiteY273" fmla="*/ 4188891 h 8735077"/>
              <a:gd name="connsiteX274" fmla="*/ 1042618 w 11501560"/>
              <a:gd name="connsiteY274" fmla="*/ 4033656 h 8735077"/>
              <a:gd name="connsiteX275" fmla="*/ 1038185 w 11501560"/>
              <a:gd name="connsiteY275" fmla="*/ 3975997 h 8735077"/>
              <a:gd name="connsiteX276" fmla="*/ 909631 w 11501560"/>
              <a:gd name="connsiteY276" fmla="*/ 4038091 h 8735077"/>
              <a:gd name="connsiteX277" fmla="*/ 847570 w 11501560"/>
              <a:gd name="connsiteY277" fmla="*/ 4042526 h 8735077"/>
              <a:gd name="connsiteX278" fmla="*/ 914064 w 11501560"/>
              <a:gd name="connsiteY278" fmla="*/ 3944950 h 8735077"/>
              <a:gd name="connsiteX279" fmla="*/ 1109112 w 11501560"/>
              <a:gd name="connsiteY279" fmla="*/ 3780844 h 8735077"/>
              <a:gd name="connsiteX280" fmla="*/ 1175606 w 11501560"/>
              <a:gd name="connsiteY280" fmla="*/ 3674396 h 8735077"/>
              <a:gd name="connsiteX281" fmla="*/ 1255398 w 11501560"/>
              <a:gd name="connsiteY281" fmla="*/ 3470372 h 8735077"/>
              <a:gd name="connsiteX282" fmla="*/ 1219934 w 11501560"/>
              <a:gd name="connsiteY282" fmla="*/ 3470372 h 8735077"/>
              <a:gd name="connsiteX283" fmla="*/ 1184472 w 11501560"/>
              <a:gd name="connsiteY283" fmla="*/ 3492549 h 8735077"/>
              <a:gd name="connsiteX284" fmla="*/ 927363 w 11501560"/>
              <a:gd name="connsiteY284" fmla="*/ 3687702 h 8735077"/>
              <a:gd name="connsiteX285" fmla="*/ 852002 w 11501560"/>
              <a:gd name="connsiteY285" fmla="*/ 3745361 h 8735077"/>
              <a:gd name="connsiteX286" fmla="*/ 767778 w 11501560"/>
              <a:gd name="connsiteY286" fmla="*/ 3811891 h 8735077"/>
              <a:gd name="connsiteX287" fmla="*/ 541699 w 11501560"/>
              <a:gd name="connsiteY287" fmla="*/ 3953820 h 8735077"/>
              <a:gd name="connsiteX288" fmla="*/ 364382 w 11501560"/>
              <a:gd name="connsiteY288" fmla="*/ 4055832 h 8735077"/>
              <a:gd name="connsiteX289" fmla="*/ 262425 w 11501560"/>
              <a:gd name="connsiteY289" fmla="*/ 4086879 h 8735077"/>
              <a:gd name="connsiteX290" fmla="*/ 382114 w 11501560"/>
              <a:gd name="connsiteY290" fmla="*/ 3971562 h 8735077"/>
              <a:gd name="connsiteX291" fmla="*/ 461907 w 11501560"/>
              <a:gd name="connsiteY291" fmla="*/ 3913903 h 8735077"/>
              <a:gd name="connsiteX292" fmla="*/ 745613 w 11501560"/>
              <a:gd name="connsiteY292" fmla="*/ 3669961 h 8735077"/>
              <a:gd name="connsiteX293" fmla="*/ 812107 w 11501560"/>
              <a:gd name="connsiteY293" fmla="*/ 3612302 h 8735077"/>
              <a:gd name="connsiteX294" fmla="*/ 816540 w 11501560"/>
              <a:gd name="connsiteY294" fmla="*/ 3585690 h 8735077"/>
              <a:gd name="connsiteX295" fmla="*/ 696850 w 11501560"/>
              <a:gd name="connsiteY295" fmla="*/ 3625608 h 8735077"/>
              <a:gd name="connsiteX296" fmla="*/ 803241 w 11501560"/>
              <a:gd name="connsiteY296" fmla="*/ 3501420 h 8735077"/>
              <a:gd name="connsiteX297" fmla="*/ 927363 w 11501560"/>
              <a:gd name="connsiteY297" fmla="*/ 3394972 h 8735077"/>
              <a:gd name="connsiteX298" fmla="*/ 856435 w 11501560"/>
              <a:gd name="connsiteY298" fmla="*/ 3399408 h 8735077"/>
              <a:gd name="connsiteX299" fmla="*/ 754479 w 11501560"/>
              <a:gd name="connsiteY299" fmla="*/ 3483678 h 8735077"/>
              <a:gd name="connsiteX300" fmla="*/ 577162 w 11501560"/>
              <a:gd name="connsiteY300" fmla="*/ 3616737 h 8735077"/>
              <a:gd name="connsiteX301" fmla="*/ 552227 w 11501560"/>
              <a:gd name="connsiteY301" fmla="*/ 3627826 h 8735077"/>
              <a:gd name="connsiteX302" fmla="*/ 531328 w 11501560"/>
              <a:gd name="connsiteY302" fmla="*/ 3636026 h 8735077"/>
              <a:gd name="connsiteX303" fmla="*/ 539482 w 11501560"/>
              <a:gd name="connsiteY303" fmla="*/ 3615628 h 8735077"/>
              <a:gd name="connsiteX304" fmla="*/ 563864 w 11501560"/>
              <a:gd name="connsiteY304" fmla="*/ 3594561 h 8735077"/>
              <a:gd name="connsiteX305" fmla="*/ 789942 w 11501560"/>
              <a:gd name="connsiteY305" fmla="*/ 3394972 h 8735077"/>
              <a:gd name="connsiteX306" fmla="*/ 820973 w 11501560"/>
              <a:gd name="connsiteY306" fmla="*/ 3372796 h 8735077"/>
              <a:gd name="connsiteX307" fmla="*/ 1082515 w 11501560"/>
              <a:gd name="connsiteY307" fmla="*/ 3168772 h 8735077"/>
              <a:gd name="connsiteX308" fmla="*/ 1144575 w 11501560"/>
              <a:gd name="connsiteY308" fmla="*/ 3119984 h 8735077"/>
              <a:gd name="connsiteX309" fmla="*/ 1406117 w 11501560"/>
              <a:gd name="connsiteY309" fmla="*/ 2915960 h 8735077"/>
              <a:gd name="connsiteX310" fmla="*/ 1446014 w 11501560"/>
              <a:gd name="connsiteY310" fmla="*/ 2884912 h 8735077"/>
              <a:gd name="connsiteX311" fmla="*/ 1636628 w 11501560"/>
              <a:gd name="connsiteY311" fmla="*/ 2720806 h 8735077"/>
              <a:gd name="connsiteX312" fmla="*/ 1858274 w 11501560"/>
              <a:gd name="connsiteY312" fmla="*/ 2499041 h 8735077"/>
              <a:gd name="connsiteX313" fmla="*/ 1889304 w 11501560"/>
              <a:gd name="connsiteY313" fmla="*/ 2392594 h 8735077"/>
              <a:gd name="connsiteX314" fmla="*/ 1787347 w 11501560"/>
              <a:gd name="connsiteY314" fmla="*/ 2472429 h 8735077"/>
              <a:gd name="connsiteX315" fmla="*/ 1698689 w 11501560"/>
              <a:gd name="connsiteY315" fmla="*/ 2552265 h 8735077"/>
              <a:gd name="connsiteX316" fmla="*/ 1521373 w 11501560"/>
              <a:gd name="connsiteY316" fmla="*/ 2707500 h 8735077"/>
              <a:gd name="connsiteX317" fmla="*/ 1437147 w 11501560"/>
              <a:gd name="connsiteY317" fmla="*/ 2787336 h 8735077"/>
              <a:gd name="connsiteX318" fmla="*/ 1414983 w 11501560"/>
              <a:gd name="connsiteY318" fmla="*/ 2809512 h 8735077"/>
              <a:gd name="connsiteX319" fmla="*/ 1117978 w 11501560"/>
              <a:gd name="connsiteY319" fmla="*/ 3013536 h 8735077"/>
              <a:gd name="connsiteX320" fmla="*/ 1060349 w 11501560"/>
              <a:gd name="connsiteY320" fmla="*/ 3053454 h 8735077"/>
              <a:gd name="connsiteX321" fmla="*/ 812107 w 11501560"/>
              <a:gd name="connsiteY321" fmla="*/ 3244172 h 8735077"/>
              <a:gd name="connsiteX322" fmla="*/ 798808 w 11501560"/>
              <a:gd name="connsiteY322" fmla="*/ 3257478 h 8735077"/>
              <a:gd name="connsiteX323" fmla="*/ 625924 w 11501560"/>
              <a:gd name="connsiteY323" fmla="*/ 3368361 h 8735077"/>
              <a:gd name="connsiteX324" fmla="*/ 355517 w 11501560"/>
              <a:gd name="connsiteY324" fmla="*/ 3585690 h 8735077"/>
              <a:gd name="connsiteX325" fmla="*/ 226962 w 11501560"/>
              <a:gd name="connsiteY325" fmla="*/ 3656655 h 8735077"/>
              <a:gd name="connsiteX326" fmla="*/ 85109 w 11501560"/>
              <a:gd name="connsiteY326" fmla="*/ 3572384 h 8735077"/>
              <a:gd name="connsiteX327" fmla="*/ 45213 w 11501560"/>
              <a:gd name="connsiteY327" fmla="*/ 3483678 h 8735077"/>
              <a:gd name="connsiteX328" fmla="*/ 80676 w 11501560"/>
              <a:gd name="connsiteY328" fmla="*/ 3399408 h 8735077"/>
              <a:gd name="connsiteX329" fmla="*/ 85109 w 11501560"/>
              <a:gd name="connsiteY329" fmla="*/ 3363925 h 8735077"/>
              <a:gd name="connsiteX330" fmla="*/ 62944 w 11501560"/>
              <a:gd name="connsiteY330" fmla="*/ 3332878 h 8735077"/>
              <a:gd name="connsiteX331" fmla="*/ 40780 w 11501560"/>
              <a:gd name="connsiteY331" fmla="*/ 3230866 h 8735077"/>
              <a:gd name="connsiteX332" fmla="*/ 18615 w 11501560"/>
              <a:gd name="connsiteY332" fmla="*/ 3111113 h 8735077"/>
              <a:gd name="connsiteX333" fmla="*/ 18615 w 11501560"/>
              <a:gd name="connsiteY333" fmla="*/ 3013536 h 8735077"/>
              <a:gd name="connsiteX334" fmla="*/ 45213 w 11501560"/>
              <a:gd name="connsiteY334" fmla="*/ 2982489 h 8735077"/>
              <a:gd name="connsiteX335" fmla="*/ 67377 w 11501560"/>
              <a:gd name="connsiteY335" fmla="*/ 2911524 h 8735077"/>
              <a:gd name="connsiteX336" fmla="*/ 62944 w 11501560"/>
              <a:gd name="connsiteY336" fmla="*/ 2778465 h 8735077"/>
              <a:gd name="connsiteX337" fmla="*/ 58511 w 11501560"/>
              <a:gd name="connsiteY337" fmla="*/ 2760724 h 8735077"/>
              <a:gd name="connsiteX338" fmla="*/ 111706 w 11501560"/>
              <a:gd name="connsiteY338" fmla="*/ 2632100 h 8735077"/>
              <a:gd name="connsiteX339" fmla="*/ 142736 w 11501560"/>
              <a:gd name="connsiteY339" fmla="*/ 2596618 h 8735077"/>
              <a:gd name="connsiteX340" fmla="*/ 320053 w 11501560"/>
              <a:gd name="connsiteY340" fmla="*/ 2379288 h 8735077"/>
              <a:gd name="connsiteX341" fmla="*/ 692418 w 11501560"/>
              <a:gd name="connsiteY341" fmla="*/ 2051076 h 8735077"/>
              <a:gd name="connsiteX342" fmla="*/ 772211 w 11501560"/>
              <a:gd name="connsiteY342" fmla="*/ 1971240 h 8735077"/>
              <a:gd name="connsiteX343" fmla="*/ 940661 w 11501560"/>
              <a:gd name="connsiteY343" fmla="*/ 1807134 h 8735077"/>
              <a:gd name="connsiteX344" fmla="*/ 1060349 w 11501560"/>
              <a:gd name="connsiteY344" fmla="*/ 1678510 h 8735077"/>
              <a:gd name="connsiteX345" fmla="*/ 1211069 w 11501560"/>
              <a:gd name="connsiteY345" fmla="*/ 1541016 h 8735077"/>
              <a:gd name="connsiteX346" fmla="*/ 1317459 w 11501560"/>
              <a:gd name="connsiteY346" fmla="*/ 1439004 h 8735077"/>
              <a:gd name="connsiteX347" fmla="*/ 1583433 w 11501560"/>
              <a:gd name="connsiteY347" fmla="*/ 1164015 h 8735077"/>
              <a:gd name="connsiteX348" fmla="*/ 1769616 w 11501560"/>
              <a:gd name="connsiteY348" fmla="*/ 977732 h 8735077"/>
              <a:gd name="connsiteX349" fmla="*/ 1884871 w 11501560"/>
              <a:gd name="connsiteY349" fmla="*/ 844673 h 8735077"/>
              <a:gd name="connsiteX350" fmla="*/ 2000127 w 11501560"/>
              <a:gd name="connsiteY350" fmla="*/ 755967 h 8735077"/>
              <a:gd name="connsiteX351" fmla="*/ 2044456 w 11501560"/>
              <a:gd name="connsiteY351" fmla="*/ 720485 h 8735077"/>
              <a:gd name="connsiteX352" fmla="*/ 2124249 w 11501560"/>
              <a:gd name="connsiteY352" fmla="*/ 640649 h 8735077"/>
              <a:gd name="connsiteX353" fmla="*/ 2204041 w 11501560"/>
              <a:gd name="connsiteY353" fmla="*/ 551943 h 8735077"/>
              <a:gd name="connsiteX354" fmla="*/ 2230638 w 11501560"/>
              <a:gd name="connsiteY354" fmla="*/ 525331 h 8735077"/>
              <a:gd name="connsiteX355" fmla="*/ 2390224 w 11501560"/>
              <a:gd name="connsiteY355" fmla="*/ 383402 h 8735077"/>
              <a:gd name="connsiteX356" fmla="*/ 2478882 w 11501560"/>
              <a:gd name="connsiteY356" fmla="*/ 303566 h 8735077"/>
              <a:gd name="connsiteX357" fmla="*/ 2696094 w 11501560"/>
              <a:gd name="connsiteY357" fmla="*/ 90672 h 873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</a:cxnLst>
            <a:rect l="l" t="t" r="r" b="b"/>
            <a:pathLst>
              <a:path w="11501560" h="8735077">
                <a:moveTo>
                  <a:pt x="4462734" y="5754381"/>
                </a:moveTo>
                <a:lnTo>
                  <a:pt x="4460394" y="5758988"/>
                </a:lnTo>
                <a:lnTo>
                  <a:pt x="4460394" y="5754553"/>
                </a:lnTo>
                <a:close/>
                <a:moveTo>
                  <a:pt x="10844670" y="5613600"/>
                </a:moveTo>
                <a:lnTo>
                  <a:pt x="10843792" y="5617059"/>
                </a:lnTo>
                <a:lnTo>
                  <a:pt x="10839358" y="5617059"/>
                </a:lnTo>
                <a:close/>
                <a:moveTo>
                  <a:pt x="11501560" y="4731378"/>
                </a:moveTo>
                <a:lnTo>
                  <a:pt x="11501560" y="4992455"/>
                </a:lnTo>
                <a:lnTo>
                  <a:pt x="11442234" y="5044905"/>
                </a:lnTo>
                <a:cubicBezTo>
                  <a:pt x="11384606" y="5089258"/>
                  <a:pt x="11340276" y="5146917"/>
                  <a:pt x="11295948" y="5204576"/>
                </a:cubicBezTo>
                <a:cubicBezTo>
                  <a:pt x="11242752" y="5266670"/>
                  <a:pt x="11189558" y="5324329"/>
                  <a:pt x="11114200" y="5364247"/>
                </a:cubicBezTo>
                <a:cubicBezTo>
                  <a:pt x="11083168" y="5377552"/>
                  <a:pt x="11056572" y="5408600"/>
                  <a:pt x="11034406" y="5435211"/>
                </a:cubicBezTo>
                <a:cubicBezTo>
                  <a:pt x="10990076" y="5479564"/>
                  <a:pt x="10950180" y="5523917"/>
                  <a:pt x="10905852" y="5568270"/>
                </a:cubicBezTo>
                <a:cubicBezTo>
                  <a:pt x="10896986" y="5579359"/>
                  <a:pt x="10885904" y="5587121"/>
                  <a:pt x="10874268" y="5594328"/>
                </a:cubicBezTo>
                <a:lnTo>
                  <a:pt x="10844670" y="5613600"/>
                </a:lnTo>
                <a:lnTo>
                  <a:pt x="10860968" y="5549421"/>
                </a:lnTo>
                <a:cubicBezTo>
                  <a:pt x="10870388" y="5528353"/>
                  <a:pt x="10883688" y="5508394"/>
                  <a:pt x="10901420" y="5488435"/>
                </a:cubicBezTo>
                <a:cubicBezTo>
                  <a:pt x="10950180" y="5439647"/>
                  <a:pt x="10994510" y="5381988"/>
                  <a:pt x="11034406" y="5319894"/>
                </a:cubicBezTo>
                <a:cubicBezTo>
                  <a:pt x="11052138" y="5293282"/>
                  <a:pt x="11069868" y="5275540"/>
                  <a:pt x="11087600" y="5253364"/>
                </a:cubicBezTo>
                <a:cubicBezTo>
                  <a:pt x="11149662" y="5182399"/>
                  <a:pt x="11233888" y="5129175"/>
                  <a:pt x="11269352" y="5036034"/>
                </a:cubicBezTo>
                <a:cubicBezTo>
                  <a:pt x="11273784" y="5022728"/>
                  <a:pt x="11287082" y="5004987"/>
                  <a:pt x="11300380" y="4996116"/>
                </a:cubicBezTo>
                <a:cubicBezTo>
                  <a:pt x="11344710" y="4965069"/>
                  <a:pt x="11362442" y="4916281"/>
                  <a:pt x="11397904" y="4876363"/>
                </a:cubicBezTo>
                <a:cubicBezTo>
                  <a:pt x="11424504" y="4836445"/>
                  <a:pt x="11459966" y="4800963"/>
                  <a:pt x="11486564" y="4761045"/>
                </a:cubicBezTo>
                <a:close/>
                <a:moveTo>
                  <a:pt x="531328" y="3636026"/>
                </a:moveTo>
                <a:lnTo>
                  <a:pt x="528400" y="3643349"/>
                </a:lnTo>
                <a:lnTo>
                  <a:pt x="523967" y="3638914"/>
                </a:lnTo>
                <a:close/>
                <a:moveTo>
                  <a:pt x="2784528" y="0"/>
                </a:moveTo>
                <a:lnTo>
                  <a:pt x="11501560" y="0"/>
                </a:lnTo>
                <a:lnTo>
                  <a:pt x="11501560" y="4542425"/>
                </a:lnTo>
                <a:lnTo>
                  <a:pt x="11458304" y="4546488"/>
                </a:lnTo>
                <a:cubicBezTo>
                  <a:pt x="11428936" y="4555913"/>
                  <a:pt x="11402338" y="4576980"/>
                  <a:pt x="11375740" y="4601374"/>
                </a:cubicBezTo>
                <a:cubicBezTo>
                  <a:pt x="11318112" y="4574763"/>
                  <a:pt x="11273784" y="4592504"/>
                  <a:pt x="11242752" y="4641292"/>
                </a:cubicBezTo>
                <a:cubicBezTo>
                  <a:pt x="11202856" y="4698951"/>
                  <a:pt x="11149662" y="4743304"/>
                  <a:pt x="11100900" y="4792092"/>
                </a:cubicBezTo>
                <a:cubicBezTo>
                  <a:pt x="11043272" y="4849751"/>
                  <a:pt x="10990076" y="4911846"/>
                  <a:pt x="10954614" y="4982810"/>
                </a:cubicBezTo>
                <a:cubicBezTo>
                  <a:pt x="10936882" y="4973940"/>
                  <a:pt x="10923584" y="4965069"/>
                  <a:pt x="10910284" y="4951763"/>
                </a:cubicBezTo>
                <a:cubicBezTo>
                  <a:pt x="10843792" y="5000552"/>
                  <a:pt x="10790596" y="5053775"/>
                  <a:pt x="10741834" y="5111434"/>
                </a:cubicBezTo>
                <a:cubicBezTo>
                  <a:pt x="10684206" y="5177964"/>
                  <a:pt x="10631012" y="5248929"/>
                  <a:pt x="10560084" y="5302152"/>
                </a:cubicBezTo>
                <a:cubicBezTo>
                  <a:pt x="10524620" y="5328764"/>
                  <a:pt x="10502456" y="5368682"/>
                  <a:pt x="10475860" y="5399729"/>
                </a:cubicBezTo>
                <a:cubicBezTo>
                  <a:pt x="10378336" y="5532788"/>
                  <a:pt x="10302976" y="5679153"/>
                  <a:pt x="10201018" y="5807777"/>
                </a:cubicBezTo>
                <a:cubicBezTo>
                  <a:pt x="10169988" y="5852130"/>
                  <a:pt x="10138958" y="5896483"/>
                  <a:pt x="10099060" y="5949707"/>
                </a:cubicBezTo>
                <a:cubicBezTo>
                  <a:pt x="10068032" y="5945271"/>
                  <a:pt x="10037000" y="5954142"/>
                  <a:pt x="10010404" y="5985189"/>
                </a:cubicBezTo>
                <a:cubicBezTo>
                  <a:pt x="9988238" y="6016236"/>
                  <a:pt x="9970507" y="6051718"/>
                  <a:pt x="9921745" y="6047283"/>
                </a:cubicBezTo>
                <a:cubicBezTo>
                  <a:pt x="9912879" y="6047283"/>
                  <a:pt x="9908446" y="6060589"/>
                  <a:pt x="9899580" y="6069460"/>
                </a:cubicBezTo>
                <a:cubicBezTo>
                  <a:pt x="9837519" y="6135989"/>
                  <a:pt x="9766593" y="6198083"/>
                  <a:pt x="9717831" y="6273484"/>
                </a:cubicBezTo>
                <a:cubicBezTo>
                  <a:pt x="9615874" y="6437590"/>
                  <a:pt x="9482886" y="6570649"/>
                  <a:pt x="9367630" y="6725885"/>
                </a:cubicBezTo>
                <a:cubicBezTo>
                  <a:pt x="9349899" y="6752496"/>
                  <a:pt x="9332167" y="6779108"/>
                  <a:pt x="9314435" y="6805720"/>
                </a:cubicBezTo>
                <a:cubicBezTo>
                  <a:pt x="9283405" y="6845638"/>
                  <a:pt x="9252375" y="6885555"/>
                  <a:pt x="9199180" y="6907732"/>
                </a:cubicBezTo>
                <a:cubicBezTo>
                  <a:pt x="9163716" y="6921038"/>
                  <a:pt x="9137119" y="6952085"/>
                  <a:pt x="9110521" y="6987567"/>
                </a:cubicBezTo>
                <a:cubicBezTo>
                  <a:pt x="9052894" y="7067403"/>
                  <a:pt x="8999699" y="7151674"/>
                  <a:pt x="8946504" y="7231509"/>
                </a:cubicBezTo>
                <a:cubicBezTo>
                  <a:pt x="8924339" y="7262556"/>
                  <a:pt x="8902174" y="7298039"/>
                  <a:pt x="8866711" y="7320215"/>
                </a:cubicBezTo>
                <a:cubicBezTo>
                  <a:pt x="8844547" y="7333521"/>
                  <a:pt x="8831248" y="7355698"/>
                  <a:pt x="8817949" y="7377874"/>
                </a:cubicBezTo>
                <a:cubicBezTo>
                  <a:pt x="8786919" y="7426662"/>
                  <a:pt x="8755888" y="7475451"/>
                  <a:pt x="8724858" y="7528674"/>
                </a:cubicBezTo>
                <a:cubicBezTo>
                  <a:pt x="8698260" y="7573027"/>
                  <a:pt x="8667230" y="7608510"/>
                  <a:pt x="8627334" y="7635122"/>
                </a:cubicBezTo>
                <a:cubicBezTo>
                  <a:pt x="8609602" y="7648428"/>
                  <a:pt x="8596303" y="7666169"/>
                  <a:pt x="8591870" y="7683910"/>
                </a:cubicBezTo>
                <a:cubicBezTo>
                  <a:pt x="8560840" y="7746004"/>
                  <a:pt x="8529810" y="7803663"/>
                  <a:pt x="8485481" y="7861322"/>
                </a:cubicBezTo>
                <a:cubicBezTo>
                  <a:pt x="8467749" y="7887934"/>
                  <a:pt x="8458883" y="7918981"/>
                  <a:pt x="8441151" y="7945593"/>
                </a:cubicBezTo>
                <a:cubicBezTo>
                  <a:pt x="8427853" y="7967769"/>
                  <a:pt x="8414554" y="7985511"/>
                  <a:pt x="8401255" y="8003252"/>
                </a:cubicBezTo>
                <a:cubicBezTo>
                  <a:pt x="8365792" y="8052040"/>
                  <a:pt x="8325896" y="8100828"/>
                  <a:pt x="8308164" y="8162923"/>
                </a:cubicBezTo>
                <a:cubicBezTo>
                  <a:pt x="8303731" y="8176229"/>
                  <a:pt x="8299298" y="8189534"/>
                  <a:pt x="8290432" y="8193970"/>
                </a:cubicBezTo>
                <a:cubicBezTo>
                  <a:pt x="8219506" y="8238323"/>
                  <a:pt x="8197341" y="8309288"/>
                  <a:pt x="8170744" y="8371382"/>
                </a:cubicBezTo>
                <a:cubicBezTo>
                  <a:pt x="8139713" y="8433476"/>
                  <a:pt x="8117548" y="8491135"/>
                  <a:pt x="8090951" y="8557665"/>
                </a:cubicBezTo>
                <a:cubicBezTo>
                  <a:pt x="8055488" y="8570970"/>
                  <a:pt x="8015592" y="8553229"/>
                  <a:pt x="7966830" y="8557665"/>
                </a:cubicBezTo>
                <a:cubicBezTo>
                  <a:pt x="7926934" y="8584276"/>
                  <a:pt x="7926934" y="8633065"/>
                  <a:pt x="7922500" y="8677418"/>
                </a:cubicBezTo>
                <a:cubicBezTo>
                  <a:pt x="7918068" y="8704030"/>
                  <a:pt x="7904769" y="8717335"/>
                  <a:pt x="7882604" y="8735077"/>
                </a:cubicBezTo>
                <a:cubicBezTo>
                  <a:pt x="7869306" y="8730641"/>
                  <a:pt x="7856006" y="8721771"/>
                  <a:pt x="7838275" y="8712900"/>
                </a:cubicBezTo>
                <a:cubicBezTo>
                  <a:pt x="7838275" y="8641935"/>
                  <a:pt x="7842708" y="8570970"/>
                  <a:pt x="7842708" y="8500006"/>
                </a:cubicBezTo>
                <a:cubicBezTo>
                  <a:pt x="7838275" y="8468959"/>
                  <a:pt x="7829409" y="8437911"/>
                  <a:pt x="7816110" y="8406864"/>
                </a:cubicBezTo>
                <a:cubicBezTo>
                  <a:pt x="7789513" y="8344770"/>
                  <a:pt x="7793946" y="8278241"/>
                  <a:pt x="7816110" y="8216146"/>
                </a:cubicBezTo>
                <a:cubicBezTo>
                  <a:pt x="7838275" y="8154052"/>
                  <a:pt x="7864872" y="8096393"/>
                  <a:pt x="7895903" y="8029864"/>
                </a:cubicBezTo>
                <a:cubicBezTo>
                  <a:pt x="7887037" y="7998816"/>
                  <a:pt x="7869306" y="7963334"/>
                  <a:pt x="7873738" y="7923416"/>
                </a:cubicBezTo>
                <a:cubicBezTo>
                  <a:pt x="7878172" y="7883499"/>
                  <a:pt x="7864872" y="7861322"/>
                  <a:pt x="7842708" y="7830275"/>
                </a:cubicBezTo>
                <a:cubicBezTo>
                  <a:pt x="7785080" y="7754875"/>
                  <a:pt x="7709720" y="7710522"/>
                  <a:pt x="7616630" y="7683910"/>
                </a:cubicBezTo>
                <a:cubicBezTo>
                  <a:pt x="7634361" y="7648428"/>
                  <a:pt x="7674257" y="7617380"/>
                  <a:pt x="7643227" y="7573027"/>
                </a:cubicBezTo>
                <a:cubicBezTo>
                  <a:pt x="7656526" y="7541980"/>
                  <a:pt x="7665392" y="7515368"/>
                  <a:pt x="7678690" y="7488757"/>
                </a:cubicBezTo>
                <a:cubicBezTo>
                  <a:pt x="7687556" y="7466580"/>
                  <a:pt x="7691989" y="7444404"/>
                  <a:pt x="7674257" y="7426662"/>
                </a:cubicBezTo>
                <a:cubicBezTo>
                  <a:pt x="7647660" y="7417792"/>
                  <a:pt x="7629928" y="7426662"/>
                  <a:pt x="7612196" y="7444404"/>
                </a:cubicBezTo>
                <a:cubicBezTo>
                  <a:pt x="7585599" y="7475451"/>
                  <a:pt x="7554568" y="7502063"/>
                  <a:pt x="7519105" y="7533110"/>
                </a:cubicBezTo>
                <a:cubicBezTo>
                  <a:pt x="7508023" y="7541981"/>
                  <a:pt x="7494724" y="7546416"/>
                  <a:pt x="7480871" y="7546416"/>
                </a:cubicBezTo>
                <a:lnTo>
                  <a:pt x="7442671" y="7534185"/>
                </a:lnTo>
                <a:lnTo>
                  <a:pt x="7443746" y="7533110"/>
                </a:lnTo>
                <a:lnTo>
                  <a:pt x="7439313" y="7533110"/>
                </a:lnTo>
                <a:lnTo>
                  <a:pt x="7442671" y="7534185"/>
                </a:lnTo>
                <a:lnTo>
                  <a:pt x="7439313" y="7537545"/>
                </a:lnTo>
                <a:cubicBezTo>
                  <a:pt x="7434880" y="7528674"/>
                  <a:pt x="7426014" y="7515368"/>
                  <a:pt x="7430447" y="7515368"/>
                </a:cubicBezTo>
                <a:cubicBezTo>
                  <a:pt x="7443745" y="7497627"/>
                  <a:pt x="7454828" y="7478777"/>
                  <a:pt x="7468126" y="7461590"/>
                </a:cubicBezTo>
                <a:lnTo>
                  <a:pt x="7516720" y="7419841"/>
                </a:lnTo>
                <a:lnTo>
                  <a:pt x="7519105" y="7422227"/>
                </a:lnTo>
                <a:cubicBezTo>
                  <a:pt x="7519105" y="7422227"/>
                  <a:pt x="7519105" y="7417792"/>
                  <a:pt x="7519105" y="7417792"/>
                </a:cubicBezTo>
                <a:lnTo>
                  <a:pt x="7516720" y="7419841"/>
                </a:lnTo>
                <a:lnTo>
                  <a:pt x="7514672" y="7417792"/>
                </a:lnTo>
                <a:cubicBezTo>
                  <a:pt x="7527971" y="7408921"/>
                  <a:pt x="7545702" y="7400051"/>
                  <a:pt x="7554568" y="7386745"/>
                </a:cubicBezTo>
                <a:cubicBezTo>
                  <a:pt x="7616630" y="7280297"/>
                  <a:pt x="7718586" y="7218203"/>
                  <a:pt x="7816110" y="7142803"/>
                </a:cubicBezTo>
                <a:cubicBezTo>
                  <a:pt x="7856006" y="7107321"/>
                  <a:pt x="7887037" y="7067403"/>
                  <a:pt x="7895903" y="7009744"/>
                </a:cubicBezTo>
                <a:cubicBezTo>
                  <a:pt x="7864872" y="7005309"/>
                  <a:pt x="7838275" y="6996438"/>
                  <a:pt x="7807244" y="6992003"/>
                </a:cubicBezTo>
                <a:cubicBezTo>
                  <a:pt x="7811678" y="6969826"/>
                  <a:pt x="7816110" y="6952085"/>
                  <a:pt x="7820544" y="6934344"/>
                </a:cubicBezTo>
                <a:cubicBezTo>
                  <a:pt x="7807244" y="6925473"/>
                  <a:pt x="7798379" y="6916603"/>
                  <a:pt x="7785080" y="6912167"/>
                </a:cubicBezTo>
                <a:cubicBezTo>
                  <a:pt x="7789513" y="6907732"/>
                  <a:pt x="7789513" y="6898861"/>
                  <a:pt x="7793946" y="6894426"/>
                </a:cubicBezTo>
                <a:cubicBezTo>
                  <a:pt x="7842708" y="6858944"/>
                  <a:pt x="7887037" y="6823461"/>
                  <a:pt x="7931366" y="6783543"/>
                </a:cubicBezTo>
                <a:cubicBezTo>
                  <a:pt x="8011158" y="6708143"/>
                  <a:pt x="8090951" y="6632743"/>
                  <a:pt x="8170744" y="6557343"/>
                </a:cubicBezTo>
                <a:cubicBezTo>
                  <a:pt x="8184042" y="6544037"/>
                  <a:pt x="8197341" y="6530731"/>
                  <a:pt x="8206207" y="6512990"/>
                </a:cubicBezTo>
                <a:cubicBezTo>
                  <a:pt x="8263835" y="6428719"/>
                  <a:pt x="8321462" y="6344448"/>
                  <a:pt x="8379091" y="6260178"/>
                </a:cubicBezTo>
                <a:cubicBezTo>
                  <a:pt x="8396822" y="6233566"/>
                  <a:pt x="8418987" y="6202519"/>
                  <a:pt x="8441151" y="6175907"/>
                </a:cubicBezTo>
                <a:cubicBezTo>
                  <a:pt x="8450017" y="6162601"/>
                  <a:pt x="8454450" y="6144860"/>
                  <a:pt x="8463316" y="6127119"/>
                </a:cubicBezTo>
                <a:cubicBezTo>
                  <a:pt x="8445584" y="6127119"/>
                  <a:pt x="8432286" y="6127119"/>
                  <a:pt x="8427853" y="6131554"/>
                </a:cubicBezTo>
                <a:cubicBezTo>
                  <a:pt x="8303731" y="6224695"/>
                  <a:pt x="8188476" y="6322272"/>
                  <a:pt x="8073220" y="6428719"/>
                </a:cubicBezTo>
                <a:cubicBezTo>
                  <a:pt x="7997860" y="6495249"/>
                  <a:pt x="7913634" y="6557343"/>
                  <a:pt x="7838275" y="6619437"/>
                </a:cubicBezTo>
                <a:cubicBezTo>
                  <a:pt x="7807244" y="6641614"/>
                  <a:pt x="7780647" y="6663790"/>
                  <a:pt x="7754050" y="6690402"/>
                </a:cubicBezTo>
                <a:cubicBezTo>
                  <a:pt x="7612196" y="6819026"/>
                  <a:pt x="7461478" y="6943214"/>
                  <a:pt x="7306326" y="7062968"/>
                </a:cubicBezTo>
                <a:cubicBezTo>
                  <a:pt x="7204368" y="7142803"/>
                  <a:pt x="7106844" y="7227074"/>
                  <a:pt x="7000454" y="7306909"/>
                </a:cubicBezTo>
                <a:cubicBezTo>
                  <a:pt x="6951692" y="7342392"/>
                  <a:pt x="6898497" y="7377874"/>
                  <a:pt x="6845302" y="7408921"/>
                </a:cubicBezTo>
                <a:cubicBezTo>
                  <a:pt x="6761077" y="7453274"/>
                  <a:pt x="6699016" y="7528674"/>
                  <a:pt x="6623656" y="7586333"/>
                </a:cubicBezTo>
                <a:cubicBezTo>
                  <a:pt x="6614790" y="7595204"/>
                  <a:pt x="6610358" y="7617380"/>
                  <a:pt x="6605925" y="7630686"/>
                </a:cubicBezTo>
                <a:cubicBezTo>
                  <a:pt x="6605925" y="7648428"/>
                  <a:pt x="6605925" y="7661733"/>
                  <a:pt x="6605925" y="7683910"/>
                </a:cubicBezTo>
                <a:cubicBezTo>
                  <a:pt x="6566028" y="7710522"/>
                  <a:pt x="6530566" y="7754875"/>
                  <a:pt x="6481804" y="7772616"/>
                </a:cubicBezTo>
                <a:cubicBezTo>
                  <a:pt x="6397578" y="7856887"/>
                  <a:pt x="6291188" y="7896804"/>
                  <a:pt x="6189231" y="7950028"/>
                </a:cubicBezTo>
                <a:cubicBezTo>
                  <a:pt x="6162634" y="7963334"/>
                  <a:pt x="6140469" y="7972205"/>
                  <a:pt x="6118304" y="7989946"/>
                </a:cubicBezTo>
                <a:cubicBezTo>
                  <a:pt x="6078408" y="8016558"/>
                  <a:pt x="6034079" y="8038734"/>
                  <a:pt x="5980884" y="8052040"/>
                </a:cubicBezTo>
                <a:cubicBezTo>
                  <a:pt x="5887793" y="8074217"/>
                  <a:pt x="5816866" y="8136311"/>
                  <a:pt x="5737074" y="8180664"/>
                </a:cubicBezTo>
                <a:cubicBezTo>
                  <a:pt x="5714909" y="8193970"/>
                  <a:pt x="5697178" y="8211711"/>
                  <a:pt x="5670580" y="8233887"/>
                </a:cubicBezTo>
                <a:cubicBezTo>
                  <a:pt x="5683878" y="8264935"/>
                  <a:pt x="5697178" y="8295982"/>
                  <a:pt x="5710476" y="8331464"/>
                </a:cubicBezTo>
                <a:cubicBezTo>
                  <a:pt x="5675013" y="8358076"/>
                  <a:pt x="5639550" y="8389123"/>
                  <a:pt x="5608519" y="8411300"/>
                </a:cubicBezTo>
                <a:cubicBezTo>
                  <a:pt x="5612952" y="8433476"/>
                  <a:pt x="5612952" y="8446782"/>
                  <a:pt x="5617385" y="8460088"/>
                </a:cubicBezTo>
                <a:cubicBezTo>
                  <a:pt x="5595220" y="8468959"/>
                  <a:pt x="5577489" y="8477829"/>
                  <a:pt x="5550892" y="8486700"/>
                </a:cubicBezTo>
                <a:cubicBezTo>
                  <a:pt x="5528726" y="8553229"/>
                  <a:pt x="5484398" y="8615324"/>
                  <a:pt x="5462233" y="8686288"/>
                </a:cubicBezTo>
                <a:lnTo>
                  <a:pt x="5462233" y="8681853"/>
                </a:lnTo>
                <a:cubicBezTo>
                  <a:pt x="5453367" y="8655241"/>
                  <a:pt x="5444502" y="8628629"/>
                  <a:pt x="5426770" y="8602018"/>
                </a:cubicBezTo>
                <a:cubicBezTo>
                  <a:pt x="5417904" y="8588712"/>
                  <a:pt x="5404605" y="8575406"/>
                  <a:pt x="5391306" y="8562100"/>
                </a:cubicBezTo>
                <a:cubicBezTo>
                  <a:pt x="5355843" y="8584276"/>
                  <a:pt x="5373574" y="8615324"/>
                  <a:pt x="5360276" y="8637500"/>
                </a:cubicBezTo>
                <a:cubicBezTo>
                  <a:pt x="5351410" y="8655241"/>
                  <a:pt x="5342544" y="8677418"/>
                  <a:pt x="5315947" y="8681853"/>
                </a:cubicBezTo>
                <a:cubicBezTo>
                  <a:pt x="5298215" y="8686288"/>
                  <a:pt x="5315947" y="8739512"/>
                  <a:pt x="5271618" y="8721771"/>
                </a:cubicBezTo>
                <a:cubicBezTo>
                  <a:pt x="5253886" y="8668547"/>
                  <a:pt x="5302648" y="8668547"/>
                  <a:pt x="5329246" y="8641935"/>
                </a:cubicBezTo>
                <a:cubicBezTo>
                  <a:pt x="5329246" y="8624194"/>
                  <a:pt x="5324812" y="8602018"/>
                  <a:pt x="5324812" y="8579841"/>
                </a:cubicBezTo>
                <a:cubicBezTo>
                  <a:pt x="5338112" y="8562100"/>
                  <a:pt x="5351410" y="8548794"/>
                  <a:pt x="5360276" y="8535488"/>
                </a:cubicBezTo>
                <a:cubicBezTo>
                  <a:pt x="5355843" y="8522182"/>
                  <a:pt x="5355843" y="8513312"/>
                  <a:pt x="5351410" y="8504441"/>
                </a:cubicBezTo>
                <a:cubicBezTo>
                  <a:pt x="5293782" y="8433476"/>
                  <a:pt x="5298215" y="8366947"/>
                  <a:pt x="5351410" y="8300417"/>
                </a:cubicBezTo>
                <a:cubicBezTo>
                  <a:pt x="5369142" y="8273805"/>
                  <a:pt x="5369142" y="8273805"/>
                  <a:pt x="5342544" y="8211711"/>
                </a:cubicBezTo>
                <a:cubicBezTo>
                  <a:pt x="5267185" y="8238323"/>
                  <a:pt x="5187392" y="8216146"/>
                  <a:pt x="5116466" y="8247193"/>
                </a:cubicBezTo>
                <a:cubicBezTo>
                  <a:pt x="5085436" y="8256064"/>
                  <a:pt x="5049972" y="8260499"/>
                  <a:pt x="5018942" y="8229452"/>
                </a:cubicBezTo>
                <a:cubicBezTo>
                  <a:pt x="5018942" y="8198405"/>
                  <a:pt x="5014508" y="8162923"/>
                  <a:pt x="5010076" y="8123005"/>
                </a:cubicBezTo>
                <a:cubicBezTo>
                  <a:pt x="4921418" y="8118570"/>
                  <a:pt x="4828326" y="8158487"/>
                  <a:pt x="4761832" y="8078652"/>
                </a:cubicBezTo>
                <a:cubicBezTo>
                  <a:pt x="4752967" y="8047605"/>
                  <a:pt x="4761832" y="8020993"/>
                  <a:pt x="4788430" y="7998816"/>
                </a:cubicBezTo>
                <a:cubicBezTo>
                  <a:pt x="4806162" y="7981075"/>
                  <a:pt x="4823894" y="7958899"/>
                  <a:pt x="4841625" y="7941157"/>
                </a:cubicBezTo>
                <a:cubicBezTo>
                  <a:pt x="4854923" y="7936722"/>
                  <a:pt x="4870439" y="7932287"/>
                  <a:pt x="4886508" y="7927297"/>
                </a:cubicBezTo>
                <a:lnTo>
                  <a:pt x="4929797" y="7911864"/>
                </a:lnTo>
                <a:lnTo>
                  <a:pt x="4930284" y="7914546"/>
                </a:lnTo>
                <a:lnTo>
                  <a:pt x="4934291" y="7911813"/>
                </a:lnTo>
                <a:lnTo>
                  <a:pt x="4927513" y="7938940"/>
                </a:lnTo>
                <a:cubicBezTo>
                  <a:pt x="4926959" y="7948920"/>
                  <a:pt x="4930283" y="7958899"/>
                  <a:pt x="4943582" y="7967769"/>
                </a:cubicBezTo>
                <a:cubicBezTo>
                  <a:pt x="4961314" y="7963334"/>
                  <a:pt x="4979046" y="7958899"/>
                  <a:pt x="4996777" y="7954463"/>
                </a:cubicBezTo>
                <a:cubicBezTo>
                  <a:pt x="5018942" y="7954463"/>
                  <a:pt x="5036674" y="7954463"/>
                  <a:pt x="5058838" y="7954463"/>
                </a:cubicBezTo>
                <a:cubicBezTo>
                  <a:pt x="5116466" y="7941157"/>
                  <a:pt x="5134198" y="7905675"/>
                  <a:pt x="5116466" y="7848016"/>
                </a:cubicBezTo>
                <a:cubicBezTo>
                  <a:pt x="5112033" y="7843581"/>
                  <a:pt x="5107600" y="7839146"/>
                  <a:pt x="5098734" y="7834710"/>
                </a:cubicBezTo>
                <a:cubicBezTo>
                  <a:pt x="5072136" y="7825840"/>
                  <a:pt x="5049972" y="7830275"/>
                  <a:pt x="5027808" y="7848016"/>
                </a:cubicBezTo>
                <a:lnTo>
                  <a:pt x="4934291" y="7911813"/>
                </a:lnTo>
                <a:lnTo>
                  <a:pt x="4934716" y="7910110"/>
                </a:lnTo>
                <a:lnTo>
                  <a:pt x="4929797" y="7911864"/>
                </a:lnTo>
                <a:lnTo>
                  <a:pt x="4921418" y="7865757"/>
                </a:lnTo>
                <a:cubicBezTo>
                  <a:pt x="4877088" y="7870193"/>
                  <a:pt x="4841625" y="7914546"/>
                  <a:pt x="4801729" y="7874628"/>
                </a:cubicBezTo>
                <a:cubicBezTo>
                  <a:pt x="4797296" y="7856887"/>
                  <a:pt x="4806162" y="7843581"/>
                  <a:pt x="4823894" y="7839146"/>
                </a:cubicBezTo>
                <a:cubicBezTo>
                  <a:pt x="4846058" y="7834710"/>
                  <a:pt x="4868222" y="7834710"/>
                  <a:pt x="4890387" y="7830275"/>
                </a:cubicBezTo>
                <a:cubicBezTo>
                  <a:pt x="4899253" y="7825840"/>
                  <a:pt x="4912552" y="7812534"/>
                  <a:pt x="4912552" y="7799228"/>
                </a:cubicBezTo>
                <a:cubicBezTo>
                  <a:pt x="4912552" y="7790357"/>
                  <a:pt x="4903686" y="7772616"/>
                  <a:pt x="4894820" y="7768181"/>
                </a:cubicBezTo>
                <a:cubicBezTo>
                  <a:pt x="4868222" y="7759310"/>
                  <a:pt x="4841625" y="7754875"/>
                  <a:pt x="4819460" y="7750439"/>
                </a:cubicBezTo>
                <a:cubicBezTo>
                  <a:pt x="4797296" y="7750439"/>
                  <a:pt x="4770698" y="7750439"/>
                  <a:pt x="4748534" y="7750439"/>
                </a:cubicBezTo>
                <a:cubicBezTo>
                  <a:pt x="4713070" y="7754875"/>
                  <a:pt x="4699772" y="7728263"/>
                  <a:pt x="4686473" y="7701651"/>
                </a:cubicBezTo>
                <a:cubicBezTo>
                  <a:pt x="4619980" y="7683910"/>
                  <a:pt x="4557918" y="7723828"/>
                  <a:pt x="4495858" y="7728263"/>
                </a:cubicBezTo>
                <a:cubicBezTo>
                  <a:pt x="4411632" y="7652863"/>
                  <a:pt x="4367303" y="7630686"/>
                  <a:pt x="4185554" y="7706086"/>
                </a:cubicBezTo>
                <a:cubicBezTo>
                  <a:pt x="4167822" y="7692781"/>
                  <a:pt x="4145658" y="7675039"/>
                  <a:pt x="4127926" y="7661733"/>
                </a:cubicBezTo>
                <a:cubicBezTo>
                  <a:pt x="4127926" y="7652863"/>
                  <a:pt x="4127926" y="7643992"/>
                  <a:pt x="4132359" y="7639557"/>
                </a:cubicBezTo>
                <a:cubicBezTo>
                  <a:pt x="4176688" y="7612945"/>
                  <a:pt x="4189986" y="7573027"/>
                  <a:pt x="4189986" y="7524239"/>
                </a:cubicBezTo>
                <a:cubicBezTo>
                  <a:pt x="4185554" y="7493192"/>
                  <a:pt x="4185554" y="7466580"/>
                  <a:pt x="4194420" y="7435533"/>
                </a:cubicBezTo>
                <a:cubicBezTo>
                  <a:pt x="4212151" y="7377874"/>
                  <a:pt x="4194420" y="7355698"/>
                  <a:pt x="4141224" y="7324650"/>
                </a:cubicBezTo>
                <a:cubicBezTo>
                  <a:pt x="4136792" y="7320215"/>
                  <a:pt x="4123493" y="7315780"/>
                  <a:pt x="4110194" y="7311344"/>
                </a:cubicBezTo>
                <a:cubicBezTo>
                  <a:pt x="4141224" y="7244815"/>
                  <a:pt x="4189986" y="7191591"/>
                  <a:pt x="4234316" y="7138368"/>
                </a:cubicBezTo>
                <a:cubicBezTo>
                  <a:pt x="4243182" y="7125062"/>
                  <a:pt x="4260914" y="7116191"/>
                  <a:pt x="4269779" y="7102885"/>
                </a:cubicBezTo>
                <a:cubicBezTo>
                  <a:pt x="4287511" y="7080709"/>
                  <a:pt x="4300810" y="7054097"/>
                  <a:pt x="4291944" y="7023050"/>
                </a:cubicBezTo>
                <a:cubicBezTo>
                  <a:pt x="4283078" y="6987567"/>
                  <a:pt x="4252048" y="6952085"/>
                  <a:pt x="4278645" y="6912167"/>
                </a:cubicBezTo>
                <a:cubicBezTo>
                  <a:pt x="4269779" y="6894426"/>
                  <a:pt x="4256480" y="6881120"/>
                  <a:pt x="4252048" y="6863379"/>
                </a:cubicBezTo>
                <a:cubicBezTo>
                  <a:pt x="4238748" y="6823461"/>
                  <a:pt x="4221017" y="6805720"/>
                  <a:pt x="4181121" y="6814591"/>
                </a:cubicBezTo>
                <a:cubicBezTo>
                  <a:pt x="4127926" y="6783543"/>
                  <a:pt x="4074731" y="6787979"/>
                  <a:pt x="4017103" y="6796849"/>
                </a:cubicBezTo>
                <a:cubicBezTo>
                  <a:pt x="3999371" y="6796849"/>
                  <a:pt x="3986072" y="6774673"/>
                  <a:pt x="3990506" y="6752496"/>
                </a:cubicBezTo>
                <a:cubicBezTo>
                  <a:pt x="4003804" y="6699273"/>
                  <a:pt x="4012670" y="6646049"/>
                  <a:pt x="4030402" y="6592825"/>
                </a:cubicBezTo>
                <a:cubicBezTo>
                  <a:pt x="4048134" y="6548472"/>
                  <a:pt x="4048134" y="6508555"/>
                  <a:pt x="4030402" y="6468637"/>
                </a:cubicBezTo>
                <a:cubicBezTo>
                  <a:pt x="4061432" y="6437590"/>
                  <a:pt x="4105761" y="6419849"/>
                  <a:pt x="4123493" y="6366625"/>
                </a:cubicBezTo>
                <a:cubicBezTo>
                  <a:pt x="4114627" y="6357754"/>
                  <a:pt x="4105761" y="6344448"/>
                  <a:pt x="4096896" y="6331143"/>
                </a:cubicBezTo>
                <a:cubicBezTo>
                  <a:pt x="4127926" y="6277919"/>
                  <a:pt x="4185554" y="6269048"/>
                  <a:pt x="4234316" y="6251307"/>
                </a:cubicBezTo>
                <a:cubicBezTo>
                  <a:pt x="4256480" y="6224695"/>
                  <a:pt x="4274212" y="6193648"/>
                  <a:pt x="4296376" y="6167036"/>
                </a:cubicBezTo>
                <a:cubicBezTo>
                  <a:pt x="4318541" y="6140425"/>
                  <a:pt x="4345138" y="6122683"/>
                  <a:pt x="4340706" y="6078330"/>
                </a:cubicBezTo>
                <a:cubicBezTo>
                  <a:pt x="4322974" y="6065024"/>
                  <a:pt x="4296376" y="6056154"/>
                  <a:pt x="4274212" y="6042848"/>
                </a:cubicBezTo>
                <a:cubicBezTo>
                  <a:pt x="4283078" y="6002930"/>
                  <a:pt x="4305242" y="5976318"/>
                  <a:pt x="4349572" y="5967448"/>
                </a:cubicBezTo>
                <a:cubicBezTo>
                  <a:pt x="4451528" y="5949707"/>
                  <a:pt x="4513590" y="5878742"/>
                  <a:pt x="4557918" y="5790036"/>
                </a:cubicBezTo>
                <a:cubicBezTo>
                  <a:pt x="4571218" y="5772294"/>
                  <a:pt x="4580083" y="5750118"/>
                  <a:pt x="4593382" y="5736812"/>
                </a:cubicBezTo>
                <a:cubicBezTo>
                  <a:pt x="4580083" y="5710200"/>
                  <a:pt x="4566784" y="5714635"/>
                  <a:pt x="4549052" y="5719071"/>
                </a:cubicBezTo>
                <a:cubicBezTo>
                  <a:pt x="4525779" y="5729051"/>
                  <a:pt x="4507494" y="5746514"/>
                  <a:pt x="4484845" y="5752751"/>
                </a:cubicBezTo>
                <a:lnTo>
                  <a:pt x="4462734" y="5754381"/>
                </a:lnTo>
                <a:lnTo>
                  <a:pt x="4471338" y="5737436"/>
                </a:lnTo>
                <a:cubicBezTo>
                  <a:pt x="4485884" y="5720180"/>
                  <a:pt x="4509157" y="5713527"/>
                  <a:pt x="4522455" y="5696894"/>
                </a:cubicBezTo>
                <a:cubicBezTo>
                  <a:pt x="4531321" y="5688024"/>
                  <a:pt x="4544620" y="5674718"/>
                  <a:pt x="4535754" y="5656977"/>
                </a:cubicBezTo>
                <a:cubicBezTo>
                  <a:pt x="4491425" y="5661412"/>
                  <a:pt x="4451528" y="5674718"/>
                  <a:pt x="4420498" y="5696894"/>
                </a:cubicBezTo>
                <a:cubicBezTo>
                  <a:pt x="4349572" y="5745683"/>
                  <a:pt x="4278645" y="5785600"/>
                  <a:pt x="4198852" y="5816647"/>
                </a:cubicBezTo>
                <a:cubicBezTo>
                  <a:pt x="4119060" y="5843259"/>
                  <a:pt x="4043700" y="5883177"/>
                  <a:pt x="3968341" y="5918659"/>
                </a:cubicBezTo>
                <a:cubicBezTo>
                  <a:pt x="3972774" y="5909789"/>
                  <a:pt x="3968341" y="5887612"/>
                  <a:pt x="3977207" y="5883177"/>
                </a:cubicBezTo>
                <a:cubicBezTo>
                  <a:pt x="4003804" y="5869871"/>
                  <a:pt x="4030402" y="5856565"/>
                  <a:pt x="4056999" y="5847695"/>
                </a:cubicBezTo>
                <a:cubicBezTo>
                  <a:pt x="4127926" y="5825518"/>
                  <a:pt x="4189986" y="5790036"/>
                  <a:pt x="4252048" y="5754553"/>
                </a:cubicBezTo>
                <a:cubicBezTo>
                  <a:pt x="4318541" y="5719071"/>
                  <a:pt x="4389468" y="5683588"/>
                  <a:pt x="4455962" y="5639235"/>
                </a:cubicBezTo>
                <a:cubicBezTo>
                  <a:pt x="4535754" y="5590447"/>
                  <a:pt x="4606680" y="5532788"/>
                  <a:pt x="4682040" y="5479564"/>
                </a:cubicBezTo>
                <a:cubicBezTo>
                  <a:pt x="4708638" y="5461823"/>
                  <a:pt x="4695339" y="5430776"/>
                  <a:pt x="4699772" y="5408600"/>
                </a:cubicBezTo>
                <a:cubicBezTo>
                  <a:pt x="4752967" y="5373117"/>
                  <a:pt x="4810594" y="5337635"/>
                  <a:pt x="4859356" y="5297717"/>
                </a:cubicBezTo>
                <a:cubicBezTo>
                  <a:pt x="4899253" y="5271105"/>
                  <a:pt x="4921418" y="5231187"/>
                  <a:pt x="4974612" y="5222317"/>
                </a:cubicBezTo>
                <a:cubicBezTo>
                  <a:pt x="5036674" y="5177964"/>
                  <a:pt x="5094301" y="5120305"/>
                  <a:pt x="5120898" y="5044905"/>
                </a:cubicBezTo>
                <a:cubicBezTo>
                  <a:pt x="5125332" y="5036034"/>
                  <a:pt x="5112033" y="5022728"/>
                  <a:pt x="5107600" y="5009422"/>
                </a:cubicBezTo>
                <a:cubicBezTo>
                  <a:pt x="5129764" y="4996116"/>
                  <a:pt x="5156362" y="4973940"/>
                  <a:pt x="5182960" y="4965069"/>
                </a:cubicBezTo>
                <a:cubicBezTo>
                  <a:pt x="5213990" y="4947328"/>
                  <a:pt x="5240588" y="4929587"/>
                  <a:pt x="5258319" y="4894104"/>
                </a:cubicBezTo>
                <a:cubicBezTo>
                  <a:pt x="5267185" y="4876363"/>
                  <a:pt x="5280484" y="4858622"/>
                  <a:pt x="5298215" y="4849751"/>
                </a:cubicBezTo>
                <a:cubicBezTo>
                  <a:pt x="5351410" y="4818704"/>
                  <a:pt x="5378008" y="4769916"/>
                  <a:pt x="5409038" y="4716692"/>
                </a:cubicBezTo>
                <a:cubicBezTo>
                  <a:pt x="5422337" y="4690081"/>
                  <a:pt x="5444502" y="4663469"/>
                  <a:pt x="5462233" y="4632422"/>
                </a:cubicBezTo>
                <a:cubicBezTo>
                  <a:pt x="5466666" y="4623551"/>
                  <a:pt x="5466666" y="4610245"/>
                  <a:pt x="5453367" y="4579198"/>
                </a:cubicBezTo>
                <a:cubicBezTo>
                  <a:pt x="5413471" y="4605810"/>
                  <a:pt x="5378008" y="4632422"/>
                  <a:pt x="5342544" y="4654598"/>
                </a:cubicBezTo>
                <a:cubicBezTo>
                  <a:pt x="5302648" y="4681210"/>
                  <a:pt x="5267185" y="4707822"/>
                  <a:pt x="5227288" y="4734434"/>
                </a:cubicBezTo>
                <a:cubicBezTo>
                  <a:pt x="5182960" y="4765481"/>
                  <a:pt x="5143063" y="4792092"/>
                  <a:pt x="5094301" y="4818704"/>
                </a:cubicBezTo>
                <a:cubicBezTo>
                  <a:pt x="5049972" y="4845316"/>
                  <a:pt x="5010076" y="4876363"/>
                  <a:pt x="4970180" y="4911846"/>
                </a:cubicBezTo>
                <a:cubicBezTo>
                  <a:pt x="4934716" y="4947328"/>
                  <a:pt x="4890387" y="4973940"/>
                  <a:pt x="4854924" y="5004987"/>
                </a:cubicBezTo>
                <a:cubicBezTo>
                  <a:pt x="4837192" y="5018293"/>
                  <a:pt x="4823894" y="5036034"/>
                  <a:pt x="4810594" y="5058211"/>
                </a:cubicBezTo>
                <a:cubicBezTo>
                  <a:pt x="4801729" y="5071517"/>
                  <a:pt x="4823894" y="5102564"/>
                  <a:pt x="4841625" y="5098128"/>
                </a:cubicBezTo>
                <a:cubicBezTo>
                  <a:pt x="4881522" y="5084822"/>
                  <a:pt x="4921418" y="5071517"/>
                  <a:pt x="4961314" y="5058211"/>
                </a:cubicBezTo>
                <a:cubicBezTo>
                  <a:pt x="4979046" y="5053775"/>
                  <a:pt x="4992344" y="5049340"/>
                  <a:pt x="5010076" y="5044905"/>
                </a:cubicBezTo>
                <a:cubicBezTo>
                  <a:pt x="5010076" y="5044905"/>
                  <a:pt x="5014508" y="5049340"/>
                  <a:pt x="5018942" y="5049340"/>
                </a:cubicBezTo>
                <a:cubicBezTo>
                  <a:pt x="5010076" y="5080387"/>
                  <a:pt x="4987911" y="5098128"/>
                  <a:pt x="4961314" y="5111434"/>
                </a:cubicBezTo>
                <a:cubicBezTo>
                  <a:pt x="4881522" y="5160223"/>
                  <a:pt x="4806162" y="5222317"/>
                  <a:pt x="4721936" y="5266670"/>
                </a:cubicBezTo>
                <a:cubicBezTo>
                  <a:pt x="4642144" y="5311023"/>
                  <a:pt x="4566784" y="5377552"/>
                  <a:pt x="4491425" y="5430776"/>
                </a:cubicBezTo>
                <a:cubicBezTo>
                  <a:pt x="4433797" y="5475129"/>
                  <a:pt x="4376169" y="5519482"/>
                  <a:pt x="4314108" y="5559400"/>
                </a:cubicBezTo>
                <a:cubicBezTo>
                  <a:pt x="4260914" y="5594882"/>
                  <a:pt x="4198852" y="5621494"/>
                  <a:pt x="4150090" y="5661412"/>
                </a:cubicBezTo>
                <a:cubicBezTo>
                  <a:pt x="4096896" y="5701330"/>
                  <a:pt x="4039268" y="5723506"/>
                  <a:pt x="3986072" y="5754553"/>
                </a:cubicBezTo>
                <a:cubicBezTo>
                  <a:pt x="3950609" y="5772294"/>
                  <a:pt x="3919579" y="5794471"/>
                  <a:pt x="3884116" y="5812212"/>
                </a:cubicBezTo>
                <a:cubicBezTo>
                  <a:pt x="3879683" y="5816647"/>
                  <a:pt x="3875250" y="5821083"/>
                  <a:pt x="3866384" y="5825518"/>
                </a:cubicBezTo>
                <a:cubicBezTo>
                  <a:pt x="3755561" y="5838824"/>
                  <a:pt x="3680202" y="5927530"/>
                  <a:pt x="3578244" y="5963012"/>
                </a:cubicBezTo>
                <a:cubicBezTo>
                  <a:pt x="3533915" y="5980754"/>
                  <a:pt x="3489586" y="5994060"/>
                  <a:pt x="3449690" y="6016236"/>
                </a:cubicBezTo>
                <a:cubicBezTo>
                  <a:pt x="3400928" y="6038413"/>
                  <a:pt x="3356599" y="6060589"/>
                  <a:pt x="3312270" y="6087201"/>
                </a:cubicBezTo>
                <a:cubicBezTo>
                  <a:pt x="3228044" y="6135989"/>
                  <a:pt x="3046295" y="6211389"/>
                  <a:pt x="2957636" y="6229131"/>
                </a:cubicBezTo>
                <a:cubicBezTo>
                  <a:pt x="2939905" y="6233566"/>
                  <a:pt x="2917740" y="6238001"/>
                  <a:pt x="2900009" y="6246872"/>
                </a:cubicBezTo>
                <a:cubicBezTo>
                  <a:pt x="2868978" y="6264613"/>
                  <a:pt x="2833515" y="6273484"/>
                  <a:pt x="2798052" y="6282354"/>
                </a:cubicBezTo>
                <a:cubicBezTo>
                  <a:pt x="2789186" y="6282354"/>
                  <a:pt x="2775887" y="6291225"/>
                  <a:pt x="2767021" y="6300095"/>
                </a:cubicBezTo>
                <a:cubicBezTo>
                  <a:pt x="2798052" y="6397672"/>
                  <a:pt x="2789186" y="6410978"/>
                  <a:pt x="2696094" y="6446460"/>
                </a:cubicBezTo>
                <a:cubicBezTo>
                  <a:pt x="2691662" y="6446460"/>
                  <a:pt x="2691662" y="6446460"/>
                  <a:pt x="2687229" y="6446460"/>
                </a:cubicBezTo>
                <a:cubicBezTo>
                  <a:pt x="2638467" y="6455331"/>
                  <a:pt x="2620735" y="6508555"/>
                  <a:pt x="2567540" y="6517425"/>
                </a:cubicBezTo>
                <a:cubicBezTo>
                  <a:pt x="2527644" y="6526296"/>
                  <a:pt x="2492180" y="6548472"/>
                  <a:pt x="2443418" y="6570649"/>
                </a:cubicBezTo>
                <a:cubicBezTo>
                  <a:pt x="2381358" y="6566214"/>
                  <a:pt x="2305998" y="6548472"/>
                  <a:pt x="2235072" y="6588390"/>
                </a:cubicBezTo>
                <a:cubicBezTo>
                  <a:pt x="2208474" y="6623873"/>
                  <a:pt x="2221773" y="6668226"/>
                  <a:pt x="2221773" y="6717014"/>
                </a:cubicBezTo>
                <a:cubicBezTo>
                  <a:pt x="2208474" y="6703708"/>
                  <a:pt x="2195175" y="6694837"/>
                  <a:pt x="2195175" y="6685967"/>
                </a:cubicBezTo>
                <a:cubicBezTo>
                  <a:pt x="2190742" y="6659355"/>
                  <a:pt x="2186310" y="6628308"/>
                  <a:pt x="2186310" y="6597261"/>
                </a:cubicBezTo>
                <a:cubicBezTo>
                  <a:pt x="2186310" y="6557343"/>
                  <a:pt x="2190742" y="6517425"/>
                  <a:pt x="2173011" y="6473072"/>
                </a:cubicBezTo>
                <a:cubicBezTo>
                  <a:pt x="2164145" y="6455331"/>
                  <a:pt x="2168578" y="6419849"/>
                  <a:pt x="2173011" y="6397672"/>
                </a:cubicBezTo>
                <a:cubicBezTo>
                  <a:pt x="2190742" y="6348884"/>
                  <a:pt x="2186310" y="6300095"/>
                  <a:pt x="2181876" y="6246872"/>
                </a:cubicBezTo>
                <a:cubicBezTo>
                  <a:pt x="2088785" y="6202519"/>
                  <a:pt x="2000127" y="6144860"/>
                  <a:pt x="1889304" y="6149295"/>
                </a:cubicBezTo>
                <a:cubicBezTo>
                  <a:pt x="1876006" y="6149295"/>
                  <a:pt x="1862707" y="6149295"/>
                  <a:pt x="1849408" y="6140425"/>
                </a:cubicBezTo>
                <a:cubicBezTo>
                  <a:pt x="1809512" y="6122683"/>
                  <a:pt x="1769616" y="6127119"/>
                  <a:pt x="1725286" y="6127119"/>
                </a:cubicBezTo>
                <a:cubicBezTo>
                  <a:pt x="1676524" y="6127119"/>
                  <a:pt x="1618896" y="6118248"/>
                  <a:pt x="1574568" y="6096072"/>
                </a:cubicBezTo>
                <a:cubicBezTo>
                  <a:pt x="1534672" y="6078330"/>
                  <a:pt x="1499209" y="6038413"/>
                  <a:pt x="1494776" y="5989624"/>
                </a:cubicBezTo>
                <a:cubicBezTo>
                  <a:pt x="1494776" y="5923095"/>
                  <a:pt x="1481477" y="5852130"/>
                  <a:pt x="1534672" y="5794471"/>
                </a:cubicBezTo>
                <a:cubicBezTo>
                  <a:pt x="1552404" y="5772294"/>
                  <a:pt x="1552404" y="5741247"/>
                  <a:pt x="1561269" y="5705765"/>
                </a:cubicBezTo>
                <a:cubicBezTo>
                  <a:pt x="1503641" y="5674718"/>
                  <a:pt x="1446014" y="5643671"/>
                  <a:pt x="1392818" y="5612623"/>
                </a:cubicBezTo>
                <a:cubicBezTo>
                  <a:pt x="1370654" y="5599318"/>
                  <a:pt x="1344057" y="5603753"/>
                  <a:pt x="1317459" y="5612623"/>
                </a:cubicBezTo>
                <a:cubicBezTo>
                  <a:pt x="1228800" y="5648106"/>
                  <a:pt x="1140143" y="5683588"/>
                  <a:pt x="1060349" y="5732377"/>
                </a:cubicBezTo>
                <a:cubicBezTo>
                  <a:pt x="1024887" y="5754553"/>
                  <a:pt x="980558" y="5767859"/>
                  <a:pt x="940661" y="5776730"/>
                </a:cubicBezTo>
                <a:cubicBezTo>
                  <a:pt x="896332" y="5790036"/>
                  <a:pt x="767778" y="5714635"/>
                  <a:pt x="750046" y="5670282"/>
                </a:cubicBezTo>
                <a:cubicBezTo>
                  <a:pt x="745613" y="5652541"/>
                  <a:pt x="745613" y="5634800"/>
                  <a:pt x="745613" y="5612623"/>
                </a:cubicBezTo>
                <a:cubicBezTo>
                  <a:pt x="763345" y="5488435"/>
                  <a:pt x="789942" y="5368682"/>
                  <a:pt x="843137" y="5253364"/>
                </a:cubicBezTo>
                <a:cubicBezTo>
                  <a:pt x="869734" y="5195705"/>
                  <a:pt x="896332" y="5138046"/>
                  <a:pt x="922930" y="5080387"/>
                </a:cubicBezTo>
                <a:cubicBezTo>
                  <a:pt x="967259" y="4991681"/>
                  <a:pt x="1029319" y="4911846"/>
                  <a:pt x="1055917" y="4809834"/>
                </a:cubicBezTo>
                <a:cubicBezTo>
                  <a:pt x="1051484" y="4761045"/>
                  <a:pt x="1011588" y="4725563"/>
                  <a:pt x="976125" y="4690081"/>
                </a:cubicBezTo>
                <a:cubicBezTo>
                  <a:pt x="980558" y="4614680"/>
                  <a:pt x="971692" y="4543716"/>
                  <a:pt x="940661" y="4477186"/>
                </a:cubicBezTo>
                <a:cubicBezTo>
                  <a:pt x="922930" y="4432833"/>
                  <a:pt x="927363" y="4397351"/>
                  <a:pt x="953960" y="4361868"/>
                </a:cubicBezTo>
                <a:cubicBezTo>
                  <a:pt x="958393" y="4348562"/>
                  <a:pt x="967259" y="4339692"/>
                  <a:pt x="971692" y="4326386"/>
                </a:cubicBezTo>
                <a:cubicBezTo>
                  <a:pt x="1002722" y="4286468"/>
                  <a:pt x="1020454" y="4242115"/>
                  <a:pt x="1020454" y="4188891"/>
                </a:cubicBezTo>
                <a:cubicBezTo>
                  <a:pt x="1024887" y="4140103"/>
                  <a:pt x="1038185" y="4086879"/>
                  <a:pt x="1042618" y="4033656"/>
                </a:cubicBezTo>
                <a:cubicBezTo>
                  <a:pt x="1047051" y="4015915"/>
                  <a:pt x="1042618" y="3998174"/>
                  <a:pt x="1038185" y="3975997"/>
                </a:cubicBezTo>
                <a:cubicBezTo>
                  <a:pt x="984990" y="3984868"/>
                  <a:pt x="949527" y="4015915"/>
                  <a:pt x="909631" y="4038091"/>
                </a:cubicBezTo>
                <a:cubicBezTo>
                  <a:pt x="891899" y="4051397"/>
                  <a:pt x="891899" y="4051397"/>
                  <a:pt x="847570" y="4042526"/>
                </a:cubicBezTo>
                <a:cubicBezTo>
                  <a:pt x="856435" y="3998174"/>
                  <a:pt x="883033" y="3971562"/>
                  <a:pt x="914064" y="3944950"/>
                </a:cubicBezTo>
                <a:cubicBezTo>
                  <a:pt x="976125" y="3887291"/>
                  <a:pt x="1038185" y="3829632"/>
                  <a:pt x="1109112" y="3780844"/>
                </a:cubicBezTo>
                <a:cubicBezTo>
                  <a:pt x="1144575" y="3749797"/>
                  <a:pt x="1157874" y="3709879"/>
                  <a:pt x="1175606" y="3674396"/>
                </a:cubicBezTo>
                <a:cubicBezTo>
                  <a:pt x="1211069" y="3612302"/>
                  <a:pt x="1246532" y="3550208"/>
                  <a:pt x="1255398" y="3470372"/>
                </a:cubicBezTo>
                <a:cubicBezTo>
                  <a:pt x="1242099" y="3470372"/>
                  <a:pt x="1228800" y="3470372"/>
                  <a:pt x="1219934" y="3470372"/>
                </a:cubicBezTo>
                <a:cubicBezTo>
                  <a:pt x="1206636" y="3474808"/>
                  <a:pt x="1193337" y="3483678"/>
                  <a:pt x="1184472" y="3492549"/>
                </a:cubicBezTo>
                <a:cubicBezTo>
                  <a:pt x="1113545" y="3572384"/>
                  <a:pt x="1007155" y="3607867"/>
                  <a:pt x="927363" y="3687702"/>
                </a:cubicBezTo>
                <a:cubicBezTo>
                  <a:pt x="905198" y="3709879"/>
                  <a:pt x="878600" y="3727620"/>
                  <a:pt x="852002" y="3745361"/>
                </a:cubicBezTo>
                <a:cubicBezTo>
                  <a:pt x="820973" y="3767538"/>
                  <a:pt x="794375" y="3789714"/>
                  <a:pt x="767778" y="3811891"/>
                </a:cubicBezTo>
                <a:cubicBezTo>
                  <a:pt x="701283" y="3878420"/>
                  <a:pt x="630357" y="3922773"/>
                  <a:pt x="541699" y="3953820"/>
                </a:cubicBezTo>
                <a:cubicBezTo>
                  <a:pt x="479638" y="3975997"/>
                  <a:pt x="417577" y="4011479"/>
                  <a:pt x="364382" y="4055832"/>
                </a:cubicBezTo>
                <a:cubicBezTo>
                  <a:pt x="324486" y="4086879"/>
                  <a:pt x="320053" y="4086879"/>
                  <a:pt x="262425" y="4086879"/>
                </a:cubicBezTo>
                <a:cubicBezTo>
                  <a:pt x="293456" y="4033656"/>
                  <a:pt x="337784" y="4002609"/>
                  <a:pt x="382114" y="3971562"/>
                </a:cubicBezTo>
                <a:cubicBezTo>
                  <a:pt x="408712" y="3953820"/>
                  <a:pt x="439742" y="3936079"/>
                  <a:pt x="461907" y="3913903"/>
                </a:cubicBezTo>
                <a:cubicBezTo>
                  <a:pt x="559431" y="3834067"/>
                  <a:pt x="652522" y="3754232"/>
                  <a:pt x="745613" y="3669961"/>
                </a:cubicBezTo>
                <a:cubicBezTo>
                  <a:pt x="767778" y="3652220"/>
                  <a:pt x="789942" y="3634479"/>
                  <a:pt x="812107" y="3612302"/>
                </a:cubicBezTo>
                <a:cubicBezTo>
                  <a:pt x="816540" y="3607867"/>
                  <a:pt x="816540" y="3594561"/>
                  <a:pt x="816540" y="3585690"/>
                </a:cubicBezTo>
                <a:cubicBezTo>
                  <a:pt x="767778" y="3576820"/>
                  <a:pt x="750046" y="3638914"/>
                  <a:pt x="696850" y="3625608"/>
                </a:cubicBezTo>
                <a:cubicBezTo>
                  <a:pt x="719016" y="3572384"/>
                  <a:pt x="772211" y="3545773"/>
                  <a:pt x="803241" y="3501420"/>
                </a:cubicBezTo>
                <a:cubicBezTo>
                  <a:pt x="834271" y="3457067"/>
                  <a:pt x="887466" y="3430455"/>
                  <a:pt x="927363" y="3394972"/>
                </a:cubicBezTo>
                <a:cubicBezTo>
                  <a:pt x="905198" y="3359490"/>
                  <a:pt x="878600" y="3381666"/>
                  <a:pt x="856435" y="3399408"/>
                </a:cubicBezTo>
                <a:cubicBezTo>
                  <a:pt x="820973" y="3426019"/>
                  <a:pt x="789942" y="3457067"/>
                  <a:pt x="754479" y="3483678"/>
                </a:cubicBezTo>
                <a:cubicBezTo>
                  <a:pt x="696850" y="3528031"/>
                  <a:pt x="639223" y="3572384"/>
                  <a:pt x="577162" y="3616737"/>
                </a:cubicBezTo>
                <a:cubicBezTo>
                  <a:pt x="570513" y="3621173"/>
                  <a:pt x="561647" y="3624499"/>
                  <a:pt x="552227" y="3627826"/>
                </a:cubicBezTo>
                <a:lnTo>
                  <a:pt x="531328" y="3636026"/>
                </a:lnTo>
                <a:lnTo>
                  <a:pt x="539482" y="3615628"/>
                </a:lnTo>
                <a:cubicBezTo>
                  <a:pt x="546132" y="3607867"/>
                  <a:pt x="554998" y="3601214"/>
                  <a:pt x="563864" y="3594561"/>
                </a:cubicBezTo>
                <a:cubicBezTo>
                  <a:pt x="639223" y="3532467"/>
                  <a:pt x="727881" y="3474808"/>
                  <a:pt x="789942" y="3394972"/>
                </a:cubicBezTo>
                <a:cubicBezTo>
                  <a:pt x="798808" y="3386102"/>
                  <a:pt x="812107" y="3377231"/>
                  <a:pt x="820973" y="3372796"/>
                </a:cubicBezTo>
                <a:cubicBezTo>
                  <a:pt x="922930" y="3319572"/>
                  <a:pt x="1011588" y="3257478"/>
                  <a:pt x="1082515" y="3168772"/>
                </a:cubicBezTo>
                <a:cubicBezTo>
                  <a:pt x="1095813" y="3146595"/>
                  <a:pt x="1122411" y="3137725"/>
                  <a:pt x="1144575" y="3119984"/>
                </a:cubicBezTo>
                <a:cubicBezTo>
                  <a:pt x="1228800" y="3044583"/>
                  <a:pt x="1313026" y="2973619"/>
                  <a:pt x="1406117" y="2915960"/>
                </a:cubicBezTo>
                <a:cubicBezTo>
                  <a:pt x="1419415" y="2907089"/>
                  <a:pt x="1437147" y="2898218"/>
                  <a:pt x="1446014" y="2884912"/>
                </a:cubicBezTo>
                <a:cubicBezTo>
                  <a:pt x="1494776" y="2813948"/>
                  <a:pt x="1565702" y="2769595"/>
                  <a:pt x="1636628" y="2720806"/>
                </a:cubicBezTo>
                <a:cubicBezTo>
                  <a:pt x="1720854" y="2658712"/>
                  <a:pt x="1796213" y="2583312"/>
                  <a:pt x="1858274" y="2499041"/>
                </a:cubicBezTo>
                <a:cubicBezTo>
                  <a:pt x="1880438" y="2467994"/>
                  <a:pt x="1898170" y="2436947"/>
                  <a:pt x="1889304" y="2392594"/>
                </a:cubicBezTo>
                <a:cubicBezTo>
                  <a:pt x="1849408" y="2423641"/>
                  <a:pt x="1822810" y="2450253"/>
                  <a:pt x="1787347" y="2472429"/>
                </a:cubicBezTo>
                <a:cubicBezTo>
                  <a:pt x="1751884" y="2494606"/>
                  <a:pt x="1725286" y="2525653"/>
                  <a:pt x="1698689" y="2552265"/>
                </a:cubicBezTo>
                <a:cubicBezTo>
                  <a:pt x="1641061" y="2605488"/>
                  <a:pt x="1579000" y="2654277"/>
                  <a:pt x="1521373" y="2707500"/>
                </a:cubicBezTo>
                <a:cubicBezTo>
                  <a:pt x="1490343" y="2729677"/>
                  <a:pt x="1463745" y="2760724"/>
                  <a:pt x="1437147" y="2787336"/>
                </a:cubicBezTo>
                <a:cubicBezTo>
                  <a:pt x="1428281" y="2796206"/>
                  <a:pt x="1423848" y="2805077"/>
                  <a:pt x="1414983" y="2809512"/>
                </a:cubicBezTo>
                <a:cubicBezTo>
                  <a:pt x="1304160" y="2858301"/>
                  <a:pt x="1233233" y="2969183"/>
                  <a:pt x="1117978" y="3013536"/>
                </a:cubicBezTo>
                <a:cubicBezTo>
                  <a:pt x="1095813" y="3017972"/>
                  <a:pt x="1078082" y="3035713"/>
                  <a:pt x="1060349" y="3053454"/>
                </a:cubicBezTo>
                <a:cubicBezTo>
                  <a:pt x="976125" y="3115548"/>
                  <a:pt x="896332" y="3182078"/>
                  <a:pt x="812107" y="3244172"/>
                </a:cubicBezTo>
                <a:cubicBezTo>
                  <a:pt x="807674" y="3248607"/>
                  <a:pt x="803241" y="3257478"/>
                  <a:pt x="798808" y="3257478"/>
                </a:cubicBezTo>
                <a:cubicBezTo>
                  <a:pt x="727881" y="3275219"/>
                  <a:pt x="683552" y="3328443"/>
                  <a:pt x="625924" y="3368361"/>
                </a:cubicBezTo>
                <a:cubicBezTo>
                  <a:pt x="528400" y="3430455"/>
                  <a:pt x="439742" y="3505855"/>
                  <a:pt x="355517" y="3585690"/>
                </a:cubicBezTo>
                <a:cubicBezTo>
                  <a:pt x="320053" y="3621173"/>
                  <a:pt x="280157" y="3643349"/>
                  <a:pt x="226962" y="3656655"/>
                </a:cubicBezTo>
                <a:cubicBezTo>
                  <a:pt x="182633" y="3630043"/>
                  <a:pt x="133870" y="3603432"/>
                  <a:pt x="85109" y="3572384"/>
                </a:cubicBezTo>
                <a:cubicBezTo>
                  <a:pt x="54078" y="3550208"/>
                  <a:pt x="36347" y="3528031"/>
                  <a:pt x="45213" y="3483678"/>
                </a:cubicBezTo>
                <a:cubicBezTo>
                  <a:pt x="54078" y="3452631"/>
                  <a:pt x="40780" y="3417149"/>
                  <a:pt x="80676" y="3399408"/>
                </a:cubicBezTo>
                <a:cubicBezTo>
                  <a:pt x="85109" y="3394972"/>
                  <a:pt x="89542" y="3377231"/>
                  <a:pt x="85109" y="3363925"/>
                </a:cubicBezTo>
                <a:cubicBezTo>
                  <a:pt x="80676" y="3350619"/>
                  <a:pt x="71810" y="3341749"/>
                  <a:pt x="62944" y="3332878"/>
                </a:cubicBezTo>
                <a:cubicBezTo>
                  <a:pt x="36347" y="3301831"/>
                  <a:pt x="31914" y="3266349"/>
                  <a:pt x="40780" y="3230866"/>
                </a:cubicBezTo>
                <a:cubicBezTo>
                  <a:pt x="54078" y="3186513"/>
                  <a:pt x="54078" y="3146595"/>
                  <a:pt x="18615" y="3111113"/>
                </a:cubicBezTo>
                <a:cubicBezTo>
                  <a:pt x="-12415" y="3080066"/>
                  <a:pt x="883" y="3044583"/>
                  <a:pt x="18615" y="3013536"/>
                </a:cubicBezTo>
                <a:cubicBezTo>
                  <a:pt x="27481" y="3000230"/>
                  <a:pt x="36347" y="2991360"/>
                  <a:pt x="45213" y="2982489"/>
                </a:cubicBezTo>
                <a:cubicBezTo>
                  <a:pt x="71810" y="2964748"/>
                  <a:pt x="76243" y="2938136"/>
                  <a:pt x="67377" y="2911524"/>
                </a:cubicBezTo>
                <a:cubicBezTo>
                  <a:pt x="49646" y="2867171"/>
                  <a:pt x="45213" y="2822818"/>
                  <a:pt x="62944" y="2778465"/>
                </a:cubicBezTo>
                <a:cubicBezTo>
                  <a:pt x="62944" y="2774030"/>
                  <a:pt x="58511" y="2765159"/>
                  <a:pt x="58511" y="2760724"/>
                </a:cubicBezTo>
                <a:cubicBezTo>
                  <a:pt x="49646" y="2707500"/>
                  <a:pt x="62944" y="2663147"/>
                  <a:pt x="111706" y="2632100"/>
                </a:cubicBezTo>
                <a:cubicBezTo>
                  <a:pt x="125005" y="2623230"/>
                  <a:pt x="138303" y="2609924"/>
                  <a:pt x="142736" y="2596618"/>
                </a:cubicBezTo>
                <a:cubicBezTo>
                  <a:pt x="182633" y="2507912"/>
                  <a:pt x="257993" y="2450253"/>
                  <a:pt x="320053" y="2379288"/>
                </a:cubicBezTo>
                <a:cubicBezTo>
                  <a:pt x="430876" y="2255099"/>
                  <a:pt x="563864" y="2153088"/>
                  <a:pt x="692418" y="2051076"/>
                </a:cubicBezTo>
                <a:cubicBezTo>
                  <a:pt x="723449" y="2024464"/>
                  <a:pt x="745613" y="1997852"/>
                  <a:pt x="772211" y="1971240"/>
                </a:cubicBezTo>
                <a:cubicBezTo>
                  <a:pt x="825406" y="1918016"/>
                  <a:pt x="883033" y="1864793"/>
                  <a:pt x="940661" y="1807134"/>
                </a:cubicBezTo>
                <a:cubicBezTo>
                  <a:pt x="980558" y="1762781"/>
                  <a:pt x="1016021" y="1718428"/>
                  <a:pt x="1060349" y="1678510"/>
                </a:cubicBezTo>
                <a:cubicBezTo>
                  <a:pt x="1109112" y="1629722"/>
                  <a:pt x="1157874" y="1585369"/>
                  <a:pt x="1211069" y="1541016"/>
                </a:cubicBezTo>
                <a:cubicBezTo>
                  <a:pt x="1250965" y="1509969"/>
                  <a:pt x="1281996" y="1474486"/>
                  <a:pt x="1317459" y="1439004"/>
                </a:cubicBezTo>
                <a:cubicBezTo>
                  <a:pt x="1406117" y="1345862"/>
                  <a:pt x="1485910" y="1248286"/>
                  <a:pt x="1583433" y="1164015"/>
                </a:cubicBezTo>
                <a:cubicBezTo>
                  <a:pt x="1649927" y="1101921"/>
                  <a:pt x="1707555" y="1039827"/>
                  <a:pt x="1769616" y="977732"/>
                </a:cubicBezTo>
                <a:cubicBezTo>
                  <a:pt x="1813945" y="937815"/>
                  <a:pt x="1849408" y="889026"/>
                  <a:pt x="1884871" y="844673"/>
                </a:cubicBezTo>
                <a:cubicBezTo>
                  <a:pt x="1920335" y="804755"/>
                  <a:pt x="1955798" y="778144"/>
                  <a:pt x="2000127" y="755967"/>
                </a:cubicBezTo>
                <a:cubicBezTo>
                  <a:pt x="2017859" y="747097"/>
                  <a:pt x="2031158" y="733791"/>
                  <a:pt x="2044456" y="720485"/>
                </a:cubicBezTo>
                <a:cubicBezTo>
                  <a:pt x="2071054" y="693873"/>
                  <a:pt x="2097651" y="667261"/>
                  <a:pt x="2124249" y="640649"/>
                </a:cubicBezTo>
                <a:cubicBezTo>
                  <a:pt x="2150846" y="614037"/>
                  <a:pt x="2177444" y="582990"/>
                  <a:pt x="2204041" y="551943"/>
                </a:cubicBezTo>
                <a:cubicBezTo>
                  <a:pt x="2212907" y="543073"/>
                  <a:pt x="2221773" y="534202"/>
                  <a:pt x="2230638" y="525331"/>
                </a:cubicBezTo>
                <a:cubicBezTo>
                  <a:pt x="2297132" y="494284"/>
                  <a:pt x="2341462" y="436625"/>
                  <a:pt x="2390224" y="383402"/>
                </a:cubicBezTo>
                <a:cubicBezTo>
                  <a:pt x="2416821" y="356790"/>
                  <a:pt x="2447852" y="330178"/>
                  <a:pt x="2478882" y="303566"/>
                </a:cubicBezTo>
                <a:cubicBezTo>
                  <a:pt x="2558674" y="241472"/>
                  <a:pt x="2625168" y="161637"/>
                  <a:pt x="2696094" y="90672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93157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051072"/>
            <a:ext cx="11362258" cy="9235929"/>
          </a:xfrm>
          <a:custGeom>
            <a:avLst/>
            <a:gdLst>
              <a:gd name="connsiteX0" fmla="*/ 11267139 w 11362258"/>
              <a:gd name="connsiteY0" fmla="*/ 6656862 h 9235929"/>
              <a:gd name="connsiteX1" fmla="*/ 11271013 w 11362258"/>
              <a:gd name="connsiteY1" fmla="*/ 6661793 h 9235929"/>
              <a:gd name="connsiteX2" fmla="*/ 11267730 w 11362258"/>
              <a:gd name="connsiteY2" fmla="*/ 6660933 h 9235929"/>
              <a:gd name="connsiteX3" fmla="*/ 9310618 w 11362258"/>
              <a:gd name="connsiteY3" fmla="*/ 2540657 h 9235929"/>
              <a:gd name="connsiteX4" fmla="*/ 9317610 w 11362258"/>
              <a:gd name="connsiteY4" fmla="*/ 2541710 h 9235929"/>
              <a:gd name="connsiteX5" fmla="*/ 9312681 w 11362258"/>
              <a:gd name="connsiteY5" fmla="*/ 2545587 h 9235929"/>
              <a:gd name="connsiteX6" fmla="*/ 5785039 w 11362258"/>
              <a:gd name="connsiteY6" fmla="*/ 126594 h 9235929"/>
              <a:gd name="connsiteX7" fmla="*/ 5784512 w 11362258"/>
              <a:gd name="connsiteY7" fmla="*/ 130997 h 9235929"/>
              <a:gd name="connsiteX8" fmla="*/ 5782932 w 11362258"/>
              <a:gd name="connsiteY8" fmla="*/ 130738 h 9235929"/>
              <a:gd name="connsiteX9" fmla="*/ 5367055 w 11362258"/>
              <a:gd name="connsiteY9" fmla="*/ 622 h 9235929"/>
              <a:gd name="connsiteX10" fmla="*/ 5428334 w 11362258"/>
              <a:gd name="connsiteY10" fmla="*/ 48160 h 9235929"/>
              <a:gd name="connsiteX11" fmla="*/ 5480834 w 11362258"/>
              <a:gd name="connsiteY11" fmla="*/ 206321 h 9235929"/>
              <a:gd name="connsiteX12" fmla="*/ 5569919 w 11362258"/>
              <a:gd name="connsiteY12" fmla="*/ 208051 h 9235929"/>
              <a:gd name="connsiteX13" fmla="*/ 5739970 w 11362258"/>
              <a:gd name="connsiteY13" fmla="*/ 130133 h 9235929"/>
              <a:gd name="connsiteX14" fmla="*/ 5759335 w 11362258"/>
              <a:gd name="connsiteY14" fmla="*/ 126867 h 9235929"/>
              <a:gd name="connsiteX15" fmla="*/ 5782932 w 11362258"/>
              <a:gd name="connsiteY15" fmla="*/ 130738 h 9235929"/>
              <a:gd name="connsiteX16" fmla="*/ 5768981 w 11362258"/>
              <a:gd name="connsiteY16" fmla="*/ 158174 h 9235929"/>
              <a:gd name="connsiteX17" fmla="*/ 5759526 w 11362258"/>
              <a:gd name="connsiteY17" fmla="*/ 190544 h 9235929"/>
              <a:gd name="connsiteX18" fmla="*/ 5778371 w 11362258"/>
              <a:gd name="connsiteY18" fmla="*/ 219602 h 9235929"/>
              <a:gd name="connsiteX19" fmla="*/ 5801432 w 11362258"/>
              <a:gd name="connsiteY19" fmla="*/ 213428 h 9235929"/>
              <a:gd name="connsiteX20" fmla="*/ 5879236 w 11362258"/>
              <a:gd name="connsiteY20" fmla="*/ 160204 h 9235929"/>
              <a:gd name="connsiteX21" fmla="*/ 5883980 w 11362258"/>
              <a:gd name="connsiteY21" fmla="*/ 120569 h 9235929"/>
              <a:gd name="connsiteX22" fmla="*/ 6024459 w 11362258"/>
              <a:gd name="connsiteY22" fmla="*/ 65913 h 9235929"/>
              <a:gd name="connsiteX23" fmla="*/ 6158270 w 11362258"/>
              <a:gd name="connsiteY23" fmla="*/ 104265 h 9235929"/>
              <a:gd name="connsiteX24" fmla="*/ 6143510 w 11362258"/>
              <a:gd name="connsiteY24" fmla="*/ 227573 h 9235929"/>
              <a:gd name="connsiteX25" fmla="*/ 6034711 w 11362258"/>
              <a:gd name="connsiteY25" fmla="*/ 241352 h 9235929"/>
              <a:gd name="connsiteX26" fmla="*/ 5962363 w 11362258"/>
              <a:gd name="connsiteY26" fmla="*/ 286295 h 9235929"/>
              <a:gd name="connsiteX27" fmla="*/ 5943359 w 11362258"/>
              <a:gd name="connsiteY27" fmla="*/ 333157 h 9235929"/>
              <a:gd name="connsiteX28" fmla="*/ 5930498 w 11362258"/>
              <a:gd name="connsiteY28" fmla="*/ 291415 h 9235929"/>
              <a:gd name="connsiteX29" fmla="*/ 5881371 w 11362258"/>
              <a:gd name="connsiteY29" fmla="*/ 254266 h 9235929"/>
              <a:gd name="connsiteX30" fmla="*/ 5836301 w 11362258"/>
              <a:gd name="connsiteY30" fmla="*/ 257805 h 9235929"/>
              <a:gd name="connsiteX31" fmla="*/ 5803223 w 11362258"/>
              <a:gd name="connsiteY31" fmla="*/ 347652 h 9235929"/>
              <a:gd name="connsiteX32" fmla="*/ 5792681 w 11362258"/>
              <a:gd name="connsiteY32" fmla="*/ 435729 h 9235929"/>
              <a:gd name="connsiteX33" fmla="*/ 5837407 w 11362258"/>
              <a:gd name="connsiteY33" fmla="*/ 472352 h 9235929"/>
              <a:gd name="connsiteX34" fmla="*/ 5905011 w 11362258"/>
              <a:gd name="connsiteY34" fmla="*/ 467043 h 9235929"/>
              <a:gd name="connsiteX35" fmla="*/ 5950265 w 11362258"/>
              <a:gd name="connsiteY35" fmla="*/ 499262 h 9235929"/>
              <a:gd name="connsiteX36" fmla="*/ 6288969 w 11362258"/>
              <a:gd name="connsiteY36" fmla="*/ 392395 h 9235929"/>
              <a:gd name="connsiteX37" fmla="*/ 6417007 w 11362258"/>
              <a:gd name="connsiteY37" fmla="*/ 590866 h 9235929"/>
              <a:gd name="connsiteX38" fmla="*/ 6299774 w 11362258"/>
              <a:gd name="connsiteY38" fmla="*/ 675107 h 9235929"/>
              <a:gd name="connsiteX39" fmla="*/ 6261425 w 11362258"/>
              <a:gd name="connsiteY39" fmla="*/ 808992 h 9235929"/>
              <a:gd name="connsiteX40" fmla="*/ 6440121 w 11362258"/>
              <a:gd name="connsiteY40" fmla="*/ 808047 h 9235929"/>
              <a:gd name="connsiteX41" fmla="*/ 6523407 w 11362258"/>
              <a:gd name="connsiteY41" fmla="*/ 858219 h 9235929"/>
              <a:gd name="connsiteX42" fmla="*/ 6612859 w 11362258"/>
              <a:gd name="connsiteY42" fmla="*/ 931464 h 9235929"/>
              <a:gd name="connsiteX43" fmla="*/ 6653368 w 11362258"/>
              <a:gd name="connsiteY43" fmla="*/ 1003318 h 9235929"/>
              <a:gd name="connsiteX44" fmla="*/ 6656030 w 11362258"/>
              <a:gd name="connsiteY44" fmla="*/ 1092976 h 9235929"/>
              <a:gd name="connsiteX45" fmla="*/ 6603581 w 11362258"/>
              <a:gd name="connsiteY45" fmla="*/ 1158169 h 9235929"/>
              <a:gd name="connsiteX46" fmla="*/ 6521903 w 11362258"/>
              <a:gd name="connsiteY46" fmla="*/ 1206463 h 9235929"/>
              <a:gd name="connsiteX47" fmla="*/ 6382135 w 11362258"/>
              <a:gd name="connsiteY47" fmla="*/ 1292473 h 9235929"/>
              <a:gd name="connsiteX48" fmla="*/ 6258208 w 11362258"/>
              <a:gd name="connsiteY48" fmla="*/ 1358044 h 9235929"/>
              <a:gd name="connsiteX49" fmla="*/ 6240601 w 11362258"/>
              <a:gd name="connsiteY49" fmla="*/ 1355937 h 9235929"/>
              <a:gd name="connsiteX50" fmla="*/ 6221941 w 11362258"/>
              <a:gd name="connsiteY50" fmla="*/ 1362637 h 9235929"/>
              <a:gd name="connsiteX51" fmla="*/ 6226026 w 11362258"/>
              <a:gd name="connsiteY51" fmla="*/ 1515002 h 9235929"/>
              <a:gd name="connsiteX52" fmla="*/ 6248561 w 11362258"/>
              <a:gd name="connsiteY52" fmla="*/ 1513233 h 9235929"/>
              <a:gd name="connsiteX53" fmla="*/ 6592352 w 11362258"/>
              <a:gd name="connsiteY53" fmla="*/ 1326569 h 9235929"/>
              <a:gd name="connsiteX54" fmla="*/ 6712774 w 11362258"/>
              <a:gd name="connsiteY54" fmla="*/ 1327583 h 9235929"/>
              <a:gd name="connsiteX55" fmla="*/ 6833038 w 11362258"/>
              <a:gd name="connsiteY55" fmla="*/ 1404516 h 9235929"/>
              <a:gd name="connsiteX56" fmla="*/ 6926866 w 11362258"/>
              <a:gd name="connsiteY56" fmla="*/ 1366611 h 9235929"/>
              <a:gd name="connsiteX57" fmla="*/ 6958914 w 11362258"/>
              <a:gd name="connsiteY57" fmla="*/ 1397249 h 9235929"/>
              <a:gd name="connsiteX58" fmla="*/ 6828661 w 11362258"/>
              <a:gd name="connsiteY58" fmla="*/ 1515667 h 9235929"/>
              <a:gd name="connsiteX59" fmla="*/ 6701229 w 11362258"/>
              <a:gd name="connsiteY59" fmla="*/ 1647823 h 9235929"/>
              <a:gd name="connsiteX60" fmla="*/ 6555109 w 11362258"/>
              <a:gd name="connsiteY60" fmla="*/ 1675002 h 9235929"/>
              <a:gd name="connsiteX61" fmla="*/ 6530124 w 11362258"/>
              <a:gd name="connsiteY61" fmla="*/ 1734548 h 9235929"/>
              <a:gd name="connsiteX62" fmla="*/ 6511463 w 11362258"/>
              <a:gd name="connsiteY62" fmla="*/ 1741249 h 9235929"/>
              <a:gd name="connsiteX63" fmla="*/ 6380314 w 11362258"/>
              <a:gd name="connsiteY63" fmla="*/ 1792555 h 9235929"/>
              <a:gd name="connsiteX64" fmla="*/ 6374859 w 11362258"/>
              <a:gd name="connsiteY64" fmla="*/ 1800836 h 9235929"/>
              <a:gd name="connsiteX65" fmla="*/ 6276100 w 11362258"/>
              <a:gd name="connsiteY65" fmla="*/ 1842618 h 9235929"/>
              <a:gd name="connsiteX66" fmla="*/ 6184565 w 11362258"/>
              <a:gd name="connsiteY66" fmla="*/ 1898666 h 9235929"/>
              <a:gd name="connsiteX67" fmla="*/ 5950258 w 11362258"/>
              <a:gd name="connsiteY67" fmla="*/ 1991227 h 9235929"/>
              <a:gd name="connsiteX68" fmla="*/ 5934417 w 11362258"/>
              <a:gd name="connsiteY68" fmla="*/ 2011666 h 9235929"/>
              <a:gd name="connsiteX69" fmla="*/ 5802768 w 11362258"/>
              <a:gd name="connsiteY69" fmla="*/ 2179053 h 9235929"/>
              <a:gd name="connsiteX70" fmla="*/ 5518647 w 11362258"/>
              <a:gd name="connsiteY70" fmla="*/ 2314788 h 9235929"/>
              <a:gd name="connsiteX71" fmla="*/ 5233998 w 11362258"/>
              <a:gd name="connsiteY71" fmla="*/ 2454927 h 9235929"/>
              <a:gd name="connsiteX72" fmla="*/ 4811691 w 11362258"/>
              <a:gd name="connsiteY72" fmla="*/ 2663460 h 9235929"/>
              <a:gd name="connsiteX73" fmla="*/ 4408756 w 11362258"/>
              <a:gd name="connsiteY73" fmla="*/ 2896648 h 9235929"/>
              <a:gd name="connsiteX74" fmla="*/ 4292577 w 11362258"/>
              <a:gd name="connsiteY74" fmla="*/ 2972081 h 9235929"/>
              <a:gd name="connsiteX75" fmla="*/ 4080988 w 11362258"/>
              <a:gd name="connsiteY75" fmla="*/ 3098630 h 9235929"/>
              <a:gd name="connsiteX76" fmla="*/ 3912175 w 11362258"/>
              <a:gd name="connsiteY76" fmla="*/ 3203499 h 9235929"/>
              <a:gd name="connsiteX77" fmla="*/ 3793888 w 11362258"/>
              <a:gd name="connsiteY77" fmla="*/ 3296546 h 9235929"/>
              <a:gd name="connsiteX78" fmla="*/ 3828573 w 11362258"/>
              <a:gd name="connsiteY78" fmla="*/ 3305165 h 9235929"/>
              <a:gd name="connsiteX79" fmla="*/ 4089632 w 11362258"/>
              <a:gd name="connsiteY79" fmla="*/ 3175603 h 9235929"/>
              <a:gd name="connsiteX80" fmla="*/ 4265666 w 11362258"/>
              <a:gd name="connsiteY80" fmla="*/ 3085000 h 9235929"/>
              <a:gd name="connsiteX81" fmla="*/ 4437299 w 11362258"/>
              <a:gd name="connsiteY81" fmla="*/ 2993871 h 9235929"/>
              <a:gd name="connsiteX82" fmla="*/ 4522851 w 11362258"/>
              <a:gd name="connsiteY82" fmla="*/ 2950508 h 9235929"/>
              <a:gd name="connsiteX83" fmla="*/ 4633047 w 11362258"/>
              <a:gd name="connsiteY83" fmla="*/ 2887760 h 9235929"/>
              <a:gd name="connsiteX84" fmla="*/ 4841816 w 11362258"/>
              <a:gd name="connsiteY84" fmla="*/ 2747472 h 9235929"/>
              <a:gd name="connsiteX85" fmla="*/ 4869806 w 11362258"/>
              <a:gd name="connsiteY85" fmla="*/ 2737422 h 9235929"/>
              <a:gd name="connsiteX86" fmla="*/ 5097419 w 11362258"/>
              <a:gd name="connsiteY86" fmla="*/ 2626191 h 9235929"/>
              <a:gd name="connsiteX87" fmla="*/ 5239480 w 11362258"/>
              <a:gd name="connsiteY87" fmla="*/ 2558323 h 9235929"/>
              <a:gd name="connsiteX88" fmla="*/ 5719877 w 11362258"/>
              <a:gd name="connsiteY88" fmla="*/ 2312074 h 9235929"/>
              <a:gd name="connsiteX89" fmla="*/ 5914043 w 11362258"/>
              <a:gd name="connsiteY89" fmla="*/ 2219174 h 9235929"/>
              <a:gd name="connsiteX90" fmla="*/ 6039552 w 11362258"/>
              <a:gd name="connsiteY90" fmla="*/ 2140391 h 9235929"/>
              <a:gd name="connsiteX91" fmla="*/ 6142686 w 11362258"/>
              <a:gd name="connsiteY91" fmla="*/ 1987459 h 9235929"/>
              <a:gd name="connsiteX92" fmla="*/ 6205017 w 11362258"/>
              <a:gd name="connsiteY92" fmla="*/ 2026189 h 9235929"/>
              <a:gd name="connsiteX93" fmla="*/ 6321934 w 11362258"/>
              <a:gd name="connsiteY93" fmla="*/ 2093787 h 9235929"/>
              <a:gd name="connsiteX94" fmla="*/ 6375463 w 11362258"/>
              <a:gd name="connsiteY94" fmla="*/ 2131464 h 9235929"/>
              <a:gd name="connsiteX95" fmla="*/ 6452607 w 11362258"/>
              <a:gd name="connsiteY95" fmla="*/ 2270240 h 9235929"/>
              <a:gd name="connsiteX96" fmla="*/ 6426040 w 11362258"/>
              <a:gd name="connsiteY96" fmla="*/ 2342998 h 9235929"/>
              <a:gd name="connsiteX97" fmla="*/ 6364076 w 11362258"/>
              <a:gd name="connsiteY97" fmla="*/ 2375783 h 9235929"/>
              <a:gd name="connsiteX98" fmla="*/ 6292783 w 11362258"/>
              <a:gd name="connsiteY98" fmla="*/ 2411919 h 9235929"/>
              <a:gd name="connsiteX99" fmla="*/ 6329944 w 11362258"/>
              <a:gd name="connsiteY99" fmla="*/ 2474438 h 9235929"/>
              <a:gd name="connsiteX100" fmla="*/ 6319560 w 11362258"/>
              <a:gd name="connsiteY100" fmla="*/ 2486596 h 9235929"/>
              <a:gd name="connsiteX101" fmla="*/ 6257596 w 11362258"/>
              <a:gd name="connsiteY101" fmla="*/ 2519381 h 9235929"/>
              <a:gd name="connsiteX102" fmla="*/ 6228393 w 11362258"/>
              <a:gd name="connsiteY102" fmla="*/ 2614159 h 9235929"/>
              <a:gd name="connsiteX103" fmla="*/ 6214503 w 11362258"/>
              <a:gd name="connsiteY103" fmla="*/ 2692902 h 9235929"/>
              <a:gd name="connsiteX104" fmla="*/ 6039365 w 11362258"/>
              <a:gd name="connsiteY104" fmla="*/ 2850616 h 9235929"/>
              <a:gd name="connsiteX105" fmla="*/ 5813334 w 11362258"/>
              <a:gd name="connsiteY105" fmla="*/ 2948635 h 9235929"/>
              <a:gd name="connsiteX106" fmla="*/ 5657013 w 11362258"/>
              <a:gd name="connsiteY106" fmla="*/ 3023730 h 9235929"/>
              <a:gd name="connsiteX107" fmla="*/ 5228723 w 11362258"/>
              <a:gd name="connsiteY107" fmla="*/ 3244948 h 9235929"/>
              <a:gd name="connsiteX108" fmla="*/ 4985797 w 11362258"/>
              <a:gd name="connsiteY108" fmla="*/ 3372214 h 9235929"/>
              <a:gd name="connsiteX109" fmla="*/ 4786174 w 11362258"/>
              <a:gd name="connsiteY109" fmla="*/ 3473394 h 9235929"/>
              <a:gd name="connsiteX110" fmla="*/ 4702388 w 11362258"/>
              <a:gd name="connsiteY110" fmla="*/ 3539303 h 9235929"/>
              <a:gd name="connsiteX111" fmla="*/ 4897292 w 11362258"/>
              <a:gd name="connsiteY111" fmla="*/ 3589435 h 9235929"/>
              <a:gd name="connsiteX112" fmla="*/ 5149548 w 11362258"/>
              <a:gd name="connsiteY112" fmla="*/ 3458820 h 9235929"/>
              <a:gd name="connsiteX113" fmla="*/ 5582767 w 11362258"/>
              <a:gd name="connsiteY113" fmla="*/ 3233724 h 9235929"/>
              <a:gd name="connsiteX114" fmla="*/ 5949094 w 11362258"/>
              <a:gd name="connsiteY114" fmla="*/ 3045291 h 9235929"/>
              <a:gd name="connsiteX115" fmla="*/ 6057708 w 11362258"/>
              <a:gd name="connsiteY115" fmla="*/ 2995755 h 9235929"/>
              <a:gd name="connsiteX116" fmla="*/ 6227232 w 11362258"/>
              <a:gd name="connsiteY116" fmla="*/ 2922241 h 9235929"/>
              <a:gd name="connsiteX117" fmla="*/ 6307328 w 11362258"/>
              <a:gd name="connsiteY117" fmla="*/ 2887159 h 9235929"/>
              <a:gd name="connsiteX118" fmla="*/ 6326516 w 11362258"/>
              <a:gd name="connsiteY118" fmla="*/ 2876055 h 9235929"/>
              <a:gd name="connsiteX119" fmla="*/ 6408722 w 11362258"/>
              <a:gd name="connsiteY119" fmla="*/ 2823357 h 9235929"/>
              <a:gd name="connsiteX120" fmla="*/ 6560113 w 11362258"/>
              <a:gd name="connsiteY120" fmla="*/ 2752139 h 9235929"/>
              <a:gd name="connsiteX121" fmla="*/ 6702173 w 11362258"/>
              <a:gd name="connsiteY121" fmla="*/ 2684272 h 9235929"/>
              <a:gd name="connsiteX122" fmla="*/ 6720833 w 11362258"/>
              <a:gd name="connsiteY122" fmla="*/ 2677571 h 9235929"/>
              <a:gd name="connsiteX123" fmla="*/ 7173951 w 11362258"/>
              <a:gd name="connsiteY123" fmla="*/ 2472726 h 9235929"/>
              <a:gd name="connsiteX124" fmla="*/ 7446106 w 11362258"/>
              <a:gd name="connsiteY124" fmla="*/ 2362360 h 9235929"/>
              <a:gd name="connsiteX125" fmla="*/ 7488882 w 11362258"/>
              <a:gd name="connsiteY125" fmla="*/ 2340678 h 9235929"/>
              <a:gd name="connsiteX126" fmla="*/ 7637453 w 11362258"/>
              <a:gd name="connsiteY126" fmla="*/ 2255722 h 9235929"/>
              <a:gd name="connsiteX127" fmla="*/ 7702948 w 11362258"/>
              <a:gd name="connsiteY127" fmla="*/ 2268029 h 9235929"/>
              <a:gd name="connsiteX128" fmla="*/ 7737817 w 11362258"/>
              <a:gd name="connsiteY128" fmla="*/ 2312406 h 9235929"/>
              <a:gd name="connsiteX129" fmla="*/ 7967723 w 11362258"/>
              <a:gd name="connsiteY129" fmla="*/ 2219318 h 9235929"/>
              <a:gd name="connsiteX130" fmla="*/ 7942185 w 11362258"/>
              <a:gd name="connsiteY130" fmla="*/ 2171591 h 9235929"/>
              <a:gd name="connsiteX131" fmla="*/ 7973522 w 11362258"/>
              <a:gd name="connsiteY131" fmla="*/ 2170875 h 9235929"/>
              <a:gd name="connsiteX132" fmla="*/ 8006809 w 11362258"/>
              <a:gd name="connsiteY132" fmla="*/ 2228463 h 9235929"/>
              <a:gd name="connsiteX133" fmla="*/ 8110679 w 11362258"/>
              <a:gd name="connsiteY133" fmla="*/ 2218562 h 9235929"/>
              <a:gd name="connsiteX134" fmla="*/ 8134269 w 11362258"/>
              <a:gd name="connsiteY134" fmla="*/ 2207984 h 9235929"/>
              <a:gd name="connsiteX135" fmla="*/ 8229151 w 11362258"/>
              <a:gd name="connsiteY135" fmla="*/ 2161271 h 9235929"/>
              <a:gd name="connsiteX136" fmla="*/ 8396751 w 11362258"/>
              <a:gd name="connsiteY136" fmla="*/ 2141130 h 9235929"/>
              <a:gd name="connsiteX137" fmla="*/ 8489366 w 11362258"/>
              <a:gd name="connsiteY137" fmla="*/ 2187952 h 9235929"/>
              <a:gd name="connsiteX138" fmla="*/ 8604885 w 11362258"/>
              <a:gd name="connsiteY138" fmla="*/ 2304520 h 9235929"/>
              <a:gd name="connsiteX139" fmla="*/ 8952050 w 11362258"/>
              <a:gd name="connsiteY139" fmla="*/ 2238869 h 9235929"/>
              <a:gd name="connsiteX140" fmla="*/ 8935841 w 11362258"/>
              <a:gd name="connsiteY140" fmla="*/ 2187792 h 9235929"/>
              <a:gd name="connsiteX141" fmla="*/ 8953974 w 11362258"/>
              <a:gd name="connsiteY141" fmla="*/ 2185495 h 9235929"/>
              <a:gd name="connsiteX142" fmla="*/ 9058767 w 11362258"/>
              <a:gd name="connsiteY142" fmla="*/ 2354383 h 9235929"/>
              <a:gd name="connsiteX143" fmla="*/ 9067068 w 11362258"/>
              <a:gd name="connsiteY143" fmla="*/ 2471518 h 9235929"/>
              <a:gd name="connsiteX144" fmla="*/ 9120070 w 11362258"/>
              <a:gd name="connsiteY144" fmla="*/ 2513597 h 9235929"/>
              <a:gd name="connsiteX145" fmla="*/ 9246475 w 11362258"/>
              <a:gd name="connsiteY145" fmla="*/ 2501927 h 9235929"/>
              <a:gd name="connsiteX146" fmla="*/ 9303026 w 11362258"/>
              <a:gd name="connsiteY146" fmla="*/ 2522516 h 9235929"/>
              <a:gd name="connsiteX147" fmla="*/ 9310618 w 11362258"/>
              <a:gd name="connsiteY147" fmla="*/ 2540657 h 9235929"/>
              <a:gd name="connsiteX148" fmla="*/ 9256555 w 11362258"/>
              <a:gd name="connsiteY148" fmla="*/ 2532517 h 9235929"/>
              <a:gd name="connsiteX149" fmla="*/ 9075185 w 11362258"/>
              <a:gd name="connsiteY149" fmla="*/ 2552895 h 9235929"/>
              <a:gd name="connsiteX150" fmla="*/ 9045982 w 11362258"/>
              <a:gd name="connsiteY150" fmla="*/ 2647672 h 9235929"/>
              <a:gd name="connsiteX151" fmla="*/ 9165165 w 11362258"/>
              <a:gd name="connsiteY151" fmla="*/ 2621736 h 9235929"/>
              <a:gd name="connsiteX152" fmla="*/ 9266742 w 11362258"/>
              <a:gd name="connsiteY152" fmla="*/ 2593692 h 9235929"/>
              <a:gd name="connsiteX153" fmla="*/ 9355115 w 11362258"/>
              <a:gd name="connsiteY153" fmla="*/ 2564067 h 9235929"/>
              <a:gd name="connsiteX154" fmla="*/ 9354588 w 11362258"/>
              <a:gd name="connsiteY154" fmla="*/ 2568471 h 9235929"/>
              <a:gd name="connsiteX155" fmla="*/ 9388219 w 11362258"/>
              <a:gd name="connsiteY155" fmla="*/ 2585898 h 9235929"/>
              <a:gd name="connsiteX156" fmla="*/ 9558321 w 11362258"/>
              <a:gd name="connsiteY156" fmla="*/ 2731334 h 9235929"/>
              <a:gd name="connsiteX157" fmla="*/ 9501444 w 11362258"/>
              <a:gd name="connsiteY157" fmla="*/ 2684323 h 9235929"/>
              <a:gd name="connsiteX158" fmla="*/ 9412176 w 11362258"/>
              <a:gd name="connsiteY158" fmla="*/ 2646836 h 9235929"/>
              <a:gd name="connsiteX159" fmla="*/ 9391408 w 11362258"/>
              <a:gd name="connsiteY159" fmla="*/ 2671152 h 9235929"/>
              <a:gd name="connsiteX160" fmla="*/ 9346338 w 11362258"/>
              <a:gd name="connsiteY160" fmla="*/ 2674691 h 9235929"/>
              <a:gd name="connsiteX161" fmla="*/ 9270801 w 11362258"/>
              <a:gd name="connsiteY161" fmla="*/ 2634380 h 9235929"/>
              <a:gd name="connsiteX162" fmla="*/ 9236301 w 11362258"/>
              <a:gd name="connsiteY162" fmla="*/ 2661519 h 9235929"/>
              <a:gd name="connsiteX163" fmla="*/ 9298633 w 11362258"/>
              <a:gd name="connsiteY163" fmla="*/ 2700249 h 9235929"/>
              <a:gd name="connsiteX164" fmla="*/ 9372614 w 11362258"/>
              <a:gd name="connsiteY164" fmla="*/ 2865449 h 9235929"/>
              <a:gd name="connsiteX165" fmla="*/ 9407853 w 11362258"/>
              <a:gd name="connsiteY165" fmla="*/ 2981341 h 9235929"/>
              <a:gd name="connsiteX166" fmla="*/ 9424588 w 11362258"/>
              <a:gd name="connsiteY166" fmla="*/ 3028014 h 9235929"/>
              <a:gd name="connsiteX167" fmla="*/ 9536734 w 11362258"/>
              <a:gd name="connsiteY167" fmla="*/ 3023570 h 9235929"/>
              <a:gd name="connsiteX168" fmla="*/ 9601360 w 11362258"/>
              <a:gd name="connsiteY168" fmla="*/ 3080442 h 9235929"/>
              <a:gd name="connsiteX169" fmla="*/ 9631142 w 11362258"/>
              <a:gd name="connsiteY169" fmla="*/ 3204615 h 9235929"/>
              <a:gd name="connsiteX170" fmla="*/ 9662136 w 11362258"/>
              <a:gd name="connsiteY170" fmla="*/ 3244061 h 9235929"/>
              <a:gd name="connsiteX171" fmla="*/ 9713214 w 11362258"/>
              <a:gd name="connsiteY171" fmla="*/ 3339514 h 9235929"/>
              <a:gd name="connsiteX172" fmla="*/ 9681534 w 11362258"/>
              <a:gd name="connsiteY172" fmla="*/ 3380392 h 9235929"/>
              <a:gd name="connsiteX173" fmla="*/ 9719776 w 11362258"/>
              <a:gd name="connsiteY173" fmla="*/ 3545780 h 9235929"/>
              <a:gd name="connsiteX174" fmla="*/ 9752880 w 11362258"/>
              <a:gd name="connsiteY174" fmla="*/ 3567610 h 9235929"/>
              <a:gd name="connsiteX175" fmla="*/ 9878599 w 11362258"/>
              <a:gd name="connsiteY175" fmla="*/ 3636263 h 9235929"/>
              <a:gd name="connsiteX176" fmla="*/ 10018761 w 11362258"/>
              <a:gd name="connsiteY176" fmla="*/ 3733446 h 9235929"/>
              <a:gd name="connsiteX177" fmla="*/ 9976011 w 11362258"/>
              <a:gd name="connsiteY177" fmla="*/ 3866805 h 9235929"/>
              <a:gd name="connsiteX178" fmla="*/ 10033229 w 11362258"/>
              <a:gd name="connsiteY178" fmla="*/ 3873653 h 9235929"/>
              <a:gd name="connsiteX179" fmla="*/ 10169676 w 11362258"/>
              <a:gd name="connsiteY179" fmla="*/ 3889986 h 9235929"/>
              <a:gd name="connsiteX180" fmla="*/ 10275312 w 11362258"/>
              <a:gd name="connsiteY180" fmla="*/ 3902631 h 9235929"/>
              <a:gd name="connsiteX181" fmla="*/ 10438168 w 11362258"/>
              <a:gd name="connsiteY181" fmla="*/ 3922125 h 9235929"/>
              <a:gd name="connsiteX182" fmla="*/ 10509118 w 11362258"/>
              <a:gd name="connsiteY182" fmla="*/ 3926150 h 9235929"/>
              <a:gd name="connsiteX183" fmla="*/ 10519186 w 11362258"/>
              <a:gd name="connsiteY183" fmla="*/ 4065831 h 9235929"/>
              <a:gd name="connsiteX184" fmla="*/ 10451951 w 11362258"/>
              <a:gd name="connsiteY184" fmla="*/ 4142655 h 9235929"/>
              <a:gd name="connsiteX185" fmla="*/ 10422353 w 11362258"/>
              <a:gd name="connsiteY185" fmla="*/ 4054240 h 9235929"/>
              <a:gd name="connsiteX186" fmla="*/ 10374095 w 11362258"/>
              <a:gd name="connsiteY186" fmla="*/ 3972526 h 9235929"/>
              <a:gd name="connsiteX187" fmla="*/ 10280082 w 11362258"/>
              <a:gd name="connsiteY187" fmla="*/ 3974673 h 9235929"/>
              <a:gd name="connsiteX188" fmla="*/ 10352667 w 11362258"/>
              <a:gd name="connsiteY188" fmla="*/ 4188842 h 9235929"/>
              <a:gd name="connsiteX189" fmla="*/ 10257968 w 11362258"/>
              <a:gd name="connsiteY189" fmla="*/ 4271313 h 9235929"/>
              <a:gd name="connsiteX190" fmla="*/ 10217300 w 11362258"/>
              <a:gd name="connsiteY190" fmla="*/ 4275379 h 9235929"/>
              <a:gd name="connsiteX191" fmla="*/ 10152674 w 11362258"/>
              <a:gd name="connsiteY191" fmla="*/ 4218506 h 9235929"/>
              <a:gd name="connsiteX192" fmla="*/ 10085414 w 11362258"/>
              <a:gd name="connsiteY192" fmla="*/ 4183653 h 9235929"/>
              <a:gd name="connsiteX193" fmla="*/ 9918341 w 11362258"/>
              <a:gd name="connsiteY193" fmla="*/ 4199390 h 9235929"/>
              <a:gd name="connsiteX194" fmla="*/ 9689121 w 11362258"/>
              <a:gd name="connsiteY194" fmla="*/ 4212155 h 9235929"/>
              <a:gd name="connsiteX195" fmla="*/ 9589125 w 11362258"/>
              <a:gd name="connsiteY195" fmla="*/ 4226987 h 9235929"/>
              <a:gd name="connsiteX196" fmla="*/ 9602699 w 11362258"/>
              <a:gd name="connsiteY196" fmla="*/ 4300084 h 9235929"/>
              <a:gd name="connsiteX197" fmla="*/ 9588440 w 11362258"/>
              <a:gd name="connsiteY197" fmla="*/ 4307311 h 9235929"/>
              <a:gd name="connsiteX198" fmla="*/ 9235292 w 11362258"/>
              <a:gd name="connsiteY198" fmla="*/ 4385648 h 9235929"/>
              <a:gd name="connsiteX199" fmla="*/ 9099741 w 11362258"/>
              <a:gd name="connsiteY199" fmla="*/ 4436426 h 9235929"/>
              <a:gd name="connsiteX200" fmla="*/ 9087775 w 11362258"/>
              <a:gd name="connsiteY200" fmla="*/ 4461796 h 9235929"/>
              <a:gd name="connsiteX201" fmla="*/ 9108202 w 11362258"/>
              <a:gd name="connsiteY201" fmla="*/ 4477641 h 9235929"/>
              <a:gd name="connsiteX202" fmla="*/ 9220875 w 11362258"/>
              <a:gd name="connsiteY202" fmla="*/ 4468794 h 9235929"/>
              <a:gd name="connsiteX203" fmla="*/ 9289901 w 11362258"/>
              <a:gd name="connsiteY203" fmla="*/ 4526193 h 9235929"/>
              <a:gd name="connsiteX204" fmla="*/ 9258221 w 11362258"/>
              <a:gd name="connsiteY204" fmla="*/ 4567070 h 9235929"/>
              <a:gd name="connsiteX205" fmla="*/ 9254004 w 11362258"/>
              <a:gd name="connsiteY205" fmla="*/ 4602302 h 9235929"/>
              <a:gd name="connsiteX206" fmla="*/ 9310354 w 11362258"/>
              <a:gd name="connsiteY206" fmla="*/ 4653716 h 9235929"/>
              <a:gd name="connsiteX207" fmla="*/ 9520570 w 11362258"/>
              <a:gd name="connsiteY207" fmla="*/ 4687813 h 9235929"/>
              <a:gd name="connsiteX208" fmla="*/ 9635009 w 11362258"/>
              <a:gd name="connsiteY208" fmla="*/ 4701512 h 9235929"/>
              <a:gd name="connsiteX209" fmla="*/ 9732922 w 11362258"/>
              <a:gd name="connsiteY209" fmla="*/ 4815972 h 9235929"/>
              <a:gd name="connsiteX210" fmla="*/ 9758303 w 11362258"/>
              <a:gd name="connsiteY210" fmla="*/ 4939618 h 9235929"/>
              <a:gd name="connsiteX211" fmla="*/ 9676994 w 11362258"/>
              <a:gd name="connsiteY211" fmla="*/ 5059427 h 9235929"/>
              <a:gd name="connsiteX212" fmla="*/ 9774011 w 11362258"/>
              <a:gd name="connsiteY212" fmla="*/ 5106776 h 9235929"/>
              <a:gd name="connsiteX213" fmla="*/ 9882993 w 11362258"/>
              <a:gd name="connsiteY213" fmla="*/ 5128755 h 9235929"/>
              <a:gd name="connsiteX214" fmla="*/ 10033382 w 11362258"/>
              <a:gd name="connsiteY214" fmla="*/ 5289699 h 9235929"/>
              <a:gd name="connsiteX215" fmla="*/ 10105387 w 11362258"/>
              <a:gd name="connsiteY215" fmla="*/ 5284917 h 9235929"/>
              <a:gd name="connsiteX216" fmla="*/ 10240252 w 11362258"/>
              <a:gd name="connsiteY216" fmla="*/ 5314462 h 9235929"/>
              <a:gd name="connsiteX217" fmla="*/ 10265607 w 11362258"/>
              <a:gd name="connsiteY217" fmla="*/ 5326431 h 9235929"/>
              <a:gd name="connsiteX218" fmla="*/ 10385685 w 11362258"/>
              <a:gd name="connsiteY218" fmla="*/ 5367606 h 9235929"/>
              <a:gd name="connsiteX219" fmla="*/ 10540660 w 11362258"/>
              <a:gd name="connsiteY219" fmla="*/ 5564835 h 9235929"/>
              <a:gd name="connsiteX220" fmla="*/ 10570600 w 11362258"/>
              <a:gd name="connsiteY220" fmla="*/ 5613089 h 9235929"/>
              <a:gd name="connsiteX221" fmla="*/ 10650354 w 11362258"/>
              <a:gd name="connsiteY221" fmla="*/ 5618169 h 9235929"/>
              <a:gd name="connsiteX222" fmla="*/ 10781687 w 11362258"/>
              <a:gd name="connsiteY222" fmla="*/ 5602620 h 9235929"/>
              <a:gd name="connsiteX223" fmla="*/ 10909699 w 11362258"/>
              <a:gd name="connsiteY223" fmla="*/ 5689415 h 9235929"/>
              <a:gd name="connsiteX224" fmla="*/ 10786800 w 11362258"/>
              <a:gd name="connsiteY224" fmla="*/ 5634501 h 9235929"/>
              <a:gd name="connsiteX225" fmla="*/ 10758810 w 11362258"/>
              <a:gd name="connsiteY225" fmla="*/ 5644551 h 9235929"/>
              <a:gd name="connsiteX226" fmla="*/ 10776600 w 11362258"/>
              <a:gd name="connsiteY226" fmla="*/ 5682416 h 9235929"/>
              <a:gd name="connsiteX227" fmla="*/ 10752484 w 11362258"/>
              <a:gd name="connsiteY227" fmla="*/ 5697398 h 9235929"/>
              <a:gd name="connsiteX228" fmla="*/ 10715164 w 11362258"/>
              <a:gd name="connsiteY228" fmla="*/ 5710798 h 9235929"/>
              <a:gd name="connsiteX229" fmla="*/ 10694738 w 11362258"/>
              <a:gd name="connsiteY229" fmla="*/ 5694953 h 9235929"/>
              <a:gd name="connsiteX230" fmla="*/ 10642263 w 11362258"/>
              <a:gd name="connsiteY230" fmla="*/ 5648468 h 9235929"/>
              <a:gd name="connsiteX231" fmla="*/ 10493850 w 11362258"/>
              <a:gd name="connsiteY231" fmla="*/ 5657505 h 9235929"/>
              <a:gd name="connsiteX232" fmla="*/ 10445618 w 11362258"/>
              <a:gd name="connsiteY232" fmla="*/ 5687468 h 9235929"/>
              <a:gd name="connsiteX233" fmla="*/ 10400549 w 11362258"/>
              <a:gd name="connsiteY233" fmla="*/ 5691007 h 9235929"/>
              <a:gd name="connsiteX234" fmla="*/ 10441560 w 11362258"/>
              <a:gd name="connsiteY234" fmla="*/ 5646779 h 9235929"/>
              <a:gd name="connsiteX235" fmla="*/ 10449467 w 11362258"/>
              <a:gd name="connsiteY235" fmla="*/ 5580721 h 9235929"/>
              <a:gd name="connsiteX236" fmla="*/ 10384842 w 11362258"/>
              <a:gd name="connsiteY236" fmla="*/ 5523849 h 9235929"/>
              <a:gd name="connsiteX237" fmla="*/ 10350157 w 11362258"/>
              <a:gd name="connsiteY237" fmla="*/ 5515230 h 9235929"/>
              <a:gd name="connsiteX238" fmla="*/ 10327279 w 11362258"/>
              <a:gd name="connsiteY238" fmla="*/ 5557161 h 9235929"/>
              <a:gd name="connsiteX239" fmla="*/ 10339270 w 11362258"/>
              <a:gd name="connsiteY239" fmla="*/ 5643469 h 9235929"/>
              <a:gd name="connsiteX240" fmla="*/ 10364283 w 11362258"/>
              <a:gd name="connsiteY240" fmla="*/ 5695600 h 9235929"/>
              <a:gd name="connsiteX241" fmla="*/ 10434021 w 11362258"/>
              <a:gd name="connsiteY241" fmla="*/ 5784353 h 9235929"/>
              <a:gd name="connsiteX242" fmla="*/ 10469233 w 11362258"/>
              <a:gd name="connsiteY242" fmla="*/ 5788568 h 9235929"/>
              <a:gd name="connsiteX243" fmla="*/ 10617144 w 11362258"/>
              <a:gd name="connsiteY243" fmla="*/ 5895612 h 9235929"/>
              <a:gd name="connsiteX244" fmla="*/ 10633537 w 11362258"/>
              <a:gd name="connsiteY244" fmla="*/ 5982446 h 9235929"/>
              <a:gd name="connsiteX245" fmla="*/ 10679502 w 11362258"/>
              <a:gd name="connsiteY245" fmla="*/ 6046019 h 9235929"/>
              <a:gd name="connsiteX246" fmla="*/ 10680741 w 11362258"/>
              <a:gd name="connsiteY246" fmla="*/ 6072969 h 9235929"/>
              <a:gd name="connsiteX247" fmla="*/ 10665295 w 11362258"/>
              <a:gd name="connsiteY247" fmla="*/ 6276601 h 9235929"/>
              <a:gd name="connsiteX248" fmla="*/ 10704039 w 11362258"/>
              <a:gd name="connsiteY248" fmla="*/ 6325908 h 9235929"/>
              <a:gd name="connsiteX249" fmla="*/ 10928699 w 11362258"/>
              <a:gd name="connsiteY249" fmla="*/ 6388535 h 9235929"/>
              <a:gd name="connsiteX250" fmla="*/ 11004236 w 11362258"/>
              <a:gd name="connsiteY250" fmla="*/ 6428846 h 9235929"/>
              <a:gd name="connsiteX251" fmla="*/ 11049147 w 11362258"/>
              <a:gd name="connsiteY251" fmla="*/ 6501226 h 9235929"/>
              <a:gd name="connsiteX252" fmla="*/ 11031382 w 11362258"/>
              <a:gd name="connsiteY252" fmla="*/ 6575038 h 9235929"/>
              <a:gd name="connsiteX253" fmla="*/ 11023818 w 11362258"/>
              <a:gd name="connsiteY253" fmla="*/ 6600935 h 9235929"/>
              <a:gd name="connsiteX254" fmla="*/ 11145479 w 11362258"/>
              <a:gd name="connsiteY254" fmla="*/ 6628898 h 9235929"/>
              <a:gd name="connsiteX255" fmla="*/ 11267730 w 11362258"/>
              <a:gd name="connsiteY255" fmla="*/ 6660933 h 9235929"/>
              <a:gd name="connsiteX256" fmla="*/ 11274479 w 11362258"/>
              <a:gd name="connsiteY256" fmla="*/ 6707436 h 9235929"/>
              <a:gd name="connsiteX257" fmla="*/ 11296210 w 11362258"/>
              <a:gd name="connsiteY257" fmla="*/ 6749681 h 9235929"/>
              <a:gd name="connsiteX258" fmla="*/ 11362258 w 11362258"/>
              <a:gd name="connsiteY258" fmla="*/ 6869261 h 9235929"/>
              <a:gd name="connsiteX259" fmla="*/ 11327230 w 11362258"/>
              <a:gd name="connsiteY259" fmla="*/ 6900804 h 9235929"/>
              <a:gd name="connsiteX260" fmla="*/ 11254698 w 11362258"/>
              <a:gd name="connsiteY260" fmla="*/ 6909990 h 9235929"/>
              <a:gd name="connsiteX261" fmla="*/ 11072127 w 11362258"/>
              <a:gd name="connsiteY261" fmla="*/ 6906004 h 9235929"/>
              <a:gd name="connsiteX262" fmla="*/ 11044664 w 11362258"/>
              <a:gd name="connsiteY262" fmla="*/ 6911651 h 9235929"/>
              <a:gd name="connsiteX263" fmla="*/ 10883232 w 11362258"/>
              <a:gd name="connsiteY263" fmla="*/ 6954864 h 9235929"/>
              <a:gd name="connsiteX264" fmla="*/ 10824958 w 11362258"/>
              <a:gd name="connsiteY264" fmla="*/ 6956823 h 9235929"/>
              <a:gd name="connsiteX265" fmla="*/ 11028982 w 11362258"/>
              <a:gd name="connsiteY265" fmla="*/ 6856169 h 9235929"/>
              <a:gd name="connsiteX266" fmla="*/ 10972818 w 11362258"/>
              <a:gd name="connsiteY266" fmla="*/ 6840513 h 9235929"/>
              <a:gd name="connsiteX267" fmla="*/ 10678998 w 11362258"/>
              <a:gd name="connsiteY267" fmla="*/ 6908083 h 9235929"/>
              <a:gd name="connsiteX268" fmla="*/ 10548375 w 11362258"/>
              <a:gd name="connsiteY268" fmla="*/ 6954985 h 9235929"/>
              <a:gd name="connsiteX269" fmla="*/ 10291534 w 11362258"/>
              <a:gd name="connsiteY269" fmla="*/ 7049315 h 9235929"/>
              <a:gd name="connsiteX270" fmla="*/ 10150001 w 11362258"/>
              <a:gd name="connsiteY270" fmla="*/ 7112779 h 9235929"/>
              <a:gd name="connsiteX271" fmla="*/ 10123248 w 11362258"/>
              <a:gd name="connsiteY271" fmla="*/ 7149780 h 9235929"/>
              <a:gd name="connsiteX272" fmla="*/ 10159699 w 11362258"/>
              <a:gd name="connsiteY272" fmla="*/ 7180944 h 9235929"/>
              <a:gd name="connsiteX273" fmla="*/ 10199313 w 11362258"/>
              <a:gd name="connsiteY273" fmla="*/ 7185686 h 9235929"/>
              <a:gd name="connsiteX274" fmla="*/ 10317810 w 11362258"/>
              <a:gd name="connsiteY274" fmla="*/ 7240073 h 9235929"/>
              <a:gd name="connsiteX275" fmla="*/ 10313066 w 11362258"/>
              <a:gd name="connsiteY275" fmla="*/ 7279708 h 9235929"/>
              <a:gd name="connsiteX276" fmla="*/ 10319786 w 11362258"/>
              <a:gd name="connsiteY276" fmla="*/ 7410054 h 9235929"/>
              <a:gd name="connsiteX277" fmla="*/ 10270843 w 11362258"/>
              <a:gd name="connsiteY277" fmla="*/ 7408663 h 9235929"/>
              <a:gd name="connsiteX278" fmla="*/ 10199021 w 11362258"/>
              <a:gd name="connsiteY278" fmla="*/ 7449202 h 9235929"/>
              <a:gd name="connsiteX279" fmla="*/ 10126146 w 11362258"/>
              <a:gd name="connsiteY279" fmla="*/ 7498550 h 9235929"/>
              <a:gd name="connsiteX280" fmla="*/ 9816302 w 11362258"/>
              <a:gd name="connsiteY280" fmla="*/ 7550800 h 9235929"/>
              <a:gd name="connsiteX281" fmla="*/ 9443624 w 11362258"/>
              <a:gd name="connsiteY281" fmla="*/ 7680402 h 9235929"/>
              <a:gd name="connsiteX282" fmla="*/ 9265297 w 11362258"/>
              <a:gd name="connsiteY282" fmla="*/ 7752863 h 9235929"/>
              <a:gd name="connsiteX283" fmla="*/ 9152992 w 11362258"/>
              <a:gd name="connsiteY283" fmla="*/ 7833226 h 9235929"/>
              <a:gd name="connsiteX284" fmla="*/ 9079247 w 11362258"/>
              <a:gd name="connsiteY284" fmla="*/ 7927139 h 9235929"/>
              <a:gd name="connsiteX285" fmla="*/ 9044220 w 11362258"/>
              <a:gd name="connsiteY285" fmla="*/ 7958682 h 9235929"/>
              <a:gd name="connsiteX286" fmla="*/ 8890378 w 11362258"/>
              <a:gd name="connsiteY286" fmla="*/ 8087677 h 9235929"/>
              <a:gd name="connsiteX287" fmla="*/ 8790198 w 11362258"/>
              <a:gd name="connsiteY287" fmla="*/ 8066751 h 9235929"/>
              <a:gd name="connsiteX288" fmla="*/ 8665400 w 11362258"/>
              <a:gd name="connsiteY288" fmla="*/ 8176888 h 9235929"/>
              <a:gd name="connsiteX289" fmla="*/ 8305451 w 11362258"/>
              <a:gd name="connsiteY289" fmla="*/ 8535829 h 9235929"/>
              <a:gd name="connsiteX290" fmla="*/ 8027524 w 11362258"/>
              <a:gd name="connsiteY290" fmla="*/ 8806314 h 9235929"/>
              <a:gd name="connsiteX291" fmla="*/ 7742374 w 11362258"/>
              <a:gd name="connsiteY291" fmla="*/ 9062535 h 9235929"/>
              <a:gd name="connsiteX292" fmla="*/ 7539726 w 11362258"/>
              <a:gd name="connsiteY292" fmla="*/ 9235929 h 9235929"/>
              <a:gd name="connsiteX293" fmla="*/ 7212598 w 11362258"/>
              <a:gd name="connsiteY293" fmla="*/ 9235929 h 9235929"/>
              <a:gd name="connsiteX294" fmla="*/ 7233249 w 11362258"/>
              <a:gd name="connsiteY294" fmla="*/ 9175804 h 9235929"/>
              <a:gd name="connsiteX295" fmla="*/ 7048045 w 11362258"/>
              <a:gd name="connsiteY295" fmla="*/ 9193837 h 9235929"/>
              <a:gd name="connsiteX296" fmla="*/ 6911255 w 11362258"/>
              <a:gd name="connsiteY296" fmla="*/ 9217666 h 9235929"/>
              <a:gd name="connsiteX297" fmla="*/ 6891340 w 11362258"/>
              <a:gd name="connsiteY297" fmla="*/ 9235929 h 9235929"/>
              <a:gd name="connsiteX298" fmla="*/ 318864 w 11362258"/>
              <a:gd name="connsiteY298" fmla="*/ 9235929 h 9235929"/>
              <a:gd name="connsiteX299" fmla="*/ 323454 w 11362258"/>
              <a:gd name="connsiteY299" fmla="*/ 9201889 h 9235929"/>
              <a:gd name="connsiteX300" fmla="*/ 495086 w 11362258"/>
              <a:gd name="connsiteY300" fmla="*/ 9110759 h 9235929"/>
              <a:gd name="connsiteX301" fmla="*/ 618487 w 11362258"/>
              <a:gd name="connsiteY301" fmla="*/ 9049592 h 9235929"/>
              <a:gd name="connsiteX302" fmla="*/ 784822 w 11362258"/>
              <a:gd name="connsiteY302" fmla="*/ 8890824 h 9235929"/>
              <a:gd name="connsiteX303" fmla="*/ 775835 w 11362258"/>
              <a:gd name="connsiteY303" fmla="*/ 8854012 h 9235929"/>
              <a:gd name="connsiteX304" fmla="*/ 855931 w 11362258"/>
              <a:gd name="connsiteY304" fmla="*/ 8818930 h 9235929"/>
              <a:gd name="connsiteX305" fmla="*/ 939191 w 11362258"/>
              <a:gd name="connsiteY305" fmla="*/ 8757424 h 9235929"/>
              <a:gd name="connsiteX306" fmla="*/ 984076 w 11362258"/>
              <a:gd name="connsiteY306" fmla="*/ 8718128 h 9235929"/>
              <a:gd name="connsiteX307" fmla="*/ 1109928 w 11362258"/>
              <a:gd name="connsiteY307" fmla="*/ 8599183 h 9235929"/>
              <a:gd name="connsiteX308" fmla="*/ 1172761 w 11362258"/>
              <a:gd name="connsiteY308" fmla="*/ 8521833 h 9235929"/>
              <a:gd name="connsiteX309" fmla="*/ 1170284 w 11362258"/>
              <a:gd name="connsiteY309" fmla="*/ 8467932 h 9235929"/>
              <a:gd name="connsiteX310" fmla="*/ 1051285 w 11362258"/>
              <a:gd name="connsiteY310" fmla="*/ 8529626 h 9235929"/>
              <a:gd name="connsiteX311" fmla="*/ 927358 w 11362258"/>
              <a:gd name="connsiteY311" fmla="*/ 8595198 h 9235929"/>
              <a:gd name="connsiteX312" fmla="*/ 785297 w 11362258"/>
              <a:gd name="connsiteY312" fmla="*/ 8663065 h 9235929"/>
              <a:gd name="connsiteX313" fmla="*/ 650986 w 11362258"/>
              <a:gd name="connsiteY313" fmla="*/ 8740795 h 9235929"/>
              <a:gd name="connsiteX314" fmla="*/ 525477 w 11362258"/>
              <a:gd name="connsiteY314" fmla="*/ 8819577 h 9235929"/>
              <a:gd name="connsiteX315" fmla="*/ 475136 w 11362258"/>
              <a:gd name="connsiteY315" fmla="*/ 8867155 h 9235929"/>
              <a:gd name="connsiteX316" fmla="*/ 501202 w 11362258"/>
              <a:gd name="connsiteY316" fmla="*/ 8910477 h 9235929"/>
              <a:gd name="connsiteX317" fmla="*/ 624786 w 11362258"/>
              <a:gd name="connsiteY317" fmla="*/ 8885069 h 9235929"/>
              <a:gd name="connsiteX318" fmla="*/ 674785 w 11362258"/>
              <a:gd name="connsiteY318" fmla="*/ 8877652 h 9235929"/>
              <a:gd name="connsiteX319" fmla="*/ 683060 w 11362258"/>
              <a:gd name="connsiteY319" fmla="*/ 8883110 h 9235929"/>
              <a:gd name="connsiteX320" fmla="*/ 618461 w 11362258"/>
              <a:gd name="connsiteY320" fmla="*/ 8937914 h 9235929"/>
              <a:gd name="connsiteX321" fmla="*/ 362331 w 11362258"/>
              <a:gd name="connsiteY321" fmla="*/ 9063600 h 9235929"/>
              <a:gd name="connsiteX322" fmla="*/ 113948 w 11362258"/>
              <a:gd name="connsiteY322" fmla="*/ 9199146 h 9235929"/>
              <a:gd name="connsiteX323" fmla="*/ 47946 w 11362258"/>
              <a:gd name="connsiteY323" fmla="*/ 9235929 h 9235929"/>
              <a:gd name="connsiteX324" fmla="*/ 0 w 11362258"/>
              <a:gd name="connsiteY324" fmla="*/ 9235929 h 9235929"/>
              <a:gd name="connsiteX325" fmla="*/ 0 w 11362258"/>
              <a:gd name="connsiteY325" fmla="*/ 2963063 h 9235929"/>
              <a:gd name="connsiteX326" fmla="*/ 43571 w 11362258"/>
              <a:gd name="connsiteY326" fmla="*/ 2933621 h 9235929"/>
              <a:gd name="connsiteX327" fmla="*/ 210177 w 11362258"/>
              <a:gd name="connsiteY327" fmla="*/ 2800570 h 9235929"/>
              <a:gd name="connsiteX328" fmla="*/ 436367 w 11362258"/>
              <a:gd name="connsiteY328" fmla="*/ 2626632 h 9235929"/>
              <a:gd name="connsiteX329" fmla="*/ 475611 w 11362258"/>
              <a:gd name="connsiteY329" fmla="*/ 2559858 h 9235929"/>
              <a:gd name="connsiteX330" fmla="*/ 444274 w 11362258"/>
              <a:gd name="connsiteY330" fmla="*/ 2560574 h 9235929"/>
              <a:gd name="connsiteX331" fmla="*/ 264550 w 11362258"/>
              <a:gd name="connsiteY331" fmla="*/ 2682004 h 9235929"/>
              <a:gd name="connsiteX332" fmla="*/ 248710 w 11362258"/>
              <a:gd name="connsiteY332" fmla="*/ 2702442 h 9235929"/>
              <a:gd name="connsiteX333" fmla="*/ 185692 w 11362258"/>
              <a:gd name="connsiteY333" fmla="*/ 2744036 h 9235929"/>
              <a:gd name="connsiteX334" fmla="*/ 152246 w 11362258"/>
              <a:gd name="connsiteY334" fmla="*/ 2762367 h 9235929"/>
              <a:gd name="connsiteX335" fmla="*/ 57020 w 11362258"/>
              <a:gd name="connsiteY335" fmla="*/ 2849242 h 9235929"/>
              <a:gd name="connsiteX336" fmla="*/ 0 w 11362258"/>
              <a:gd name="connsiteY336" fmla="*/ 2881427 h 9235929"/>
              <a:gd name="connsiteX337" fmla="*/ 0 w 11362258"/>
              <a:gd name="connsiteY337" fmla="*/ 2817724 h 9235929"/>
              <a:gd name="connsiteX338" fmla="*/ 34845 w 11362258"/>
              <a:gd name="connsiteY338" fmla="*/ 2787400 h 9235929"/>
              <a:gd name="connsiteX339" fmla="*/ 84115 w 11362258"/>
              <a:gd name="connsiteY339" fmla="*/ 2772080 h 9235929"/>
              <a:gd name="connsiteX340" fmla="*/ 203456 w 11362258"/>
              <a:gd name="connsiteY340" fmla="*/ 2670224 h 9235929"/>
              <a:gd name="connsiteX341" fmla="*/ 238484 w 11362258"/>
              <a:gd name="connsiteY341" fmla="*/ 2638681 h 9235929"/>
              <a:gd name="connsiteX342" fmla="*/ 627503 w 11362258"/>
              <a:gd name="connsiteY342" fmla="*/ 2372559 h 9235929"/>
              <a:gd name="connsiteX343" fmla="*/ 1000155 w 11362258"/>
              <a:gd name="connsiteY343" fmla="*/ 2131280 h 9235929"/>
              <a:gd name="connsiteX344" fmla="*/ 1336726 w 11362258"/>
              <a:gd name="connsiteY344" fmla="*/ 1930351 h 9235929"/>
              <a:gd name="connsiteX345" fmla="*/ 1542332 w 11362258"/>
              <a:gd name="connsiteY345" fmla="*/ 1816487 h 9235929"/>
              <a:gd name="connsiteX346" fmla="*/ 1575778 w 11362258"/>
              <a:gd name="connsiteY346" fmla="*/ 1798156 h 9235929"/>
              <a:gd name="connsiteX347" fmla="*/ 1988571 w 11362258"/>
              <a:gd name="connsiteY347" fmla="*/ 1557214 h 9235929"/>
              <a:gd name="connsiteX348" fmla="*/ 2082926 w 11362258"/>
              <a:gd name="connsiteY348" fmla="*/ 1514905 h 9235929"/>
              <a:gd name="connsiteX349" fmla="*/ 2330781 w 11362258"/>
              <a:gd name="connsiteY349" fmla="*/ 1383763 h 9235929"/>
              <a:gd name="connsiteX350" fmla="*/ 2815053 w 11362258"/>
              <a:gd name="connsiteY350" fmla="*/ 1142443 h 9235929"/>
              <a:gd name="connsiteX351" fmla="*/ 2977882 w 11362258"/>
              <a:gd name="connsiteY351" fmla="*/ 1050260 h 9235929"/>
              <a:gd name="connsiteX352" fmla="*/ 3237360 w 11362258"/>
              <a:gd name="connsiteY352" fmla="*/ 933910 h 9235929"/>
              <a:gd name="connsiteX353" fmla="*/ 3390859 w 11362258"/>
              <a:gd name="connsiteY353" fmla="*/ 845076 h 9235929"/>
              <a:gd name="connsiteX354" fmla="*/ 3802782 w 11362258"/>
              <a:gd name="connsiteY354" fmla="*/ 648701 h 9235929"/>
              <a:gd name="connsiteX355" fmla="*/ 4015609 w 11362258"/>
              <a:gd name="connsiteY355" fmla="*/ 549101 h 9235929"/>
              <a:gd name="connsiteX356" fmla="*/ 4164891 w 11362258"/>
              <a:gd name="connsiteY356" fmla="*/ 495499 h 9235929"/>
              <a:gd name="connsiteX357" fmla="*/ 4263121 w 11362258"/>
              <a:gd name="connsiteY357" fmla="*/ 458121 h 9235929"/>
              <a:gd name="connsiteX358" fmla="*/ 4465564 w 11362258"/>
              <a:gd name="connsiteY358" fmla="*/ 370679 h 9235929"/>
              <a:gd name="connsiteX359" fmla="*/ 4603223 w 11362258"/>
              <a:gd name="connsiteY359" fmla="*/ 302284 h 9235929"/>
              <a:gd name="connsiteX360" fmla="*/ 4634192 w 11362258"/>
              <a:gd name="connsiteY360" fmla="*/ 230053 h 9235929"/>
              <a:gd name="connsiteX361" fmla="*/ 4733133 w 11362258"/>
              <a:gd name="connsiteY361" fmla="*/ 224028 h 9235929"/>
              <a:gd name="connsiteX362" fmla="*/ 4833130 w 11362258"/>
              <a:gd name="connsiteY362" fmla="*/ 209196 h 9235929"/>
              <a:gd name="connsiteX363" fmla="*/ 4965332 w 11362258"/>
              <a:gd name="connsiteY363" fmla="*/ 149082 h 9235929"/>
              <a:gd name="connsiteX364" fmla="*/ 5303326 w 11362258"/>
              <a:gd name="connsiteY364" fmla="*/ 10862 h 9235929"/>
              <a:gd name="connsiteX365" fmla="*/ 5367055 w 11362258"/>
              <a:gd name="connsiteY365" fmla="*/ 622 h 9235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</a:cxnLst>
            <a:rect l="l" t="t" r="r" b="b"/>
            <a:pathLst>
              <a:path w="11362258" h="9235929">
                <a:moveTo>
                  <a:pt x="11267139" y="6656862"/>
                </a:moveTo>
                <a:lnTo>
                  <a:pt x="11271013" y="6661793"/>
                </a:lnTo>
                <a:lnTo>
                  <a:pt x="11267730" y="6660933"/>
                </a:lnTo>
                <a:close/>
                <a:moveTo>
                  <a:pt x="9310618" y="2540657"/>
                </a:moveTo>
                <a:lnTo>
                  <a:pt x="9317610" y="2541710"/>
                </a:lnTo>
                <a:lnTo>
                  <a:pt x="9312681" y="2545587"/>
                </a:lnTo>
                <a:close/>
                <a:moveTo>
                  <a:pt x="5785039" y="126594"/>
                </a:moveTo>
                <a:lnTo>
                  <a:pt x="5784512" y="130997"/>
                </a:lnTo>
                <a:lnTo>
                  <a:pt x="5782932" y="130738"/>
                </a:lnTo>
                <a:close/>
                <a:moveTo>
                  <a:pt x="5367055" y="622"/>
                </a:moveTo>
                <a:cubicBezTo>
                  <a:pt x="5397865" y="4310"/>
                  <a:pt x="5418292" y="20156"/>
                  <a:pt x="5428334" y="48160"/>
                </a:cubicBezTo>
                <a:cubicBezTo>
                  <a:pt x="5444542" y="99237"/>
                  <a:pt x="5460751" y="150314"/>
                  <a:pt x="5480834" y="206321"/>
                </a:cubicBezTo>
                <a:cubicBezTo>
                  <a:pt x="5510064" y="223221"/>
                  <a:pt x="5540874" y="226909"/>
                  <a:pt x="5569919" y="208051"/>
                </a:cubicBezTo>
                <a:cubicBezTo>
                  <a:pt x="5626954" y="179142"/>
                  <a:pt x="5694030" y="178237"/>
                  <a:pt x="5739970" y="130133"/>
                </a:cubicBezTo>
                <a:cubicBezTo>
                  <a:pt x="5742697" y="125992"/>
                  <a:pt x="5750532" y="125813"/>
                  <a:pt x="5759335" y="126867"/>
                </a:cubicBezTo>
                <a:lnTo>
                  <a:pt x="5782932" y="130738"/>
                </a:lnTo>
                <a:lnTo>
                  <a:pt x="5768981" y="158174"/>
                </a:lnTo>
                <a:cubicBezTo>
                  <a:pt x="5764362" y="168788"/>
                  <a:pt x="5760843" y="179534"/>
                  <a:pt x="5759526" y="190544"/>
                </a:cubicBezTo>
                <a:cubicBezTo>
                  <a:pt x="5758998" y="194948"/>
                  <a:pt x="5770622" y="209740"/>
                  <a:pt x="5778371" y="219602"/>
                </a:cubicBezTo>
                <a:cubicBezTo>
                  <a:pt x="5782772" y="220129"/>
                  <a:pt x="5800905" y="217832"/>
                  <a:pt x="5801432" y="213428"/>
                </a:cubicBezTo>
                <a:cubicBezTo>
                  <a:pt x="5818854" y="179778"/>
                  <a:pt x="5855120" y="175185"/>
                  <a:pt x="5879236" y="160204"/>
                </a:cubicBezTo>
                <a:cubicBezTo>
                  <a:pt x="5897896" y="153503"/>
                  <a:pt x="5891202" y="134835"/>
                  <a:pt x="5883980" y="120569"/>
                </a:cubicBezTo>
                <a:cubicBezTo>
                  <a:pt x="5940673" y="131822"/>
                  <a:pt x="5994545" y="129337"/>
                  <a:pt x="6024459" y="65913"/>
                </a:cubicBezTo>
                <a:cubicBezTo>
                  <a:pt x="6073403" y="67305"/>
                  <a:pt x="6118472" y="63765"/>
                  <a:pt x="6158270" y="104265"/>
                </a:cubicBezTo>
                <a:cubicBezTo>
                  <a:pt x="6153526" y="143900"/>
                  <a:pt x="6148782" y="183535"/>
                  <a:pt x="6143510" y="227573"/>
                </a:cubicBezTo>
                <a:cubicBezTo>
                  <a:pt x="6109536" y="250308"/>
                  <a:pt x="6077145" y="259832"/>
                  <a:pt x="6034711" y="241352"/>
                </a:cubicBezTo>
                <a:cubicBezTo>
                  <a:pt x="6000553" y="228329"/>
                  <a:pt x="5980839" y="243837"/>
                  <a:pt x="5962363" y="286295"/>
                </a:cubicBezTo>
                <a:cubicBezTo>
                  <a:pt x="5956907" y="294576"/>
                  <a:pt x="5955853" y="303384"/>
                  <a:pt x="5943359" y="333157"/>
                </a:cubicBezTo>
                <a:cubicBezTo>
                  <a:pt x="5937192" y="310084"/>
                  <a:pt x="5933845" y="300749"/>
                  <a:pt x="5930498" y="291415"/>
                </a:cubicBezTo>
                <a:cubicBezTo>
                  <a:pt x="5924858" y="263938"/>
                  <a:pt x="5913235" y="249146"/>
                  <a:pt x="5881371" y="254266"/>
                </a:cubicBezTo>
                <a:cubicBezTo>
                  <a:pt x="5868166" y="252685"/>
                  <a:pt x="5850033" y="254981"/>
                  <a:pt x="5836301" y="257805"/>
                </a:cubicBezTo>
                <a:cubicBezTo>
                  <a:pt x="5823808" y="287578"/>
                  <a:pt x="5811315" y="317351"/>
                  <a:pt x="5803223" y="347652"/>
                </a:cubicBezTo>
                <a:cubicBezTo>
                  <a:pt x="5799534" y="378479"/>
                  <a:pt x="5791969" y="404375"/>
                  <a:pt x="5792681" y="435729"/>
                </a:cubicBezTo>
                <a:cubicBezTo>
                  <a:pt x="5790045" y="457748"/>
                  <a:pt x="5814872" y="474121"/>
                  <a:pt x="5837407" y="472352"/>
                </a:cubicBezTo>
                <a:cubicBezTo>
                  <a:pt x="5859941" y="470582"/>
                  <a:pt x="5880183" y="450670"/>
                  <a:pt x="5905011" y="467043"/>
                </a:cubicBezTo>
                <a:cubicBezTo>
                  <a:pt x="5922090" y="473554"/>
                  <a:pt x="5933712" y="488346"/>
                  <a:pt x="5950265" y="499262"/>
                </a:cubicBezTo>
                <a:cubicBezTo>
                  <a:pt x="6065046" y="472798"/>
                  <a:pt x="6177007" y="432596"/>
                  <a:pt x="6288969" y="392395"/>
                </a:cubicBezTo>
                <a:cubicBezTo>
                  <a:pt x="6359050" y="440986"/>
                  <a:pt x="6371043" y="527294"/>
                  <a:pt x="6417007" y="590866"/>
                </a:cubicBezTo>
                <a:cubicBezTo>
                  <a:pt x="6381110" y="666975"/>
                  <a:pt x="6381110" y="666975"/>
                  <a:pt x="6299774" y="675107"/>
                </a:cubicBezTo>
                <a:cubicBezTo>
                  <a:pt x="6272495" y="716511"/>
                  <a:pt x="6262822" y="760023"/>
                  <a:pt x="6261425" y="808992"/>
                </a:cubicBezTo>
                <a:cubicBezTo>
                  <a:pt x="6325523" y="870269"/>
                  <a:pt x="6334326" y="871322"/>
                  <a:pt x="6440121" y="808047"/>
                </a:cubicBezTo>
                <a:cubicBezTo>
                  <a:pt x="6475332" y="812262"/>
                  <a:pt x="6499633" y="833039"/>
                  <a:pt x="6523407" y="858219"/>
                </a:cubicBezTo>
                <a:cubicBezTo>
                  <a:pt x="6546125" y="892208"/>
                  <a:pt x="6569899" y="917388"/>
                  <a:pt x="6612859" y="931464"/>
                </a:cubicBezTo>
                <a:cubicBezTo>
                  <a:pt x="6638741" y="939030"/>
                  <a:pt x="6657586" y="968087"/>
                  <a:pt x="6653368" y="1003318"/>
                </a:cubicBezTo>
                <a:cubicBezTo>
                  <a:pt x="6650206" y="1029741"/>
                  <a:pt x="6655318" y="1061622"/>
                  <a:pt x="6656030" y="1092976"/>
                </a:cubicBezTo>
                <a:cubicBezTo>
                  <a:pt x="6640189" y="1113415"/>
                  <a:pt x="6619948" y="1133327"/>
                  <a:pt x="6603581" y="1158169"/>
                </a:cubicBezTo>
                <a:cubicBezTo>
                  <a:pt x="6582812" y="1182485"/>
                  <a:pt x="6553767" y="1201343"/>
                  <a:pt x="6521903" y="1206463"/>
                </a:cubicBezTo>
                <a:cubicBezTo>
                  <a:pt x="6462574" y="1217229"/>
                  <a:pt x="6414342" y="1247191"/>
                  <a:pt x="6382135" y="1292473"/>
                </a:cubicBezTo>
                <a:cubicBezTo>
                  <a:pt x="6349927" y="1337754"/>
                  <a:pt x="6308206" y="1350628"/>
                  <a:pt x="6258208" y="1358044"/>
                </a:cubicBezTo>
                <a:cubicBezTo>
                  <a:pt x="6249405" y="1356990"/>
                  <a:pt x="6245003" y="1356463"/>
                  <a:pt x="6240601" y="1355937"/>
                </a:cubicBezTo>
                <a:cubicBezTo>
                  <a:pt x="6231271" y="1359287"/>
                  <a:pt x="6226870" y="1358760"/>
                  <a:pt x="6221941" y="1362637"/>
                </a:cubicBezTo>
                <a:cubicBezTo>
                  <a:pt x="6195031" y="1475557"/>
                  <a:pt x="6195031" y="1475557"/>
                  <a:pt x="6226026" y="1515002"/>
                </a:cubicBezTo>
                <a:cubicBezTo>
                  <a:pt x="6234829" y="1516056"/>
                  <a:pt x="6243632" y="1517110"/>
                  <a:pt x="6248561" y="1513233"/>
                </a:cubicBezTo>
                <a:cubicBezTo>
                  <a:pt x="6363158" y="1451012"/>
                  <a:pt x="6477755" y="1388791"/>
                  <a:pt x="6592352" y="1326569"/>
                </a:cubicBezTo>
                <a:cubicBezTo>
                  <a:pt x="6635656" y="1300484"/>
                  <a:pt x="6675269" y="1305226"/>
                  <a:pt x="6712774" y="1327583"/>
                </a:cubicBezTo>
                <a:cubicBezTo>
                  <a:pt x="6749751" y="1354344"/>
                  <a:pt x="6791658" y="1377229"/>
                  <a:pt x="6833038" y="1404516"/>
                </a:cubicBezTo>
                <a:cubicBezTo>
                  <a:pt x="6861555" y="1390062"/>
                  <a:pt x="6893947" y="1380539"/>
                  <a:pt x="6926866" y="1366611"/>
                </a:cubicBezTo>
                <a:cubicBezTo>
                  <a:pt x="6935141" y="1372069"/>
                  <a:pt x="6947291" y="1382457"/>
                  <a:pt x="6958914" y="1397249"/>
                </a:cubicBezTo>
                <a:cubicBezTo>
                  <a:pt x="6921779" y="1446408"/>
                  <a:pt x="6858049" y="1456647"/>
                  <a:pt x="6828661" y="1515667"/>
                </a:cubicBezTo>
                <a:cubicBezTo>
                  <a:pt x="6800329" y="1565879"/>
                  <a:pt x="6747168" y="1599718"/>
                  <a:pt x="6701229" y="1647823"/>
                </a:cubicBezTo>
                <a:cubicBezTo>
                  <a:pt x="6657213" y="1642554"/>
                  <a:pt x="6603868" y="1640636"/>
                  <a:pt x="6555109" y="1675002"/>
                </a:cubicBezTo>
                <a:cubicBezTo>
                  <a:pt x="6548598" y="1692091"/>
                  <a:pt x="6541563" y="1713583"/>
                  <a:pt x="6530124" y="1734548"/>
                </a:cubicBezTo>
                <a:cubicBezTo>
                  <a:pt x="6525195" y="1738426"/>
                  <a:pt x="6515865" y="1741776"/>
                  <a:pt x="6511463" y="1741249"/>
                </a:cubicBezTo>
                <a:cubicBezTo>
                  <a:pt x="6461992" y="1744261"/>
                  <a:pt x="6411995" y="1751677"/>
                  <a:pt x="6380314" y="1792555"/>
                </a:cubicBezTo>
                <a:cubicBezTo>
                  <a:pt x="6379787" y="1796959"/>
                  <a:pt x="6374859" y="1800836"/>
                  <a:pt x="6374859" y="1800836"/>
                </a:cubicBezTo>
                <a:cubicBezTo>
                  <a:pt x="6341939" y="1814763"/>
                  <a:pt x="6300744" y="1823233"/>
                  <a:pt x="6276100" y="1842618"/>
                </a:cubicBezTo>
                <a:cubicBezTo>
                  <a:pt x="6246530" y="1865880"/>
                  <a:pt x="6221359" y="1889669"/>
                  <a:pt x="6184565" y="1898666"/>
                </a:cubicBezTo>
                <a:cubicBezTo>
                  <a:pt x="6104996" y="1929344"/>
                  <a:pt x="6025426" y="1960022"/>
                  <a:pt x="5950258" y="1991227"/>
                </a:cubicBezTo>
                <a:cubicBezTo>
                  <a:pt x="5944802" y="1999508"/>
                  <a:pt x="5939873" y="2003385"/>
                  <a:pt x="5934417" y="2011666"/>
                </a:cubicBezTo>
                <a:cubicBezTo>
                  <a:pt x="5920528" y="2090409"/>
                  <a:pt x="5873534" y="2147321"/>
                  <a:pt x="5802768" y="2179053"/>
                </a:cubicBezTo>
                <a:cubicBezTo>
                  <a:pt x="5704010" y="2220835"/>
                  <a:pt x="5616876" y="2277410"/>
                  <a:pt x="5518647" y="2314788"/>
                </a:cubicBezTo>
                <a:cubicBezTo>
                  <a:pt x="5420417" y="2352166"/>
                  <a:pt x="5328881" y="2408214"/>
                  <a:pt x="5233998" y="2454927"/>
                </a:cubicBezTo>
                <a:cubicBezTo>
                  <a:pt x="5096339" y="2523321"/>
                  <a:pt x="4949877" y="2590662"/>
                  <a:pt x="4811691" y="2663460"/>
                </a:cubicBezTo>
                <a:cubicBezTo>
                  <a:pt x="4673504" y="2736259"/>
                  <a:pt x="4527570" y="2799196"/>
                  <a:pt x="4408756" y="2896648"/>
                </a:cubicBezTo>
                <a:cubicBezTo>
                  <a:pt x="4369326" y="2927664"/>
                  <a:pt x="4330951" y="2949872"/>
                  <a:pt x="4292577" y="2972081"/>
                </a:cubicBezTo>
                <a:cubicBezTo>
                  <a:pt x="4220756" y="3012620"/>
                  <a:pt x="4148408" y="3057564"/>
                  <a:pt x="4080988" y="3098630"/>
                </a:cubicBezTo>
                <a:cubicBezTo>
                  <a:pt x="4022898" y="3136346"/>
                  <a:pt x="3973612" y="3175117"/>
                  <a:pt x="3912175" y="3203499"/>
                </a:cubicBezTo>
                <a:cubicBezTo>
                  <a:pt x="3869926" y="3220776"/>
                  <a:pt x="3838246" y="3261654"/>
                  <a:pt x="3793888" y="3296546"/>
                </a:cubicBezTo>
                <a:cubicBezTo>
                  <a:pt x="3810967" y="3303057"/>
                  <a:pt x="3819243" y="3308516"/>
                  <a:pt x="3828573" y="3305165"/>
                </a:cubicBezTo>
                <a:cubicBezTo>
                  <a:pt x="3918000" y="3266733"/>
                  <a:pt x="4007427" y="3228301"/>
                  <a:pt x="4089632" y="3175603"/>
                </a:cubicBezTo>
                <a:cubicBezTo>
                  <a:pt x="4143320" y="3137360"/>
                  <a:pt x="4204757" y="3108978"/>
                  <a:pt x="4265666" y="3085000"/>
                </a:cubicBezTo>
                <a:cubicBezTo>
                  <a:pt x="4326576" y="3061023"/>
                  <a:pt x="4383611" y="3032114"/>
                  <a:pt x="4437299" y="2993871"/>
                </a:cubicBezTo>
                <a:cubicBezTo>
                  <a:pt x="4461942" y="2974486"/>
                  <a:pt x="4494861" y="2960558"/>
                  <a:pt x="4522851" y="2950508"/>
                </a:cubicBezTo>
                <a:cubicBezTo>
                  <a:pt x="4564573" y="2937634"/>
                  <a:pt x="4606822" y="2920357"/>
                  <a:pt x="4633047" y="2887760"/>
                </a:cubicBezTo>
                <a:cubicBezTo>
                  <a:pt x="4690425" y="2818690"/>
                  <a:pt x="4766120" y="2783081"/>
                  <a:pt x="4841816" y="2747472"/>
                </a:cubicBezTo>
                <a:cubicBezTo>
                  <a:pt x="4851146" y="2744122"/>
                  <a:pt x="4864350" y="2745702"/>
                  <a:pt x="4869806" y="2737422"/>
                </a:cubicBezTo>
                <a:cubicBezTo>
                  <a:pt x="4938807" y="2683144"/>
                  <a:pt x="5025071" y="2671135"/>
                  <a:pt x="5097419" y="2626191"/>
                </a:cubicBezTo>
                <a:cubicBezTo>
                  <a:pt x="5145124" y="2600633"/>
                  <a:pt x="5191775" y="2583882"/>
                  <a:pt x="5239480" y="2558323"/>
                </a:cubicBezTo>
                <a:cubicBezTo>
                  <a:pt x="5400728" y="2479352"/>
                  <a:pt x="5563030" y="2391572"/>
                  <a:pt x="5719877" y="2312074"/>
                </a:cubicBezTo>
                <a:cubicBezTo>
                  <a:pt x="5786242" y="2279815"/>
                  <a:pt x="5848206" y="2247029"/>
                  <a:pt x="5914043" y="2219174"/>
                </a:cubicBezTo>
                <a:cubicBezTo>
                  <a:pt x="5960695" y="2202424"/>
                  <a:pt x="5999596" y="2175811"/>
                  <a:pt x="6039552" y="2140391"/>
                </a:cubicBezTo>
                <a:cubicBezTo>
                  <a:pt x="6038656" y="2073280"/>
                  <a:pt x="6063643" y="2013733"/>
                  <a:pt x="6142686" y="1987459"/>
                </a:cubicBezTo>
                <a:cubicBezTo>
                  <a:pt x="6159237" y="1998374"/>
                  <a:pt x="6180190" y="2009816"/>
                  <a:pt x="6205017" y="2026189"/>
                </a:cubicBezTo>
                <a:cubicBezTo>
                  <a:pt x="6242522" y="2048546"/>
                  <a:pt x="6284956" y="2067026"/>
                  <a:pt x="6321934" y="2093787"/>
                </a:cubicBezTo>
                <a:cubicBezTo>
                  <a:pt x="6342886" y="2105229"/>
                  <a:pt x="6364367" y="2112267"/>
                  <a:pt x="6375463" y="2131464"/>
                </a:cubicBezTo>
                <a:cubicBezTo>
                  <a:pt x="6405931" y="2175313"/>
                  <a:pt x="6427069" y="2222513"/>
                  <a:pt x="6452607" y="2270240"/>
                </a:cubicBezTo>
                <a:cubicBezTo>
                  <a:pt x="6467051" y="2298770"/>
                  <a:pt x="6458959" y="2329070"/>
                  <a:pt x="6426040" y="2342998"/>
                </a:cubicBezTo>
                <a:cubicBezTo>
                  <a:pt x="6406325" y="2358506"/>
                  <a:pt x="6387665" y="2365206"/>
                  <a:pt x="6364076" y="2375783"/>
                </a:cubicBezTo>
                <a:cubicBezTo>
                  <a:pt x="6340487" y="2386361"/>
                  <a:pt x="6321299" y="2397465"/>
                  <a:pt x="6292783" y="2411919"/>
                </a:cubicBezTo>
                <a:cubicBezTo>
                  <a:pt x="6307752" y="2436046"/>
                  <a:pt x="6318848" y="2455242"/>
                  <a:pt x="6329944" y="2474438"/>
                </a:cubicBezTo>
                <a:cubicBezTo>
                  <a:pt x="6325016" y="2478315"/>
                  <a:pt x="6324488" y="2482719"/>
                  <a:pt x="6319560" y="2486596"/>
                </a:cubicBezTo>
                <a:cubicBezTo>
                  <a:pt x="6300372" y="2497700"/>
                  <a:pt x="6277311" y="2503874"/>
                  <a:pt x="6257596" y="2519381"/>
                </a:cubicBezTo>
                <a:cubicBezTo>
                  <a:pt x="6228025" y="2542644"/>
                  <a:pt x="6211130" y="2571890"/>
                  <a:pt x="6228393" y="2614159"/>
                </a:cubicBezTo>
                <a:cubicBezTo>
                  <a:pt x="6242309" y="2647094"/>
                  <a:pt x="6235271" y="2668586"/>
                  <a:pt x="6214503" y="2692902"/>
                </a:cubicBezTo>
                <a:cubicBezTo>
                  <a:pt x="6166455" y="2758622"/>
                  <a:pt x="6118934" y="2819938"/>
                  <a:pt x="6039365" y="2850616"/>
                </a:cubicBezTo>
                <a:cubicBezTo>
                  <a:pt x="5964197" y="2881821"/>
                  <a:pt x="5889028" y="2913026"/>
                  <a:pt x="5813334" y="2948635"/>
                </a:cubicBezTo>
                <a:cubicBezTo>
                  <a:pt x="5761754" y="2969263"/>
                  <a:pt x="5709647" y="2994295"/>
                  <a:pt x="5657013" y="3023730"/>
                </a:cubicBezTo>
                <a:cubicBezTo>
                  <a:pt x="5514426" y="3096002"/>
                  <a:pt x="5375186" y="3177608"/>
                  <a:pt x="5228723" y="3244948"/>
                </a:cubicBezTo>
                <a:cubicBezTo>
                  <a:pt x="5147573" y="3288838"/>
                  <a:pt x="5066948" y="3328324"/>
                  <a:pt x="4985797" y="3372214"/>
                </a:cubicBezTo>
                <a:cubicBezTo>
                  <a:pt x="4918905" y="3408876"/>
                  <a:pt x="4852540" y="3441135"/>
                  <a:pt x="4786174" y="3473394"/>
                </a:cubicBezTo>
                <a:cubicBezTo>
                  <a:pt x="4752729" y="3491726"/>
                  <a:pt x="4719809" y="3505653"/>
                  <a:pt x="4702388" y="3539303"/>
                </a:cubicBezTo>
                <a:cubicBezTo>
                  <a:pt x="4763849" y="3622598"/>
                  <a:pt x="4811739" y="3632798"/>
                  <a:pt x="4897292" y="3589435"/>
                </a:cubicBezTo>
                <a:cubicBezTo>
                  <a:pt x="4982845" y="3546072"/>
                  <a:pt x="5063996" y="3502182"/>
                  <a:pt x="5149548" y="3458820"/>
                </a:cubicBezTo>
                <a:cubicBezTo>
                  <a:pt x="5292663" y="3382145"/>
                  <a:pt x="5443526" y="3315331"/>
                  <a:pt x="5582767" y="3233724"/>
                </a:cubicBezTo>
                <a:cubicBezTo>
                  <a:pt x="5702820" y="3163222"/>
                  <a:pt x="5829040" y="3115793"/>
                  <a:pt x="5949094" y="3045291"/>
                </a:cubicBezTo>
                <a:cubicBezTo>
                  <a:pt x="5986941" y="3027487"/>
                  <a:pt x="6019861" y="3013559"/>
                  <a:pt x="6057708" y="2995755"/>
                </a:cubicBezTo>
                <a:cubicBezTo>
                  <a:pt x="6114216" y="2971250"/>
                  <a:pt x="6174599" y="2951676"/>
                  <a:pt x="6227232" y="2922241"/>
                </a:cubicBezTo>
                <a:cubicBezTo>
                  <a:pt x="6251347" y="2907260"/>
                  <a:pt x="6275991" y="2887875"/>
                  <a:pt x="6307328" y="2887159"/>
                </a:cubicBezTo>
                <a:cubicBezTo>
                  <a:pt x="6311730" y="2887686"/>
                  <a:pt x="6325989" y="2880458"/>
                  <a:pt x="6326516" y="2876055"/>
                </a:cubicBezTo>
                <a:cubicBezTo>
                  <a:pt x="6348339" y="2842931"/>
                  <a:pt x="6387953" y="2847673"/>
                  <a:pt x="6408722" y="2823357"/>
                </a:cubicBezTo>
                <a:cubicBezTo>
                  <a:pt x="6471924" y="2817521"/>
                  <a:pt x="6511880" y="2782102"/>
                  <a:pt x="6560113" y="2752139"/>
                </a:cubicBezTo>
                <a:cubicBezTo>
                  <a:pt x="6603943" y="2721650"/>
                  <a:pt x="6647773" y="2691161"/>
                  <a:pt x="6702173" y="2684272"/>
                </a:cubicBezTo>
                <a:cubicBezTo>
                  <a:pt x="6706574" y="2684799"/>
                  <a:pt x="6715905" y="2681448"/>
                  <a:pt x="6720833" y="2677571"/>
                </a:cubicBezTo>
                <a:cubicBezTo>
                  <a:pt x="6860601" y="2591561"/>
                  <a:pt x="7026434" y="2548874"/>
                  <a:pt x="7173951" y="2472726"/>
                </a:cubicBezTo>
                <a:cubicBezTo>
                  <a:pt x="7263905" y="2429890"/>
                  <a:pt x="7356679" y="2400792"/>
                  <a:pt x="7446106" y="2362360"/>
                </a:cubicBezTo>
                <a:cubicBezTo>
                  <a:pt x="7460364" y="2355133"/>
                  <a:pt x="7482899" y="2353363"/>
                  <a:pt x="7488882" y="2340678"/>
                </a:cubicBezTo>
                <a:cubicBezTo>
                  <a:pt x="7518796" y="2277255"/>
                  <a:pt x="7589221" y="2285685"/>
                  <a:pt x="7637453" y="2255722"/>
                </a:cubicBezTo>
                <a:cubicBezTo>
                  <a:pt x="7661569" y="2240741"/>
                  <a:pt x="7682522" y="2252183"/>
                  <a:pt x="7702948" y="2268029"/>
                </a:cubicBezTo>
                <a:cubicBezTo>
                  <a:pt x="7714571" y="2282821"/>
                  <a:pt x="7726194" y="2297613"/>
                  <a:pt x="7737817" y="2312406"/>
                </a:cubicBezTo>
                <a:cubicBezTo>
                  <a:pt x="7855946" y="2295277"/>
                  <a:pt x="7888865" y="2281349"/>
                  <a:pt x="7967723" y="2219318"/>
                </a:cubicBezTo>
                <a:cubicBezTo>
                  <a:pt x="7960502" y="2205052"/>
                  <a:pt x="7949405" y="2185856"/>
                  <a:pt x="7942185" y="2171591"/>
                </a:cubicBezTo>
                <a:cubicBezTo>
                  <a:pt x="7952568" y="2159433"/>
                  <a:pt x="7965773" y="2161014"/>
                  <a:pt x="7973522" y="2170875"/>
                </a:cubicBezTo>
                <a:cubicBezTo>
                  <a:pt x="7989020" y="2190598"/>
                  <a:pt x="7995713" y="2209267"/>
                  <a:pt x="8006809" y="2228463"/>
                </a:cubicBezTo>
                <a:cubicBezTo>
                  <a:pt x="8046950" y="2228801"/>
                  <a:pt x="8078815" y="2223681"/>
                  <a:pt x="8110679" y="2218562"/>
                </a:cubicBezTo>
                <a:cubicBezTo>
                  <a:pt x="8119483" y="2219615"/>
                  <a:pt x="8133214" y="2216792"/>
                  <a:pt x="8134269" y="2207984"/>
                </a:cubicBezTo>
                <a:cubicBezTo>
                  <a:pt x="8156618" y="2170457"/>
                  <a:pt x="8200107" y="2180130"/>
                  <a:pt x="8229151" y="2161271"/>
                </a:cubicBezTo>
                <a:cubicBezTo>
                  <a:pt x="8281258" y="2136240"/>
                  <a:pt x="8338477" y="2143089"/>
                  <a:pt x="8396751" y="2141130"/>
                </a:cubicBezTo>
                <a:cubicBezTo>
                  <a:pt x="8432489" y="2140941"/>
                  <a:pt x="8461719" y="2157841"/>
                  <a:pt x="8489366" y="2187952"/>
                </a:cubicBezTo>
                <a:cubicBezTo>
                  <a:pt x="8525289" y="2223521"/>
                  <a:pt x="8556812" y="2258563"/>
                  <a:pt x="8604885" y="2304520"/>
                </a:cubicBezTo>
                <a:cubicBezTo>
                  <a:pt x="8702061" y="2275949"/>
                  <a:pt x="8826884" y="2277490"/>
                  <a:pt x="8952050" y="2238869"/>
                </a:cubicBezTo>
                <a:cubicBezTo>
                  <a:pt x="8945883" y="2215796"/>
                  <a:pt x="8938661" y="2201530"/>
                  <a:pt x="8935841" y="2187792"/>
                </a:cubicBezTo>
                <a:cubicBezTo>
                  <a:pt x="8940770" y="2183915"/>
                  <a:pt x="8950100" y="2180565"/>
                  <a:pt x="8953974" y="2185495"/>
                </a:cubicBezTo>
                <a:cubicBezTo>
                  <a:pt x="9016307" y="2224225"/>
                  <a:pt x="9040264" y="2285164"/>
                  <a:pt x="9058767" y="2354383"/>
                </a:cubicBezTo>
                <a:cubicBezTo>
                  <a:pt x="9067753" y="2391194"/>
                  <a:pt x="9063009" y="2430829"/>
                  <a:pt x="9067068" y="2471518"/>
                </a:cubicBezTo>
                <a:cubicBezTo>
                  <a:pt x="9072181" y="2503398"/>
                  <a:pt x="9083804" y="2518191"/>
                  <a:pt x="9120070" y="2513597"/>
                </a:cubicBezTo>
                <a:cubicBezTo>
                  <a:pt x="9160738" y="2509532"/>
                  <a:pt x="9205807" y="2505993"/>
                  <a:pt x="9246475" y="2501927"/>
                </a:cubicBezTo>
                <a:cubicBezTo>
                  <a:pt x="9270374" y="2498087"/>
                  <a:pt x="9290611" y="2503859"/>
                  <a:pt x="9303026" y="2522516"/>
                </a:cubicBezTo>
                <a:lnTo>
                  <a:pt x="9310618" y="2540657"/>
                </a:lnTo>
                <a:lnTo>
                  <a:pt x="9256555" y="2532517"/>
                </a:lnTo>
                <a:cubicBezTo>
                  <a:pt x="9195898" y="2530492"/>
                  <a:pt x="9136186" y="2546796"/>
                  <a:pt x="9075185" y="2552895"/>
                </a:cubicBezTo>
                <a:cubicBezTo>
                  <a:pt x="9067094" y="2583195"/>
                  <a:pt x="9059002" y="2613495"/>
                  <a:pt x="9045982" y="2647672"/>
                </a:cubicBezTo>
                <a:cubicBezTo>
                  <a:pt x="9091051" y="2644133"/>
                  <a:pt x="9136121" y="2640594"/>
                  <a:pt x="9165165" y="2621736"/>
                </a:cubicBezTo>
                <a:cubicBezTo>
                  <a:pt x="9199138" y="2599001"/>
                  <a:pt x="9230476" y="2598285"/>
                  <a:pt x="9266742" y="2593692"/>
                </a:cubicBezTo>
                <a:cubicBezTo>
                  <a:pt x="9294206" y="2588045"/>
                  <a:pt x="9333292" y="2597191"/>
                  <a:pt x="9355115" y="2564067"/>
                </a:cubicBezTo>
                <a:lnTo>
                  <a:pt x="9354588" y="2568471"/>
                </a:lnTo>
                <a:cubicBezTo>
                  <a:pt x="9367265" y="2574455"/>
                  <a:pt x="9379416" y="2584844"/>
                  <a:pt x="9388219" y="2585898"/>
                </a:cubicBezTo>
                <a:cubicBezTo>
                  <a:pt x="9481177" y="2592558"/>
                  <a:pt x="9517812" y="2659481"/>
                  <a:pt x="9558321" y="2731334"/>
                </a:cubicBezTo>
                <a:cubicBezTo>
                  <a:pt x="9537896" y="2715488"/>
                  <a:pt x="9521871" y="2700169"/>
                  <a:pt x="9501444" y="2684323"/>
                </a:cubicBezTo>
                <a:cubicBezTo>
                  <a:pt x="9458668" y="2706005"/>
                  <a:pt x="9446861" y="2655455"/>
                  <a:pt x="9412176" y="2646836"/>
                </a:cubicBezTo>
                <a:cubicBezTo>
                  <a:pt x="9407247" y="2650713"/>
                  <a:pt x="9401264" y="2663398"/>
                  <a:pt x="9391408" y="2671152"/>
                </a:cubicBezTo>
                <a:cubicBezTo>
                  <a:pt x="9381023" y="2683310"/>
                  <a:pt x="9363417" y="2681202"/>
                  <a:pt x="9346338" y="2674691"/>
                </a:cubicBezTo>
                <a:cubicBezTo>
                  <a:pt x="9320983" y="2662722"/>
                  <a:pt x="9296155" y="2646349"/>
                  <a:pt x="9270801" y="2634380"/>
                </a:cubicBezTo>
                <a:cubicBezTo>
                  <a:pt x="9253195" y="2632273"/>
                  <a:pt x="9235062" y="2634569"/>
                  <a:pt x="9236301" y="2661519"/>
                </a:cubicBezTo>
                <a:cubicBezTo>
                  <a:pt x="9257254" y="2672962"/>
                  <a:pt x="9282609" y="2684930"/>
                  <a:pt x="9298633" y="2700249"/>
                </a:cubicBezTo>
                <a:cubicBezTo>
                  <a:pt x="9351108" y="2746733"/>
                  <a:pt x="9384923" y="2799918"/>
                  <a:pt x="9372614" y="2865449"/>
                </a:cubicBezTo>
                <a:cubicBezTo>
                  <a:pt x="9362415" y="2913364"/>
                  <a:pt x="9376330" y="2946299"/>
                  <a:pt x="9407853" y="2981341"/>
                </a:cubicBezTo>
                <a:cubicBezTo>
                  <a:pt x="9420002" y="2991729"/>
                  <a:pt x="9417894" y="3009345"/>
                  <a:pt x="9424588" y="3028014"/>
                </a:cubicBezTo>
                <a:cubicBezTo>
                  <a:pt x="9464729" y="3028351"/>
                  <a:pt x="9500995" y="3023759"/>
                  <a:pt x="9536734" y="3023570"/>
                </a:cubicBezTo>
                <a:cubicBezTo>
                  <a:pt x="9580749" y="3028839"/>
                  <a:pt x="9592899" y="3039227"/>
                  <a:pt x="9601360" y="3080442"/>
                </a:cubicBezTo>
                <a:cubicBezTo>
                  <a:pt x="9609819" y="3121658"/>
                  <a:pt x="9618280" y="3162873"/>
                  <a:pt x="9631142" y="3204615"/>
                </a:cubicBezTo>
                <a:cubicBezTo>
                  <a:pt x="9638364" y="3218881"/>
                  <a:pt x="9650513" y="3229269"/>
                  <a:pt x="9662136" y="3244061"/>
                </a:cubicBezTo>
                <a:cubicBezTo>
                  <a:pt x="9676580" y="3272592"/>
                  <a:pt x="9694897" y="3306053"/>
                  <a:pt x="9713214" y="3339514"/>
                </a:cubicBezTo>
                <a:cubicBezTo>
                  <a:pt x="9702303" y="3356076"/>
                  <a:pt x="9691918" y="3368234"/>
                  <a:pt x="9681534" y="3380392"/>
                </a:cubicBezTo>
                <a:cubicBezTo>
                  <a:pt x="9653201" y="3430604"/>
                  <a:pt x="9670121" y="3513034"/>
                  <a:pt x="9719776" y="3545780"/>
                </a:cubicBezTo>
                <a:cubicBezTo>
                  <a:pt x="9727525" y="3555642"/>
                  <a:pt x="9740202" y="3561626"/>
                  <a:pt x="9752880" y="3567610"/>
                </a:cubicBezTo>
                <a:cubicBezTo>
                  <a:pt x="9795313" y="3586091"/>
                  <a:pt x="9848131" y="3592413"/>
                  <a:pt x="9878599" y="3636263"/>
                </a:cubicBezTo>
                <a:cubicBezTo>
                  <a:pt x="9939693" y="3648043"/>
                  <a:pt x="9978963" y="3692946"/>
                  <a:pt x="10018761" y="3733446"/>
                </a:cubicBezTo>
                <a:cubicBezTo>
                  <a:pt x="10010326" y="3803907"/>
                  <a:pt x="10010326" y="3803907"/>
                  <a:pt x="9976011" y="3866805"/>
                </a:cubicBezTo>
                <a:cubicBezTo>
                  <a:pt x="9998018" y="3869438"/>
                  <a:pt x="10015097" y="3875950"/>
                  <a:pt x="10033229" y="3873653"/>
                </a:cubicBezTo>
                <a:cubicBezTo>
                  <a:pt x="10078827" y="3865711"/>
                  <a:pt x="10122314" y="3875383"/>
                  <a:pt x="10169676" y="3889986"/>
                </a:cubicBezTo>
                <a:cubicBezTo>
                  <a:pt x="10204361" y="3898605"/>
                  <a:pt x="10239572" y="3902819"/>
                  <a:pt x="10275312" y="3902631"/>
                </a:cubicBezTo>
                <a:cubicBezTo>
                  <a:pt x="10333586" y="3900673"/>
                  <a:pt x="10387458" y="3898187"/>
                  <a:pt x="10438168" y="3922125"/>
                </a:cubicBezTo>
                <a:cubicBezTo>
                  <a:pt x="10459647" y="3929163"/>
                  <a:pt x="10482182" y="3927393"/>
                  <a:pt x="10509118" y="3926150"/>
                </a:cubicBezTo>
                <a:cubicBezTo>
                  <a:pt x="10548389" y="3971054"/>
                  <a:pt x="10524457" y="4021793"/>
                  <a:pt x="10519186" y="4065831"/>
                </a:cubicBezTo>
                <a:cubicBezTo>
                  <a:pt x="10518843" y="4105993"/>
                  <a:pt x="10480995" y="4123797"/>
                  <a:pt x="10451951" y="4142655"/>
                </a:cubicBezTo>
                <a:cubicBezTo>
                  <a:pt x="10423775" y="4116948"/>
                  <a:pt x="10408279" y="4097225"/>
                  <a:pt x="10422353" y="4054240"/>
                </a:cubicBezTo>
                <a:cubicBezTo>
                  <a:pt x="10435373" y="4020063"/>
                  <a:pt x="10408780" y="3981145"/>
                  <a:pt x="10374095" y="3972526"/>
                </a:cubicBezTo>
                <a:cubicBezTo>
                  <a:pt x="10343811" y="3964434"/>
                  <a:pt x="10313528" y="3956342"/>
                  <a:pt x="10280082" y="3974673"/>
                </a:cubicBezTo>
                <a:cubicBezTo>
                  <a:pt x="10266192" y="4053416"/>
                  <a:pt x="10293497" y="4123688"/>
                  <a:pt x="10352667" y="4188842"/>
                </a:cubicBezTo>
                <a:cubicBezTo>
                  <a:pt x="10309890" y="4210523"/>
                  <a:pt x="10268168" y="4223397"/>
                  <a:pt x="10257968" y="4271313"/>
                </a:cubicBezTo>
                <a:cubicBezTo>
                  <a:pt x="10255859" y="4288928"/>
                  <a:pt x="10229451" y="4285767"/>
                  <a:pt x="10217300" y="4275379"/>
                </a:cubicBezTo>
                <a:cubicBezTo>
                  <a:pt x="10192472" y="4259006"/>
                  <a:pt x="10172574" y="4238756"/>
                  <a:pt x="10152674" y="4218506"/>
                </a:cubicBezTo>
                <a:cubicBezTo>
                  <a:pt x="10133303" y="4193853"/>
                  <a:pt x="10111823" y="4186814"/>
                  <a:pt x="10085414" y="4183653"/>
                </a:cubicBezTo>
                <a:cubicBezTo>
                  <a:pt x="10027140" y="4185612"/>
                  <a:pt x="9974322" y="4179290"/>
                  <a:pt x="9918341" y="4199390"/>
                </a:cubicBezTo>
                <a:cubicBezTo>
                  <a:pt x="9843700" y="4226192"/>
                  <a:pt x="9766239" y="4239255"/>
                  <a:pt x="9689121" y="4212155"/>
                </a:cubicBezTo>
                <a:cubicBezTo>
                  <a:pt x="9654963" y="4199133"/>
                  <a:pt x="9623099" y="4204252"/>
                  <a:pt x="9589125" y="4226987"/>
                </a:cubicBezTo>
                <a:cubicBezTo>
                  <a:pt x="9595292" y="4250061"/>
                  <a:pt x="9601460" y="4273134"/>
                  <a:pt x="9602699" y="4300084"/>
                </a:cubicBezTo>
                <a:cubicBezTo>
                  <a:pt x="9597770" y="4303961"/>
                  <a:pt x="9592841" y="4307838"/>
                  <a:pt x="9588440" y="4307311"/>
                </a:cubicBezTo>
                <a:cubicBezTo>
                  <a:pt x="9463616" y="4305770"/>
                  <a:pt x="9347781" y="4341042"/>
                  <a:pt x="9235292" y="4385648"/>
                </a:cubicBezTo>
                <a:cubicBezTo>
                  <a:pt x="9188641" y="4402398"/>
                  <a:pt x="9141990" y="4419148"/>
                  <a:pt x="9099741" y="4436426"/>
                </a:cubicBezTo>
                <a:cubicBezTo>
                  <a:pt x="9094812" y="4440303"/>
                  <a:pt x="9088829" y="4452988"/>
                  <a:pt x="9087775" y="4461796"/>
                </a:cubicBezTo>
                <a:cubicBezTo>
                  <a:pt x="9091122" y="4471130"/>
                  <a:pt x="9103273" y="4481518"/>
                  <a:pt x="9108202" y="4477641"/>
                </a:cubicBezTo>
                <a:cubicBezTo>
                  <a:pt x="9143940" y="4477452"/>
                  <a:pt x="9180206" y="4472859"/>
                  <a:pt x="9220875" y="4468794"/>
                </a:cubicBezTo>
                <a:cubicBezTo>
                  <a:pt x="9240773" y="4489043"/>
                  <a:pt x="9265074" y="4509820"/>
                  <a:pt x="9289901" y="4526193"/>
                </a:cubicBezTo>
                <a:cubicBezTo>
                  <a:pt x="9291140" y="4553143"/>
                  <a:pt x="9264204" y="4554386"/>
                  <a:pt x="9258221" y="4567070"/>
                </a:cubicBezTo>
                <a:cubicBezTo>
                  <a:pt x="9257167" y="4575879"/>
                  <a:pt x="9250657" y="4592967"/>
                  <a:pt x="9254004" y="4602302"/>
                </a:cubicBezTo>
                <a:cubicBezTo>
                  <a:pt x="9264572" y="4625901"/>
                  <a:pt x="9279543" y="4650028"/>
                  <a:pt x="9310354" y="4653716"/>
                </a:cubicBezTo>
                <a:cubicBezTo>
                  <a:pt x="9380250" y="4666549"/>
                  <a:pt x="9443110" y="4700876"/>
                  <a:pt x="9520570" y="4687813"/>
                </a:cubicBezTo>
                <a:cubicBezTo>
                  <a:pt x="9557364" y="4678816"/>
                  <a:pt x="9601379" y="4684085"/>
                  <a:pt x="9635009" y="4701512"/>
                </a:cubicBezTo>
                <a:cubicBezTo>
                  <a:pt x="9686246" y="4721045"/>
                  <a:pt x="9716713" y="4764895"/>
                  <a:pt x="9732922" y="4815972"/>
                </a:cubicBezTo>
                <a:cubicBezTo>
                  <a:pt x="9741910" y="4852783"/>
                  <a:pt x="9745969" y="4893472"/>
                  <a:pt x="9758303" y="4939618"/>
                </a:cubicBezTo>
                <a:cubicBezTo>
                  <a:pt x="9723275" y="4971161"/>
                  <a:pt x="9683847" y="5002177"/>
                  <a:pt x="9676994" y="5059427"/>
                </a:cubicBezTo>
                <a:cubicBezTo>
                  <a:pt x="9710624" y="5076853"/>
                  <a:pt x="9744781" y="5089877"/>
                  <a:pt x="9774011" y="5106776"/>
                </a:cubicBezTo>
                <a:cubicBezTo>
                  <a:pt x="9807114" y="5128606"/>
                  <a:pt x="9842326" y="5132821"/>
                  <a:pt x="9882993" y="5128755"/>
                </a:cubicBezTo>
                <a:cubicBezTo>
                  <a:pt x="9904316" y="5211713"/>
                  <a:pt x="9996747" y="5222777"/>
                  <a:pt x="10033382" y="5289699"/>
                </a:cubicBezTo>
                <a:cubicBezTo>
                  <a:pt x="10060318" y="5288456"/>
                  <a:pt x="10082325" y="5291091"/>
                  <a:pt x="10105387" y="5284917"/>
                </a:cubicBezTo>
                <a:cubicBezTo>
                  <a:pt x="10155385" y="5277501"/>
                  <a:pt x="10200981" y="5269559"/>
                  <a:pt x="10240252" y="5314462"/>
                </a:cubicBezTo>
                <a:cubicBezTo>
                  <a:pt x="10243599" y="5323796"/>
                  <a:pt x="10256804" y="5325377"/>
                  <a:pt x="10265607" y="5326431"/>
                </a:cubicBezTo>
                <a:cubicBezTo>
                  <a:pt x="10309622" y="5331699"/>
                  <a:pt x="10349235" y="5336441"/>
                  <a:pt x="10385685" y="5367606"/>
                </a:cubicBezTo>
                <a:cubicBezTo>
                  <a:pt x="10445382" y="5428356"/>
                  <a:pt x="10519864" y="5477474"/>
                  <a:pt x="10540660" y="5564835"/>
                </a:cubicBezTo>
                <a:cubicBezTo>
                  <a:pt x="10547354" y="5583504"/>
                  <a:pt x="10549120" y="5606051"/>
                  <a:pt x="10570600" y="5613089"/>
                </a:cubicBezTo>
                <a:cubicBezTo>
                  <a:pt x="10597009" y="5616250"/>
                  <a:pt x="10631694" y="5624868"/>
                  <a:pt x="10650354" y="5618169"/>
                </a:cubicBezTo>
                <a:cubicBezTo>
                  <a:pt x="10694185" y="5587679"/>
                  <a:pt x="10737673" y="5597351"/>
                  <a:pt x="10781687" y="5602620"/>
                </a:cubicBezTo>
                <a:cubicBezTo>
                  <a:pt x="10834505" y="5608942"/>
                  <a:pt x="10872010" y="5631300"/>
                  <a:pt x="10909699" y="5689415"/>
                </a:cubicBezTo>
                <a:cubicBezTo>
                  <a:pt x="10858990" y="5665477"/>
                  <a:pt x="10824832" y="5652454"/>
                  <a:pt x="10786800" y="5634501"/>
                </a:cubicBezTo>
                <a:cubicBezTo>
                  <a:pt x="10777997" y="5633448"/>
                  <a:pt x="10768140" y="5641201"/>
                  <a:pt x="10758810" y="5644551"/>
                </a:cubicBezTo>
                <a:cubicBezTo>
                  <a:pt x="10766558" y="5654413"/>
                  <a:pt x="10769906" y="5663748"/>
                  <a:pt x="10776600" y="5682416"/>
                </a:cubicBezTo>
                <a:cubicBezTo>
                  <a:pt x="10772199" y="5681889"/>
                  <a:pt x="10762341" y="5689644"/>
                  <a:pt x="10752484" y="5697398"/>
                </a:cubicBezTo>
                <a:cubicBezTo>
                  <a:pt x="10743155" y="5700748"/>
                  <a:pt x="10729423" y="5703571"/>
                  <a:pt x="10715164" y="5710798"/>
                </a:cubicBezTo>
                <a:cubicBezTo>
                  <a:pt x="10711289" y="5705868"/>
                  <a:pt x="10698612" y="5699883"/>
                  <a:pt x="10694738" y="5694953"/>
                </a:cubicBezTo>
                <a:cubicBezTo>
                  <a:pt x="10689098" y="5667476"/>
                  <a:pt x="10669199" y="5647225"/>
                  <a:pt x="10642263" y="5648468"/>
                </a:cubicBezTo>
                <a:cubicBezTo>
                  <a:pt x="10593319" y="5647077"/>
                  <a:pt x="10543849" y="5650089"/>
                  <a:pt x="10493850" y="5657505"/>
                </a:cubicBezTo>
                <a:cubicBezTo>
                  <a:pt x="10475717" y="5659801"/>
                  <a:pt x="10464279" y="5680768"/>
                  <a:pt x="10445618" y="5687468"/>
                </a:cubicBezTo>
                <a:cubicBezTo>
                  <a:pt x="10435761" y="5695222"/>
                  <a:pt x="10418682" y="5688710"/>
                  <a:pt x="10400549" y="5691007"/>
                </a:cubicBezTo>
                <a:cubicBezTo>
                  <a:pt x="10408640" y="5660706"/>
                  <a:pt x="10427301" y="5654007"/>
                  <a:pt x="10441560" y="5646779"/>
                </a:cubicBezTo>
                <a:cubicBezTo>
                  <a:pt x="10471131" y="5623517"/>
                  <a:pt x="10473767" y="5601498"/>
                  <a:pt x="10449467" y="5580721"/>
                </a:cubicBezTo>
                <a:cubicBezTo>
                  <a:pt x="10429568" y="5560471"/>
                  <a:pt x="10409669" y="5540222"/>
                  <a:pt x="10384842" y="5523849"/>
                </a:cubicBezTo>
                <a:cubicBezTo>
                  <a:pt x="10376566" y="5518391"/>
                  <a:pt x="10359486" y="5511880"/>
                  <a:pt x="10350157" y="5515230"/>
                </a:cubicBezTo>
                <a:cubicBezTo>
                  <a:pt x="10331496" y="5521930"/>
                  <a:pt x="10324986" y="5539019"/>
                  <a:pt x="10327279" y="5557161"/>
                </a:cubicBezTo>
                <a:cubicBezTo>
                  <a:pt x="10332920" y="5584638"/>
                  <a:pt x="10333631" y="5615992"/>
                  <a:pt x="10339270" y="5643469"/>
                </a:cubicBezTo>
                <a:cubicBezTo>
                  <a:pt x="10345965" y="5662138"/>
                  <a:pt x="10352660" y="5680807"/>
                  <a:pt x="10364283" y="5695600"/>
                </a:cubicBezTo>
                <a:cubicBezTo>
                  <a:pt x="10387529" y="5725184"/>
                  <a:pt x="10411302" y="5750365"/>
                  <a:pt x="10434021" y="5784353"/>
                </a:cubicBezTo>
                <a:cubicBezTo>
                  <a:pt x="10447226" y="5785933"/>
                  <a:pt x="10459903" y="5791917"/>
                  <a:pt x="10469233" y="5788568"/>
                </a:cubicBezTo>
                <a:cubicBezTo>
                  <a:pt x="10544585" y="5793120"/>
                  <a:pt x="10578400" y="5846305"/>
                  <a:pt x="10617144" y="5895612"/>
                </a:cubicBezTo>
                <a:cubicBezTo>
                  <a:pt x="10632114" y="5919738"/>
                  <a:pt x="10605363" y="5956739"/>
                  <a:pt x="10633537" y="5982446"/>
                </a:cubicBezTo>
                <a:cubicBezTo>
                  <a:pt x="10649562" y="5997765"/>
                  <a:pt x="10664532" y="6021892"/>
                  <a:pt x="10679502" y="6046019"/>
                </a:cubicBezTo>
                <a:cubicBezTo>
                  <a:pt x="10683377" y="6050950"/>
                  <a:pt x="10686197" y="6064688"/>
                  <a:pt x="10680741" y="6072969"/>
                </a:cubicBezTo>
                <a:cubicBezTo>
                  <a:pt x="10663503" y="6142377"/>
                  <a:pt x="10695209" y="6213177"/>
                  <a:pt x="10665295" y="6276601"/>
                </a:cubicBezTo>
                <a:cubicBezTo>
                  <a:pt x="10658258" y="6298093"/>
                  <a:pt x="10677102" y="6327150"/>
                  <a:pt x="10704039" y="6325908"/>
                </a:cubicBezTo>
                <a:cubicBezTo>
                  <a:pt x="10784847" y="6322180"/>
                  <a:pt x="10848945" y="6383456"/>
                  <a:pt x="10928699" y="6388535"/>
                </a:cubicBezTo>
                <a:cubicBezTo>
                  <a:pt x="10951234" y="6386766"/>
                  <a:pt x="10979408" y="6412473"/>
                  <a:pt x="11004236" y="6428846"/>
                </a:cubicBezTo>
                <a:cubicBezTo>
                  <a:pt x="11029063" y="6445219"/>
                  <a:pt x="11044034" y="6469346"/>
                  <a:pt x="11049147" y="6501226"/>
                </a:cubicBezTo>
                <a:cubicBezTo>
                  <a:pt x="11059189" y="6529230"/>
                  <a:pt x="11047223" y="6554599"/>
                  <a:pt x="11031382" y="6575038"/>
                </a:cubicBezTo>
                <a:cubicBezTo>
                  <a:pt x="11025927" y="6583319"/>
                  <a:pt x="11029274" y="6592654"/>
                  <a:pt x="11023818" y="6600935"/>
                </a:cubicBezTo>
                <a:cubicBezTo>
                  <a:pt x="11058687" y="6645311"/>
                  <a:pt x="11106919" y="6615348"/>
                  <a:pt x="11145479" y="6628898"/>
                </a:cubicBezTo>
                <a:lnTo>
                  <a:pt x="11267730" y="6660933"/>
                </a:lnTo>
                <a:lnTo>
                  <a:pt x="11274479" y="6707436"/>
                </a:lnTo>
                <a:cubicBezTo>
                  <a:pt x="11280534" y="6722120"/>
                  <a:pt x="11288988" y="6735416"/>
                  <a:pt x="11296210" y="6749681"/>
                </a:cubicBezTo>
                <a:cubicBezTo>
                  <a:pt x="11314000" y="6787546"/>
                  <a:pt x="11336192" y="6825938"/>
                  <a:pt x="11362258" y="6869261"/>
                </a:cubicBezTo>
                <a:cubicBezTo>
                  <a:pt x="11347471" y="6880892"/>
                  <a:pt x="11340961" y="6897981"/>
                  <a:pt x="11327230" y="6900804"/>
                </a:cubicBezTo>
                <a:cubicBezTo>
                  <a:pt x="11304168" y="6906977"/>
                  <a:pt x="11271777" y="6916501"/>
                  <a:pt x="11254698" y="6909990"/>
                </a:cubicBezTo>
                <a:cubicBezTo>
                  <a:pt x="11191838" y="6875663"/>
                  <a:pt x="11133564" y="6877622"/>
                  <a:pt x="11072127" y="6906004"/>
                </a:cubicBezTo>
                <a:cubicBezTo>
                  <a:pt x="11062798" y="6909354"/>
                  <a:pt x="11053468" y="6912704"/>
                  <a:pt x="11044664" y="6911651"/>
                </a:cubicBezTo>
                <a:cubicBezTo>
                  <a:pt x="10990792" y="6914136"/>
                  <a:pt x="10939213" y="6934763"/>
                  <a:pt x="10883232" y="6954864"/>
                </a:cubicBezTo>
                <a:cubicBezTo>
                  <a:pt x="10865099" y="6957161"/>
                  <a:pt x="10850314" y="6968792"/>
                  <a:pt x="10824958" y="6956823"/>
                </a:cubicBezTo>
                <a:cubicBezTo>
                  <a:pt x="10877407" y="6891630"/>
                  <a:pt x="10964911" y="6906571"/>
                  <a:pt x="11028982" y="6856169"/>
                </a:cubicBezTo>
                <a:cubicBezTo>
                  <a:pt x="11007503" y="6849132"/>
                  <a:pt x="10986549" y="6837689"/>
                  <a:pt x="10972818" y="6840513"/>
                </a:cubicBezTo>
                <a:cubicBezTo>
                  <a:pt x="10873349" y="6850941"/>
                  <a:pt x="10773353" y="6865774"/>
                  <a:pt x="10678998" y="6908083"/>
                </a:cubicBezTo>
                <a:cubicBezTo>
                  <a:pt x="10636749" y="6925360"/>
                  <a:pt x="10594500" y="6942638"/>
                  <a:pt x="10548375" y="6954985"/>
                </a:cubicBezTo>
                <a:cubicBezTo>
                  <a:pt x="10460530" y="6980205"/>
                  <a:pt x="10372685" y="7005426"/>
                  <a:pt x="10291534" y="7049315"/>
                </a:cubicBezTo>
                <a:cubicBezTo>
                  <a:pt x="10244356" y="7070470"/>
                  <a:pt x="10193304" y="7086694"/>
                  <a:pt x="10150001" y="7112779"/>
                </a:cubicBezTo>
                <a:cubicBezTo>
                  <a:pt x="10135214" y="7124410"/>
                  <a:pt x="10116554" y="7131110"/>
                  <a:pt x="10123248" y="7149780"/>
                </a:cubicBezTo>
                <a:cubicBezTo>
                  <a:pt x="10130470" y="7164045"/>
                  <a:pt x="10147549" y="7170556"/>
                  <a:pt x="10159699" y="7180944"/>
                </a:cubicBezTo>
                <a:cubicBezTo>
                  <a:pt x="10172376" y="7186929"/>
                  <a:pt x="10186108" y="7184106"/>
                  <a:pt x="10199313" y="7185686"/>
                </a:cubicBezTo>
                <a:cubicBezTo>
                  <a:pt x="10242801" y="7195359"/>
                  <a:pt x="10280832" y="7213312"/>
                  <a:pt x="10317810" y="7240073"/>
                </a:cubicBezTo>
                <a:cubicBezTo>
                  <a:pt x="10316228" y="7253285"/>
                  <a:pt x="10319049" y="7267024"/>
                  <a:pt x="10313066" y="7279708"/>
                </a:cubicBezTo>
                <a:cubicBezTo>
                  <a:pt x="10301284" y="7340835"/>
                  <a:pt x="10304104" y="7354574"/>
                  <a:pt x="10319786" y="7410054"/>
                </a:cubicBezTo>
                <a:cubicBezTo>
                  <a:pt x="10301653" y="7412351"/>
                  <a:pt x="10287921" y="7415174"/>
                  <a:pt x="10270843" y="7408663"/>
                </a:cubicBezTo>
                <a:cubicBezTo>
                  <a:pt x="10235630" y="7404448"/>
                  <a:pt x="10211515" y="7419429"/>
                  <a:pt x="10199021" y="7449202"/>
                </a:cubicBezTo>
                <a:cubicBezTo>
                  <a:pt x="10185474" y="7487783"/>
                  <a:pt x="10156957" y="7502238"/>
                  <a:pt x="10126146" y="7498550"/>
                </a:cubicBezTo>
                <a:cubicBezTo>
                  <a:pt x="10015581" y="7489782"/>
                  <a:pt x="9917879" y="7522757"/>
                  <a:pt x="9816302" y="7550800"/>
                </a:cubicBezTo>
                <a:cubicBezTo>
                  <a:pt x="9687262" y="7584491"/>
                  <a:pt x="9569844" y="7632973"/>
                  <a:pt x="9443624" y="7680402"/>
                </a:cubicBezTo>
                <a:cubicBezTo>
                  <a:pt x="9382714" y="7704380"/>
                  <a:pt x="9329553" y="7738219"/>
                  <a:pt x="9265297" y="7752863"/>
                </a:cubicBezTo>
                <a:cubicBezTo>
                  <a:pt x="9219173" y="7765210"/>
                  <a:pt x="9179744" y="7796226"/>
                  <a:pt x="9152992" y="7833226"/>
                </a:cubicBezTo>
                <a:cubicBezTo>
                  <a:pt x="9131170" y="7866350"/>
                  <a:pt x="9105472" y="7894542"/>
                  <a:pt x="9079247" y="7927139"/>
                </a:cubicBezTo>
                <a:cubicBezTo>
                  <a:pt x="9068863" y="7939297"/>
                  <a:pt x="9058479" y="7951455"/>
                  <a:pt x="9044220" y="7958682"/>
                </a:cubicBezTo>
                <a:cubicBezTo>
                  <a:pt x="8982783" y="7987064"/>
                  <a:pt x="8940718" y="8040099"/>
                  <a:pt x="8890378" y="8087677"/>
                </a:cubicBezTo>
                <a:cubicBezTo>
                  <a:pt x="8855692" y="8079058"/>
                  <a:pt x="8821008" y="8070439"/>
                  <a:pt x="8790198" y="8066751"/>
                </a:cubicBezTo>
                <a:cubicBezTo>
                  <a:pt x="8729815" y="8086325"/>
                  <a:pt x="8705883" y="8137064"/>
                  <a:pt x="8665400" y="8176888"/>
                </a:cubicBezTo>
                <a:cubicBezTo>
                  <a:pt x="8543950" y="8296359"/>
                  <a:pt x="8426901" y="8416357"/>
                  <a:pt x="8305451" y="8535829"/>
                </a:cubicBezTo>
                <a:cubicBezTo>
                  <a:pt x="8214100" y="8627634"/>
                  <a:pt x="8122749" y="8719440"/>
                  <a:pt x="8027524" y="8806314"/>
                </a:cubicBezTo>
                <a:cubicBezTo>
                  <a:pt x="7932297" y="8893189"/>
                  <a:pt x="7837599" y="8975660"/>
                  <a:pt x="7742374" y="9062535"/>
                </a:cubicBezTo>
                <a:lnTo>
                  <a:pt x="7539726" y="9235929"/>
                </a:lnTo>
                <a:lnTo>
                  <a:pt x="7212598" y="9235929"/>
                </a:lnTo>
                <a:lnTo>
                  <a:pt x="7233249" y="9175804"/>
                </a:lnTo>
                <a:cubicBezTo>
                  <a:pt x="7163696" y="9122809"/>
                  <a:pt x="7106661" y="9151717"/>
                  <a:pt x="7048045" y="9193837"/>
                </a:cubicBezTo>
                <a:cubicBezTo>
                  <a:pt x="6993988" y="9160565"/>
                  <a:pt x="6947865" y="9172912"/>
                  <a:pt x="6911255" y="9217666"/>
                </a:cubicBezTo>
                <a:lnTo>
                  <a:pt x="6891340" y="9235929"/>
                </a:lnTo>
                <a:lnTo>
                  <a:pt x="318864" y="9235929"/>
                </a:lnTo>
                <a:lnTo>
                  <a:pt x="323454" y="9201889"/>
                </a:lnTo>
                <a:cubicBezTo>
                  <a:pt x="380490" y="9172980"/>
                  <a:pt x="441926" y="9144599"/>
                  <a:pt x="495086" y="9110759"/>
                </a:cubicBezTo>
                <a:cubicBezTo>
                  <a:pt x="537863" y="9089078"/>
                  <a:pt x="564615" y="9052077"/>
                  <a:pt x="618487" y="9049592"/>
                </a:cubicBezTo>
                <a:cubicBezTo>
                  <a:pt x="685380" y="9012929"/>
                  <a:pt x="749451" y="8962528"/>
                  <a:pt x="784822" y="8890824"/>
                </a:cubicBezTo>
                <a:cubicBezTo>
                  <a:pt x="790278" y="8882543"/>
                  <a:pt x="778655" y="8867750"/>
                  <a:pt x="775835" y="8854012"/>
                </a:cubicBezTo>
                <a:cubicBezTo>
                  <a:pt x="799424" y="8843434"/>
                  <a:pt x="828468" y="8824577"/>
                  <a:pt x="855931" y="8818930"/>
                </a:cubicBezTo>
                <a:cubicBezTo>
                  <a:pt x="888851" y="8805003"/>
                  <a:pt x="917368" y="8790549"/>
                  <a:pt x="939191" y="8757424"/>
                </a:cubicBezTo>
                <a:cubicBezTo>
                  <a:pt x="950103" y="8740863"/>
                  <a:pt x="965416" y="8724828"/>
                  <a:pt x="984076" y="8718128"/>
                </a:cubicBezTo>
                <a:cubicBezTo>
                  <a:pt x="1040584" y="8693623"/>
                  <a:pt x="1072791" y="8648342"/>
                  <a:pt x="1109928" y="8599183"/>
                </a:cubicBezTo>
                <a:cubicBezTo>
                  <a:pt x="1126295" y="8574341"/>
                  <a:pt x="1151466" y="8550552"/>
                  <a:pt x="1172761" y="8521833"/>
                </a:cubicBezTo>
                <a:cubicBezTo>
                  <a:pt x="1178217" y="8513552"/>
                  <a:pt x="1179799" y="8500340"/>
                  <a:pt x="1170284" y="8467932"/>
                </a:cubicBezTo>
                <a:cubicBezTo>
                  <a:pt x="1127508" y="8489614"/>
                  <a:pt x="1089133" y="8511822"/>
                  <a:pt x="1051285" y="8529626"/>
                </a:cubicBezTo>
                <a:cubicBezTo>
                  <a:pt x="1008509" y="8551308"/>
                  <a:pt x="970134" y="8573517"/>
                  <a:pt x="927358" y="8595198"/>
                </a:cubicBezTo>
                <a:cubicBezTo>
                  <a:pt x="879653" y="8620757"/>
                  <a:pt x="836876" y="8642437"/>
                  <a:pt x="785297" y="8663065"/>
                </a:cubicBezTo>
                <a:cubicBezTo>
                  <a:pt x="738120" y="8684220"/>
                  <a:pt x="694816" y="8710305"/>
                  <a:pt x="650986" y="8740795"/>
                </a:cubicBezTo>
                <a:cubicBezTo>
                  <a:pt x="611556" y="8771810"/>
                  <a:pt x="564378" y="8792965"/>
                  <a:pt x="525477" y="8819577"/>
                </a:cubicBezTo>
                <a:cubicBezTo>
                  <a:pt x="506289" y="8830681"/>
                  <a:pt x="490976" y="8846716"/>
                  <a:pt x="475136" y="8867155"/>
                </a:cubicBezTo>
                <a:cubicBezTo>
                  <a:pt x="464752" y="8879313"/>
                  <a:pt x="483069" y="8912775"/>
                  <a:pt x="501202" y="8910477"/>
                </a:cubicBezTo>
                <a:cubicBezTo>
                  <a:pt x="542397" y="8902008"/>
                  <a:pt x="583592" y="8893539"/>
                  <a:pt x="624786" y="8885069"/>
                </a:cubicBezTo>
                <a:cubicBezTo>
                  <a:pt x="642920" y="8882772"/>
                  <a:pt x="656651" y="8879948"/>
                  <a:pt x="674785" y="8877652"/>
                </a:cubicBezTo>
                <a:cubicBezTo>
                  <a:pt x="674785" y="8877652"/>
                  <a:pt x="678659" y="8882583"/>
                  <a:pt x="683060" y="8883110"/>
                </a:cubicBezTo>
                <a:cubicBezTo>
                  <a:pt x="670568" y="8912883"/>
                  <a:pt x="646451" y="8927864"/>
                  <a:pt x="618461" y="8937914"/>
                </a:cubicBezTo>
                <a:cubicBezTo>
                  <a:pt x="533436" y="8976874"/>
                  <a:pt x="451230" y="9029571"/>
                  <a:pt x="362331" y="9063600"/>
                </a:cubicBezTo>
                <a:cubicBezTo>
                  <a:pt x="277832" y="9098155"/>
                  <a:pt x="195100" y="9155256"/>
                  <a:pt x="113948" y="9199146"/>
                </a:cubicBezTo>
                <a:lnTo>
                  <a:pt x="47946" y="9235929"/>
                </a:lnTo>
                <a:lnTo>
                  <a:pt x="0" y="9235929"/>
                </a:lnTo>
                <a:lnTo>
                  <a:pt x="0" y="2963063"/>
                </a:lnTo>
                <a:lnTo>
                  <a:pt x="43571" y="2933621"/>
                </a:lnTo>
                <a:cubicBezTo>
                  <a:pt x="101087" y="2891369"/>
                  <a:pt x="155698" y="2845419"/>
                  <a:pt x="210177" y="2800570"/>
                </a:cubicBezTo>
                <a:cubicBezTo>
                  <a:pt x="284106" y="2742415"/>
                  <a:pt x="362437" y="2684787"/>
                  <a:pt x="436367" y="2626632"/>
                </a:cubicBezTo>
                <a:cubicBezTo>
                  <a:pt x="456081" y="2611124"/>
                  <a:pt x="471922" y="2590685"/>
                  <a:pt x="475611" y="2559858"/>
                </a:cubicBezTo>
                <a:cubicBezTo>
                  <a:pt x="462407" y="2558277"/>
                  <a:pt x="453604" y="2557224"/>
                  <a:pt x="444274" y="2560574"/>
                </a:cubicBezTo>
                <a:cubicBezTo>
                  <a:pt x="386184" y="2598290"/>
                  <a:pt x="327568" y="2640410"/>
                  <a:pt x="264550" y="2682004"/>
                </a:cubicBezTo>
                <a:cubicBezTo>
                  <a:pt x="259621" y="2685880"/>
                  <a:pt x="254165" y="2694162"/>
                  <a:pt x="248710" y="2702442"/>
                </a:cubicBezTo>
                <a:cubicBezTo>
                  <a:pt x="232342" y="2727285"/>
                  <a:pt x="217030" y="2743320"/>
                  <a:pt x="185692" y="2744036"/>
                </a:cubicBezTo>
                <a:cubicBezTo>
                  <a:pt x="176362" y="2747386"/>
                  <a:pt x="162103" y="2754613"/>
                  <a:pt x="152246" y="2762367"/>
                </a:cubicBezTo>
                <a:cubicBezTo>
                  <a:pt x="105068" y="2783522"/>
                  <a:pt x="61764" y="2809607"/>
                  <a:pt x="57020" y="2849242"/>
                </a:cubicBezTo>
                <a:lnTo>
                  <a:pt x="0" y="2881427"/>
                </a:lnTo>
                <a:lnTo>
                  <a:pt x="0" y="2817724"/>
                </a:lnTo>
                <a:lnTo>
                  <a:pt x="34845" y="2787400"/>
                </a:lnTo>
                <a:cubicBezTo>
                  <a:pt x="48949" y="2776804"/>
                  <a:pt x="64308" y="2769709"/>
                  <a:pt x="84115" y="2772080"/>
                </a:cubicBezTo>
                <a:cubicBezTo>
                  <a:pt x="124071" y="2736659"/>
                  <a:pt x="163500" y="2705644"/>
                  <a:pt x="203456" y="2670224"/>
                </a:cubicBezTo>
                <a:cubicBezTo>
                  <a:pt x="217715" y="2662997"/>
                  <a:pt x="224225" y="2645908"/>
                  <a:pt x="238484" y="2638681"/>
                </a:cubicBezTo>
                <a:cubicBezTo>
                  <a:pt x="369448" y="2551617"/>
                  <a:pt x="484916" y="2444831"/>
                  <a:pt x="627503" y="2372559"/>
                </a:cubicBezTo>
                <a:cubicBezTo>
                  <a:pt x="741916" y="2274580"/>
                  <a:pt x="878521" y="2214993"/>
                  <a:pt x="1000155" y="2131280"/>
                </a:cubicBezTo>
                <a:cubicBezTo>
                  <a:pt x="1107531" y="2054794"/>
                  <a:pt x="1217727" y="1992046"/>
                  <a:pt x="1336726" y="1930351"/>
                </a:cubicBezTo>
                <a:cubicBezTo>
                  <a:pt x="1403619" y="1893689"/>
                  <a:pt x="1467163" y="1847692"/>
                  <a:pt x="1542332" y="1816487"/>
                </a:cubicBezTo>
                <a:cubicBezTo>
                  <a:pt x="1551661" y="1813137"/>
                  <a:pt x="1565921" y="1805909"/>
                  <a:pt x="1575778" y="1798156"/>
                </a:cubicBezTo>
                <a:cubicBezTo>
                  <a:pt x="1707270" y="1706688"/>
                  <a:pt x="1853205" y="1643751"/>
                  <a:pt x="1988571" y="1557214"/>
                </a:cubicBezTo>
                <a:cubicBezTo>
                  <a:pt x="2017616" y="1538356"/>
                  <a:pt x="2049480" y="1533236"/>
                  <a:pt x="2082926" y="1514905"/>
                </a:cubicBezTo>
                <a:cubicBezTo>
                  <a:pt x="2163550" y="1475419"/>
                  <a:pt x="2245229" y="1427126"/>
                  <a:pt x="2330781" y="1383763"/>
                </a:cubicBezTo>
                <a:cubicBezTo>
                  <a:pt x="2495903" y="1309722"/>
                  <a:pt x="2646056" y="1211554"/>
                  <a:pt x="2815053" y="1142443"/>
                </a:cubicBezTo>
                <a:cubicBezTo>
                  <a:pt x="2871560" y="1117939"/>
                  <a:pt x="2920846" y="1079169"/>
                  <a:pt x="2977882" y="1050260"/>
                </a:cubicBezTo>
                <a:cubicBezTo>
                  <a:pt x="3062907" y="1011301"/>
                  <a:pt x="3145112" y="958603"/>
                  <a:pt x="3237360" y="933910"/>
                </a:cubicBezTo>
                <a:cubicBezTo>
                  <a:pt x="3277843" y="894086"/>
                  <a:pt x="3338225" y="874512"/>
                  <a:pt x="3390859" y="845076"/>
                </a:cubicBezTo>
                <a:cubicBezTo>
                  <a:pt x="3524116" y="776155"/>
                  <a:pt x="3662302" y="703357"/>
                  <a:pt x="3802782" y="648701"/>
                </a:cubicBezTo>
                <a:cubicBezTo>
                  <a:pt x="3877950" y="617496"/>
                  <a:pt x="3944842" y="580833"/>
                  <a:pt x="4015609" y="549101"/>
                </a:cubicBezTo>
                <a:cubicBezTo>
                  <a:pt x="4067188" y="528473"/>
                  <a:pt x="4113839" y="511723"/>
                  <a:pt x="4164891" y="495499"/>
                </a:cubicBezTo>
                <a:cubicBezTo>
                  <a:pt x="4197811" y="481571"/>
                  <a:pt x="4234604" y="472575"/>
                  <a:pt x="4263121" y="458121"/>
                </a:cubicBezTo>
                <a:cubicBezTo>
                  <a:pt x="4329487" y="425862"/>
                  <a:pt x="4395852" y="393603"/>
                  <a:pt x="4465564" y="370679"/>
                </a:cubicBezTo>
                <a:cubicBezTo>
                  <a:pt x="4512215" y="353928"/>
                  <a:pt x="4556045" y="323439"/>
                  <a:pt x="4603223" y="302284"/>
                </a:cubicBezTo>
                <a:cubicBezTo>
                  <a:pt x="4632268" y="283426"/>
                  <a:pt x="4622227" y="255422"/>
                  <a:pt x="4634192" y="230053"/>
                </a:cubicBezTo>
                <a:cubicBezTo>
                  <a:pt x="4665530" y="229337"/>
                  <a:pt x="4705143" y="234079"/>
                  <a:pt x="4733133" y="224028"/>
                </a:cubicBezTo>
                <a:cubicBezTo>
                  <a:pt x="4766580" y="205697"/>
                  <a:pt x="4800210" y="223124"/>
                  <a:pt x="4833130" y="209196"/>
                </a:cubicBezTo>
                <a:cubicBezTo>
                  <a:pt x="4875378" y="191919"/>
                  <a:pt x="4918155" y="170237"/>
                  <a:pt x="4965332" y="149082"/>
                </a:cubicBezTo>
                <a:cubicBezTo>
                  <a:pt x="5077821" y="104477"/>
                  <a:pt x="5190837" y="55467"/>
                  <a:pt x="5303326" y="10862"/>
                </a:cubicBezTo>
                <a:cubicBezTo>
                  <a:pt x="5321986" y="4162"/>
                  <a:pt x="5345048" y="-2012"/>
                  <a:pt x="5367055" y="622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27925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985436" y="0"/>
            <a:ext cx="8944056" cy="10056208"/>
          </a:xfrm>
          <a:custGeom>
            <a:avLst/>
            <a:gdLst>
              <a:gd name="connsiteX0" fmla="*/ 0 w 8944056"/>
              <a:gd name="connsiteY0" fmla="*/ 0 h 10056208"/>
              <a:gd name="connsiteX1" fmla="*/ 7477328 w 8944056"/>
              <a:gd name="connsiteY1" fmla="*/ 0 h 10056208"/>
              <a:gd name="connsiteX2" fmla="*/ 7481023 w 8944056"/>
              <a:gd name="connsiteY2" fmla="*/ 11524 h 10056208"/>
              <a:gd name="connsiteX3" fmla="*/ 7353780 w 8944056"/>
              <a:gd name="connsiteY3" fmla="*/ 177794 h 10056208"/>
              <a:gd name="connsiteX4" fmla="*/ 7389329 w 8944056"/>
              <a:gd name="connsiteY4" fmla="*/ 288642 h 10056208"/>
              <a:gd name="connsiteX5" fmla="*/ 7457858 w 8944056"/>
              <a:gd name="connsiteY5" fmla="*/ 321355 h 10056208"/>
              <a:gd name="connsiteX6" fmla="*/ 7402423 w 8944056"/>
              <a:gd name="connsiteY6" fmla="*/ 409907 h 10056208"/>
              <a:gd name="connsiteX7" fmla="*/ 7283487 w 8944056"/>
              <a:gd name="connsiteY7" fmla="*/ 451267 h 10056208"/>
              <a:gd name="connsiteX8" fmla="*/ 7176246 w 8944056"/>
              <a:gd name="connsiteY8" fmla="*/ 488875 h 10056208"/>
              <a:gd name="connsiteX9" fmla="*/ 7098945 w 8944056"/>
              <a:gd name="connsiteY9" fmla="*/ 458975 h 10056208"/>
              <a:gd name="connsiteX10" fmla="*/ 7036495 w 8944056"/>
              <a:gd name="connsiteY10" fmla="*/ 485436 h 10056208"/>
              <a:gd name="connsiteX11" fmla="*/ 7035674 w 8944056"/>
              <a:gd name="connsiteY11" fmla="*/ 553258 h 10056208"/>
              <a:gd name="connsiteX12" fmla="*/ 7113910 w 8944056"/>
              <a:gd name="connsiteY12" fmla="*/ 586074 h 10056208"/>
              <a:gd name="connsiteX13" fmla="*/ 7189684 w 8944056"/>
              <a:gd name="connsiteY13" fmla="*/ 822355 h 10056208"/>
              <a:gd name="connsiteX14" fmla="*/ 7097994 w 8944056"/>
              <a:gd name="connsiteY14" fmla="*/ 938620 h 10056208"/>
              <a:gd name="connsiteX15" fmla="*/ 7000228 w 8944056"/>
              <a:gd name="connsiteY15" fmla="*/ 915282 h 10056208"/>
              <a:gd name="connsiteX16" fmla="*/ 6984205 w 8944056"/>
              <a:gd name="connsiteY16" fmla="*/ 955808 h 10056208"/>
              <a:gd name="connsiteX17" fmla="*/ 7221951 w 8944056"/>
              <a:gd name="connsiteY17" fmla="*/ 1124059 h 10056208"/>
              <a:gd name="connsiteX18" fmla="*/ 7246855 w 8944056"/>
              <a:gd name="connsiteY18" fmla="*/ 1312313 h 10056208"/>
              <a:gd name="connsiteX19" fmla="*/ 7105353 w 8944056"/>
              <a:gd name="connsiteY19" fmla="*/ 1212925 h 10056208"/>
              <a:gd name="connsiteX20" fmla="*/ 7090380 w 8944056"/>
              <a:gd name="connsiteY20" fmla="*/ 1327106 h 10056208"/>
              <a:gd name="connsiteX21" fmla="*/ 7279365 w 8944056"/>
              <a:gd name="connsiteY21" fmla="*/ 1353360 h 10056208"/>
              <a:gd name="connsiteX22" fmla="*/ 7128383 w 8944056"/>
              <a:gd name="connsiteY22" fmla="*/ 1475770 h 10056208"/>
              <a:gd name="connsiteX23" fmla="*/ 7316083 w 8944056"/>
              <a:gd name="connsiteY23" fmla="*/ 1447747 h 10056208"/>
              <a:gd name="connsiteX24" fmla="*/ 7347423 w 8944056"/>
              <a:gd name="connsiteY24" fmla="*/ 1505254 h 10056208"/>
              <a:gd name="connsiteX25" fmla="*/ 7312805 w 8944056"/>
              <a:gd name="connsiteY25" fmla="*/ 1558178 h 10056208"/>
              <a:gd name="connsiteX26" fmla="*/ 7337714 w 8944056"/>
              <a:gd name="connsiteY26" fmla="*/ 1585577 h 10056208"/>
              <a:gd name="connsiteX27" fmla="*/ 7491726 w 8944056"/>
              <a:gd name="connsiteY27" fmla="*/ 1774247 h 10056208"/>
              <a:gd name="connsiteX28" fmla="*/ 7626330 w 8944056"/>
              <a:gd name="connsiteY28" fmla="*/ 1801855 h 10056208"/>
              <a:gd name="connsiteX29" fmla="*/ 7673104 w 8944056"/>
              <a:gd name="connsiteY29" fmla="*/ 1947707 h 10056208"/>
              <a:gd name="connsiteX30" fmla="*/ 7585394 w 8944056"/>
              <a:gd name="connsiteY30" fmla="*/ 1975836 h 10056208"/>
              <a:gd name="connsiteX31" fmla="*/ 7466578 w 8944056"/>
              <a:gd name="connsiteY31" fmla="*/ 1927079 h 10056208"/>
              <a:gd name="connsiteX32" fmla="*/ 7382262 w 8944056"/>
              <a:gd name="connsiteY32" fmla="*/ 1835088 h 10056208"/>
              <a:gd name="connsiteX33" fmla="*/ 7233151 w 8944056"/>
              <a:gd name="connsiteY33" fmla="*/ 1963333 h 10056208"/>
              <a:gd name="connsiteX34" fmla="*/ 7383075 w 8944056"/>
              <a:gd name="connsiteY34" fmla="*/ 2008547 h 10056208"/>
              <a:gd name="connsiteX35" fmla="*/ 7415817 w 8944056"/>
              <a:gd name="connsiteY35" fmla="*/ 2110643 h 10056208"/>
              <a:gd name="connsiteX36" fmla="*/ 7546210 w 8944056"/>
              <a:gd name="connsiteY36" fmla="*/ 2165338 h 10056208"/>
              <a:gd name="connsiteX37" fmla="*/ 7756940 w 8944056"/>
              <a:gd name="connsiteY37" fmla="*/ 2400160 h 10056208"/>
              <a:gd name="connsiteX38" fmla="*/ 7656013 w 8944056"/>
              <a:gd name="connsiteY38" fmla="*/ 2477566 h 10056208"/>
              <a:gd name="connsiteX39" fmla="*/ 7635433 w 8944056"/>
              <a:gd name="connsiteY39" fmla="*/ 2413391 h 10056208"/>
              <a:gd name="connsiteX40" fmla="*/ 7575322 w 8944056"/>
              <a:gd name="connsiteY40" fmla="*/ 2406932 h 10056208"/>
              <a:gd name="connsiteX41" fmla="*/ 7511470 w 8944056"/>
              <a:gd name="connsiteY41" fmla="*/ 2388804 h 10056208"/>
              <a:gd name="connsiteX42" fmla="*/ 7575322 w 8944056"/>
              <a:gd name="connsiteY42" fmla="*/ 2406932 h 10056208"/>
              <a:gd name="connsiteX43" fmla="*/ 7593097 w 8944056"/>
              <a:gd name="connsiteY43" fmla="*/ 2462355 h 10056208"/>
              <a:gd name="connsiteX44" fmla="*/ 7656013 w 8944056"/>
              <a:gd name="connsiteY44" fmla="*/ 2477566 h 10056208"/>
              <a:gd name="connsiteX45" fmla="*/ 7763953 w 8944056"/>
              <a:gd name="connsiteY45" fmla="*/ 2542679 h 10056208"/>
              <a:gd name="connsiteX46" fmla="*/ 7856221 w 8944056"/>
              <a:gd name="connsiteY46" fmla="*/ 2619251 h 10056208"/>
              <a:gd name="connsiteX47" fmla="*/ 8143785 w 8944056"/>
              <a:gd name="connsiteY47" fmla="*/ 2842301 h 10056208"/>
              <a:gd name="connsiteX48" fmla="*/ 8152204 w 8944056"/>
              <a:gd name="connsiteY48" fmla="*/ 2868555 h 10056208"/>
              <a:gd name="connsiteX49" fmla="*/ 8425622 w 8944056"/>
              <a:gd name="connsiteY49" fmla="*/ 2977110 h 10056208"/>
              <a:gd name="connsiteX50" fmla="*/ 8429476 w 8944056"/>
              <a:gd name="connsiteY50" fmla="*/ 3139944 h 10056208"/>
              <a:gd name="connsiteX51" fmla="*/ 8498941 w 8944056"/>
              <a:gd name="connsiteY51" fmla="*/ 3175574 h 10056208"/>
              <a:gd name="connsiteX52" fmla="*/ 8433798 w 8944056"/>
              <a:gd name="connsiteY52" fmla="*/ 3264022 h 10056208"/>
              <a:gd name="connsiteX53" fmla="*/ 8354043 w 8944056"/>
              <a:gd name="connsiteY53" fmla="*/ 3196305 h 10056208"/>
              <a:gd name="connsiteX54" fmla="*/ 8200961 w 8944056"/>
              <a:gd name="connsiteY54" fmla="*/ 3171405 h 10056208"/>
              <a:gd name="connsiteX55" fmla="*/ 8075245 w 8944056"/>
              <a:gd name="connsiteY55" fmla="*/ 3131296 h 10056208"/>
              <a:gd name="connsiteX56" fmla="*/ 7946254 w 8944056"/>
              <a:gd name="connsiteY56" fmla="*/ 3121190 h 10056208"/>
              <a:gd name="connsiteX57" fmla="*/ 7942744 w 8944056"/>
              <a:gd name="connsiteY57" fmla="*/ 3170572 h 10056208"/>
              <a:gd name="connsiteX58" fmla="*/ 8110673 w 8944056"/>
              <a:gd name="connsiteY58" fmla="*/ 3332258 h 10056208"/>
              <a:gd name="connsiteX59" fmla="*/ 8263167 w 8944056"/>
              <a:gd name="connsiteY59" fmla="*/ 3486029 h 10056208"/>
              <a:gd name="connsiteX60" fmla="*/ 8349588 w 8944056"/>
              <a:gd name="connsiteY60" fmla="*/ 3564477 h 10056208"/>
              <a:gd name="connsiteX61" fmla="*/ 8462322 w 8944056"/>
              <a:gd name="connsiteY61" fmla="*/ 3634486 h 10056208"/>
              <a:gd name="connsiteX62" fmla="*/ 8427936 w 8944056"/>
              <a:gd name="connsiteY62" fmla="*/ 3748458 h 10056208"/>
              <a:gd name="connsiteX63" fmla="*/ 8509796 w 8944056"/>
              <a:gd name="connsiteY63" fmla="*/ 3802632 h 10056208"/>
              <a:gd name="connsiteX64" fmla="*/ 8393550 w 8944056"/>
              <a:gd name="connsiteY64" fmla="*/ 3862431 h 10056208"/>
              <a:gd name="connsiteX65" fmla="*/ 8286895 w 8944056"/>
              <a:gd name="connsiteY65" fmla="*/ 3851596 h 10056208"/>
              <a:gd name="connsiteX66" fmla="*/ 8220119 w 8944056"/>
              <a:gd name="connsiteY66" fmla="*/ 3834406 h 10056208"/>
              <a:gd name="connsiteX67" fmla="*/ 8286895 w 8944056"/>
              <a:gd name="connsiteY67" fmla="*/ 3851596 h 10056208"/>
              <a:gd name="connsiteX68" fmla="*/ 8330745 w 8944056"/>
              <a:gd name="connsiteY68" fmla="*/ 3998386 h 10056208"/>
              <a:gd name="connsiteX69" fmla="*/ 8494232 w 8944056"/>
              <a:gd name="connsiteY69" fmla="*/ 4126111 h 10056208"/>
              <a:gd name="connsiteX70" fmla="*/ 8521361 w 8944056"/>
              <a:gd name="connsiteY70" fmla="*/ 4210705 h 10056208"/>
              <a:gd name="connsiteX71" fmla="*/ 8481714 w 8944056"/>
              <a:gd name="connsiteY71" fmla="*/ 4278109 h 10056208"/>
              <a:gd name="connsiteX72" fmla="*/ 8526617 w 8944056"/>
              <a:gd name="connsiteY72" fmla="*/ 4418127 h 10056208"/>
              <a:gd name="connsiteX73" fmla="*/ 8598070 w 8944056"/>
              <a:gd name="connsiteY73" fmla="*/ 4449902 h 10056208"/>
              <a:gd name="connsiteX74" fmla="*/ 8628006 w 8944056"/>
              <a:gd name="connsiteY74" fmla="*/ 4543248 h 10056208"/>
              <a:gd name="connsiteX75" fmla="*/ 8555729 w 8944056"/>
              <a:gd name="connsiteY75" fmla="*/ 4659721 h 10056208"/>
              <a:gd name="connsiteX76" fmla="*/ 8628816 w 8944056"/>
              <a:gd name="connsiteY76" fmla="*/ 4797134 h 10056208"/>
              <a:gd name="connsiteX77" fmla="*/ 8758621 w 8944056"/>
              <a:gd name="connsiteY77" fmla="*/ 4980699 h 10056208"/>
              <a:gd name="connsiteX78" fmla="*/ 8666699 w 8944056"/>
              <a:gd name="connsiteY78" fmla="*/ 5035914 h 10056208"/>
              <a:gd name="connsiteX79" fmla="*/ 8599923 w 8944056"/>
              <a:gd name="connsiteY79" fmla="*/ 5018725 h 10056208"/>
              <a:gd name="connsiteX80" fmla="*/ 8666699 w 8944056"/>
              <a:gd name="connsiteY80" fmla="*/ 5035914 h 10056208"/>
              <a:gd name="connsiteX81" fmla="*/ 8683421 w 8944056"/>
              <a:gd name="connsiteY81" fmla="*/ 5098110 h 10056208"/>
              <a:gd name="connsiteX82" fmla="*/ 8752885 w 8944056"/>
              <a:gd name="connsiteY82" fmla="*/ 5133739 h 10056208"/>
              <a:gd name="connsiteX83" fmla="*/ 8616173 w 8944056"/>
              <a:gd name="connsiteY83" fmla="*/ 5200102 h 10056208"/>
              <a:gd name="connsiteX84" fmla="*/ 8491862 w 8944056"/>
              <a:gd name="connsiteY84" fmla="*/ 5124154 h 10056208"/>
              <a:gd name="connsiteX85" fmla="*/ 8466132 w 8944056"/>
              <a:gd name="connsiteY85" fmla="*/ 5164575 h 10056208"/>
              <a:gd name="connsiteX86" fmla="*/ 8630203 w 8944056"/>
              <a:gd name="connsiteY86" fmla="*/ 5324284 h 10056208"/>
              <a:gd name="connsiteX87" fmla="*/ 8603420 w 8944056"/>
              <a:gd name="connsiteY87" fmla="*/ 5371477 h 10056208"/>
              <a:gd name="connsiteX88" fmla="*/ 8594415 w 8944056"/>
              <a:gd name="connsiteY88" fmla="*/ 5393667 h 10056208"/>
              <a:gd name="connsiteX89" fmla="*/ 8691011 w 8944056"/>
              <a:gd name="connsiteY89" fmla="*/ 5433465 h 10056208"/>
              <a:gd name="connsiteX90" fmla="*/ 8770769 w 8944056"/>
              <a:gd name="connsiteY90" fmla="*/ 5420755 h 10056208"/>
              <a:gd name="connsiteX91" fmla="*/ 8784215 w 8944056"/>
              <a:gd name="connsiteY91" fmla="*/ 5512954 h 10056208"/>
              <a:gd name="connsiteX92" fmla="*/ 8785031 w 8944056"/>
              <a:gd name="connsiteY92" fmla="*/ 5605987 h 10056208"/>
              <a:gd name="connsiteX93" fmla="*/ 8759650 w 8944056"/>
              <a:gd name="connsiteY93" fmla="*/ 5697770 h 10056208"/>
              <a:gd name="connsiteX94" fmla="*/ 8744094 w 8944056"/>
              <a:gd name="connsiteY94" fmla="*/ 5779967 h 10056208"/>
              <a:gd name="connsiteX95" fmla="*/ 8673459 w 8944056"/>
              <a:gd name="connsiteY95" fmla="*/ 5760798 h 10056208"/>
              <a:gd name="connsiteX96" fmla="*/ 8659541 w 8944056"/>
              <a:gd name="connsiteY96" fmla="*/ 5787780 h 10056208"/>
              <a:gd name="connsiteX97" fmla="*/ 8686553 w 8944056"/>
              <a:gd name="connsiteY97" fmla="*/ 5882063 h 10056208"/>
              <a:gd name="connsiteX98" fmla="*/ 8820806 w 8944056"/>
              <a:gd name="connsiteY98" fmla="*/ 5938738 h 10056208"/>
              <a:gd name="connsiteX99" fmla="*/ 8795542 w 8944056"/>
              <a:gd name="connsiteY99" fmla="*/ 6020831 h 10056208"/>
              <a:gd name="connsiteX100" fmla="*/ 8808988 w 8944056"/>
              <a:gd name="connsiteY100" fmla="*/ 6113030 h 10056208"/>
              <a:gd name="connsiteX101" fmla="*/ 8801852 w 8944056"/>
              <a:gd name="connsiteY101" fmla="*/ 6221481 h 10056208"/>
              <a:gd name="connsiteX102" fmla="*/ 8944056 w 8944056"/>
              <a:gd name="connsiteY102" fmla="*/ 6262737 h 10056208"/>
              <a:gd name="connsiteX103" fmla="*/ 8783955 w 8944056"/>
              <a:gd name="connsiteY103" fmla="*/ 6336600 h 10056208"/>
              <a:gd name="connsiteX104" fmla="*/ 8745832 w 8944056"/>
              <a:gd name="connsiteY104" fmla="*/ 6278051 h 10056208"/>
              <a:gd name="connsiteX105" fmla="*/ 8526560 w 8944056"/>
              <a:gd name="connsiteY105" fmla="*/ 6187518 h 10056208"/>
              <a:gd name="connsiteX106" fmla="*/ 8361666 w 8944056"/>
              <a:gd name="connsiteY106" fmla="*/ 6176058 h 10056208"/>
              <a:gd name="connsiteX107" fmla="*/ 8373476 w 8944056"/>
              <a:gd name="connsiteY107" fmla="*/ 6243046 h 10056208"/>
              <a:gd name="connsiteX108" fmla="*/ 8453349 w 8944056"/>
              <a:gd name="connsiteY108" fmla="*/ 6301074 h 10056208"/>
              <a:gd name="connsiteX109" fmla="*/ 8615082 w 8944056"/>
              <a:gd name="connsiteY109" fmla="*/ 6413277 h 10056208"/>
              <a:gd name="connsiteX110" fmla="*/ 8766874 w 8944056"/>
              <a:gd name="connsiteY110" fmla="*/ 6544751 h 10056208"/>
              <a:gd name="connsiteX111" fmla="*/ 8815518 w 8944056"/>
              <a:gd name="connsiteY111" fmla="*/ 6696438 h 10056208"/>
              <a:gd name="connsiteX112" fmla="*/ 8610980 w 8944056"/>
              <a:gd name="connsiteY112" fmla="*/ 6671955 h 10056208"/>
              <a:gd name="connsiteX113" fmla="*/ 8434629 w 8944056"/>
              <a:gd name="connsiteY113" fmla="*/ 6564440 h 10056208"/>
              <a:gd name="connsiteX114" fmla="*/ 8432872 w 8944056"/>
              <a:gd name="connsiteY114" fmla="*/ 6629345 h 10056208"/>
              <a:gd name="connsiteX115" fmla="*/ 8402815 w 8944056"/>
              <a:gd name="connsiteY115" fmla="*/ 6706543 h 10056208"/>
              <a:gd name="connsiteX116" fmla="*/ 8464561 w 8944056"/>
              <a:gd name="connsiteY116" fmla="*/ 6738212 h 10056208"/>
              <a:gd name="connsiteX117" fmla="*/ 8421873 w 8944056"/>
              <a:gd name="connsiteY117" fmla="*/ 6816244 h 10056208"/>
              <a:gd name="connsiteX118" fmla="*/ 8508412 w 8944056"/>
              <a:gd name="connsiteY118" fmla="*/ 6885002 h 10056208"/>
              <a:gd name="connsiteX119" fmla="*/ 8474729 w 8944056"/>
              <a:gd name="connsiteY119" fmla="*/ 6940843 h 10056208"/>
              <a:gd name="connsiteX120" fmla="*/ 8535535 w 8944056"/>
              <a:gd name="connsiteY120" fmla="*/ 7130450 h 10056208"/>
              <a:gd name="connsiteX121" fmla="*/ 8434960 w 8944056"/>
              <a:gd name="connsiteY121" fmla="*/ 7178789 h 10056208"/>
              <a:gd name="connsiteX122" fmla="*/ 8241181 w 8944056"/>
              <a:gd name="connsiteY122" fmla="*/ 7147639 h 10056208"/>
              <a:gd name="connsiteX123" fmla="*/ 8259888 w 8944056"/>
              <a:gd name="connsiteY123" fmla="*/ 7286407 h 10056208"/>
              <a:gd name="connsiteX124" fmla="*/ 8238369 w 8944056"/>
              <a:gd name="connsiteY124" fmla="*/ 7299742 h 10056208"/>
              <a:gd name="connsiteX125" fmla="*/ 8038393 w 8944056"/>
              <a:gd name="connsiteY125" fmla="*/ 7219106 h 10056208"/>
              <a:gd name="connsiteX126" fmla="*/ 8018511 w 8944056"/>
              <a:gd name="connsiteY126" fmla="*/ 7257653 h 10056208"/>
              <a:gd name="connsiteX127" fmla="*/ 8090426 w 8944056"/>
              <a:gd name="connsiteY127" fmla="*/ 7491953 h 10056208"/>
              <a:gd name="connsiteX128" fmla="*/ 7998272 w 8944056"/>
              <a:gd name="connsiteY128" fmla="*/ 7486119 h 10056208"/>
              <a:gd name="connsiteX129" fmla="*/ 7844143 w 8944056"/>
              <a:gd name="connsiteY129" fmla="*/ 7307137 h 10056208"/>
              <a:gd name="connsiteX130" fmla="*/ 7805433 w 8944056"/>
              <a:gd name="connsiteY130" fmla="*/ 7297032 h 10056208"/>
              <a:gd name="connsiteX131" fmla="*/ 7790581 w 8944056"/>
              <a:gd name="connsiteY131" fmla="*/ 7321098 h 10056208"/>
              <a:gd name="connsiteX132" fmla="*/ 7848463 w 8944056"/>
              <a:gd name="connsiteY132" fmla="*/ 7511643 h 10056208"/>
              <a:gd name="connsiteX133" fmla="*/ 7899685 w 8944056"/>
              <a:gd name="connsiteY133" fmla="*/ 7530604 h 10056208"/>
              <a:gd name="connsiteX134" fmla="*/ 7967743 w 8944056"/>
              <a:gd name="connsiteY134" fmla="*/ 7682498 h 10056208"/>
              <a:gd name="connsiteX135" fmla="*/ 8098136 w 8944056"/>
              <a:gd name="connsiteY135" fmla="*/ 7737193 h 10056208"/>
              <a:gd name="connsiteX136" fmla="*/ 8067844 w 8944056"/>
              <a:gd name="connsiteY136" fmla="*/ 7833768 h 10056208"/>
              <a:gd name="connsiteX137" fmla="*/ 8146781 w 8944056"/>
              <a:gd name="connsiteY137" fmla="*/ 7888879 h 10056208"/>
              <a:gd name="connsiteX138" fmla="*/ 8039306 w 8944056"/>
              <a:gd name="connsiteY138" fmla="*/ 7945865 h 10056208"/>
              <a:gd name="connsiteX139" fmla="*/ 7895395 w 8944056"/>
              <a:gd name="connsiteY139" fmla="*/ 7954455 h 10056208"/>
              <a:gd name="connsiteX140" fmla="*/ 7875122 w 8944056"/>
              <a:gd name="connsiteY140" fmla="*/ 7976837 h 10056208"/>
              <a:gd name="connsiteX141" fmla="*/ 7874878 w 8944056"/>
              <a:gd name="connsiteY141" fmla="*/ 7976076 h 10056208"/>
              <a:gd name="connsiteX142" fmla="*/ 7867978 w 8944056"/>
              <a:gd name="connsiteY142" fmla="*/ 7984724 h 10056208"/>
              <a:gd name="connsiteX143" fmla="*/ 7875122 w 8944056"/>
              <a:gd name="connsiteY143" fmla="*/ 7976837 h 10056208"/>
              <a:gd name="connsiteX144" fmla="*/ 8003038 w 8944056"/>
              <a:gd name="connsiteY144" fmla="*/ 8375711 h 10056208"/>
              <a:gd name="connsiteX145" fmla="*/ 7911583 w 8944056"/>
              <a:gd name="connsiteY145" fmla="*/ 8472598 h 10056208"/>
              <a:gd name="connsiteX146" fmla="*/ 7978120 w 8944056"/>
              <a:gd name="connsiteY146" fmla="*/ 8670019 h 10056208"/>
              <a:gd name="connsiteX147" fmla="*/ 8046649 w 8944056"/>
              <a:gd name="connsiteY147" fmla="*/ 8702731 h 10056208"/>
              <a:gd name="connsiteX148" fmla="*/ 8076584 w 8944056"/>
              <a:gd name="connsiteY148" fmla="*/ 8796077 h 10056208"/>
              <a:gd name="connsiteX149" fmla="*/ 8036937 w 8944056"/>
              <a:gd name="connsiteY149" fmla="*/ 8863481 h 10056208"/>
              <a:gd name="connsiteX150" fmla="*/ 8108391 w 8944056"/>
              <a:gd name="connsiteY150" fmla="*/ 8895257 h 10056208"/>
              <a:gd name="connsiteX151" fmla="*/ 8120317 w 8944056"/>
              <a:gd name="connsiteY151" fmla="*/ 8952555 h 10056208"/>
              <a:gd name="connsiteX152" fmla="*/ 8044067 w 8944056"/>
              <a:gd name="connsiteY152" fmla="*/ 8996311 h 10056208"/>
              <a:gd name="connsiteX153" fmla="*/ 7984777 w 8944056"/>
              <a:gd name="connsiteY153" fmla="*/ 8922030 h 10056208"/>
              <a:gd name="connsiteX154" fmla="*/ 7845610 w 8944056"/>
              <a:gd name="connsiteY154" fmla="*/ 8950575 h 10056208"/>
              <a:gd name="connsiteX155" fmla="*/ 7841282 w 8944056"/>
              <a:gd name="connsiteY155" fmla="*/ 8987350 h 10056208"/>
              <a:gd name="connsiteX156" fmla="*/ 7933550 w 8944056"/>
              <a:gd name="connsiteY156" fmla="*/ 9063923 h 10056208"/>
              <a:gd name="connsiteX157" fmla="*/ 8071779 w 8944056"/>
              <a:gd name="connsiteY157" fmla="*/ 9112888 h 10056208"/>
              <a:gd name="connsiteX158" fmla="*/ 7968981 w 8944056"/>
              <a:gd name="connsiteY158" fmla="*/ 9184459 h 10056208"/>
              <a:gd name="connsiteX159" fmla="*/ 8036807 w 8944056"/>
              <a:gd name="connsiteY159" fmla="*/ 9275304 h 10056208"/>
              <a:gd name="connsiteX160" fmla="*/ 8085452 w 8944056"/>
              <a:gd name="connsiteY160" fmla="*/ 9426989 h 10056208"/>
              <a:gd name="connsiteX161" fmla="*/ 7956576 w 8944056"/>
              <a:gd name="connsiteY161" fmla="*/ 9487623 h 10056208"/>
              <a:gd name="connsiteX162" fmla="*/ 7744086 w 8944056"/>
              <a:gd name="connsiteY162" fmla="*/ 9398131 h 10056208"/>
              <a:gd name="connsiteX163" fmla="*/ 7731688 w 8944056"/>
              <a:gd name="connsiteY163" fmla="*/ 9460014 h 10056208"/>
              <a:gd name="connsiteX164" fmla="*/ 7735308 w 8944056"/>
              <a:gd name="connsiteY164" fmla="*/ 9642224 h 10056208"/>
              <a:gd name="connsiteX165" fmla="*/ 7816350 w 8944056"/>
              <a:gd name="connsiteY165" fmla="*/ 9683793 h 10056208"/>
              <a:gd name="connsiteX166" fmla="*/ 7780093 w 8944056"/>
              <a:gd name="connsiteY166" fmla="*/ 9791931 h 10056208"/>
              <a:gd name="connsiteX167" fmla="*/ 7815290 w 8944056"/>
              <a:gd name="connsiteY167" fmla="*/ 9931846 h 10056208"/>
              <a:gd name="connsiteX168" fmla="*/ 7641977 w 8944056"/>
              <a:gd name="connsiteY168" fmla="*/ 9894132 h 10056208"/>
              <a:gd name="connsiteX169" fmla="*/ 7621745 w 8944056"/>
              <a:gd name="connsiteY169" fmla="*/ 9881318 h 10056208"/>
              <a:gd name="connsiteX170" fmla="*/ 7603854 w 8944056"/>
              <a:gd name="connsiteY170" fmla="*/ 9835583 h 10056208"/>
              <a:gd name="connsiteX171" fmla="*/ 7577775 w 8944056"/>
              <a:gd name="connsiteY171" fmla="*/ 9824642 h 10056208"/>
              <a:gd name="connsiteX172" fmla="*/ 7507606 w 8944056"/>
              <a:gd name="connsiteY172" fmla="*/ 9847145 h 10056208"/>
              <a:gd name="connsiteX173" fmla="*/ 7567597 w 8944056"/>
              <a:gd name="connsiteY173" fmla="*/ 9943721 h 10056208"/>
              <a:gd name="connsiteX174" fmla="*/ 7509939 w 8944056"/>
              <a:gd name="connsiteY174" fmla="*/ 10055506 h 10056208"/>
              <a:gd name="connsiteX175" fmla="*/ 7431351 w 8944056"/>
              <a:gd name="connsiteY175" fmla="*/ 10051755 h 10056208"/>
              <a:gd name="connsiteX176" fmla="*/ 7286339 w 8944056"/>
              <a:gd name="connsiteY176" fmla="*/ 10001748 h 10056208"/>
              <a:gd name="connsiteX177" fmla="*/ 7259210 w 8944056"/>
              <a:gd name="connsiteY177" fmla="*/ 9917153 h 10056208"/>
              <a:gd name="connsiteX178" fmla="*/ 7060990 w 8944056"/>
              <a:gd name="connsiteY178" fmla="*/ 9771615 h 10056208"/>
              <a:gd name="connsiteX179" fmla="*/ 6939019 w 8944056"/>
              <a:gd name="connsiteY179" fmla="*/ 9662745 h 10056208"/>
              <a:gd name="connsiteX180" fmla="*/ 6830847 w 8944056"/>
              <a:gd name="connsiteY180" fmla="*/ 9536584 h 10056208"/>
              <a:gd name="connsiteX181" fmla="*/ 6670868 w 8944056"/>
              <a:gd name="connsiteY181" fmla="*/ 9439904 h 10056208"/>
              <a:gd name="connsiteX182" fmla="*/ 6641868 w 8944056"/>
              <a:gd name="connsiteY182" fmla="*/ 9349477 h 10056208"/>
              <a:gd name="connsiteX183" fmla="*/ 6564098 w 8944056"/>
              <a:gd name="connsiteY183" fmla="*/ 9358332 h 10056208"/>
              <a:gd name="connsiteX184" fmla="*/ 6470186 w 8944056"/>
              <a:gd name="connsiteY184" fmla="*/ 9497827 h 10056208"/>
              <a:gd name="connsiteX185" fmla="*/ 6402126 w 8944056"/>
              <a:gd name="connsiteY185" fmla="*/ 9426361 h 10056208"/>
              <a:gd name="connsiteX186" fmla="*/ 6216302 w 8944056"/>
              <a:gd name="connsiteY186" fmla="*/ 9299364 h 10056208"/>
              <a:gd name="connsiteX187" fmla="*/ 6042873 w 8944056"/>
              <a:gd name="connsiteY187" fmla="*/ 9190913 h 10056208"/>
              <a:gd name="connsiteX188" fmla="*/ 6008261 w 8944056"/>
              <a:gd name="connsiteY188" fmla="*/ 9082983 h 10056208"/>
              <a:gd name="connsiteX189" fmla="*/ 5791561 w 8944056"/>
              <a:gd name="connsiteY189" fmla="*/ 9020578 h 10056208"/>
              <a:gd name="connsiteX190" fmla="*/ 5661757 w 8944056"/>
              <a:gd name="connsiteY190" fmla="*/ 8837013 h 10056208"/>
              <a:gd name="connsiteX191" fmla="*/ 5505287 w 8944056"/>
              <a:gd name="connsiteY191" fmla="*/ 8690952 h 10056208"/>
              <a:gd name="connsiteX192" fmla="*/ 5285197 w 8944056"/>
              <a:gd name="connsiteY192" fmla="*/ 8587813 h 10056208"/>
              <a:gd name="connsiteX193" fmla="*/ 5256197 w 8944056"/>
              <a:gd name="connsiteY193" fmla="*/ 8497385 h 10056208"/>
              <a:gd name="connsiteX194" fmla="*/ 5125804 w 8944056"/>
              <a:gd name="connsiteY194" fmla="*/ 8442690 h 10056208"/>
              <a:gd name="connsiteX195" fmla="*/ 4998689 w 8944056"/>
              <a:gd name="connsiteY195" fmla="*/ 8277565 h 10056208"/>
              <a:gd name="connsiteX196" fmla="*/ 4855899 w 8944056"/>
              <a:gd name="connsiteY196" fmla="*/ 8204326 h 10056208"/>
              <a:gd name="connsiteX197" fmla="*/ 4826900 w 8944056"/>
              <a:gd name="connsiteY197" fmla="*/ 8113898 h 10056208"/>
              <a:gd name="connsiteX198" fmla="*/ 4644703 w 8944056"/>
              <a:gd name="connsiteY198" fmla="*/ 7927832 h 10056208"/>
              <a:gd name="connsiteX199" fmla="*/ 4484958 w 8944056"/>
              <a:gd name="connsiteY199" fmla="*/ 7811775 h 10056208"/>
              <a:gd name="connsiteX200" fmla="*/ 4379710 w 8944056"/>
              <a:gd name="connsiteY200" fmla="*/ 7684676 h 10056208"/>
              <a:gd name="connsiteX201" fmla="*/ 4220901 w 8944056"/>
              <a:gd name="connsiteY201" fmla="*/ 7571536 h 10056208"/>
              <a:gd name="connsiteX202" fmla="*/ 4110741 w 8944056"/>
              <a:gd name="connsiteY202" fmla="*/ 7449229 h 10056208"/>
              <a:gd name="connsiteX203" fmla="*/ 3964679 w 8944056"/>
              <a:gd name="connsiteY203" fmla="*/ 7325566 h 10056208"/>
              <a:gd name="connsiteX204" fmla="*/ 3853584 w 8944056"/>
              <a:gd name="connsiteY204" fmla="*/ 7200342 h 10056208"/>
              <a:gd name="connsiteX205" fmla="*/ 3502170 w 8944056"/>
              <a:gd name="connsiteY205" fmla="*/ 6878737 h 10056208"/>
              <a:gd name="connsiteX206" fmla="*/ 3355522 w 8944056"/>
              <a:gd name="connsiteY206" fmla="*/ 6803519 h 10056208"/>
              <a:gd name="connsiteX207" fmla="*/ 3327458 w 8944056"/>
              <a:gd name="connsiteY207" fmla="*/ 6716008 h 10056208"/>
              <a:gd name="connsiteX208" fmla="*/ 3187475 w 8944056"/>
              <a:gd name="connsiteY208" fmla="*/ 6651521 h 10056208"/>
              <a:gd name="connsiteX209" fmla="*/ 3145845 w 8944056"/>
              <a:gd name="connsiteY209" fmla="*/ 6561926 h 10056208"/>
              <a:gd name="connsiteX210" fmla="*/ 2932772 w 8944056"/>
              <a:gd name="connsiteY210" fmla="*/ 6440451 h 10056208"/>
              <a:gd name="connsiteX211" fmla="*/ 2819222 w 8944056"/>
              <a:gd name="connsiteY211" fmla="*/ 6277409 h 10056208"/>
              <a:gd name="connsiteX212" fmla="*/ 2664973 w 8944056"/>
              <a:gd name="connsiteY212" fmla="*/ 6188543 h 10056208"/>
              <a:gd name="connsiteX213" fmla="*/ 2626618 w 8944056"/>
              <a:gd name="connsiteY213" fmla="*/ 6068945 h 10056208"/>
              <a:gd name="connsiteX214" fmla="*/ 2346658 w 8944056"/>
              <a:gd name="connsiteY214" fmla="*/ 5779116 h 10056208"/>
              <a:gd name="connsiteX215" fmla="*/ 2300348 w 8944056"/>
              <a:gd name="connsiteY215" fmla="*/ 5755363 h 10056208"/>
              <a:gd name="connsiteX216" fmla="*/ 2187848 w 8944056"/>
              <a:gd name="connsiteY216" fmla="*/ 5665976 h 10056208"/>
              <a:gd name="connsiteX217" fmla="*/ 2049742 w 8944056"/>
              <a:gd name="connsiteY217" fmla="*/ 5446469 h 10056208"/>
              <a:gd name="connsiteX218" fmla="*/ 1919349 w 8944056"/>
              <a:gd name="connsiteY218" fmla="*/ 5391774 h 10056208"/>
              <a:gd name="connsiteX219" fmla="*/ 1887542 w 8944056"/>
              <a:gd name="connsiteY219" fmla="*/ 5292594 h 10056208"/>
              <a:gd name="connsiteX220" fmla="*/ 1750014 w 8944056"/>
              <a:gd name="connsiteY220" fmla="*/ 5265924 h 10056208"/>
              <a:gd name="connsiteX221" fmla="*/ 1703240 w 8944056"/>
              <a:gd name="connsiteY221" fmla="*/ 5120072 h 10056208"/>
              <a:gd name="connsiteX222" fmla="*/ 1531451 w 8944056"/>
              <a:gd name="connsiteY222" fmla="*/ 4956404 h 10056208"/>
              <a:gd name="connsiteX223" fmla="*/ 1381881 w 8944056"/>
              <a:gd name="connsiteY223" fmla="*/ 4801697 h 10056208"/>
              <a:gd name="connsiteX224" fmla="*/ 1224476 w 8944056"/>
              <a:gd name="connsiteY224" fmla="*/ 4652719 h 10056208"/>
              <a:gd name="connsiteX225" fmla="*/ 1138167 w 8944056"/>
              <a:gd name="connsiteY225" fmla="*/ 4725437 h 10056208"/>
              <a:gd name="connsiteX226" fmla="*/ 1059231 w 8944056"/>
              <a:gd name="connsiteY226" fmla="*/ 4670325 h 10056208"/>
              <a:gd name="connsiteX227" fmla="*/ 996548 w 8944056"/>
              <a:gd name="connsiteY227" fmla="*/ 4635738 h 10056208"/>
              <a:gd name="connsiteX228" fmla="*/ 1072802 w 8944056"/>
              <a:gd name="connsiteY228" fmla="*/ 4511555 h 10056208"/>
              <a:gd name="connsiteX229" fmla="*/ 980189 w 8944056"/>
              <a:gd name="connsiteY229" fmla="*/ 4222769 h 10056208"/>
              <a:gd name="connsiteX230" fmla="*/ 1069891 w 8944056"/>
              <a:gd name="connsiteY230" fmla="*/ 4110359 h 10056208"/>
              <a:gd name="connsiteX231" fmla="*/ 1004407 w 8944056"/>
              <a:gd name="connsiteY231" fmla="*/ 3906166 h 10056208"/>
              <a:gd name="connsiteX232" fmla="*/ 932018 w 8944056"/>
              <a:gd name="connsiteY232" fmla="*/ 3871473 h 10056208"/>
              <a:gd name="connsiteX233" fmla="*/ 857180 w 8944056"/>
              <a:gd name="connsiteY233" fmla="*/ 3638111 h 10056208"/>
              <a:gd name="connsiteX234" fmla="*/ 794381 w 8944056"/>
              <a:gd name="connsiteY234" fmla="*/ 3613212 h 10056208"/>
              <a:gd name="connsiteX235" fmla="*/ 705511 w 8944056"/>
              <a:gd name="connsiteY235" fmla="*/ 3336093 h 10056208"/>
              <a:gd name="connsiteX236" fmla="*/ 794045 w 8944056"/>
              <a:gd name="connsiteY236" fmla="*/ 3159716 h 10056208"/>
              <a:gd name="connsiteX237" fmla="*/ 857780 w 8944056"/>
              <a:gd name="connsiteY237" fmla="*/ 3187533 h 10056208"/>
              <a:gd name="connsiteX238" fmla="*/ 981393 w 8944056"/>
              <a:gd name="connsiteY238" fmla="*/ 3160759 h 10056208"/>
              <a:gd name="connsiteX239" fmla="*/ 1087461 w 8944056"/>
              <a:gd name="connsiteY239" fmla="*/ 3220037 h 10056208"/>
              <a:gd name="connsiteX240" fmla="*/ 1030397 w 8944056"/>
              <a:gd name="connsiteY240" fmla="*/ 3042098 h 10056208"/>
              <a:gd name="connsiteX241" fmla="*/ 1095896 w 8944056"/>
              <a:gd name="connsiteY241" fmla="*/ 2763730 h 10056208"/>
              <a:gd name="connsiteX242" fmla="*/ 1212964 w 8944056"/>
              <a:gd name="connsiteY242" fmla="*/ 2636110 h 10056208"/>
              <a:gd name="connsiteX243" fmla="*/ 1167125 w 8944056"/>
              <a:gd name="connsiteY243" fmla="*/ 2493175 h 10056208"/>
              <a:gd name="connsiteX244" fmla="*/ 1099531 w 8944056"/>
              <a:gd name="connsiteY244" fmla="*/ 2463379 h 10056208"/>
              <a:gd name="connsiteX245" fmla="*/ 947048 w 8944056"/>
              <a:gd name="connsiteY245" fmla="*/ 1987902 h 10056208"/>
              <a:gd name="connsiteX246" fmla="*/ 895826 w 8944056"/>
              <a:gd name="connsiteY246" fmla="*/ 1968941 h 10056208"/>
              <a:gd name="connsiteX247" fmla="*/ 875594 w 8944056"/>
              <a:gd name="connsiteY247" fmla="*/ 1956127 h 10056208"/>
              <a:gd name="connsiteX248" fmla="*/ 745563 w 8944056"/>
              <a:gd name="connsiteY248" fmla="*/ 1550658 h 10056208"/>
              <a:gd name="connsiteX249" fmla="*/ 403504 w 8944056"/>
              <a:gd name="connsiteY249" fmla="*/ 1258224 h 10056208"/>
              <a:gd name="connsiteX250" fmla="*/ 363279 w 8944056"/>
              <a:gd name="connsiteY250" fmla="*/ 1132792 h 10056208"/>
              <a:gd name="connsiteX251" fmla="*/ 466082 w 8944056"/>
              <a:gd name="connsiteY251" fmla="*/ 900367 h 10056208"/>
              <a:gd name="connsiteX252" fmla="*/ 419308 w 8944056"/>
              <a:gd name="connsiteY252" fmla="*/ 754515 h 10056208"/>
              <a:gd name="connsiteX253" fmla="*/ 265528 w 8944056"/>
              <a:gd name="connsiteY253" fmla="*/ 626894 h 10056208"/>
              <a:gd name="connsiteX254" fmla="*/ 180400 w 8944056"/>
              <a:gd name="connsiteY254" fmla="*/ 361443 h 10056208"/>
              <a:gd name="connsiteX255" fmla="*/ 104152 w 8944056"/>
              <a:gd name="connsiteY255" fmla="*/ 324772 h 10056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</a:cxnLst>
            <a:rect l="l" t="t" r="r" b="b"/>
            <a:pathLst>
              <a:path w="8944056" h="10056208">
                <a:moveTo>
                  <a:pt x="0" y="0"/>
                </a:moveTo>
                <a:lnTo>
                  <a:pt x="7477328" y="0"/>
                </a:lnTo>
                <a:lnTo>
                  <a:pt x="7481023" y="11524"/>
                </a:lnTo>
                <a:cubicBezTo>
                  <a:pt x="7442546" y="62467"/>
                  <a:pt x="7392257" y="126850"/>
                  <a:pt x="7353780" y="177794"/>
                </a:cubicBezTo>
                <a:lnTo>
                  <a:pt x="7389329" y="288642"/>
                </a:lnTo>
                <a:cubicBezTo>
                  <a:pt x="7415407" y="299581"/>
                  <a:pt x="7435639" y="312395"/>
                  <a:pt x="7457858" y="321355"/>
                </a:cubicBezTo>
                <a:cubicBezTo>
                  <a:pt x="7441017" y="349275"/>
                  <a:pt x="7426164" y="373340"/>
                  <a:pt x="7402423" y="409907"/>
                </a:cubicBezTo>
                <a:cubicBezTo>
                  <a:pt x="7379734" y="439702"/>
                  <a:pt x="7326407" y="434285"/>
                  <a:pt x="7283487" y="451267"/>
                </a:cubicBezTo>
                <a:cubicBezTo>
                  <a:pt x="7247350" y="469289"/>
                  <a:pt x="7208406" y="478561"/>
                  <a:pt x="7176246" y="488875"/>
                </a:cubicBezTo>
                <a:cubicBezTo>
                  <a:pt x="7147243" y="478874"/>
                  <a:pt x="7121165" y="467935"/>
                  <a:pt x="7098945" y="458975"/>
                </a:cubicBezTo>
                <a:cubicBezTo>
                  <a:pt x="7079415" y="468455"/>
                  <a:pt x="7058949" y="475019"/>
                  <a:pt x="7036495" y="485436"/>
                </a:cubicBezTo>
                <a:cubicBezTo>
                  <a:pt x="7037196" y="507731"/>
                  <a:pt x="7034973" y="530963"/>
                  <a:pt x="7035674" y="553258"/>
                </a:cubicBezTo>
                <a:cubicBezTo>
                  <a:pt x="7065612" y="566176"/>
                  <a:pt x="7087832" y="575136"/>
                  <a:pt x="7113910" y="586074"/>
                </a:cubicBezTo>
                <a:lnTo>
                  <a:pt x="7189684" y="822355"/>
                </a:lnTo>
                <a:cubicBezTo>
                  <a:pt x="7162083" y="856942"/>
                  <a:pt x="7150855" y="902364"/>
                  <a:pt x="7097994" y="938620"/>
                </a:cubicBezTo>
                <a:cubicBezTo>
                  <a:pt x="7069927" y="931535"/>
                  <a:pt x="7035077" y="923408"/>
                  <a:pt x="7000228" y="915282"/>
                </a:cubicBezTo>
                <a:cubicBezTo>
                  <a:pt x="6997187" y="925909"/>
                  <a:pt x="6989234" y="941328"/>
                  <a:pt x="6984205" y="955808"/>
                </a:cubicBezTo>
                <a:cubicBezTo>
                  <a:pt x="7049342" y="1028214"/>
                  <a:pt x="7119390" y="1095826"/>
                  <a:pt x="7221951" y="1124059"/>
                </a:cubicBezTo>
                <a:cubicBezTo>
                  <a:pt x="7233878" y="1181358"/>
                  <a:pt x="7277966" y="1228344"/>
                  <a:pt x="7246855" y="1312313"/>
                </a:cubicBezTo>
                <a:cubicBezTo>
                  <a:pt x="7201598" y="1281788"/>
                  <a:pt x="7163123" y="1252305"/>
                  <a:pt x="7105353" y="1212925"/>
                </a:cubicBezTo>
                <a:cubicBezTo>
                  <a:pt x="7099855" y="1266161"/>
                  <a:pt x="7096697" y="1286476"/>
                  <a:pt x="7090380" y="1327106"/>
                </a:cubicBezTo>
                <a:cubicBezTo>
                  <a:pt x="7143708" y="1332524"/>
                  <a:pt x="7201830" y="1342838"/>
                  <a:pt x="7279365" y="1353360"/>
                </a:cubicBezTo>
                <a:cubicBezTo>
                  <a:pt x="7209780" y="1407846"/>
                  <a:pt x="7177385" y="1437537"/>
                  <a:pt x="7128383" y="1475770"/>
                </a:cubicBezTo>
                <a:cubicBezTo>
                  <a:pt x="7202294" y="1464936"/>
                  <a:pt x="7254803" y="1457748"/>
                  <a:pt x="7316083" y="1447747"/>
                </a:cubicBezTo>
                <a:cubicBezTo>
                  <a:pt x="7325555" y="1467229"/>
                  <a:pt x="7335027" y="1486710"/>
                  <a:pt x="7347423" y="1505254"/>
                </a:cubicBezTo>
                <a:cubicBezTo>
                  <a:pt x="7334558" y="1525465"/>
                  <a:pt x="7322746" y="1538904"/>
                  <a:pt x="7312805" y="1558178"/>
                </a:cubicBezTo>
                <a:cubicBezTo>
                  <a:pt x="7321459" y="1565054"/>
                  <a:pt x="7331048" y="1574846"/>
                  <a:pt x="7337714" y="1585577"/>
                </a:cubicBezTo>
                <a:cubicBezTo>
                  <a:pt x="7388466" y="1643292"/>
                  <a:pt x="7479333" y="1675276"/>
                  <a:pt x="7491726" y="1774247"/>
                </a:cubicBezTo>
                <a:cubicBezTo>
                  <a:pt x="7540141" y="1784457"/>
                  <a:pt x="7592416" y="1796646"/>
                  <a:pt x="7626330" y="1801855"/>
                </a:cubicBezTo>
                <a:lnTo>
                  <a:pt x="7673104" y="1947707"/>
                </a:lnTo>
                <a:lnTo>
                  <a:pt x="7585394" y="1975836"/>
                </a:lnTo>
                <a:cubicBezTo>
                  <a:pt x="7548673" y="1961875"/>
                  <a:pt x="7509146" y="1939164"/>
                  <a:pt x="7466578" y="1927079"/>
                </a:cubicBezTo>
                <a:cubicBezTo>
                  <a:pt x="7417227" y="1913952"/>
                  <a:pt x="7400154" y="1880823"/>
                  <a:pt x="7382262" y="1835088"/>
                </a:cubicBezTo>
                <a:cubicBezTo>
                  <a:pt x="7329284" y="1881031"/>
                  <a:pt x="7286130" y="1917390"/>
                  <a:pt x="7233151" y="1963333"/>
                </a:cubicBezTo>
                <a:cubicBezTo>
                  <a:pt x="7290221" y="1980419"/>
                  <a:pt x="7340507" y="1996462"/>
                  <a:pt x="7383075" y="2008547"/>
                </a:cubicBezTo>
                <a:lnTo>
                  <a:pt x="7415817" y="2110643"/>
                </a:lnTo>
                <a:cubicBezTo>
                  <a:pt x="7460256" y="2128563"/>
                  <a:pt x="7500836" y="2144502"/>
                  <a:pt x="7546210" y="2165338"/>
                </a:cubicBezTo>
                <a:cubicBezTo>
                  <a:pt x="7576964" y="2271290"/>
                  <a:pt x="7689933" y="2321922"/>
                  <a:pt x="7756940" y="2400160"/>
                </a:cubicBezTo>
                <a:cubicBezTo>
                  <a:pt x="7759043" y="2467044"/>
                  <a:pt x="7695074" y="2458605"/>
                  <a:pt x="7656013" y="2477566"/>
                </a:cubicBezTo>
                <a:cubicBezTo>
                  <a:pt x="7648529" y="2454229"/>
                  <a:pt x="7649817" y="2428080"/>
                  <a:pt x="7635433" y="2413391"/>
                </a:cubicBezTo>
                <a:cubicBezTo>
                  <a:pt x="7621984" y="2401618"/>
                  <a:pt x="7593800" y="2404223"/>
                  <a:pt x="7575322" y="2406932"/>
                </a:cubicBezTo>
                <a:cubicBezTo>
                  <a:pt x="7556261" y="2377657"/>
                  <a:pt x="7550883" y="2340778"/>
                  <a:pt x="7511470" y="2388804"/>
                </a:cubicBezTo>
                <a:cubicBezTo>
                  <a:pt x="7529831" y="2395784"/>
                  <a:pt x="7547256" y="2399847"/>
                  <a:pt x="7575322" y="2406932"/>
                </a:cubicBezTo>
                <a:cubicBezTo>
                  <a:pt x="7577076" y="2422454"/>
                  <a:pt x="7578713" y="2447666"/>
                  <a:pt x="7593097" y="2462355"/>
                </a:cubicBezTo>
                <a:cubicBezTo>
                  <a:pt x="7606545" y="2474128"/>
                  <a:pt x="7634729" y="2471524"/>
                  <a:pt x="7656013" y="2477566"/>
                </a:cubicBezTo>
                <a:cubicBezTo>
                  <a:pt x="7670981" y="2524238"/>
                  <a:pt x="7733197" y="2517155"/>
                  <a:pt x="7763953" y="2542679"/>
                </a:cubicBezTo>
                <a:cubicBezTo>
                  <a:pt x="7797633" y="2567265"/>
                  <a:pt x="7819500" y="2605291"/>
                  <a:pt x="7856221" y="2619251"/>
                </a:cubicBezTo>
                <a:cubicBezTo>
                  <a:pt x="7983808" y="2665195"/>
                  <a:pt x="8043681" y="2771458"/>
                  <a:pt x="8143785" y="2842301"/>
                </a:cubicBezTo>
                <a:cubicBezTo>
                  <a:pt x="8151503" y="2846260"/>
                  <a:pt x="8148462" y="2856886"/>
                  <a:pt x="8152204" y="2868555"/>
                </a:cubicBezTo>
                <a:cubicBezTo>
                  <a:pt x="8244006" y="2903455"/>
                  <a:pt x="8336744" y="2941273"/>
                  <a:pt x="8425622" y="2977110"/>
                </a:cubicBezTo>
                <a:cubicBezTo>
                  <a:pt x="8461404" y="3068581"/>
                  <a:pt x="8461404" y="3068581"/>
                  <a:pt x="8429476" y="3139944"/>
                </a:cubicBezTo>
                <a:cubicBezTo>
                  <a:pt x="8452631" y="3151820"/>
                  <a:pt x="8472862" y="3164634"/>
                  <a:pt x="8498941" y="3175574"/>
                </a:cubicBezTo>
                <a:cubicBezTo>
                  <a:pt x="8479176" y="3204431"/>
                  <a:pt x="8458475" y="3230371"/>
                  <a:pt x="8433798" y="3264022"/>
                </a:cubicBezTo>
                <a:cubicBezTo>
                  <a:pt x="8408772" y="3246311"/>
                  <a:pt x="8383864" y="3218912"/>
                  <a:pt x="8354043" y="3196305"/>
                </a:cubicBezTo>
                <a:cubicBezTo>
                  <a:pt x="8312763" y="3158071"/>
                  <a:pt x="8250312" y="3184533"/>
                  <a:pt x="8200961" y="3171405"/>
                </a:cubicBezTo>
                <a:cubicBezTo>
                  <a:pt x="8156405" y="3163175"/>
                  <a:pt x="8111265" y="3122961"/>
                  <a:pt x="8075245" y="3131296"/>
                </a:cubicBezTo>
                <a:cubicBezTo>
                  <a:pt x="8024607" y="3144319"/>
                  <a:pt x="7989992" y="3116814"/>
                  <a:pt x="7946254" y="3121190"/>
                </a:cubicBezTo>
                <a:cubicBezTo>
                  <a:pt x="7945084" y="3137651"/>
                  <a:pt x="7933154" y="3160778"/>
                  <a:pt x="7942744" y="3170572"/>
                </a:cubicBezTo>
                <a:cubicBezTo>
                  <a:pt x="7998409" y="3223495"/>
                  <a:pt x="8074539" y="3269855"/>
                  <a:pt x="8110673" y="3332258"/>
                </a:cubicBezTo>
                <a:cubicBezTo>
                  <a:pt x="8147743" y="3397580"/>
                  <a:pt x="8219197" y="3429355"/>
                  <a:pt x="8263167" y="3486029"/>
                </a:cubicBezTo>
                <a:cubicBezTo>
                  <a:pt x="8286087" y="3517283"/>
                  <a:pt x="8318831" y="3538952"/>
                  <a:pt x="8349588" y="3564477"/>
                </a:cubicBezTo>
                <a:cubicBezTo>
                  <a:pt x="8383267" y="3589063"/>
                  <a:pt x="8442559" y="3582916"/>
                  <a:pt x="8462322" y="3634486"/>
                </a:cubicBezTo>
                <a:cubicBezTo>
                  <a:pt x="8454134" y="3669282"/>
                  <a:pt x="8440100" y="3705953"/>
                  <a:pt x="8427936" y="3748458"/>
                </a:cubicBezTo>
                <a:cubicBezTo>
                  <a:pt x="8456821" y="3768148"/>
                  <a:pt x="8481847" y="3785859"/>
                  <a:pt x="8509796" y="3802632"/>
                </a:cubicBezTo>
                <a:cubicBezTo>
                  <a:pt x="8483950" y="3852743"/>
                  <a:pt x="8423957" y="3836595"/>
                  <a:pt x="8393550" y="3862431"/>
                </a:cubicBezTo>
                <a:cubicBezTo>
                  <a:pt x="8348876" y="3863889"/>
                  <a:pt x="8326073" y="3822947"/>
                  <a:pt x="8286895" y="3851596"/>
                </a:cubicBezTo>
                <a:cubicBezTo>
                  <a:pt x="8267834" y="3822322"/>
                  <a:pt x="8259532" y="3786379"/>
                  <a:pt x="8220119" y="3834406"/>
                </a:cubicBezTo>
                <a:cubicBezTo>
                  <a:pt x="8240468" y="3837531"/>
                  <a:pt x="8258828" y="3844512"/>
                  <a:pt x="8286895" y="3851596"/>
                </a:cubicBezTo>
                <a:cubicBezTo>
                  <a:pt x="8298939" y="3899207"/>
                  <a:pt x="8316713" y="3954630"/>
                  <a:pt x="8330745" y="3998386"/>
                </a:cubicBezTo>
                <a:cubicBezTo>
                  <a:pt x="8387463" y="4044538"/>
                  <a:pt x="8438450" y="4082876"/>
                  <a:pt x="8494232" y="4126111"/>
                </a:cubicBezTo>
                <a:lnTo>
                  <a:pt x="8521361" y="4210705"/>
                </a:lnTo>
                <a:cubicBezTo>
                  <a:pt x="8506508" y="4234771"/>
                  <a:pt x="8494579" y="4257898"/>
                  <a:pt x="8481714" y="4278109"/>
                </a:cubicBezTo>
                <a:lnTo>
                  <a:pt x="8526617" y="4418127"/>
                </a:lnTo>
                <a:cubicBezTo>
                  <a:pt x="8552696" y="4429066"/>
                  <a:pt x="8575851" y="4440942"/>
                  <a:pt x="8598070" y="4449902"/>
                </a:cubicBezTo>
                <a:lnTo>
                  <a:pt x="8628006" y="4543248"/>
                </a:lnTo>
                <a:cubicBezTo>
                  <a:pt x="8602276" y="4583670"/>
                  <a:pt x="8579470" y="4623153"/>
                  <a:pt x="8555729" y="4659721"/>
                </a:cubicBezTo>
                <a:cubicBezTo>
                  <a:pt x="8555025" y="4717852"/>
                  <a:pt x="8576893" y="4755878"/>
                  <a:pt x="8628816" y="4797134"/>
                </a:cubicBezTo>
                <a:cubicBezTo>
                  <a:pt x="8685534" y="4843286"/>
                  <a:pt x="8782130" y="4883083"/>
                  <a:pt x="8758621" y="4980699"/>
                </a:cubicBezTo>
                <a:cubicBezTo>
                  <a:pt x="8738739" y="5019246"/>
                  <a:pt x="8694182" y="5011015"/>
                  <a:pt x="8666699" y="5035914"/>
                </a:cubicBezTo>
                <a:cubicBezTo>
                  <a:pt x="8647638" y="5006640"/>
                  <a:pt x="8639336" y="4970697"/>
                  <a:pt x="8599923" y="5018725"/>
                </a:cubicBezTo>
                <a:cubicBezTo>
                  <a:pt x="8621207" y="5024767"/>
                  <a:pt x="8638632" y="5028830"/>
                  <a:pt x="8666699" y="5035914"/>
                </a:cubicBezTo>
                <a:cubicBezTo>
                  <a:pt x="8669388" y="5054354"/>
                  <a:pt x="8676872" y="5077690"/>
                  <a:pt x="8683421" y="5098110"/>
                </a:cubicBezTo>
                <a:cubicBezTo>
                  <a:pt x="8706575" y="5109986"/>
                  <a:pt x="8729730" y="5121863"/>
                  <a:pt x="8752885" y="5133739"/>
                </a:cubicBezTo>
                <a:cubicBezTo>
                  <a:pt x="8736044" y="5161659"/>
                  <a:pt x="8736044" y="5161659"/>
                  <a:pt x="8616173" y="5200102"/>
                </a:cubicBezTo>
                <a:cubicBezTo>
                  <a:pt x="8580505" y="5179369"/>
                  <a:pt x="8536183" y="5151761"/>
                  <a:pt x="8491862" y="5124154"/>
                </a:cubicBezTo>
                <a:cubicBezTo>
                  <a:pt x="8474085" y="5149157"/>
                  <a:pt x="8464261" y="5158742"/>
                  <a:pt x="8466132" y="5164575"/>
                </a:cubicBezTo>
                <a:cubicBezTo>
                  <a:pt x="8480982" y="5220937"/>
                  <a:pt x="8504020" y="5242503"/>
                  <a:pt x="8630203" y="5324284"/>
                </a:cubicBezTo>
                <a:cubicBezTo>
                  <a:pt x="8622250" y="5339702"/>
                  <a:pt x="8614297" y="5355121"/>
                  <a:pt x="8603420" y="5371477"/>
                </a:cubicBezTo>
                <a:cubicBezTo>
                  <a:pt x="8602368" y="5378249"/>
                  <a:pt x="8598391" y="5385959"/>
                  <a:pt x="8594415" y="5393667"/>
                </a:cubicBezTo>
                <a:cubicBezTo>
                  <a:pt x="8627276" y="5405648"/>
                  <a:pt x="8661073" y="5420546"/>
                  <a:pt x="8691011" y="5433465"/>
                </a:cubicBezTo>
                <a:cubicBezTo>
                  <a:pt x="8721184" y="5427006"/>
                  <a:pt x="8749368" y="5424401"/>
                  <a:pt x="8770769" y="5420755"/>
                </a:cubicBezTo>
                <a:cubicBezTo>
                  <a:pt x="8806320" y="5451176"/>
                  <a:pt x="8811816" y="5478366"/>
                  <a:pt x="8784215" y="5512954"/>
                </a:cubicBezTo>
                <a:cubicBezTo>
                  <a:pt x="8756615" y="5547542"/>
                  <a:pt x="8772752" y="5577754"/>
                  <a:pt x="8785031" y="5605987"/>
                </a:cubicBezTo>
                <a:cubicBezTo>
                  <a:pt x="8800116" y="5642971"/>
                  <a:pt x="8772633" y="5667870"/>
                  <a:pt x="8759650" y="5697770"/>
                </a:cubicBezTo>
                <a:cubicBezTo>
                  <a:pt x="8749592" y="5726732"/>
                  <a:pt x="8788066" y="5756214"/>
                  <a:pt x="8744094" y="5779967"/>
                </a:cubicBezTo>
                <a:cubicBezTo>
                  <a:pt x="8719886" y="5774862"/>
                  <a:pt x="8697667" y="5765903"/>
                  <a:pt x="8673459" y="5760798"/>
                </a:cubicBezTo>
                <a:cubicBezTo>
                  <a:pt x="8667494" y="5772362"/>
                  <a:pt x="8657671" y="5781947"/>
                  <a:pt x="8659541" y="5787780"/>
                </a:cubicBezTo>
                <a:cubicBezTo>
                  <a:pt x="8666908" y="5820805"/>
                  <a:pt x="8677198" y="5852892"/>
                  <a:pt x="8686553" y="5882063"/>
                </a:cubicBezTo>
                <a:cubicBezTo>
                  <a:pt x="8730992" y="5899982"/>
                  <a:pt x="8772508" y="5918839"/>
                  <a:pt x="8820806" y="5938738"/>
                </a:cubicBezTo>
                <a:cubicBezTo>
                  <a:pt x="8812736" y="5963845"/>
                  <a:pt x="8795894" y="5991765"/>
                  <a:pt x="8795542" y="6020831"/>
                </a:cubicBezTo>
                <a:cubicBezTo>
                  <a:pt x="8792266" y="6050835"/>
                  <a:pt x="8816124" y="6085006"/>
                  <a:pt x="8808988" y="6113030"/>
                </a:cubicBezTo>
                <a:cubicBezTo>
                  <a:pt x="8802790" y="6143972"/>
                  <a:pt x="8770394" y="6173663"/>
                  <a:pt x="8801852" y="6221481"/>
                </a:cubicBezTo>
                <a:cubicBezTo>
                  <a:pt x="8837636" y="6232525"/>
                  <a:pt x="8890846" y="6247631"/>
                  <a:pt x="8944056" y="6262737"/>
                </a:cubicBezTo>
                <a:cubicBezTo>
                  <a:pt x="8904410" y="6330142"/>
                  <a:pt x="8845234" y="6326599"/>
                  <a:pt x="8783955" y="6336600"/>
                </a:cubicBezTo>
                <a:cubicBezTo>
                  <a:pt x="8772495" y="6320974"/>
                  <a:pt x="8759163" y="6299512"/>
                  <a:pt x="8745832" y="6278051"/>
                </a:cubicBezTo>
                <a:cubicBezTo>
                  <a:pt x="8675314" y="6249193"/>
                  <a:pt x="8600002" y="6215438"/>
                  <a:pt x="8526560" y="6187518"/>
                </a:cubicBezTo>
                <a:cubicBezTo>
                  <a:pt x="8473233" y="6182101"/>
                  <a:pt x="8420841" y="6179601"/>
                  <a:pt x="8361666" y="6176058"/>
                </a:cubicBezTo>
                <a:cubicBezTo>
                  <a:pt x="8365291" y="6197415"/>
                  <a:pt x="8358156" y="6225439"/>
                  <a:pt x="8373476" y="6243046"/>
                </a:cubicBezTo>
                <a:cubicBezTo>
                  <a:pt x="8390666" y="6266486"/>
                  <a:pt x="8440252" y="6260236"/>
                  <a:pt x="8453349" y="6301074"/>
                </a:cubicBezTo>
                <a:cubicBezTo>
                  <a:pt x="8471941" y="6369103"/>
                  <a:pt x="8580000" y="6344100"/>
                  <a:pt x="8615082" y="6413277"/>
                </a:cubicBezTo>
                <a:cubicBezTo>
                  <a:pt x="8641627" y="6465887"/>
                  <a:pt x="8709221" y="6495683"/>
                  <a:pt x="8766874" y="6544751"/>
                </a:cubicBezTo>
                <a:lnTo>
                  <a:pt x="8815518" y="6696438"/>
                </a:lnTo>
                <a:cubicBezTo>
                  <a:pt x="8739855" y="6691749"/>
                  <a:pt x="8666880" y="6705501"/>
                  <a:pt x="8610980" y="6671955"/>
                </a:cubicBezTo>
                <a:cubicBezTo>
                  <a:pt x="8552157" y="6639346"/>
                  <a:pt x="8524794" y="6574130"/>
                  <a:pt x="8434629" y="6564440"/>
                </a:cubicBezTo>
                <a:cubicBezTo>
                  <a:pt x="8435330" y="6586735"/>
                  <a:pt x="8436031" y="6609030"/>
                  <a:pt x="8432872" y="6629345"/>
                </a:cubicBezTo>
                <a:cubicBezTo>
                  <a:pt x="8424802" y="6654452"/>
                  <a:pt x="8412873" y="6677580"/>
                  <a:pt x="8402815" y="6706543"/>
                </a:cubicBezTo>
                <a:cubicBezTo>
                  <a:pt x="8418251" y="6714460"/>
                  <a:pt x="8441406" y="6726336"/>
                  <a:pt x="8464561" y="6738212"/>
                </a:cubicBezTo>
                <a:cubicBezTo>
                  <a:pt x="8451697" y="6758423"/>
                  <a:pt x="8439767" y="6781552"/>
                  <a:pt x="8421873" y="6816244"/>
                </a:cubicBezTo>
                <a:cubicBezTo>
                  <a:pt x="8447835" y="6836871"/>
                  <a:pt x="8478591" y="6862395"/>
                  <a:pt x="8508412" y="6885002"/>
                </a:cubicBezTo>
                <a:cubicBezTo>
                  <a:pt x="8500459" y="6900421"/>
                  <a:pt x="8491570" y="6912923"/>
                  <a:pt x="8474729" y="6940843"/>
                </a:cubicBezTo>
                <a:lnTo>
                  <a:pt x="8535535" y="7130450"/>
                </a:lnTo>
                <a:cubicBezTo>
                  <a:pt x="8504894" y="7175664"/>
                  <a:pt x="8476593" y="7187958"/>
                  <a:pt x="8434960" y="7178789"/>
                </a:cubicBezTo>
                <a:cubicBezTo>
                  <a:pt x="8375902" y="7165558"/>
                  <a:pt x="8315792" y="7159099"/>
                  <a:pt x="8241181" y="7147639"/>
                </a:cubicBezTo>
                <a:cubicBezTo>
                  <a:pt x="8250301" y="7196187"/>
                  <a:pt x="8255562" y="7242756"/>
                  <a:pt x="8259888" y="7286407"/>
                </a:cubicBezTo>
                <a:cubicBezTo>
                  <a:pt x="8252052" y="7292136"/>
                  <a:pt x="8242228" y="7301721"/>
                  <a:pt x="8238369" y="7299742"/>
                </a:cubicBezTo>
                <a:cubicBezTo>
                  <a:pt x="8171710" y="7272863"/>
                  <a:pt x="8105052" y="7245985"/>
                  <a:pt x="8038393" y="7219106"/>
                </a:cubicBezTo>
                <a:cubicBezTo>
                  <a:pt x="8029505" y="7231607"/>
                  <a:pt x="8015705" y="7248902"/>
                  <a:pt x="8018511" y="7257653"/>
                </a:cubicBezTo>
                <a:cubicBezTo>
                  <a:pt x="8040845" y="7337350"/>
                  <a:pt x="8065168" y="7413193"/>
                  <a:pt x="8090426" y="7491953"/>
                </a:cubicBezTo>
                <a:cubicBezTo>
                  <a:pt x="8045166" y="7541855"/>
                  <a:pt x="8011721" y="7497891"/>
                  <a:pt x="7998272" y="7486119"/>
                </a:cubicBezTo>
                <a:cubicBezTo>
                  <a:pt x="7933836" y="7436008"/>
                  <a:pt x="7858641" y="7392565"/>
                  <a:pt x="7844143" y="7307137"/>
                </a:cubicBezTo>
                <a:cubicBezTo>
                  <a:pt x="7842271" y="7301303"/>
                  <a:pt x="7818999" y="7299115"/>
                  <a:pt x="7805433" y="7297032"/>
                </a:cubicBezTo>
                <a:cubicBezTo>
                  <a:pt x="7798533" y="7305679"/>
                  <a:pt x="7788710" y="7315263"/>
                  <a:pt x="7790581" y="7321098"/>
                </a:cubicBezTo>
                <a:cubicBezTo>
                  <a:pt x="7807302" y="7383292"/>
                  <a:pt x="7827883" y="7447468"/>
                  <a:pt x="7848463" y="7511643"/>
                </a:cubicBezTo>
                <a:cubicBezTo>
                  <a:pt x="7866823" y="7518623"/>
                  <a:pt x="7881324" y="7523623"/>
                  <a:pt x="7899685" y="7530604"/>
                </a:cubicBezTo>
                <a:cubicBezTo>
                  <a:pt x="7947748" y="7569879"/>
                  <a:pt x="7939210" y="7633742"/>
                  <a:pt x="7967743" y="7682498"/>
                </a:cubicBezTo>
                <a:cubicBezTo>
                  <a:pt x="8009258" y="7701354"/>
                  <a:pt x="8053697" y="7719273"/>
                  <a:pt x="8098136" y="7737193"/>
                </a:cubicBezTo>
                <a:cubicBezTo>
                  <a:pt x="8091002" y="7765217"/>
                  <a:pt x="8080943" y="7794179"/>
                  <a:pt x="8067844" y="7833768"/>
                </a:cubicBezTo>
                <a:cubicBezTo>
                  <a:pt x="8091935" y="7848561"/>
                  <a:pt x="8116960" y="7866271"/>
                  <a:pt x="8146781" y="7888879"/>
                </a:cubicBezTo>
                <a:cubicBezTo>
                  <a:pt x="8140348" y="7939198"/>
                  <a:pt x="8077431" y="7923988"/>
                  <a:pt x="8039306" y="7945865"/>
                </a:cubicBezTo>
                <a:cubicBezTo>
                  <a:pt x="7995816" y="7959812"/>
                  <a:pt x="7956178" y="7901095"/>
                  <a:pt x="7895395" y="7954455"/>
                </a:cubicBezTo>
                <a:lnTo>
                  <a:pt x="7875122" y="7976837"/>
                </a:lnTo>
                <a:lnTo>
                  <a:pt x="7874878" y="7976076"/>
                </a:lnTo>
                <a:cubicBezTo>
                  <a:pt x="7873007" y="7970242"/>
                  <a:pt x="7882831" y="7960658"/>
                  <a:pt x="7867978" y="7984724"/>
                </a:cubicBezTo>
                <a:lnTo>
                  <a:pt x="7875122" y="7976837"/>
                </a:lnTo>
                <a:lnTo>
                  <a:pt x="8003038" y="8375711"/>
                </a:lnTo>
                <a:cubicBezTo>
                  <a:pt x="7943629" y="8391545"/>
                  <a:pt x="7955556" y="8448845"/>
                  <a:pt x="7911583" y="8472598"/>
                </a:cubicBezTo>
                <a:lnTo>
                  <a:pt x="7978120" y="8670019"/>
                </a:lnTo>
                <a:cubicBezTo>
                  <a:pt x="7994492" y="8680854"/>
                  <a:pt x="8020570" y="8691793"/>
                  <a:pt x="8046649" y="8702731"/>
                </a:cubicBezTo>
                <a:lnTo>
                  <a:pt x="8076584" y="8796077"/>
                </a:lnTo>
                <a:cubicBezTo>
                  <a:pt x="8063720" y="8816288"/>
                  <a:pt x="8048867" y="8840353"/>
                  <a:pt x="8036937" y="8863481"/>
                </a:cubicBezTo>
                <a:cubicBezTo>
                  <a:pt x="8063016" y="8874420"/>
                  <a:pt x="8086171" y="8886297"/>
                  <a:pt x="8108391" y="8895257"/>
                </a:cubicBezTo>
                <a:cubicBezTo>
                  <a:pt x="8111080" y="8913696"/>
                  <a:pt x="8115757" y="8928281"/>
                  <a:pt x="8120317" y="8952555"/>
                </a:cubicBezTo>
                <a:cubicBezTo>
                  <a:pt x="8097863" y="8962973"/>
                  <a:pt x="8076345" y="8976308"/>
                  <a:pt x="8044067" y="8996311"/>
                </a:cubicBezTo>
                <a:cubicBezTo>
                  <a:pt x="8023017" y="8970890"/>
                  <a:pt x="8002903" y="8948388"/>
                  <a:pt x="7984777" y="8922030"/>
                </a:cubicBezTo>
                <a:cubicBezTo>
                  <a:pt x="7933555" y="8903069"/>
                  <a:pt x="7892272" y="8945262"/>
                  <a:pt x="7845610" y="8950575"/>
                </a:cubicBezTo>
                <a:cubicBezTo>
                  <a:pt x="7846428" y="8963181"/>
                  <a:pt x="7841282" y="8987350"/>
                  <a:pt x="7841282" y="8987350"/>
                </a:cubicBezTo>
                <a:cubicBezTo>
                  <a:pt x="7897533" y="8991830"/>
                  <a:pt x="7895894" y="9047045"/>
                  <a:pt x="7933550" y="9063923"/>
                </a:cubicBezTo>
                <a:cubicBezTo>
                  <a:pt x="7972142" y="9083717"/>
                  <a:pt x="8017634" y="9094864"/>
                  <a:pt x="8071779" y="9112888"/>
                </a:cubicBezTo>
                <a:cubicBezTo>
                  <a:pt x="8026754" y="9143412"/>
                  <a:pt x="7998336" y="9165395"/>
                  <a:pt x="7968981" y="9184459"/>
                </a:cubicBezTo>
                <a:cubicBezTo>
                  <a:pt x="7942082" y="9241341"/>
                  <a:pt x="7988509" y="9255405"/>
                  <a:pt x="8036807" y="9275304"/>
                </a:cubicBezTo>
                <a:lnTo>
                  <a:pt x="8085452" y="9426989"/>
                </a:lnTo>
                <a:cubicBezTo>
                  <a:pt x="8055746" y="9475122"/>
                  <a:pt x="7998559" y="9467724"/>
                  <a:pt x="7956576" y="9487623"/>
                </a:cubicBezTo>
                <a:cubicBezTo>
                  <a:pt x="7889916" y="9460743"/>
                  <a:pt x="7823258" y="9433865"/>
                  <a:pt x="7744086" y="9398131"/>
                </a:cubicBezTo>
                <a:cubicBezTo>
                  <a:pt x="7738940" y="9422301"/>
                  <a:pt x="7734846" y="9439699"/>
                  <a:pt x="7731688" y="9460014"/>
                </a:cubicBezTo>
                <a:cubicBezTo>
                  <a:pt x="7719290" y="9521898"/>
                  <a:pt x="7682566" y="9588363"/>
                  <a:pt x="7735308" y="9642224"/>
                </a:cubicBezTo>
                <a:cubicBezTo>
                  <a:pt x="7758462" y="9654100"/>
                  <a:pt x="7781618" y="9665979"/>
                  <a:pt x="7816350" y="9683793"/>
                </a:cubicBezTo>
                <a:cubicBezTo>
                  <a:pt x="7806292" y="9712754"/>
                  <a:pt x="7797169" y="9744633"/>
                  <a:pt x="7780093" y="9791931"/>
                </a:cubicBezTo>
                <a:cubicBezTo>
                  <a:pt x="7788396" y="9827874"/>
                  <a:pt x="7803246" y="9884236"/>
                  <a:pt x="7815290" y="9931846"/>
                </a:cubicBezTo>
                <a:cubicBezTo>
                  <a:pt x="7793654" y="9954869"/>
                  <a:pt x="7793654" y="9954869"/>
                  <a:pt x="7641977" y="9894132"/>
                </a:cubicBezTo>
                <a:cubicBezTo>
                  <a:pt x="7634258" y="9890172"/>
                  <a:pt x="7623616" y="9887152"/>
                  <a:pt x="7621745" y="9881318"/>
                </a:cubicBezTo>
                <a:cubicBezTo>
                  <a:pt x="7613208" y="9864752"/>
                  <a:pt x="7608531" y="9850167"/>
                  <a:pt x="7603854" y="9835583"/>
                </a:cubicBezTo>
                <a:cubicBezTo>
                  <a:pt x="7593211" y="9832561"/>
                  <a:pt x="7583622" y="9822767"/>
                  <a:pt x="7577775" y="9824642"/>
                </a:cubicBezTo>
                <a:cubicBezTo>
                  <a:pt x="7551462" y="9833081"/>
                  <a:pt x="7528072" y="9840582"/>
                  <a:pt x="7507606" y="9847145"/>
                </a:cubicBezTo>
                <a:cubicBezTo>
                  <a:pt x="7477666" y="9914655"/>
                  <a:pt x="7527017" y="9927781"/>
                  <a:pt x="7567597" y="9943721"/>
                </a:cubicBezTo>
                <a:cubicBezTo>
                  <a:pt x="7570987" y="9984455"/>
                  <a:pt x="7535668" y="10015084"/>
                  <a:pt x="7509939" y="10055506"/>
                </a:cubicBezTo>
                <a:cubicBezTo>
                  <a:pt x="7483743" y="10054256"/>
                  <a:pt x="7456494" y="10059776"/>
                  <a:pt x="7431351" y="10051755"/>
                </a:cubicBezTo>
                <a:cubicBezTo>
                  <a:pt x="7381064" y="10035711"/>
                  <a:pt x="7329842" y="10016750"/>
                  <a:pt x="7286339" y="10001748"/>
                </a:cubicBezTo>
                <a:lnTo>
                  <a:pt x="7259210" y="9917153"/>
                </a:lnTo>
                <a:cubicBezTo>
                  <a:pt x="7197698" y="9866105"/>
                  <a:pt x="7146010" y="9805473"/>
                  <a:pt x="7060990" y="9771615"/>
                </a:cubicBezTo>
                <a:cubicBezTo>
                  <a:pt x="7009769" y="9752653"/>
                  <a:pt x="6950128" y="9707440"/>
                  <a:pt x="6939019" y="9662745"/>
                </a:cubicBezTo>
                <a:cubicBezTo>
                  <a:pt x="6922298" y="9600551"/>
                  <a:pt x="6855522" y="9583361"/>
                  <a:pt x="6830847" y="9536584"/>
                </a:cubicBezTo>
                <a:cubicBezTo>
                  <a:pt x="6799508" y="9479076"/>
                  <a:pt x="6718815" y="9488870"/>
                  <a:pt x="6670868" y="9439904"/>
                </a:cubicBezTo>
                <a:lnTo>
                  <a:pt x="6641868" y="9349477"/>
                </a:lnTo>
                <a:cubicBezTo>
                  <a:pt x="6613684" y="9352081"/>
                  <a:pt x="6585500" y="9354685"/>
                  <a:pt x="6564098" y="9358332"/>
                </a:cubicBezTo>
                <a:cubicBezTo>
                  <a:pt x="6530534" y="9404483"/>
                  <a:pt x="6502816" y="9448759"/>
                  <a:pt x="6470186" y="9497827"/>
                </a:cubicBezTo>
                <a:cubicBezTo>
                  <a:pt x="6445277" y="9470428"/>
                  <a:pt x="6429257" y="9430527"/>
                  <a:pt x="6402126" y="9426361"/>
                </a:cubicBezTo>
                <a:cubicBezTo>
                  <a:pt x="6317925" y="9405107"/>
                  <a:pt x="6267172" y="9347392"/>
                  <a:pt x="6216302" y="9299364"/>
                </a:cubicBezTo>
                <a:cubicBezTo>
                  <a:pt x="6168355" y="9250400"/>
                  <a:pt x="6110468" y="9220708"/>
                  <a:pt x="6042873" y="9190913"/>
                </a:cubicBezTo>
                <a:lnTo>
                  <a:pt x="6008261" y="9082983"/>
                </a:lnTo>
                <a:cubicBezTo>
                  <a:pt x="5940550" y="9062876"/>
                  <a:pt x="5862196" y="9039747"/>
                  <a:pt x="5791561" y="9020578"/>
                </a:cubicBezTo>
                <a:cubicBezTo>
                  <a:pt x="5805482" y="8913169"/>
                  <a:pt x="5714615" y="8881186"/>
                  <a:pt x="5661757" y="8837013"/>
                </a:cubicBezTo>
                <a:cubicBezTo>
                  <a:pt x="5609951" y="8786069"/>
                  <a:pt x="5563993" y="8733249"/>
                  <a:pt x="5505287" y="8690952"/>
                </a:cubicBezTo>
                <a:cubicBezTo>
                  <a:pt x="5442722" y="8646676"/>
                  <a:pt x="5360510" y="8621568"/>
                  <a:pt x="5285197" y="8587813"/>
                </a:cubicBezTo>
                <a:lnTo>
                  <a:pt x="5256197" y="8497385"/>
                </a:lnTo>
                <a:cubicBezTo>
                  <a:pt x="5211759" y="8479466"/>
                  <a:pt x="5170243" y="8460609"/>
                  <a:pt x="5125804" y="8442690"/>
                </a:cubicBezTo>
                <a:cubicBezTo>
                  <a:pt x="5120895" y="8367055"/>
                  <a:pt x="5044647" y="8330384"/>
                  <a:pt x="4998689" y="8277565"/>
                </a:cubicBezTo>
                <a:cubicBezTo>
                  <a:pt x="4968050" y="8242353"/>
                  <a:pt x="4906069" y="8230059"/>
                  <a:pt x="4855899" y="8204326"/>
                </a:cubicBezTo>
                <a:lnTo>
                  <a:pt x="4826900" y="8113898"/>
                </a:lnTo>
                <a:cubicBezTo>
                  <a:pt x="4720013" y="8042013"/>
                  <a:pt x="4677796" y="8000862"/>
                  <a:pt x="4644703" y="7927832"/>
                </a:cubicBezTo>
                <a:cubicBezTo>
                  <a:pt x="4607516" y="7872200"/>
                  <a:pt x="4495598" y="7895223"/>
                  <a:pt x="4484958" y="7811775"/>
                </a:cubicBezTo>
                <a:cubicBezTo>
                  <a:pt x="4417247" y="7791668"/>
                  <a:pt x="4389649" y="7745829"/>
                  <a:pt x="4379710" y="7684676"/>
                </a:cubicBezTo>
                <a:cubicBezTo>
                  <a:pt x="4304163" y="7670299"/>
                  <a:pt x="4293524" y="7586850"/>
                  <a:pt x="4220901" y="7571536"/>
                </a:cubicBezTo>
                <a:cubicBezTo>
                  <a:pt x="4215874" y="7505590"/>
                  <a:pt x="4111908" y="7513195"/>
                  <a:pt x="4110741" y="7449229"/>
                </a:cubicBezTo>
                <a:cubicBezTo>
                  <a:pt x="4042094" y="7426204"/>
                  <a:pt x="3987365" y="7376198"/>
                  <a:pt x="3964679" y="7325566"/>
                </a:cubicBezTo>
                <a:cubicBezTo>
                  <a:pt x="3940122" y="7269101"/>
                  <a:pt x="3891941" y="7239513"/>
                  <a:pt x="3853584" y="7200342"/>
                </a:cubicBezTo>
                <a:cubicBezTo>
                  <a:pt x="3743307" y="7087723"/>
                  <a:pt x="3609523" y="6992294"/>
                  <a:pt x="3502170" y="6878737"/>
                </a:cubicBezTo>
                <a:cubicBezTo>
                  <a:pt x="3468608" y="6844462"/>
                  <a:pt x="3409550" y="6831232"/>
                  <a:pt x="3355522" y="6803519"/>
                </a:cubicBezTo>
                <a:lnTo>
                  <a:pt x="3327458" y="6716008"/>
                </a:lnTo>
                <a:cubicBezTo>
                  <a:pt x="3278224" y="6693193"/>
                  <a:pt x="3229925" y="6673294"/>
                  <a:pt x="3187475" y="6651521"/>
                </a:cubicBezTo>
                <a:cubicBezTo>
                  <a:pt x="3173325" y="6617453"/>
                  <a:pt x="3170988" y="6569948"/>
                  <a:pt x="3145845" y="6561926"/>
                </a:cubicBezTo>
                <a:cubicBezTo>
                  <a:pt x="3063749" y="6527129"/>
                  <a:pt x="3045626" y="6420345"/>
                  <a:pt x="2932772" y="6440451"/>
                </a:cubicBezTo>
                <a:cubicBezTo>
                  <a:pt x="2925057" y="6356065"/>
                  <a:pt x="2860386" y="6325332"/>
                  <a:pt x="2819222" y="6277409"/>
                </a:cubicBezTo>
                <a:cubicBezTo>
                  <a:pt x="2780047" y="6225632"/>
                  <a:pt x="2706254" y="6226778"/>
                  <a:pt x="2664973" y="6188543"/>
                </a:cubicBezTo>
                <a:cubicBezTo>
                  <a:pt x="2651876" y="6147705"/>
                  <a:pt x="2638780" y="6106867"/>
                  <a:pt x="2626618" y="6068945"/>
                </a:cubicBezTo>
                <a:cubicBezTo>
                  <a:pt x="2534585" y="5972995"/>
                  <a:pt x="2389690" y="5913299"/>
                  <a:pt x="2346658" y="5779116"/>
                </a:cubicBezTo>
                <a:cubicBezTo>
                  <a:pt x="2342916" y="5767448"/>
                  <a:pt x="2315785" y="5763280"/>
                  <a:pt x="2300348" y="5755363"/>
                </a:cubicBezTo>
                <a:cubicBezTo>
                  <a:pt x="2258950" y="5726817"/>
                  <a:pt x="2248894" y="5675353"/>
                  <a:pt x="2187848" y="5665976"/>
                </a:cubicBezTo>
                <a:cubicBezTo>
                  <a:pt x="2193933" y="5564296"/>
                  <a:pt x="2048569" y="5543356"/>
                  <a:pt x="2049742" y="5446469"/>
                </a:cubicBezTo>
                <a:cubicBezTo>
                  <a:pt x="2008227" y="5427611"/>
                  <a:pt x="1964723" y="5412610"/>
                  <a:pt x="1919349" y="5391774"/>
                </a:cubicBezTo>
                <a:lnTo>
                  <a:pt x="1887542" y="5292594"/>
                </a:lnTo>
                <a:cubicBezTo>
                  <a:pt x="1839127" y="5282384"/>
                  <a:pt x="1781005" y="5272071"/>
                  <a:pt x="1750014" y="5265924"/>
                </a:cubicBezTo>
                <a:lnTo>
                  <a:pt x="1703240" y="5120072"/>
                </a:lnTo>
                <a:cubicBezTo>
                  <a:pt x="1634127" y="5055376"/>
                  <a:pt x="1562791" y="5013912"/>
                  <a:pt x="1531451" y="4956404"/>
                </a:cubicBezTo>
                <a:cubicBezTo>
                  <a:pt x="1496369" y="4887229"/>
                  <a:pt x="1427840" y="4854517"/>
                  <a:pt x="1381881" y="4801697"/>
                </a:cubicBezTo>
                <a:cubicBezTo>
                  <a:pt x="1335923" y="4748878"/>
                  <a:pt x="1279206" y="4702726"/>
                  <a:pt x="1224476" y="4652719"/>
                </a:cubicBezTo>
                <a:cubicBezTo>
                  <a:pt x="1194069" y="4678556"/>
                  <a:pt x="1163663" y="4704393"/>
                  <a:pt x="1138167" y="4725437"/>
                </a:cubicBezTo>
                <a:cubicBezTo>
                  <a:pt x="1075952" y="4732521"/>
                  <a:pt x="1079344" y="4692828"/>
                  <a:pt x="1059231" y="4670325"/>
                </a:cubicBezTo>
                <a:cubicBezTo>
                  <a:pt x="1043912" y="4652719"/>
                  <a:pt x="1015845" y="4645635"/>
                  <a:pt x="996548" y="4635738"/>
                </a:cubicBezTo>
                <a:cubicBezTo>
                  <a:pt x="1022278" y="4595316"/>
                  <a:pt x="1045083" y="4555832"/>
                  <a:pt x="1072802" y="4511555"/>
                </a:cubicBezTo>
                <a:lnTo>
                  <a:pt x="980189" y="4222769"/>
                </a:lnTo>
                <a:cubicBezTo>
                  <a:pt x="1009777" y="4184326"/>
                  <a:pt x="1044279" y="4141092"/>
                  <a:pt x="1069891" y="4110359"/>
                </a:cubicBezTo>
                <a:lnTo>
                  <a:pt x="1004407" y="3906166"/>
                </a:lnTo>
                <a:cubicBezTo>
                  <a:pt x="981252" y="3894289"/>
                  <a:pt x="955174" y="3883351"/>
                  <a:pt x="932018" y="3871473"/>
                </a:cubicBezTo>
                <a:lnTo>
                  <a:pt x="857180" y="3638111"/>
                </a:lnTo>
                <a:cubicBezTo>
                  <a:pt x="834961" y="3629151"/>
                  <a:pt x="819524" y="3621234"/>
                  <a:pt x="794381" y="3613212"/>
                </a:cubicBezTo>
                <a:lnTo>
                  <a:pt x="705511" y="3336093"/>
                </a:lnTo>
                <a:cubicBezTo>
                  <a:pt x="738375" y="3267647"/>
                  <a:pt x="766210" y="3213682"/>
                  <a:pt x="794045" y="3159716"/>
                </a:cubicBezTo>
                <a:cubicBezTo>
                  <a:pt x="820124" y="3170656"/>
                  <a:pt x="838483" y="3177635"/>
                  <a:pt x="857780" y="3187533"/>
                </a:cubicBezTo>
                <a:cubicBezTo>
                  <a:pt x="899647" y="3177323"/>
                  <a:pt x="944437" y="3166176"/>
                  <a:pt x="981393" y="3160759"/>
                </a:cubicBezTo>
                <a:cubicBezTo>
                  <a:pt x="1038696" y="3158467"/>
                  <a:pt x="1006651" y="3239519"/>
                  <a:pt x="1087461" y="3220037"/>
                </a:cubicBezTo>
                <a:lnTo>
                  <a:pt x="1030397" y="3042098"/>
                </a:lnTo>
                <a:cubicBezTo>
                  <a:pt x="1055076" y="2928021"/>
                  <a:pt x="1075427" y="2850719"/>
                  <a:pt x="1095896" y="2763730"/>
                </a:cubicBezTo>
                <a:cubicBezTo>
                  <a:pt x="1137997" y="2734142"/>
                  <a:pt x="1195653" y="2702785"/>
                  <a:pt x="1212964" y="2636110"/>
                </a:cubicBezTo>
                <a:lnTo>
                  <a:pt x="1167125" y="2493175"/>
                </a:lnTo>
                <a:cubicBezTo>
                  <a:pt x="1147829" y="2483277"/>
                  <a:pt x="1122686" y="2475256"/>
                  <a:pt x="1099531" y="2463379"/>
                </a:cubicBezTo>
                <a:lnTo>
                  <a:pt x="947048" y="1987902"/>
                </a:lnTo>
                <a:cubicBezTo>
                  <a:pt x="929623" y="1983839"/>
                  <a:pt x="914186" y="1975921"/>
                  <a:pt x="895826" y="1968941"/>
                </a:cubicBezTo>
                <a:cubicBezTo>
                  <a:pt x="888108" y="1964982"/>
                  <a:pt x="877465" y="1961961"/>
                  <a:pt x="875594" y="1956127"/>
                </a:cubicBezTo>
                <a:cubicBezTo>
                  <a:pt x="829756" y="1813192"/>
                  <a:pt x="784853" y="1673174"/>
                  <a:pt x="745563" y="1550658"/>
                </a:cubicBezTo>
                <a:cubicBezTo>
                  <a:pt x="625462" y="1447624"/>
                  <a:pt x="522670" y="1358341"/>
                  <a:pt x="403504" y="1258224"/>
                </a:cubicBezTo>
                <a:lnTo>
                  <a:pt x="363279" y="1132792"/>
                </a:lnTo>
                <a:cubicBezTo>
                  <a:pt x="403979" y="1058616"/>
                  <a:pt x="392405" y="972251"/>
                  <a:pt x="466082" y="900367"/>
                </a:cubicBezTo>
                <a:lnTo>
                  <a:pt x="419308" y="754515"/>
                </a:lnTo>
                <a:cubicBezTo>
                  <a:pt x="378963" y="719198"/>
                  <a:pt x="330900" y="679922"/>
                  <a:pt x="265528" y="626894"/>
                </a:cubicBezTo>
                <a:lnTo>
                  <a:pt x="180400" y="361443"/>
                </a:lnTo>
                <a:cubicBezTo>
                  <a:pt x="157245" y="349567"/>
                  <a:pt x="131166" y="338628"/>
                  <a:pt x="104152" y="324772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22642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57811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588236" y="1340566"/>
            <a:ext cx="9699765" cy="8946435"/>
          </a:xfrm>
          <a:custGeom>
            <a:avLst/>
            <a:gdLst>
              <a:gd name="connsiteX0" fmla="*/ 4823420 w 9699765"/>
              <a:gd name="connsiteY0" fmla="*/ 0 h 8946435"/>
              <a:gd name="connsiteX1" fmla="*/ 4923338 w 9699765"/>
              <a:gd name="connsiteY1" fmla="*/ 88686 h 8946435"/>
              <a:gd name="connsiteX2" fmla="*/ 5050117 w 9699765"/>
              <a:gd name="connsiteY2" fmla="*/ 147086 h 8946435"/>
              <a:gd name="connsiteX3" fmla="*/ 5084202 w 9699765"/>
              <a:gd name="connsiteY3" fmla="*/ 75099 h 8946435"/>
              <a:gd name="connsiteX4" fmla="*/ 5259255 w 9699765"/>
              <a:gd name="connsiteY4" fmla="*/ 122218 h 8946435"/>
              <a:gd name="connsiteX5" fmla="*/ 5363518 w 9699765"/>
              <a:gd name="connsiteY5" fmla="*/ 277910 h 8946435"/>
              <a:gd name="connsiteX6" fmla="*/ 5532123 w 9699765"/>
              <a:gd name="connsiteY6" fmla="*/ 430568 h 8946435"/>
              <a:gd name="connsiteX7" fmla="*/ 5687450 w 9699765"/>
              <a:gd name="connsiteY7" fmla="*/ 514307 h 8946435"/>
              <a:gd name="connsiteX8" fmla="*/ 5703410 w 9699765"/>
              <a:gd name="connsiteY8" fmla="*/ 582600 h 8946435"/>
              <a:gd name="connsiteX9" fmla="*/ 5765935 w 9699765"/>
              <a:gd name="connsiteY9" fmla="*/ 595997 h 8946435"/>
              <a:gd name="connsiteX10" fmla="*/ 6052300 w 9699765"/>
              <a:gd name="connsiteY10" fmla="*/ 853178 h 8946435"/>
              <a:gd name="connsiteX11" fmla="*/ 6062940 w 9699765"/>
              <a:gd name="connsiteY11" fmla="*/ 898707 h 8946435"/>
              <a:gd name="connsiteX12" fmla="*/ 6168308 w 9699765"/>
              <a:gd name="connsiteY12" fmla="*/ 938103 h 8946435"/>
              <a:gd name="connsiteX13" fmla="*/ 6184268 w 9699765"/>
              <a:gd name="connsiteY13" fmla="*/ 1006396 h 8946435"/>
              <a:gd name="connsiteX14" fmla="*/ 6269912 w 9699765"/>
              <a:gd name="connsiteY14" fmla="*/ 1082412 h 8946435"/>
              <a:gd name="connsiteX15" fmla="*/ 6332480 w 9699765"/>
              <a:gd name="connsiteY15" fmla="*/ 1071791 h 8946435"/>
              <a:gd name="connsiteX16" fmla="*/ 6504632 w 9699765"/>
              <a:gd name="connsiteY16" fmla="*/ 1239626 h 8946435"/>
              <a:gd name="connsiteX17" fmla="*/ 6535818 w 9699765"/>
              <a:gd name="connsiteY17" fmla="*/ 1288356 h 8946435"/>
              <a:gd name="connsiteX18" fmla="*/ 6646419 w 9699765"/>
              <a:gd name="connsiteY18" fmla="*/ 1398552 h 8946435"/>
              <a:gd name="connsiteX19" fmla="*/ 6815002 w 9699765"/>
              <a:gd name="connsiteY19" fmla="*/ 1563220 h 8946435"/>
              <a:gd name="connsiteX20" fmla="*/ 6864161 w 9699765"/>
              <a:gd name="connsiteY20" fmla="*/ 1555733 h 8946435"/>
              <a:gd name="connsiteX21" fmla="*/ 7013129 w 9699765"/>
              <a:gd name="connsiteY21" fmla="*/ 1696976 h 8946435"/>
              <a:gd name="connsiteX22" fmla="*/ 7028224 w 9699765"/>
              <a:gd name="connsiteY22" fmla="*/ 1749466 h 8946435"/>
              <a:gd name="connsiteX23" fmla="*/ 7266447 w 9699765"/>
              <a:gd name="connsiteY23" fmla="*/ 1945874 h 8946435"/>
              <a:gd name="connsiteX24" fmla="*/ 7297633 w 9699765"/>
              <a:gd name="connsiteY24" fmla="*/ 1994604 h 8946435"/>
              <a:gd name="connsiteX25" fmla="*/ 7575088 w 9699765"/>
              <a:gd name="connsiteY25" fmla="*/ 2237862 h 8946435"/>
              <a:gd name="connsiteX26" fmla="*/ 7845297 w 9699765"/>
              <a:gd name="connsiteY26" fmla="*/ 2534830 h 8946435"/>
              <a:gd name="connsiteX27" fmla="*/ 8146844 w 9699765"/>
              <a:gd name="connsiteY27" fmla="*/ 2796465 h 8946435"/>
              <a:gd name="connsiteX28" fmla="*/ 8465325 w 9699765"/>
              <a:gd name="connsiteY28" fmla="*/ 3082152 h 8946435"/>
              <a:gd name="connsiteX29" fmla="*/ 8767847 w 9699765"/>
              <a:gd name="connsiteY29" fmla="*/ 3299546 h 8946435"/>
              <a:gd name="connsiteX30" fmla="*/ 9259749 w 9699765"/>
              <a:gd name="connsiteY30" fmla="*/ 3731264 h 8946435"/>
              <a:gd name="connsiteX31" fmla="*/ 9699765 w 9699765"/>
              <a:gd name="connsiteY31" fmla="*/ 4123509 h 8946435"/>
              <a:gd name="connsiteX32" fmla="*/ 9699765 w 9699765"/>
              <a:gd name="connsiteY32" fmla="*/ 8946435 h 8946435"/>
              <a:gd name="connsiteX33" fmla="*/ 3846814 w 9699765"/>
              <a:gd name="connsiteY33" fmla="*/ 8946435 h 8946435"/>
              <a:gd name="connsiteX34" fmla="*/ 3829261 w 9699765"/>
              <a:gd name="connsiteY34" fmla="*/ 8935931 h 8946435"/>
              <a:gd name="connsiteX35" fmla="*/ 3781447 w 9699765"/>
              <a:gd name="connsiteY35" fmla="*/ 8902278 h 8946435"/>
              <a:gd name="connsiteX36" fmla="*/ 3609186 w 9699765"/>
              <a:gd name="connsiteY36" fmla="*/ 8794487 h 8946435"/>
              <a:gd name="connsiteX37" fmla="*/ 3392308 w 9699765"/>
              <a:gd name="connsiteY37" fmla="*/ 8653110 h 8946435"/>
              <a:gd name="connsiteX38" fmla="*/ 3158562 w 9699765"/>
              <a:gd name="connsiteY38" fmla="*/ 8451654 h 8946435"/>
              <a:gd name="connsiteX39" fmla="*/ 3112971 w 9699765"/>
              <a:gd name="connsiteY39" fmla="*/ 8462309 h 8946435"/>
              <a:gd name="connsiteX40" fmla="*/ 2725693 w 9699765"/>
              <a:gd name="connsiteY40" fmla="*/ 8172693 h 8946435"/>
              <a:gd name="connsiteX41" fmla="*/ 2551637 w 9699765"/>
              <a:gd name="connsiteY41" fmla="*/ 8069324 h 8946435"/>
              <a:gd name="connsiteX42" fmla="*/ 2510545 w 9699765"/>
              <a:gd name="connsiteY42" fmla="*/ 8062922 h 8946435"/>
              <a:gd name="connsiteX43" fmla="*/ 2313261 w 9699765"/>
              <a:gd name="connsiteY43" fmla="*/ 7956978 h 8946435"/>
              <a:gd name="connsiteX44" fmla="*/ 2270439 w 9699765"/>
              <a:gd name="connsiteY44" fmla="*/ 7918970 h 8946435"/>
              <a:gd name="connsiteX45" fmla="*/ 2012535 w 9699765"/>
              <a:gd name="connsiteY45" fmla="*/ 7735164 h 8946435"/>
              <a:gd name="connsiteX46" fmla="*/ 1798339 w 9699765"/>
              <a:gd name="connsiteY46" fmla="*/ 7593159 h 8946435"/>
              <a:gd name="connsiteX47" fmla="*/ 1560051 w 9699765"/>
              <a:gd name="connsiteY47" fmla="*/ 7432778 h 8946435"/>
              <a:gd name="connsiteX48" fmla="*/ 1326304 w 9699765"/>
              <a:gd name="connsiteY48" fmla="*/ 7231322 h 8946435"/>
              <a:gd name="connsiteX49" fmla="*/ 1086220 w 9699765"/>
              <a:gd name="connsiteY49" fmla="*/ 7075362 h 8946435"/>
              <a:gd name="connsiteX50" fmla="*/ 679326 w 9699765"/>
              <a:gd name="connsiteY50" fmla="*/ 6762322 h 8946435"/>
              <a:gd name="connsiteX51" fmla="*/ 76253 w 9699765"/>
              <a:gd name="connsiteY51" fmla="*/ 6227042 h 8946435"/>
              <a:gd name="connsiteX52" fmla="*/ 101472 w 9699765"/>
              <a:gd name="connsiteY52" fmla="*/ 6117115 h 8946435"/>
              <a:gd name="connsiteX53" fmla="*/ 123102 w 9699765"/>
              <a:gd name="connsiteY53" fmla="*/ 6016030 h 8946435"/>
              <a:gd name="connsiteX54" fmla="*/ 0 w 9699765"/>
              <a:gd name="connsiteY54" fmla="*/ 5900753 h 8946435"/>
              <a:gd name="connsiteX55" fmla="*/ 97497 w 9699765"/>
              <a:gd name="connsiteY55" fmla="*/ 5845957 h 8946435"/>
              <a:gd name="connsiteX56" fmla="*/ 242075 w 9699765"/>
              <a:gd name="connsiteY56" fmla="*/ 5944212 h 8946435"/>
              <a:gd name="connsiteX57" fmla="*/ 292012 w 9699765"/>
              <a:gd name="connsiteY57" fmla="*/ 6000564 h 8946435"/>
              <a:gd name="connsiteX58" fmla="*/ 242075 w 9699765"/>
              <a:gd name="connsiteY58" fmla="*/ 5944212 h 8946435"/>
              <a:gd name="connsiteX59" fmla="*/ 241407 w 9699765"/>
              <a:gd name="connsiteY59" fmla="*/ 5820328 h 8946435"/>
              <a:gd name="connsiteX60" fmla="*/ 299411 w 9699765"/>
              <a:gd name="connsiteY60" fmla="*/ 5862791 h 8946435"/>
              <a:gd name="connsiteX61" fmla="*/ 457638 w 9699765"/>
              <a:gd name="connsiteY61" fmla="*/ 5825814 h 8946435"/>
              <a:gd name="connsiteX62" fmla="*/ 353397 w 9699765"/>
              <a:gd name="connsiteY62" fmla="*/ 5658113 h 8946435"/>
              <a:gd name="connsiteX63" fmla="*/ 276554 w 9699765"/>
              <a:gd name="connsiteY63" fmla="*/ 5656065 h 8946435"/>
              <a:gd name="connsiteX64" fmla="*/ 249976 w 9699765"/>
              <a:gd name="connsiteY64" fmla="*/ 5530234 h 8946435"/>
              <a:gd name="connsiteX65" fmla="*/ 304607 w 9699765"/>
              <a:gd name="connsiteY65" fmla="*/ 5461448 h 8946435"/>
              <a:gd name="connsiteX66" fmla="*/ 783670 w 9699765"/>
              <a:gd name="connsiteY66" fmla="*/ 5889665 h 8946435"/>
              <a:gd name="connsiteX67" fmla="*/ 847147 w 9699765"/>
              <a:gd name="connsiteY67" fmla="*/ 5870830 h 8946435"/>
              <a:gd name="connsiteX68" fmla="*/ 897084 w 9699765"/>
              <a:gd name="connsiteY68" fmla="*/ 5927181 h 8946435"/>
              <a:gd name="connsiteX69" fmla="*/ 847147 w 9699765"/>
              <a:gd name="connsiteY69" fmla="*/ 5870830 h 8946435"/>
              <a:gd name="connsiteX70" fmla="*/ 717905 w 9699765"/>
              <a:gd name="connsiteY70" fmla="*/ 5692967 h 8946435"/>
              <a:gd name="connsiteX71" fmla="*/ 736009 w 9699765"/>
              <a:gd name="connsiteY71" fmla="*/ 5564696 h 8946435"/>
              <a:gd name="connsiteX72" fmla="*/ 772667 w 9699765"/>
              <a:gd name="connsiteY72" fmla="*/ 5552128 h 8946435"/>
              <a:gd name="connsiteX73" fmla="*/ 821718 w 9699765"/>
              <a:gd name="connsiteY73" fmla="*/ 5604685 h 8946435"/>
              <a:gd name="connsiteX74" fmla="*/ 772667 w 9699765"/>
              <a:gd name="connsiteY74" fmla="*/ 5552128 h 8946435"/>
              <a:gd name="connsiteX75" fmla="*/ 720935 w 9699765"/>
              <a:gd name="connsiteY75" fmla="*/ 5500197 h 8946435"/>
              <a:gd name="connsiteX76" fmla="*/ 660271 w 9699765"/>
              <a:gd name="connsiteY76" fmla="*/ 5446352 h 8946435"/>
              <a:gd name="connsiteX77" fmla="*/ 646193 w 9699765"/>
              <a:gd name="connsiteY77" fmla="*/ 5325603 h 8946435"/>
              <a:gd name="connsiteX78" fmla="*/ 696283 w 9699765"/>
              <a:gd name="connsiteY78" fmla="*/ 5297892 h 8946435"/>
              <a:gd name="connsiteX79" fmla="*/ 958643 w 9699765"/>
              <a:gd name="connsiteY79" fmla="*/ 5488659 h 8946435"/>
              <a:gd name="connsiteX80" fmla="*/ 1230755 w 9699765"/>
              <a:gd name="connsiteY80" fmla="*/ 5721162 h 8946435"/>
              <a:gd name="connsiteX81" fmla="*/ 1213197 w 9699765"/>
              <a:gd name="connsiteY81" fmla="*/ 5549209 h 8946435"/>
              <a:gd name="connsiteX82" fmla="*/ 1092734 w 9699765"/>
              <a:gd name="connsiteY82" fmla="*/ 5457322 h 8946435"/>
              <a:gd name="connsiteX83" fmla="*/ 1067907 w 9699765"/>
              <a:gd name="connsiteY83" fmla="*/ 5351088 h 8946435"/>
              <a:gd name="connsiteX84" fmla="*/ 1169685 w 9699765"/>
              <a:gd name="connsiteY84" fmla="*/ 5399326 h 8946435"/>
              <a:gd name="connsiteX85" fmla="*/ 1261731 w 9699765"/>
              <a:gd name="connsiteY85" fmla="*/ 5393820 h 8946435"/>
              <a:gd name="connsiteX86" fmla="*/ 1310694 w 9699765"/>
              <a:gd name="connsiteY86" fmla="*/ 5494414 h 8946435"/>
              <a:gd name="connsiteX87" fmla="*/ 1367012 w 9699765"/>
              <a:gd name="connsiteY87" fmla="*/ 5481252 h 8946435"/>
              <a:gd name="connsiteX88" fmla="*/ 1535596 w 9699765"/>
              <a:gd name="connsiteY88" fmla="*/ 5645920 h 8946435"/>
              <a:gd name="connsiteX89" fmla="*/ 1613368 w 9699765"/>
              <a:gd name="connsiteY89" fmla="*/ 5627744 h 8946435"/>
              <a:gd name="connsiteX90" fmla="*/ 1620461 w 9699765"/>
              <a:gd name="connsiteY90" fmla="*/ 5658097 h 8946435"/>
              <a:gd name="connsiteX91" fmla="*/ 2011199 w 9699765"/>
              <a:gd name="connsiteY91" fmla="*/ 6010924 h 8946435"/>
              <a:gd name="connsiteX92" fmla="*/ 2080925 w 9699765"/>
              <a:gd name="connsiteY92" fmla="*/ 5994630 h 8946435"/>
              <a:gd name="connsiteX93" fmla="*/ 2111072 w 9699765"/>
              <a:gd name="connsiteY93" fmla="*/ 6123628 h 8946435"/>
              <a:gd name="connsiteX94" fmla="*/ 2196004 w 9699765"/>
              <a:gd name="connsiteY94" fmla="*/ 6099778 h 8946435"/>
              <a:gd name="connsiteX95" fmla="*/ 2242373 w 9699765"/>
              <a:gd name="connsiteY95" fmla="*/ 6152962 h 8946435"/>
              <a:gd name="connsiteX96" fmla="*/ 2196004 w 9699765"/>
              <a:gd name="connsiteY96" fmla="*/ 6099778 h 8946435"/>
              <a:gd name="connsiteX97" fmla="*/ 2080925 w 9699765"/>
              <a:gd name="connsiteY97" fmla="*/ 5994630 h 8946435"/>
              <a:gd name="connsiteX98" fmla="*/ 2073832 w 9699765"/>
              <a:gd name="connsiteY98" fmla="*/ 5964277 h 8946435"/>
              <a:gd name="connsiteX99" fmla="*/ 1680414 w 9699765"/>
              <a:gd name="connsiteY99" fmla="*/ 5612076 h 8946435"/>
              <a:gd name="connsiteX100" fmla="*/ 1613368 w 9699765"/>
              <a:gd name="connsiteY100" fmla="*/ 5627744 h 8946435"/>
              <a:gd name="connsiteX101" fmla="*/ 1442212 w 9699765"/>
              <a:gd name="connsiteY101" fmla="*/ 5403659 h 8946435"/>
              <a:gd name="connsiteX102" fmla="*/ 1334961 w 9699765"/>
              <a:gd name="connsiteY102" fmla="*/ 5416719 h 8946435"/>
              <a:gd name="connsiteX103" fmla="*/ 1180914 w 9699765"/>
              <a:gd name="connsiteY103" fmla="*/ 5120614 h 8946435"/>
              <a:gd name="connsiteX104" fmla="*/ 1135323 w 9699765"/>
              <a:gd name="connsiteY104" fmla="*/ 5131268 h 8946435"/>
              <a:gd name="connsiteX105" fmla="*/ 1036401 w 9699765"/>
              <a:gd name="connsiteY105" fmla="*/ 4986332 h 8946435"/>
              <a:gd name="connsiteX106" fmla="*/ 908822 w 9699765"/>
              <a:gd name="connsiteY106" fmla="*/ 4876103 h 8946435"/>
              <a:gd name="connsiteX107" fmla="*/ 775946 w 9699765"/>
              <a:gd name="connsiteY107" fmla="*/ 4731100 h 8946435"/>
              <a:gd name="connsiteX108" fmla="*/ 661798 w 9699765"/>
              <a:gd name="connsiteY108" fmla="*/ 4605727 h 8946435"/>
              <a:gd name="connsiteX109" fmla="*/ 533333 w 9699765"/>
              <a:gd name="connsiteY109" fmla="*/ 4491703 h 8946435"/>
              <a:gd name="connsiteX110" fmla="*/ 519146 w 9699765"/>
              <a:gd name="connsiteY110" fmla="*/ 4430998 h 8946435"/>
              <a:gd name="connsiteX111" fmla="*/ 457595 w 9699765"/>
              <a:gd name="connsiteY111" fmla="*/ 4373359 h 8946435"/>
              <a:gd name="connsiteX112" fmla="*/ 435429 w 9699765"/>
              <a:gd name="connsiteY112" fmla="*/ 4278507 h 8946435"/>
              <a:gd name="connsiteX113" fmla="*/ 480481 w 9699765"/>
              <a:gd name="connsiteY113" fmla="*/ 4071916 h 8946435"/>
              <a:gd name="connsiteX114" fmla="*/ 367155 w 9699765"/>
              <a:gd name="connsiteY114" fmla="*/ 3986364 h 8946435"/>
              <a:gd name="connsiteX115" fmla="*/ 354807 w 9699765"/>
              <a:gd name="connsiteY115" fmla="*/ 3897220 h 8946435"/>
              <a:gd name="connsiteX116" fmla="*/ 426329 w 9699765"/>
              <a:gd name="connsiteY116" fmla="*/ 3876505 h 8946435"/>
              <a:gd name="connsiteX117" fmla="*/ 643316 w 9699765"/>
              <a:gd name="connsiteY117" fmla="*/ 3957837 h 8946435"/>
              <a:gd name="connsiteX118" fmla="*/ 758634 w 9699765"/>
              <a:gd name="connsiteY118" fmla="*/ 3930888 h 8946435"/>
              <a:gd name="connsiteX119" fmla="*/ 825548 w 9699765"/>
              <a:gd name="connsiteY119" fmla="*/ 3987273 h 8946435"/>
              <a:gd name="connsiteX120" fmla="*/ 922137 w 9699765"/>
              <a:gd name="connsiteY120" fmla="*/ 3940693 h 8946435"/>
              <a:gd name="connsiteX121" fmla="*/ 915109 w 9699765"/>
              <a:gd name="connsiteY121" fmla="*/ 3874313 h 8946435"/>
              <a:gd name="connsiteX122" fmla="*/ 664473 w 9699765"/>
              <a:gd name="connsiteY122" fmla="*/ 3624788 h 8946435"/>
              <a:gd name="connsiteX123" fmla="*/ 754898 w 9699765"/>
              <a:gd name="connsiteY123" fmla="*/ 3527632 h 8946435"/>
              <a:gd name="connsiteX124" fmla="*/ 928976 w 9699765"/>
              <a:gd name="connsiteY124" fmla="*/ 3618992 h 8946435"/>
              <a:gd name="connsiteX125" fmla="*/ 1139517 w 9699765"/>
              <a:gd name="connsiteY125" fmla="*/ 3805864 h 8946435"/>
              <a:gd name="connsiteX126" fmla="*/ 1174336 w 9699765"/>
              <a:gd name="connsiteY126" fmla="*/ 3821735 h 8946435"/>
              <a:gd name="connsiteX127" fmla="*/ 1228191 w 9699765"/>
              <a:gd name="connsiteY127" fmla="*/ 3689111 h 8946435"/>
              <a:gd name="connsiteX128" fmla="*/ 1290651 w 9699765"/>
              <a:gd name="connsiteY128" fmla="*/ 3738534 h 8946435"/>
              <a:gd name="connsiteX129" fmla="*/ 1357696 w 9699765"/>
              <a:gd name="connsiteY129" fmla="*/ 3722866 h 8946435"/>
              <a:gd name="connsiteX130" fmla="*/ 1418360 w 9699765"/>
              <a:gd name="connsiteY130" fmla="*/ 3776711 h 8946435"/>
              <a:gd name="connsiteX131" fmla="*/ 1515726 w 9699765"/>
              <a:gd name="connsiteY131" fmla="*/ 3793969 h 8946435"/>
              <a:gd name="connsiteX132" fmla="*/ 1418360 w 9699765"/>
              <a:gd name="connsiteY132" fmla="*/ 3776711 h 8946435"/>
              <a:gd name="connsiteX133" fmla="*/ 1357696 w 9699765"/>
              <a:gd name="connsiteY133" fmla="*/ 3722866 h 8946435"/>
              <a:gd name="connsiteX134" fmla="*/ 1247981 w 9699765"/>
              <a:gd name="connsiteY134" fmla="*/ 3616464 h 8946435"/>
              <a:gd name="connsiteX135" fmla="*/ 1057944 w 9699765"/>
              <a:gd name="connsiteY135" fmla="*/ 3456810 h 8946435"/>
              <a:gd name="connsiteX136" fmla="*/ 1242988 w 9699765"/>
              <a:gd name="connsiteY136" fmla="*/ 3413565 h 8946435"/>
              <a:gd name="connsiteX137" fmla="*/ 1499185 w 9699765"/>
              <a:gd name="connsiteY137" fmla="*/ 3553757 h 8946435"/>
              <a:gd name="connsiteX138" fmla="*/ 1651896 w 9699765"/>
              <a:gd name="connsiteY138" fmla="*/ 3602095 h 8946435"/>
              <a:gd name="connsiteX139" fmla="*/ 1802746 w 9699765"/>
              <a:gd name="connsiteY139" fmla="*/ 3690882 h 8946435"/>
              <a:gd name="connsiteX140" fmla="*/ 1956300 w 9699765"/>
              <a:gd name="connsiteY140" fmla="*/ 3767032 h 8946435"/>
              <a:gd name="connsiteX141" fmla="*/ 1985821 w 9699765"/>
              <a:gd name="connsiteY141" fmla="*/ 3748129 h 8946435"/>
              <a:gd name="connsiteX142" fmla="*/ 1973407 w 9699765"/>
              <a:gd name="connsiteY142" fmla="*/ 3695012 h 8946435"/>
              <a:gd name="connsiteX143" fmla="*/ 1822579 w 9699765"/>
              <a:gd name="connsiteY143" fmla="*/ 3594217 h 8946435"/>
              <a:gd name="connsiteX144" fmla="*/ 1661998 w 9699765"/>
              <a:gd name="connsiteY144" fmla="*/ 3451688 h 8946435"/>
              <a:gd name="connsiteX145" fmla="*/ 1536905 w 9699765"/>
              <a:gd name="connsiteY145" fmla="*/ 3448911 h 8946435"/>
              <a:gd name="connsiteX146" fmla="*/ 1520967 w 9699765"/>
              <a:gd name="connsiteY146" fmla="*/ 3368609 h 8946435"/>
              <a:gd name="connsiteX147" fmla="*/ 1562124 w 9699765"/>
              <a:gd name="connsiteY147" fmla="*/ 3338984 h 8946435"/>
              <a:gd name="connsiteX148" fmla="*/ 1607715 w 9699765"/>
              <a:gd name="connsiteY148" fmla="*/ 3328330 h 8946435"/>
              <a:gd name="connsiteX149" fmla="*/ 1694310 w 9699765"/>
              <a:gd name="connsiteY149" fmla="*/ 3372113 h 8946435"/>
              <a:gd name="connsiteX150" fmla="*/ 1844252 w 9699765"/>
              <a:gd name="connsiteY150" fmla="*/ 3469114 h 8946435"/>
              <a:gd name="connsiteX151" fmla="*/ 1951503 w 9699765"/>
              <a:gd name="connsiteY151" fmla="*/ 3456054 h 8946435"/>
              <a:gd name="connsiteX152" fmla="*/ 2012944 w 9699765"/>
              <a:gd name="connsiteY152" fmla="*/ 3573737 h 8946435"/>
              <a:gd name="connsiteX153" fmla="*/ 2079125 w 9699765"/>
              <a:gd name="connsiteY153" fmla="*/ 3542265 h 8946435"/>
              <a:gd name="connsiteX154" fmla="*/ 2042772 w 9699765"/>
              <a:gd name="connsiteY154" fmla="*/ 3386709 h 8946435"/>
              <a:gd name="connsiteX155" fmla="*/ 1867916 w 9699765"/>
              <a:gd name="connsiteY155" fmla="*/ 3231510 h 8946435"/>
              <a:gd name="connsiteX156" fmla="*/ 1852842 w 9699765"/>
              <a:gd name="connsiteY156" fmla="*/ 3167011 h 8946435"/>
              <a:gd name="connsiteX157" fmla="*/ 1972572 w 9699765"/>
              <a:gd name="connsiteY157" fmla="*/ 3171040 h 8946435"/>
              <a:gd name="connsiteX158" fmla="*/ 2068209 w 9699765"/>
              <a:gd name="connsiteY158" fmla="*/ 3156692 h 8946435"/>
              <a:gd name="connsiteX159" fmla="*/ 2193993 w 9699765"/>
              <a:gd name="connsiteY159" fmla="*/ 3271343 h 8946435"/>
              <a:gd name="connsiteX160" fmla="*/ 2259374 w 9699765"/>
              <a:gd name="connsiteY160" fmla="*/ 3188042 h 8946435"/>
              <a:gd name="connsiteX161" fmla="*/ 2480816 w 9699765"/>
              <a:gd name="connsiteY161" fmla="*/ 3276336 h 8946435"/>
              <a:gd name="connsiteX162" fmla="*/ 2694256 w 9699765"/>
              <a:gd name="connsiteY162" fmla="*/ 3342492 h 8946435"/>
              <a:gd name="connsiteX163" fmla="*/ 2687249 w 9699765"/>
              <a:gd name="connsiteY163" fmla="*/ 3264104 h 8946435"/>
              <a:gd name="connsiteX164" fmla="*/ 2589127 w 9699765"/>
              <a:gd name="connsiteY164" fmla="*/ 3170998 h 8946435"/>
              <a:gd name="connsiteX165" fmla="*/ 2482008 w 9699765"/>
              <a:gd name="connsiteY165" fmla="*/ 3112005 h 8946435"/>
              <a:gd name="connsiteX166" fmla="*/ 2207518 w 9699765"/>
              <a:gd name="connsiteY166" fmla="*/ 2712004 h 8946435"/>
              <a:gd name="connsiteX167" fmla="*/ 2148519 w 9699765"/>
              <a:gd name="connsiteY167" fmla="*/ 2725792 h 8946435"/>
              <a:gd name="connsiteX168" fmla="*/ 1964666 w 9699765"/>
              <a:gd name="connsiteY168" fmla="*/ 2604706 h 8946435"/>
              <a:gd name="connsiteX169" fmla="*/ 1938864 w 9699765"/>
              <a:gd name="connsiteY169" fmla="*/ 2542714 h 8946435"/>
              <a:gd name="connsiteX170" fmla="*/ 1540016 w 9699765"/>
              <a:gd name="connsiteY170" fmla="*/ 2227793 h 8946435"/>
              <a:gd name="connsiteX171" fmla="*/ 1530241 w 9699765"/>
              <a:gd name="connsiteY171" fmla="*/ 2198068 h 8946435"/>
              <a:gd name="connsiteX172" fmla="*/ 1494731 w 9699765"/>
              <a:gd name="connsiteY172" fmla="*/ 2070323 h 8946435"/>
              <a:gd name="connsiteX173" fmla="*/ 1429372 w 9699765"/>
              <a:gd name="connsiteY173" fmla="*/ 2141615 h 8946435"/>
              <a:gd name="connsiteX174" fmla="*/ 1370699 w 9699765"/>
              <a:gd name="connsiteY174" fmla="*/ 1975269 h 8946435"/>
              <a:gd name="connsiteX175" fmla="*/ 1283195 w 9699765"/>
              <a:gd name="connsiteY175" fmla="*/ 1939701 h 8946435"/>
              <a:gd name="connsiteX176" fmla="*/ 1372930 w 9699765"/>
              <a:gd name="connsiteY176" fmla="*/ 1730669 h 8946435"/>
              <a:gd name="connsiteX177" fmla="*/ 1232008 w 9699765"/>
              <a:gd name="connsiteY177" fmla="*/ 1587547 h 8946435"/>
              <a:gd name="connsiteX178" fmla="*/ 1256275 w 9699765"/>
              <a:gd name="connsiteY178" fmla="*/ 1509852 h 8946435"/>
              <a:gd name="connsiteX179" fmla="*/ 1521404 w 9699765"/>
              <a:gd name="connsiteY179" fmla="*/ 1651957 h 8946435"/>
              <a:gd name="connsiteX180" fmla="*/ 1552808 w 9699765"/>
              <a:gd name="connsiteY180" fmla="*/ 1580598 h 8946435"/>
              <a:gd name="connsiteX181" fmla="*/ 1641308 w 9699765"/>
              <a:gd name="connsiteY181" fmla="*/ 1559916 h 8946435"/>
              <a:gd name="connsiteX182" fmla="*/ 1712699 w 9699765"/>
              <a:gd name="connsiteY182" fmla="*/ 1611253 h 8946435"/>
              <a:gd name="connsiteX183" fmla="*/ 1841427 w 9699765"/>
              <a:gd name="connsiteY183" fmla="*/ 1581170 h 8946435"/>
              <a:gd name="connsiteX184" fmla="*/ 1933319 w 9699765"/>
              <a:gd name="connsiteY184" fmla="*/ 1659727 h 8946435"/>
              <a:gd name="connsiteX185" fmla="*/ 1967253 w 9699765"/>
              <a:gd name="connsiteY185" fmla="*/ 1671803 h 8946435"/>
              <a:gd name="connsiteX186" fmla="*/ 1964724 w 9699765"/>
              <a:gd name="connsiteY186" fmla="*/ 1588367 h 8946435"/>
              <a:gd name="connsiteX187" fmla="*/ 1711362 w 9699765"/>
              <a:gd name="connsiteY187" fmla="*/ 1363486 h 8946435"/>
              <a:gd name="connsiteX188" fmla="*/ 1613130 w 9699765"/>
              <a:gd name="connsiteY188" fmla="*/ 1330425 h 8946435"/>
              <a:gd name="connsiteX189" fmla="*/ 1577795 w 9699765"/>
              <a:gd name="connsiteY189" fmla="*/ 1106609 h 8946435"/>
              <a:gd name="connsiteX190" fmla="*/ 1726893 w 9699765"/>
              <a:gd name="connsiteY190" fmla="*/ 1175798 h 8946435"/>
              <a:gd name="connsiteX191" fmla="*/ 2121330 w 9699765"/>
              <a:gd name="connsiteY191" fmla="*/ 1459739 h 8946435"/>
              <a:gd name="connsiteX192" fmla="*/ 2167939 w 9699765"/>
              <a:gd name="connsiteY192" fmla="*/ 1380825 h 8946435"/>
              <a:gd name="connsiteX193" fmla="*/ 2277980 w 9699765"/>
              <a:gd name="connsiteY193" fmla="*/ 1307093 h 8946435"/>
              <a:gd name="connsiteX194" fmla="*/ 1984413 w 9699765"/>
              <a:gd name="connsiteY194" fmla="*/ 1079604 h 8946435"/>
              <a:gd name="connsiteX195" fmla="*/ 1982771 w 9699765"/>
              <a:gd name="connsiteY195" fmla="*/ 999963 h 8946435"/>
              <a:gd name="connsiteX196" fmla="*/ 2051480 w 9699765"/>
              <a:gd name="connsiteY196" fmla="*/ 1051927 h 8946435"/>
              <a:gd name="connsiteX197" fmla="*/ 2087361 w 9699765"/>
              <a:gd name="connsiteY197" fmla="*/ 975520 h 8946435"/>
              <a:gd name="connsiteX198" fmla="*/ 2195476 w 9699765"/>
              <a:gd name="connsiteY198" fmla="*/ 978263 h 8946435"/>
              <a:gd name="connsiteX199" fmla="*/ 2232847 w 9699765"/>
              <a:gd name="connsiteY199" fmla="*/ 1065560 h 8946435"/>
              <a:gd name="connsiteX200" fmla="*/ 2341784 w 9699765"/>
              <a:gd name="connsiteY200" fmla="*/ 1108123 h 8946435"/>
              <a:gd name="connsiteX201" fmla="*/ 2471223 w 9699765"/>
              <a:gd name="connsiteY201" fmla="*/ 1177906 h 8946435"/>
              <a:gd name="connsiteX202" fmla="*/ 2577391 w 9699765"/>
              <a:gd name="connsiteY202" fmla="*/ 1269131 h 8946435"/>
              <a:gd name="connsiteX203" fmla="*/ 2708625 w 9699765"/>
              <a:gd name="connsiteY203" fmla="*/ 1334493 h 8946435"/>
              <a:gd name="connsiteX204" fmla="*/ 2814793 w 9699765"/>
              <a:gd name="connsiteY204" fmla="*/ 1425719 h 8946435"/>
              <a:gd name="connsiteX205" fmla="*/ 2791893 w 9699765"/>
              <a:gd name="connsiteY205" fmla="*/ 1243011 h 8946435"/>
              <a:gd name="connsiteX206" fmla="*/ 2632110 w 9699765"/>
              <a:gd name="connsiteY206" fmla="*/ 1152310 h 8946435"/>
              <a:gd name="connsiteX207" fmla="*/ 2589376 w 9699765"/>
              <a:gd name="connsiteY207" fmla="*/ 1066267 h 8946435"/>
              <a:gd name="connsiteX208" fmla="*/ 2541103 w 9699765"/>
              <a:gd name="connsiteY208" fmla="*/ 1077548 h 8946435"/>
              <a:gd name="connsiteX209" fmla="*/ 2450139 w 9699765"/>
              <a:gd name="connsiteY209" fmla="*/ 978768 h 8946435"/>
              <a:gd name="connsiteX210" fmla="*/ 2600343 w 9699765"/>
              <a:gd name="connsiteY210" fmla="*/ 931661 h 8946435"/>
              <a:gd name="connsiteX211" fmla="*/ 2791355 w 9699765"/>
              <a:gd name="connsiteY211" fmla="*/ 1047074 h 8946435"/>
              <a:gd name="connsiteX212" fmla="*/ 2847367 w 9699765"/>
              <a:gd name="connsiteY212" fmla="*/ 1202037 h 8946435"/>
              <a:gd name="connsiteX213" fmla="*/ 2992164 w 9699765"/>
              <a:gd name="connsiteY213" fmla="*/ 1180202 h 8946435"/>
              <a:gd name="connsiteX214" fmla="*/ 3126922 w 9699765"/>
              <a:gd name="connsiteY214" fmla="*/ 1272749 h 8946435"/>
              <a:gd name="connsiteX215" fmla="*/ 3174178 w 9699765"/>
              <a:gd name="connsiteY215" fmla="*/ 1329727 h 8946435"/>
              <a:gd name="connsiteX216" fmla="*/ 3126922 w 9699765"/>
              <a:gd name="connsiteY216" fmla="*/ 1272749 h 8946435"/>
              <a:gd name="connsiteX217" fmla="*/ 3110120 w 9699765"/>
              <a:gd name="connsiteY217" fmla="*/ 1176644 h 8946435"/>
              <a:gd name="connsiteX218" fmla="*/ 2940606 w 9699765"/>
              <a:gd name="connsiteY218" fmla="*/ 1032200 h 8946435"/>
              <a:gd name="connsiteX219" fmla="*/ 2799749 w 9699765"/>
              <a:gd name="connsiteY219" fmla="*/ 853050 h 8946435"/>
              <a:gd name="connsiteX220" fmla="*/ 2658893 w 9699765"/>
              <a:gd name="connsiteY220" fmla="*/ 673900 h 8946435"/>
              <a:gd name="connsiteX221" fmla="*/ 2763919 w 9699765"/>
              <a:gd name="connsiteY221" fmla="*/ 409279 h 8946435"/>
              <a:gd name="connsiteX222" fmla="*/ 2889703 w 9699765"/>
              <a:gd name="connsiteY222" fmla="*/ 523930 h 8946435"/>
              <a:gd name="connsiteX223" fmla="*/ 3015529 w 9699765"/>
              <a:gd name="connsiteY223" fmla="*/ 614562 h 8946435"/>
              <a:gd name="connsiteX224" fmla="*/ 2993515 w 9699765"/>
              <a:gd name="connsiteY224" fmla="*/ 435648 h 8946435"/>
              <a:gd name="connsiteX225" fmla="*/ 3056106 w 9699765"/>
              <a:gd name="connsiteY225" fmla="*/ 413018 h 8946435"/>
              <a:gd name="connsiteX226" fmla="*/ 3162230 w 9699765"/>
              <a:gd name="connsiteY226" fmla="*/ 528262 h 8946435"/>
              <a:gd name="connsiteX227" fmla="*/ 3216906 w 9699765"/>
              <a:gd name="connsiteY227" fmla="*/ 435459 h 8946435"/>
              <a:gd name="connsiteX228" fmla="*/ 3382981 w 9699765"/>
              <a:gd name="connsiteY228" fmla="*/ 504682 h 8946435"/>
              <a:gd name="connsiteX229" fmla="*/ 3403375 w 9699765"/>
              <a:gd name="connsiteY229" fmla="*/ 591945 h 8946435"/>
              <a:gd name="connsiteX230" fmla="*/ 3549813 w 9699765"/>
              <a:gd name="connsiteY230" fmla="*/ 649753 h 8946435"/>
              <a:gd name="connsiteX231" fmla="*/ 3723026 w 9699765"/>
              <a:gd name="connsiteY231" fmla="*/ 725310 h 8946435"/>
              <a:gd name="connsiteX232" fmla="*/ 3944229 w 9699765"/>
              <a:gd name="connsiteY232" fmla="*/ 945703 h 8946435"/>
              <a:gd name="connsiteX233" fmla="*/ 4042525 w 9699765"/>
              <a:gd name="connsiteY233" fmla="*/ 942737 h 8946435"/>
              <a:gd name="connsiteX234" fmla="*/ 4155031 w 9699765"/>
              <a:gd name="connsiteY234" fmla="*/ 988468 h 8946435"/>
              <a:gd name="connsiteX235" fmla="*/ 4276402 w 9699765"/>
              <a:gd name="connsiteY235" fmla="*/ 1072140 h 8946435"/>
              <a:gd name="connsiteX236" fmla="*/ 4323658 w 9699765"/>
              <a:gd name="connsiteY236" fmla="*/ 1129118 h 8946435"/>
              <a:gd name="connsiteX237" fmla="*/ 4276402 w 9699765"/>
              <a:gd name="connsiteY237" fmla="*/ 1072140 h 8946435"/>
              <a:gd name="connsiteX238" fmla="*/ 4287217 w 9699765"/>
              <a:gd name="connsiteY238" fmla="*/ 1021597 h 8946435"/>
              <a:gd name="connsiteX239" fmla="*/ 4415079 w 9699765"/>
              <a:gd name="connsiteY239" fmla="*/ 975711 h 8946435"/>
              <a:gd name="connsiteX240" fmla="*/ 4571271 w 9699765"/>
              <a:gd name="connsiteY240" fmla="*/ 1075252 h 8946435"/>
              <a:gd name="connsiteX241" fmla="*/ 4543479 w 9699765"/>
              <a:gd name="connsiteY241" fmla="*/ 1125761 h 8946435"/>
              <a:gd name="connsiteX242" fmla="*/ 4586344 w 9699765"/>
              <a:gd name="connsiteY242" fmla="*/ 1139752 h 8946435"/>
              <a:gd name="connsiteX243" fmla="*/ 4657736 w 9699765"/>
              <a:gd name="connsiteY243" fmla="*/ 1191089 h 8946435"/>
              <a:gd name="connsiteX244" fmla="*/ 4677526 w 9699765"/>
              <a:gd name="connsiteY244" fmla="*/ 1118443 h 8946435"/>
              <a:gd name="connsiteX245" fmla="*/ 4766803 w 9699765"/>
              <a:gd name="connsiteY245" fmla="*/ 1161599 h 8946435"/>
              <a:gd name="connsiteX246" fmla="*/ 4767843 w 9699765"/>
              <a:gd name="connsiteY246" fmla="*/ 1081331 h 8946435"/>
              <a:gd name="connsiteX247" fmla="*/ 4652852 w 9699765"/>
              <a:gd name="connsiteY247" fmla="*/ 928146 h 8946435"/>
              <a:gd name="connsiteX248" fmla="*/ 4821806 w 9699765"/>
              <a:gd name="connsiteY248" fmla="*/ 888662 h 8946435"/>
              <a:gd name="connsiteX249" fmla="*/ 5159881 w 9699765"/>
              <a:gd name="connsiteY249" fmla="*/ 1209782 h 8946435"/>
              <a:gd name="connsiteX250" fmla="*/ 5178654 w 9699765"/>
              <a:gd name="connsiteY250" fmla="*/ 1205395 h 8946435"/>
              <a:gd name="connsiteX251" fmla="*/ 5198488 w 9699765"/>
              <a:gd name="connsiteY251" fmla="*/ 1108730 h 8946435"/>
              <a:gd name="connsiteX252" fmla="*/ 5055015 w 9699765"/>
              <a:gd name="connsiteY252" fmla="*/ 894181 h 8946435"/>
              <a:gd name="connsiteX253" fmla="*/ 5122060 w 9699765"/>
              <a:gd name="connsiteY253" fmla="*/ 878512 h 8946435"/>
              <a:gd name="connsiteX254" fmla="*/ 5444197 w 9699765"/>
              <a:gd name="connsiteY254" fmla="*/ 1119330 h 8946435"/>
              <a:gd name="connsiteX255" fmla="*/ 5730584 w 9699765"/>
              <a:gd name="connsiteY255" fmla="*/ 1364502 h 8946435"/>
              <a:gd name="connsiteX256" fmla="*/ 5781342 w 9699765"/>
              <a:gd name="connsiteY256" fmla="*/ 1460675 h 8946435"/>
              <a:gd name="connsiteX257" fmla="*/ 6694872 w 9699765"/>
              <a:gd name="connsiteY257" fmla="*/ 2271512 h 8946435"/>
              <a:gd name="connsiteX258" fmla="*/ 6716327 w 9699765"/>
              <a:gd name="connsiteY258" fmla="*/ 2266498 h 8946435"/>
              <a:gd name="connsiteX259" fmla="*/ 6776991 w 9699765"/>
              <a:gd name="connsiteY259" fmla="*/ 2320343 h 8946435"/>
              <a:gd name="connsiteX260" fmla="*/ 6837655 w 9699765"/>
              <a:gd name="connsiteY260" fmla="*/ 2374187 h 8946435"/>
              <a:gd name="connsiteX261" fmla="*/ 6892069 w 9699765"/>
              <a:gd name="connsiteY261" fmla="*/ 2425491 h 8946435"/>
              <a:gd name="connsiteX262" fmla="*/ 6939324 w 9699765"/>
              <a:gd name="connsiteY262" fmla="*/ 2482470 h 8946435"/>
              <a:gd name="connsiteX263" fmla="*/ 6892069 w 9699765"/>
              <a:gd name="connsiteY263" fmla="*/ 2425491 h 8946435"/>
              <a:gd name="connsiteX264" fmla="*/ 6837655 w 9699765"/>
              <a:gd name="connsiteY264" fmla="*/ 2374187 h 8946435"/>
              <a:gd name="connsiteX265" fmla="*/ 6776991 w 9699765"/>
              <a:gd name="connsiteY265" fmla="*/ 2320343 h 8946435"/>
              <a:gd name="connsiteX266" fmla="*/ 6716327 w 9699765"/>
              <a:gd name="connsiteY266" fmla="*/ 2266498 h 8946435"/>
              <a:gd name="connsiteX267" fmla="*/ 6684407 w 9699765"/>
              <a:gd name="connsiteY267" fmla="*/ 2129912 h 8946435"/>
              <a:gd name="connsiteX268" fmla="*/ 6532692 w 9699765"/>
              <a:gd name="connsiteY268" fmla="*/ 2025322 h 8946435"/>
              <a:gd name="connsiteX269" fmla="*/ 6475684 w 9699765"/>
              <a:gd name="connsiteY269" fmla="*/ 1926609 h 8946435"/>
              <a:gd name="connsiteX270" fmla="*/ 6403318 w 9699765"/>
              <a:gd name="connsiteY270" fmla="*/ 1919513 h 8946435"/>
              <a:gd name="connsiteX271" fmla="*/ 6371290 w 9699765"/>
              <a:gd name="connsiteY271" fmla="*/ 1842971 h 8946435"/>
              <a:gd name="connsiteX272" fmla="*/ 6215076 w 9699765"/>
              <a:gd name="connsiteY272" fmla="*/ 1755439 h 8946435"/>
              <a:gd name="connsiteX273" fmla="*/ 6197342 w 9699765"/>
              <a:gd name="connsiteY273" fmla="*/ 1679557 h 8946435"/>
              <a:gd name="connsiteX274" fmla="*/ 6004644 w 9699765"/>
              <a:gd name="connsiteY274" fmla="*/ 1508521 h 8946435"/>
              <a:gd name="connsiteX275" fmla="*/ 5837013 w 9699765"/>
              <a:gd name="connsiteY275" fmla="*/ 1311621 h 8946435"/>
              <a:gd name="connsiteX276" fmla="*/ 5646997 w 9699765"/>
              <a:gd name="connsiteY276" fmla="*/ 1139958 h 8946435"/>
              <a:gd name="connsiteX277" fmla="*/ 5468573 w 9699765"/>
              <a:gd name="connsiteY277" fmla="*/ 981592 h 8946435"/>
              <a:gd name="connsiteX278" fmla="*/ 5418702 w 9699765"/>
              <a:gd name="connsiteY278" fmla="*/ 889213 h 8946435"/>
              <a:gd name="connsiteX279" fmla="*/ 4907523 w 9699765"/>
              <a:gd name="connsiteY279" fmla="*/ 432490 h 8946435"/>
              <a:gd name="connsiteX280" fmla="*/ 4736388 w 9699765"/>
              <a:gd name="connsiteY280" fmla="*/ 196396 h 8946435"/>
              <a:gd name="connsiteX281" fmla="*/ 4825019 w 9699765"/>
              <a:gd name="connsiteY281" fmla="*/ 103660 h 8946435"/>
              <a:gd name="connsiteX282" fmla="*/ 4809059 w 9699765"/>
              <a:gd name="connsiteY282" fmla="*/ 35367 h 8946435"/>
              <a:gd name="connsiteX283" fmla="*/ 4823420 w 9699765"/>
              <a:gd name="connsiteY283" fmla="*/ 0 h 8946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</a:cxnLst>
            <a:rect l="l" t="t" r="r" b="b"/>
            <a:pathLst>
              <a:path w="9699765" h="8946435">
                <a:moveTo>
                  <a:pt x="4823420" y="0"/>
                </a:moveTo>
                <a:cubicBezTo>
                  <a:pt x="4855536" y="28506"/>
                  <a:pt x="4886744" y="65227"/>
                  <a:pt x="4923338" y="88686"/>
                </a:cubicBezTo>
                <a:cubicBezTo>
                  <a:pt x="4963499" y="115311"/>
                  <a:pt x="5010885" y="100236"/>
                  <a:pt x="5050117" y="147086"/>
                </a:cubicBezTo>
                <a:cubicBezTo>
                  <a:pt x="5061774" y="124355"/>
                  <a:pt x="5073432" y="101624"/>
                  <a:pt x="5084202" y="75099"/>
                </a:cubicBezTo>
                <a:cubicBezTo>
                  <a:pt x="5138551" y="162430"/>
                  <a:pt x="5191388" y="98066"/>
                  <a:pt x="5259255" y="122218"/>
                </a:cubicBezTo>
                <a:cubicBezTo>
                  <a:pt x="5250148" y="216376"/>
                  <a:pt x="5318923" y="232313"/>
                  <a:pt x="5363518" y="277910"/>
                </a:cubicBezTo>
                <a:cubicBezTo>
                  <a:pt x="5417932" y="329214"/>
                  <a:pt x="5481299" y="370423"/>
                  <a:pt x="5532123" y="430568"/>
                </a:cubicBezTo>
                <a:cubicBezTo>
                  <a:pt x="5582060" y="486920"/>
                  <a:pt x="5639287" y="465544"/>
                  <a:pt x="5687450" y="514307"/>
                </a:cubicBezTo>
                <a:lnTo>
                  <a:pt x="5703410" y="582600"/>
                </a:lnTo>
                <a:cubicBezTo>
                  <a:pt x="5724843" y="589595"/>
                  <a:pt x="5745389" y="592796"/>
                  <a:pt x="5765935" y="595997"/>
                </a:cubicBezTo>
                <a:cubicBezTo>
                  <a:pt x="5856033" y="678975"/>
                  <a:pt x="5948814" y="761325"/>
                  <a:pt x="6052300" y="853178"/>
                </a:cubicBezTo>
                <a:lnTo>
                  <a:pt x="6062940" y="898707"/>
                </a:lnTo>
                <a:cubicBezTo>
                  <a:pt x="6096873" y="910783"/>
                  <a:pt x="6134375" y="926027"/>
                  <a:pt x="6168308" y="938103"/>
                </a:cubicBezTo>
                <a:lnTo>
                  <a:pt x="6184268" y="1006396"/>
                </a:lnTo>
                <a:lnTo>
                  <a:pt x="6269912" y="1082412"/>
                </a:lnTo>
                <a:cubicBezTo>
                  <a:pt x="6286002" y="1078652"/>
                  <a:pt x="6299411" y="1075518"/>
                  <a:pt x="6332480" y="1071791"/>
                </a:cubicBezTo>
                <a:cubicBezTo>
                  <a:pt x="6358193" y="1181819"/>
                  <a:pt x="6416154" y="1248300"/>
                  <a:pt x="6504632" y="1239626"/>
                </a:cubicBezTo>
                <a:cubicBezTo>
                  <a:pt x="6513564" y="1241540"/>
                  <a:pt x="6528702" y="1270013"/>
                  <a:pt x="6535818" y="1288356"/>
                </a:cubicBezTo>
                <a:cubicBezTo>
                  <a:pt x="6558028" y="1359190"/>
                  <a:pt x="6607100" y="1399739"/>
                  <a:pt x="6646419" y="1398552"/>
                </a:cubicBezTo>
                <a:cubicBezTo>
                  <a:pt x="6738465" y="1393047"/>
                  <a:pt x="6762383" y="1507495"/>
                  <a:pt x="6815002" y="1563220"/>
                </a:cubicBezTo>
                <a:cubicBezTo>
                  <a:pt x="6829298" y="1563881"/>
                  <a:pt x="6845389" y="1560120"/>
                  <a:pt x="6864161" y="1555733"/>
                </a:cubicBezTo>
                <a:cubicBezTo>
                  <a:pt x="6911438" y="1600702"/>
                  <a:pt x="6958715" y="1645672"/>
                  <a:pt x="7013129" y="1696976"/>
                </a:cubicBezTo>
                <a:cubicBezTo>
                  <a:pt x="7015789" y="1708358"/>
                  <a:pt x="7020222" y="1727328"/>
                  <a:pt x="7028224" y="1749466"/>
                </a:cubicBezTo>
                <a:cubicBezTo>
                  <a:pt x="7114820" y="1793249"/>
                  <a:pt x="7206801" y="1823770"/>
                  <a:pt x="7266447" y="1945874"/>
                </a:cubicBezTo>
                <a:cubicBezTo>
                  <a:pt x="7273563" y="1964218"/>
                  <a:pt x="7286041" y="1981308"/>
                  <a:pt x="7297633" y="1994604"/>
                </a:cubicBezTo>
                <a:cubicBezTo>
                  <a:pt x="7390414" y="2076955"/>
                  <a:pt x="7482286" y="2167520"/>
                  <a:pt x="7575088" y="2237862"/>
                </a:cubicBezTo>
                <a:cubicBezTo>
                  <a:pt x="7678596" y="2317706"/>
                  <a:pt x="7739994" y="2459407"/>
                  <a:pt x="7845297" y="2534830"/>
                </a:cubicBezTo>
                <a:cubicBezTo>
                  <a:pt x="7950600" y="2610253"/>
                  <a:pt x="8046927" y="2707780"/>
                  <a:pt x="8146844" y="2796465"/>
                </a:cubicBezTo>
                <a:cubicBezTo>
                  <a:pt x="8251217" y="2892112"/>
                  <a:pt x="8362749" y="2982084"/>
                  <a:pt x="8465325" y="3082152"/>
                </a:cubicBezTo>
                <a:cubicBezTo>
                  <a:pt x="8561653" y="3179679"/>
                  <a:pt x="8669703" y="3218448"/>
                  <a:pt x="8767847" y="3299546"/>
                </a:cubicBezTo>
                <a:cubicBezTo>
                  <a:pt x="8932451" y="3441135"/>
                  <a:pt x="9096379" y="3585884"/>
                  <a:pt x="9259749" y="3731264"/>
                </a:cubicBezTo>
                <a:lnTo>
                  <a:pt x="9699765" y="4123509"/>
                </a:lnTo>
                <a:lnTo>
                  <a:pt x="9699765" y="8946435"/>
                </a:lnTo>
                <a:lnTo>
                  <a:pt x="3846814" y="8946435"/>
                </a:lnTo>
                <a:lnTo>
                  <a:pt x="3829261" y="8935931"/>
                </a:lnTo>
                <a:cubicBezTo>
                  <a:pt x="3813070" y="8925647"/>
                  <a:pt x="3797062" y="8914634"/>
                  <a:pt x="3781447" y="8902278"/>
                </a:cubicBezTo>
                <a:cubicBezTo>
                  <a:pt x="3726124" y="8859188"/>
                  <a:pt x="3669894" y="8824314"/>
                  <a:pt x="3609186" y="8794487"/>
                </a:cubicBezTo>
                <a:cubicBezTo>
                  <a:pt x="3534183" y="8764000"/>
                  <a:pt x="3475357" y="8681717"/>
                  <a:pt x="3392308" y="8653110"/>
                </a:cubicBezTo>
                <a:cubicBezTo>
                  <a:pt x="3311941" y="8623877"/>
                  <a:pt x="3237069" y="8521336"/>
                  <a:pt x="3158562" y="8451654"/>
                </a:cubicBezTo>
                <a:cubicBezTo>
                  <a:pt x="3142471" y="8455415"/>
                  <a:pt x="3120995" y="8472438"/>
                  <a:pt x="3112971" y="8462309"/>
                </a:cubicBezTo>
                <a:cubicBezTo>
                  <a:pt x="2996164" y="8325554"/>
                  <a:pt x="2843409" y="8301233"/>
                  <a:pt x="2725693" y="8172693"/>
                </a:cubicBezTo>
                <a:cubicBezTo>
                  <a:pt x="2664055" y="8163091"/>
                  <a:pt x="2606937" y="8124422"/>
                  <a:pt x="2551637" y="8069324"/>
                </a:cubicBezTo>
                <a:cubicBezTo>
                  <a:pt x="2540932" y="8059822"/>
                  <a:pt x="2522158" y="8064209"/>
                  <a:pt x="2510545" y="8062922"/>
                </a:cubicBezTo>
                <a:cubicBezTo>
                  <a:pt x="2440883" y="8043190"/>
                  <a:pt x="2388352" y="7939429"/>
                  <a:pt x="2313261" y="7956978"/>
                </a:cubicBezTo>
                <a:cubicBezTo>
                  <a:pt x="2301647" y="7955691"/>
                  <a:pt x="2284713" y="7931639"/>
                  <a:pt x="2270439" y="7918970"/>
                </a:cubicBezTo>
                <a:cubicBezTo>
                  <a:pt x="2188364" y="7846121"/>
                  <a:pt x="2108972" y="7772646"/>
                  <a:pt x="2012535" y="7735164"/>
                </a:cubicBezTo>
                <a:cubicBezTo>
                  <a:pt x="1941100" y="7707844"/>
                  <a:pt x="1876911" y="7626814"/>
                  <a:pt x="1798339" y="7593159"/>
                </a:cubicBezTo>
                <a:cubicBezTo>
                  <a:pt x="1717085" y="7560132"/>
                  <a:pt x="1645760" y="7472767"/>
                  <a:pt x="1560051" y="7432778"/>
                </a:cubicBezTo>
                <a:cubicBezTo>
                  <a:pt x="1477910" y="7395956"/>
                  <a:pt x="1398538" y="7310472"/>
                  <a:pt x="1326304" y="7231322"/>
                </a:cubicBezTo>
                <a:cubicBezTo>
                  <a:pt x="1253183" y="7148378"/>
                  <a:pt x="1162931" y="7149464"/>
                  <a:pt x="1086220" y="7075362"/>
                </a:cubicBezTo>
                <a:cubicBezTo>
                  <a:pt x="956868" y="6957544"/>
                  <a:pt x="834719" y="6810034"/>
                  <a:pt x="679326" y="6762322"/>
                </a:cubicBezTo>
                <a:cubicBezTo>
                  <a:pt x="475923" y="6581783"/>
                  <a:pt x="271633" y="6397452"/>
                  <a:pt x="76253" y="6227042"/>
                </a:cubicBezTo>
                <a:cubicBezTo>
                  <a:pt x="56725" y="6155582"/>
                  <a:pt x="63927" y="6125890"/>
                  <a:pt x="101472" y="6117115"/>
                </a:cubicBezTo>
                <a:cubicBezTo>
                  <a:pt x="147064" y="6106461"/>
                  <a:pt x="133742" y="6061559"/>
                  <a:pt x="123102" y="6016030"/>
                </a:cubicBezTo>
                <a:cubicBezTo>
                  <a:pt x="82962" y="5977395"/>
                  <a:pt x="42822" y="5938761"/>
                  <a:pt x="0" y="5900753"/>
                </a:cubicBezTo>
                <a:cubicBezTo>
                  <a:pt x="17087" y="5840742"/>
                  <a:pt x="65294" y="5865487"/>
                  <a:pt x="97497" y="5845957"/>
                </a:cubicBezTo>
                <a:cubicBezTo>
                  <a:pt x="152863" y="5865029"/>
                  <a:pt x="189348" y="5948532"/>
                  <a:pt x="242075" y="5944212"/>
                </a:cubicBezTo>
                <a:cubicBezTo>
                  <a:pt x="261691" y="5967637"/>
                  <a:pt x="276852" y="5984100"/>
                  <a:pt x="292012" y="6000564"/>
                </a:cubicBezTo>
                <a:cubicBezTo>
                  <a:pt x="308212" y="5936758"/>
                  <a:pt x="274235" y="5948700"/>
                  <a:pt x="242075" y="5944212"/>
                </a:cubicBezTo>
                <a:cubicBezTo>
                  <a:pt x="247504" y="5906932"/>
                  <a:pt x="215410" y="5866417"/>
                  <a:pt x="241407" y="5820328"/>
                </a:cubicBezTo>
                <a:cubicBezTo>
                  <a:pt x="258362" y="5832371"/>
                  <a:pt x="278886" y="5847581"/>
                  <a:pt x="299411" y="5862791"/>
                </a:cubicBezTo>
                <a:lnTo>
                  <a:pt x="457638" y="5825814"/>
                </a:lnTo>
                <a:cubicBezTo>
                  <a:pt x="420224" y="5762534"/>
                  <a:pt x="384582" y="5706843"/>
                  <a:pt x="353397" y="5658113"/>
                </a:cubicBezTo>
                <a:cubicBezTo>
                  <a:pt x="330168" y="5655539"/>
                  <a:pt x="307827" y="5656759"/>
                  <a:pt x="276554" y="5656065"/>
                </a:cubicBezTo>
                <a:cubicBezTo>
                  <a:pt x="265914" y="5610536"/>
                  <a:pt x="256161" y="5568801"/>
                  <a:pt x="249976" y="5530234"/>
                </a:cubicBezTo>
                <a:cubicBezTo>
                  <a:pt x="238471" y="5468902"/>
                  <a:pt x="271540" y="5465175"/>
                  <a:pt x="304607" y="5461448"/>
                </a:cubicBezTo>
                <a:cubicBezTo>
                  <a:pt x="465189" y="5603978"/>
                  <a:pt x="625771" y="5746509"/>
                  <a:pt x="783670" y="5889665"/>
                </a:cubicBezTo>
                <a:cubicBezTo>
                  <a:pt x="810489" y="5883398"/>
                  <a:pt x="831943" y="5878384"/>
                  <a:pt x="847147" y="5870830"/>
                </a:cubicBezTo>
                <a:cubicBezTo>
                  <a:pt x="866763" y="5894254"/>
                  <a:pt x="881923" y="5910718"/>
                  <a:pt x="897084" y="5927181"/>
                </a:cubicBezTo>
                <a:cubicBezTo>
                  <a:pt x="913285" y="5863376"/>
                  <a:pt x="879308" y="5875318"/>
                  <a:pt x="847147" y="5870830"/>
                </a:cubicBezTo>
                <a:cubicBezTo>
                  <a:pt x="830323" y="5786733"/>
                  <a:pt x="746322" y="5790359"/>
                  <a:pt x="717905" y="5692967"/>
                </a:cubicBezTo>
                <a:cubicBezTo>
                  <a:pt x="723334" y="5655687"/>
                  <a:pt x="729671" y="5610191"/>
                  <a:pt x="736009" y="5564696"/>
                </a:cubicBezTo>
                <a:cubicBezTo>
                  <a:pt x="749417" y="5561563"/>
                  <a:pt x="765509" y="5557802"/>
                  <a:pt x="772667" y="5552128"/>
                </a:cubicBezTo>
                <a:cubicBezTo>
                  <a:pt x="792283" y="5575553"/>
                  <a:pt x="806556" y="5588222"/>
                  <a:pt x="821718" y="5604685"/>
                </a:cubicBezTo>
                <a:cubicBezTo>
                  <a:pt x="837918" y="5540880"/>
                  <a:pt x="803941" y="5552822"/>
                  <a:pt x="772667" y="5552128"/>
                </a:cubicBezTo>
                <a:cubicBezTo>
                  <a:pt x="770959" y="5508513"/>
                  <a:pt x="749549" y="5489509"/>
                  <a:pt x="720935" y="5500197"/>
                </a:cubicBezTo>
                <a:cubicBezTo>
                  <a:pt x="710295" y="5454668"/>
                  <a:pt x="691566" y="5435038"/>
                  <a:pt x="660271" y="5446352"/>
                </a:cubicBezTo>
                <a:cubicBezTo>
                  <a:pt x="655882" y="5403364"/>
                  <a:pt x="627355" y="5366016"/>
                  <a:pt x="646193" y="5325603"/>
                </a:cubicBezTo>
                <a:cubicBezTo>
                  <a:pt x="658715" y="5318675"/>
                  <a:pt x="673920" y="5311120"/>
                  <a:pt x="696283" y="5297892"/>
                </a:cubicBezTo>
                <a:cubicBezTo>
                  <a:pt x="773881" y="5375788"/>
                  <a:pt x="864023" y="5434747"/>
                  <a:pt x="958643" y="5488659"/>
                </a:cubicBezTo>
                <a:cubicBezTo>
                  <a:pt x="1053262" y="5542571"/>
                  <a:pt x="1138862" y="5642605"/>
                  <a:pt x="1230755" y="5721162"/>
                </a:cubicBezTo>
                <a:cubicBezTo>
                  <a:pt x="1247842" y="5661151"/>
                  <a:pt x="1218451" y="5608000"/>
                  <a:pt x="1213197" y="5549209"/>
                </a:cubicBezTo>
                <a:cubicBezTo>
                  <a:pt x="1172148" y="5518789"/>
                  <a:pt x="1130213" y="5484575"/>
                  <a:pt x="1092734" y="5457322"/>
                </a:cubicBezTo>
                <a:lnTo>
                  <a:pt x="1067907" y="5351088"/>
                </a:lnTo>
                <a:cubicBezTo>
                  <a:pt x="1096476" y="5364418"/>
                  <a:pt x="1125046" y="5377748"/>
                  <a:pt x="1169685" y="5399326"/>
                </a:cubicBezTo>
                <a:cubicBezTo>
                  <a:pt x="1189344" y="5398734"/>
                  <a:pt x="1219796" y="5359607"/>
                  <a:pt x="1261731" y="5393820"/>
                </a:cubicBezTo>
                <a:cubicBezTo>
                  <a:pt x="1278643" y="5429881"/>
                  <a:pt x="1294669" y="5462147"/>
                  <a:pt x="1310694" y="5494414"/>
                </a:cubicBezTo>
                <a:lnTo>
                  <a:pt x="1367012" y="5481252"/>
                </a:lnTo>
                <a:cubicBezTo>
                  <a:pt x="1422312" y="5536350"/>
                  <a:pt x="1483864" y="5593989"/>
                  <a:pt x="1535596" y="5645920"/>
                </a:cubicBezTo>
                <a:lnTo>
                  <a:pt x="1613368" y="5627744"/>
                </a:lnTo>
                <a:cubicBezTo>
                  <a:pt x="1616028" y="5639127"/>
                  <a:pt x="1614211" y="5655556"/>
                  <a:pt x="1620461" y="5658097"/>
                </a:cubicBezTo>
                <a:cubicBezTo>
                  <a:pt x="1749813" y="5775915"/>
                  <a:pt x="1881847" y="5893106"/>
                  <a:pt x="2011199" y="6010924"/>
                </a:cubicBezTo>
                <a:lnTo>
                  <a:pt x="2080925" y="5994630"/>
                </a:lnTo>
                <a:cubicBezTo>
                  <a:pt x="2089792" y="6032570"/>
                  <a:pt x="2098659" y="6070511"/>
                  <a:pt x="2111072" y="6123628"/>
                </a:cubicBezTo>
                <a:cubicBezTo>
                  <a:pt x="2148617" y="6114853"/>
                  <a:pt x="2175436" y="6108586"/>
                  <a:pt x="2196004" y="6099778"/>
                </a:cubicBezTo>
                <a:cubicBezTo>
                  <a:pt x="2212938" y="6123830"/>
                  <a:pt x="2227211" y="6136499"/>
                  <a:pt x="2242373" y="6152962"/>
                </a:cubicBezTo>
                <a:cubicBezTo>
                  <a:pt x="2258572" y="6089157"/>
                  <a:pt x="2224595" y="6101099"/>
                  <a:pt x="2196004" y="6099778"/>
                </a:cubicBezTo>
                <a:cubicBezTo>
                  <a:pt x="2174681" y="6032738"/>
                  <a:pt x="2132745" y="5998524"/>
                  <a:pt x="2080925" y="5994630"/>
                </a:cubicBezTo>
                <a:cubicBezTo>
                  <a:pt x="2078265" y="5983247"/>
                  <a:pt x="2077401" y="5967444"/>
                  <a:pt x="2073832" y="5964277"/>
                </a:cubicBezTo>
                <a:cubicBezTo>
                  <a:pt x="1941799" y="5847085"/>
                  <a:pt x="1809765" y="5729894"/>
                  <a:pt x="1680414" y="5612076"/>
                </a:cubicBezTo>
                <a:lnTo>
                  <a:pt x="1613368" y="5627744"/>
                </a:lnTo>
                <a:cubicBezTo>
                  <a:pt x="1558111" y="5548629"/>
                  <a:pt x="1516285" y="5454370"/>
                  <a:pt x="1442212" y="5403659"/>
                </a:cubicBezTo>
                <a:cubicBezTo>
                  <a:pt x="1406462" y="5408013"/>
                  <a:pt x="1370711" y="5412366"/>
                  <a:pt x="1334961" y="5416719"/>
                </a:cubicBezTo>
                <a:cubicBezTo>
                  <a:pt x="1300338" y="5292769"/>
                  <a:pt x="1240626" y="5206691"/>
                  <a:pt x="1180914" y="5120614"/>
                </a:cubicBezTo>
                <a:lnTo>
                  <a:pt x="1135323" y="5131268"/>
                </a:lnTo>
                <a:cubicBezTo>
                  <a:pt x="1088911" y="5102102"/>
                  <a:pt x="1093540" y="5012992"/>
                  <a:pt x="1036401" y="4986332"/>
                </a:cubicBezTo>
                <a:cubicBezTo>
                  <a:pt x="991762" y="4964754"/>
                  <a:pt x="949849" y="4918531"/>
                  <a:pt x="908822" y="4876103"/>
                </a:cubicBezTo>
                <a:cubicBezTo>
                  <a:pt x="866908" y="4829880"/>
                  <a:pt x="808861" y="4811435"/>
                  <a:pt x="775946" y="4731100"/>
                </a:cubicBezTo>
                <a:cubicBezTo>
                  <a:pt x="755487" y="4679863"/>
                  <a:pt x="701937" y="4644362"/>
                  <a:pt x="661798" y="4605727"/>
                </a:cubicBezTo>
                <a:cubicBezTo>
                  <a:pt x="618976" y="4567719"/>
                  <a:pt x="577041" y="4533505"/>
                  <a:pt x="533333" y="4491703"/>
                </a:cubicBezTo>
                <a:lnTo>
                  <a:pt x="519146" y="4430998"/>
                </a:lnTo>
                <a:cubicBezTo>
                  <a:pt x="497735" y="4411994"/>
                  <a:pt x="476324" y="4392990"/>
                  <a:pt x="457595" y="4373359"/>
                </a:cubicBezTo>
                <a:lnTo>
                  <a:pt x="435429" y="4278507"/>
                </a:lnTo>
                <a:cubicBezTo>
                  <a:pt x="481063" y="4243835"/>
                  <a:pt x="512423" y="4196494"/>
                  <a:pt x="480481" y="4071916"/>
                </a:cubicBezTo>
                <a:cubicBezTo>
                  <a:pt x="453707" y="4054165"/>
                  <a:pt x="407295" y="4024999"/>
                  <a:pt x="367155" y="3986364"/>
                </a:cubicBezTo>
                <a:cubicBezTo>
                  <a:pt x="355563" y="3973068"/>
                  <a:pt x="359219" y="3928199"/>
                  <a:pt x="354807" y="3897220"/>
                </a:cubicBezTo>
                <a:cubicBezTo>
                  <a:pt x="383421" y="3886532"/>
                  <a:pt x="404896" y="3869509"/>
                  <a:pt x="426329" y="3876505"/>
                </a:cubicBezTo>
                <a:cubicBezTo>
                  <a:pt x="499560" y="3899403"/>
                  <a:pt x="571881" y="3930517"/>
                  <a:pt x="643316" y="3957837"/>
                </a:cubicBezTo>
                <a:lnTo>
                  <a:pt x="758634" y="3930888"/>
                </a:lnTo>
                <a:cubicBezTo>
                  <a:pt x="776476" y="3946724"/>
                  <a:pt x="797888" y="3965728"/>
                  <a:pt x="825548" y="3987273"/>
                </a:cubicBezTo>
                <a:cubicBezTo>
                  <a:pt x="849728" y="3957614"/>
                  <a:pt x="900595" y="3993742"/>
                  <a:pt x="922137" y="3940693"/>
                </a:cubicBezTo>
                <a:cubicBezTo>
                  <a:pt x="919499" y="3917301"/>
                  <a:pt x="917747" y="3897704"/>
                  <a:pt x="915109" y="3874313"/>
                </a:cubicBezTo>
                <a:cubicBezTo>
                  <a:pt x="840237" y="3771772"/>
                  <a:pt x="729505" y="3733629"/>
                  <a:pt x="664473" y="3624788"/>
                </a:cubicBezTo>
                <a:cubicBezTo>
                  <a:pt x="647714" y="3504665"/>
                  <a:pt x="721786" y="3555376"/>
                  <a:pt x="754898" y="3527632"/>
                </a:cubicBezTo>
                <a:cubicBezTo>
                  <a:pt x="812947" y="3546076"/>
                  <a:pt x="854751" y="3652343"/>
                  <a:pt x="928976" y="3618992"/>
                </a:cubicBezTo>
                <a:cubicBezTo>
                  <a:pt x="997665" y="3682965"/>
                  <a:pt x="1069034" y="3746312"/>
                  <a:pt x="1139517" y="3805864"/>
                </a:cubicBezTo>
                <a:cubicBezTo>
                  <a:pt x="1150223" y="3815366"/>
                  <a:pt x="1161836" y="3816653"/>
                  <a:pt x="1174336" y="3821735"/>
                </a:cubicBezTo>
                <a:lnTo>
                  <a:pt x="1228191" y="3689111"/>
                </a:lnTo>
                <a:cubicBezTo>
                  <a:pt x="1248715" y="3704321"/>
                  <a:pt x="1270126" y="3723325"/>
                  <a:pt x="1290651" y="3738534"/>
                </a:cubicBezTo>
                <a:lnTo>
                  <a:pt x="1357696" y="3722866"/>
                </a:lnTo>
                <a:cubicBezTo>
                  <a:pt x="1368336" y="3768395"/>
                  <a:pt x="1387065" y="3788026"/>
                  <a:pt x="1418360" y="3776711"/>
                </a:cubicBezTo>
                <a:cubicBezTo>
                  <a:pt x="1461138" y="3838736"/>
                  <a:pt x="1461138" y="3838736"/>
                  <a:pt x="1515726" y="3793969"/>
                </a:cubicBezTo>
                <a:cubicBezTo>
                  <a:pt x="1480994" y="3730063"/>
                  <a:pt x="1450520" y="3781199"/>
                  <a:pt x="1418360" y="3776711"/>
                </a:cubicBezTo>
                <a:cubicBezTo>
                  <a:pt x="1410402" y="3730555"/>
                  <a:pt x="1389877" y="3715345"/>
                  <a:pt x="1357696" y="3722866"/>
                </a:cubicBezTo>
                <a:cubicBezTo>
                  <a:pt x="1336372" y="3655826"/>
                  <a:pt x="1291755" y="3622239"/>
                  <a:pt x="1247981" y="3616464"/>
                </a:cubicBezTo>
                <a:cubicBezTo>
                  <a:pt x="1168479" y="3603033"/>
                  <a:pt x="1108723" y="3540974"/>
                  <a:pt x="1057944" y="3456810"/>
                </a:cubicBezTo>
                <a:lnTo>
                  <a:pt x="1242988" y="3413565"/>
                </a:lnTo>
                <a:cubicBezTo>
                  <a:pt x="1341220" y="3446627"/>
                  <a:pt x="1420657" y="3496085"/>
                  <a:pt x="1499185" y="3553757"/>
                </a:cubicBezTo>
                <a:cubicBezTo>
                  <a:pt x="1545597" y="3582923"/>
                  <a:pt x="1601894" y="3581771"/>
                  <a:pt x="1651896" y="3602095"/>
                </a:cubicBezTo>
                <a:cubicBezTo>
                  <a:pt x="1702785" y="3626214"/>
                  <a:pt x="1760832" y="3644659"/>
                  <a:pt x="1802746" y="3690882"/>
                </a:cubicBezTo>
                <a:cubicBezTo>
                  <a:pt x="1851796" y="3743439"/>
                  <a:pt x="1909931" y="3713848"/>
                  <a:pt x="1956300" y="3767032"/>
                </a:cubicBezTo>
                <a:cubicBezTo>
                  <a:pt x="1960755" y="3773994"/>
                  <a:pt x="1975980" y="3754430"/>
                  <a:pt x="1985821" y="3748129"/>
                </a:cubicBezTo>
                <a:cubicBezTo>
                  <a:pt x="1981387" y="3729159"/>
                  <a:pt x="1976067" y="3706395"/>
                  <a:pt x="1973407" y="3695012"/>
                </a:cubicBezTo>
                <a:cubicBezTo>
                  <a:pt x="1927062" y="3629820"/>
                  <a:pt x="1876150" y="3617709"/>
                  <a:pt x="1822579" y="3594217"/>
                </a:cubicBezTo>
                <a:cubicBezTo>
                  <a:pt x="1762759" y="3568184"/>
                  <a:pt x="1709275" y="3496657"/>
                  <a:pt x="1661998" y="3451688"/>
                </a:cubicBezTo>
                <a:cubicBezTo>
                  <a:pt x="1612861" y="3447166"/>
                  <a:pt x="1580614" y="3490713"/>
                  <a:pt x="1536905" y="3448911"/>
                </a:cubicBezTo>
                <a:cubicBezTo>
                  <a:pt x="1530698" y="3422353"/>
                  <a:pt x="1526287" y="3391373"/>
                  <a:pt x="1520967" y="3368609"/>
                </a:cubicBezTo>
                <a:cubicBezTo>
                  <a:pt x="1537079" y="3352839"/>
                  <a:pt x="1548715" y="3342118"/>
                  <a:pt x="1562124" y="3338984"/>
                </a:cubicBezTo>
                <a:cubicBezTo>
                  <a:pt x="1577328" y="3331430"/>
                  <a:pt x="1592533" y="3323875"/>
                  <a:pt x="1607715" y="3328330"/>
                </a:cubicBezTo>
                <a:cubicBezTo>
                  <a:pt x="1635398" y="3337865"/>
                  <a:pt x="1670175" y="3377753"/>
                  <a:pt x="1694310" y="3372113"/>
                </a:cubicBezTo>
                <a:cubicBezTo>
                  <a:pt x="1764946" y="3347603"/>
                  <a:pt x="1802251" y="3470927"/>
                  <a:pt x="1844252" y="3469114"/>
                </a:cubicBezTo>
                <a:cubicBezTo>
                  <a:pt x="1896093" y="3461000"/>
                  <a:pt x="1926480" y="3457900"/>
                  <a:pt x="1951503" y="3456054"/>
                </a:cubicBezTo>
                <a:cubicBezTo>
                  <a:pt x="1976439" y="3502242"/>
                  <a:pt x="1992464" y="3534509"/>
                  <a:pt x="2012944" y="3573737"/>
                </a:cubicBezTo>
                <a:cubicBezTo>
                  <a:pt x="2036194" y="3564302"/>
                  <a:pt x="2055875" y="3551700"/>
                  <a:pt x="2079125" y="3542265"/>
                </a:cubicBezTo>
                <a:lnTo>
                  <a:pt x="2042772" y="3386709"/>
                </a:lnTo>
                <a:cubicBezTo>
                  <a:pt x="1979426" y="3333491"/>
                  <a:pt x="1923217" y="3286607"/>
                  <a:pt x="1867916" y="3231510"/>
                </a:cubicBezTo>
                <a:cubicBezTo>
                  <a:pt x="1857211" y="3222007"/>
                  <a:pt x="1858162" y="3189775"/>
                  <a:pt x="1852842" y="3167011"/>
                </a:cubicBezTo>
                <a:cubicBezTo>
                  <a:pt x="1884312" y="3059624"/>
                  <a:pt x="1941299" y="3170346"/>
                  <a:pt x="1972572" y="3171040"/>
                </a:cubicBezTo>
                <a:cubicBezTo>
                  <a:pt x="2016368" y="3164806"/>
                  <a:pt x="2045867" y="3157912"/>
                  <a:pt x="2068209" y="3156692"/>
                </a:cubicBezTo>
                <a:cubicBezTo>
                  <a:pt x="2114599" y="3197868"/>
                  <a:pt x="2150284" y="3229541"/>
                  <a:pt x="2193993" y="3271343"/>
                </a:cubicBezTo>
                <a:cubicBezTo>
                  <a:pt x="2218172" y="3241685"/>
                  <a:pt x="2242352" y="3212026"/>
                  <a:pt x="2259374" y="3188042"/>
                </a:cubicBezTo>
                <a:cubicBezTo>
                  <a:pt x="2337058" y="3217902"/>
                  <a:pt x="2414787" y="3223745"/>
                  <a:pt x="2480816" y="3276336"/>
                </a:cubicBezTo>
                <a:cubicBezTo>
                  <a:pt x="2555775" y="3330841"/>
                  <a:pt x="2623817" y="3258922"/>
                  <a:pt x="2694256" y="3342492"/>
                </a:cubicBezTo>
                <a:cubicBezTo>
                  <a:pt x="2690753" y="3303299"/>
                  <a:pt x="2695273" y="3274233"/>
                  <a:pt x="2687249" y="3264104"/>
                </a:cubicBezTo>
                <a:cubicBezTo>
                  <a:pt x="2656042" y="3227383"/>
                  <a:pt x="2616832" y="3168525"/>
                  <a:pt x="2589127" y="3170998"/>
                </a:cubicBezTo>
                <a:cubicBezTo>
                  <a:pt x="2544445" y="3173438"/>
                  <a:pt x="2506056" y="3154400"/>
                  <a:pt x="2482008" y="3112005"/>
                </a:cubicBezTo>
                <a:cubicBezTo>
                  <a:pt x="2394699" y="2968356"/>
                  <a:pt x="2271555" y="2877096"/>
                  <a:pt x="2207518" y="2712004"/>
                </a:cubicBezTo>
                <a:lnTo>
                  <a:pt x="2148519" y="2725792"/>
                </a:lnTo>
                <a:cubicBezTo>
                  <a:pt x="2099512" y="2649217"/>
                  <a:pt x="2031645" y="2625064"/>
                  <a:pt x="1964666" y="2604706"/>
                </a:cubicBezTo>
                <a:cubicBezTo>
                  <a:pt x="1952209" y="2575607"/>
                  <a:pt x="1939751" y="2546508"/>
                  <a:pt x="1938864" y="2542714"/>
                </a:cubicBezTo>
                <a:cubicBezTo>
                  <a:pt x="1779039" y="2476031"/>
                  <a:pt x="1667617" y="2326014"/>
                  <a:pt x="1540016" y="2227793"/>
                </a:cubicBezTo>
                <a:cubicBezTo>
                  <a:pt x="1533766" y="2225253"/>
                  <a:pt x="1532901" y="2209450"/>
                  <a:pt x="1530241" y="2198068"/>
                </a:cubicBezTo>
                <a:cubicBezTo>
                  <a:pt x="1517806" y="2156960"/>
                  <a:pt x="1508939" y="2119019"/>
                  <a:pt x="1494731" y="2070323"/>
                </a:cubicBezTo>
                <a:cubicBezTo>
                  <a:pt x="1466982" y="2096814"/>
                  <a:pt x="1451757" y="2116377"/>
                  <a:pt x="1429372" y="2141615"/>
                </a:cubicBezTo>
                <a:cubicBezTo>
                  <a:pt x="1408935" y="2078369"/>
                  <a:pt x="1386702" y="2019545"/>
                  <a:pt x="1370699" y="1975269"/>
                </a:cubicBezTo>
                <a:cubicBezTo>
                  <a:pt x="1334993" y="1955605"/>
                  <a:pt x="1304540" y="1994732"/>
                  <a:pt x="1283195" y="1939701"/>
                </a:cubicBezTo>
                <a:cubicBezTo>
                  <a:pt x="1323510" y="1882264"/>
                  <a:pt x="1409327" y="1862208"/>
                  <a:pt x="1372930" y="1730669"/>
                </a:cubicBezTo>
                <a:cubicBezTo>
                  <a:pt x="1328335" y="1685073"/>
                  <a:pt x="1281058" y="1640104"/>
                  <a:pt x="1232008" y="1587547"/>
                </a:cubicBezTo>
                <a:cubicBezTo>
                  <a:pt x="1241006" y="1553433"/>
                  <a:pt x="1249981" y="1531329"/>
                  <a:pt x="1256275" y="1509852"/>
                </a:cubicBezTo>
                <a:cubicBezTo>
                  <a:pt x="1352733" y="1535326"/>
                  <a:pt x="1442033" y="1566473"/>
                  <a:pt x="1521404" y="1651957"/>
                </a:cubicBezTo>
                <a:cubicBezTo>
                  <a:pt x="1532174" y="1625433"/>
                  <a:pt x="1542946" y="1598908"/>
                  <a:pt x="1552808" y="1580598"/>
                </a:cubicBezTo>
                <a:lnTo>
                  <a:pt x="1641308" y="1559916"/>
                </a:lnTo>
                <a:cubicBezTo>
                  <a:pt x="1668082" y="1577666"/>
                  <a:pt x="1689493" y="1596670"/>
                  <a:pt x="1712699" y="1611253"/>
                </a:cubicBezTo>
                <a:lnTo>
                  <a:pt x="1841427" y="1581170"/>
                </a:lnTo>
                <a:cubicBezTo>
                  <a:pt x="1873542" y="1609676"/>
                  <a:pt x="1902977" y="1638808"/>
                  <a:pt x="1933319" y="1659727"/>
                </a:cubicBezTo>
                <a:cubicBezTo>
                  <a:pt x="1941344" y="1669855"/>
                  <a:pt x="1954753" y="1666721"/>
                  <a:pt x="1967253" y="1671803"/>
                </a:cubicBezTo>
                <a:cubicBezTo>
                  <a:pt x="1967296" y="1647785"/>
                  <a:pt x="1965545" y="1628188"/>
                  <a:pt x="1964724" y="1588367"/>
                </a:cubicBezTo>
                <a:cubicBezTo>
                  <a:pt x="1875512" y="1509183"/>
                  <a:pt x="1779163" y="1423666"/>
                  <a:pt x="1711362" y="1363486"/>
                </a:cubicBezTo>
                <a:cubicBezTo>
                  <a:pt x="1655996" y="1344415"/>
                  <a:pt x="1631882" y="1338047"/>
                  <a:pt x="1613130" y="1330425"/>
                </a:cubicBezTo>
                <a:cubicBezTo>
                  <a:pt x="1603443" y="1252663"/>
                  <a:pt x="1560687" y="1178629"/>
                  <a:pt x="1577795" y="1106609"/>
                </a:cubicBezTo>
                <a:cubicBezTo>
                  <a:pt x="1612615" y="1122479"/>
                  <a:pt x="1647434" y="1138349"/>
                  <a:pt x="1726893" y="1175798"/>
                </a:cubicBezTo>
                <a:cubicBezTo>
                  <a:pt x="1811563" y="1296055"/>
                  <a:pt x="1972319" y="1342514"/>
                  <a:pt x="2121330" y="1459739"/>
                </a:cubicBezTo>
                <a:cubicBezTo>
                  <a:pt x="2139260" y="1427540"/>
                  <a:pt x="2158077" y="1399135"/>
                  <a:pt x="2167939" y="1380825"/>
                </a:cubicBezTo>
                <a:cubicBezTo>
                  <a:pt x="2200186" y="1337277"/>
                  <a:pt x="2253734" y="1372778"/>
                  <a:pt x="2277980" y="1307093"/>
                </a:cubicBezTo>
                <a:cubicBezTo>
                  <a:pt x="2189699" y="1207686"/>
                  <a:pt x="2066357" y="1224507"/>
                  <a:pt x="1984413" y="1079604"/>
                </a:cubicBezTo>
                <a:cubicBezTo>
                  <a:pt x="1984434" y="1067596"/>
                  <a:pt x="1982704" y="1035990"/>
                  <a:pt x="1982771" y="999963"/>
                </a:cubicBezTo>
                <a:cubicBezTo>
                  <a:pt x="2010431" y="1021507"/>
                  <a:pt x="2030956" y="1036717"/>
                  <a:pt x="2051480" y="1051927"/>
                </a:cubicBezTo>
                <a:cubicBezTo>
                  <a:pt x="2063138" y="1029196"/>
                  <a:pt x="2073908" y="1002672"/>
                  <a:pt x="2087361" y="975520"/>
                </a:cubicBezTo>
                <a:cubicBezTo>
                  <a:pt x="2121294" y="987596"/>
                  <a:pt x="2154450" y="935834"/>
                  <a:pt x="2195476" y="978263"/>
                </a:cubicBezTo>
                <a:cubicBezTo>
                  <a:pt x="2207934" y="1007361"/>
                  <a:pt x="2220390" y="1036461"/>
                  <a:pt x="2232847" y="1065560"/>
                </a:cubicBezTo>
                <a:cubicBezTo>
                  <a:pt x="2269462" y="1077009"/>
                  <a:pt x="2307916" y="1060020"/>
                  <a:pt x="2341784" y="1108123"/>
                </a:cubicBezTo>
                <a:cubicBezTo>
                  <a:pt x="2378334" y="1155600"/>
                  <a:pt x="2425676" y="1164542"/>
                  <a:pt x="2471223" y="1177906"/>
                </a:cubicBezTo>
                <a:cubicBezTo>
                  <a:pt x="2507839" y="1189355"/>
                  <a:pt x="2548865" y="1231784"/>
                  <a:pt x="2577391" y="1269131"/>
                </a:cubicBezTo>
                <a:cubicBezTo>
                  <a:pt x="2621078" y="1322943"/>
                  <a:pt x="2667577" y="1304073"/>
                  <a:pt x="2708625" y="1334493"/>
                </a:cubicBezTo>
                <a:cubicBezTo>
                  <a:pt x="2742537" y="1358578"/>
                  <a:pt x="2775540" y="1390878"/>
                  <a:pt x="2814793" y="1425719"/>
                </a:cubicBezTo>
                <a:cubicBezTo>
                  <a:pt x="2830106" y="1358120"/>
                  <a:pt x="2798034" y="1305596"/>
                  <a:pt x="2791893" y="1243011"/>
                </a:cubicBezTo>
                <a:cubicBezTo>
                  <a:pt x="2745481" y="1213844"/>
                  <a:pt x="2693705" y="1185931"/>
                  <a:pt x="2632110" y="1152310"/>
                </a:cubicBezTo>
                <a:cubicBezTo>
                  <a:pt x="2622313" y="1134594"/>
                  <a:pt x="2605401" y="1098533"/>
                  <a:pt x="2589376" y="1066267"/>
                </a:cubicBezTo>
                <a:lnTo>
                  <a:pt x="2541103" y="1077548"/>
                </a:lnTo>
                <a:cubicBezTo>
                  <a:pt x="2508100" y="1045248"/>
                  <a:pt x="2468803" y="1034425"/>
                  <a:pt x="2450139" y="978768"/>
                </a:cubicBezTo>
                <a:cubicBezTo>
                  <a:pt x="2493114" y="932713"/>
                  <a:pt x="2548502" y="939775"/>
                  <a:pt x="2600343" y="931661"/>
                </a:cubicBezTo>
                <a:cubicBezTo>
                  <a:pt x="2663689" y="984879"/>
                  <a:pt x="2720763" y="1047566"/>
                  <a:pt x="2791355" y="1047074"/>
                </a:cubicBezTo>
                <a:cubicBezTo>
                  <a:pt x="2812700" y="1102104"/>
                  <a:pt x="2801864" y="1164656"/>
                  <a:pt x="2847367" y="1202037"/>
                </a:cubicBezTo>
                <a:cubicBezTo>
                  <a:pt x="2899209" y="1193923"/>
                  <a:pt x="2951049" y="1185810"/>
                  <a:pt x="2992164" y="1180202"/>
                </a:cubicBezTo>
                <a:cubicBezTo>
                  <a:pt x="3048394" y="1215077"/>
                  <a:pt x="3080445" y="1279610"/>
                  <a:pt x="3126922" y="1272749"/>
                </a:cubicBezTo>
                <a:cubicBezTo>
                  <a:pt x="3143857" y="1296801"/>
                  <a:pt x="3159017" y="1313264"/>
                  <a:pt x="3174178" y="1329727"/>
                </a:cubicBezTo>
                <a:cubicBezTo>
                  <a:pt x="3190378" y="1265922"/>
                  <a:pt x="3156401" y="1277864"/>
                  <a:pt x="3126922" y="1272749"/>
                </a:cubicBezTo>
                <a:cubicBezTo>
                  <a:pt x="3126080" y="1244937"/>
                  <a:pt x="3118100" y="1210791"/>
                  <a:pt x="3110120" y="1176644"/>
                </a:cubicBezTo>
                <a:cubicBezTo>
                  <a:pt x="3053910" y="1129761"/>
                  <a:pt x="3000405" y="1070242"/>
                  <a:pt x="2940606" y="1032200"/>
                </a:cubicBezTo>
                <a:cubicBezTo>
                  <a:pt x="2877238" y="990991"/>
                  <a:pt x="2861343" y="886671"/>
                  <a:pt x="2799749" y="853050"/>
                </a:cubicBezTo>
                <a:cubicBezTo>
                  <a:pt x="2731905" y="816889"/>
                  <a:pt x="2723169" y="706894"/>
                  <a:pt x="2658893" y="673900"/>
                </a:cubicBezTo>
                <a:cubicBezTo>
                  <a:pt x="2742159" y="582418"/>
                  <a:pt x="2746658" y="565362"/>
                  <a:pt x="2763919" y="409279"/>
                </a:cubicBezTo>
                <a:cubicBezTo>
                  <a:pt x="2806741" y="447287"/>
                  <a:pt x="2847767" y="489716"/>
                  <a:pt x="2889703" y="523930"/>
                </a:cubicBezTo>
                <a:cubicBezTo>
                  <a:pt x="2931638" y="558144"/>
                  <a:pt x="2963710" y="610667"/>
                  <a:pt x="3015529" y="614562"/>
                </a:cubicBezTo>
                <a:cubicBezTo>
                  <a:pt x="3009389" y="551977"/>
                  <a:pt x="3001452" y="493813"/>
                  <a:pt x="2993515" y="435648"/>
                </a:cubicBezTo>
                <a:cubicBezTo>
                  <a:pt x="3016765" y="426213"/>
                  <a:pt x="3032856" y="422453"/>
                  <a:pt x="3056106" y="413018"/>
                </a:cubicBezTo>
                <a:cubicBezTo>
                  <a:pt x="3089995" y="449113"/>
                  <a:pt x="3128340" y="492168"/>
                  <a:pt x="3162230" y="528262"/>
                </a:cubicBezTo>
                <a:cubicBezTo>
                  <a:pt x="3187319" y="490389"/>
                  <a:pt x="3202566" y="458816"/>
                  <a:pt x="3216906" y="435459"/>
                </a:cubicBezTo>
                <a:cubicBezTo>
                  <a:pt x="3279409" y="460865"/>
                  <a:pt x="3332093" y="480563"/>
                  <a:pt x="3382981" y="504682"/>
                </a:cubicBezTo>
                <a:lnTo>
                  <a:pt x="3403375" y="591945"/>
                </a:lnTo>
                <a:cubicBezTo>
                  <a:pt x="3454351" y="568029"/>
                  <a:pt x="3500741" y="609204"/>
                  <a:pt x="3549813" y="649753"/>
                </a:cubicBezTo>
                <a:cubicBezTo>
                  <a:pt x="3596204" y="690928"/>
                  <a:pt x="3638960" y="764963"/>
                  <a:pt x="3723026" y="725310"/>
                </a:cubicBezTo>
                <a:cubicBezTo>
                  <a:pt x="3789919" y="793704"/>
                  <a:pt x="3873767" y="874141"/>
                  <a:pt x="3944229" y="945703"/>
                </a:cubicBezTo>
                <a:cubicBezTo>
                  <a:pt x="3986229" y="943890"/>
                  <a:pt x="4023796" y="923107"/>
                  <a:pt x="4042525" y="942737"/>
                </a:cubicBezTo>
                <a:cubicBezTo>
                  <a:pt x="4082665" y="981372"/>
                  <a:pt x="4119324" y="968804"/>
                  <a:pt x="4155031" y="988468"/>
                </a:cubicBezTo>
                <a:cubicBezTo>
                  <a:pt x="4199669" y="1010046"/>
                  <a:pt x="4230812" y="1082794"/>
                  <a:pt x="4276402" y="1072140"/>
                </a:cubicBezTo>
                <a:cubicBezTo>
                  <a:pt x="4293336" y="1096191"/>
                  <a:pt x="4308497" y="1112654"/>
                  <a:pt x="4323658" y="1129118"/>
                </a:cubicBezTo>
                <a:cubicBezTo>
                  <a:pt x="4342539" y="1064686"/>
                  <a:pt x="4308562" y="1076628"/>
                  <a:pt x="4276402" y="1072140"/>
                </a:cubicBezTo>
                <a:cubicBezTo>
                  <a:pt x="4283583" y="1054456"/>
                  <a:pt x="4281853" y="1022850"/>
                  <a:pt x="4287217" y="1021597"/>
                </a:cubicBezTo>
                <a:cubicBezTo>
                  <a:pt x="4327466" y="1000187"/>
                  <a:pt x="4370375" y="990159"/>
                  <a:pt x="4415079" y="975711"/>
                </a:cubicBezTo>
                <a:cubicBezTo>
                  <a:pt x="4417761" y="975084"/>
                  <a:pt x="4564134" y="1068917"/>
                  <a:pt x="4571271" y="1075252"/>
                </a:cubicBezTo>
                <a:cubicBezTo>
                  <a:pt x="4548930" y="1076472"/>
                  <a:pt x="4529249" y="1089074"/>
                  <a:pt x="4543479" y="1125761"/>
                </a:cubicBezTo>
                <a:cubicBezTo>
                  <a:pt x="4548821" y="1136517"/>
                  <a:pt x="4571162" y="1135297"/>
                  <a:pt x="4586344" y="1139752"/>
                </a:cubicBezTo>
                <a:cubicBezTo>
                  <a:pt x="4597849" y="1201083"/>
                  <a:pt x="4629123" y="1201777"/>
                  <a:pt x="4657736" y="1191089"/>
                </a:cubicBezTo>
                <a:cubicBezTo>
                  <a:pt x="4678303" y="1182281"/>
                  <a:pt x="4691756" y="1155130"/>
                  <a:pt x="4677526" y="1118443"/>
                </a:cubicBezTo>
                <a:cubicBezTo>
                  <a:pt x="4706095" y="1131772"/>
                  <a:pt x="4731984" y="1145729"/>
                  <a:pt x="4766803" y="1161599"/>
                </a:cubicBezTo>
                <a:cubicBezTo>
                  <a:pt x="4765960" y="1133787"/>
                  <a:pt x="4767799" y="1105348"/>
                  <a:pt x="4767843" y="1081331"/>
                </a:cubicBezTo>
                <a:cubicBezTo>
                  <a:pt x="4665265" y="981263"/>
                  <a:pt x="4642081" y="954671"/>
                  <a:pt x="4652852" y="928146"/>
                </a:cubicBezTo>
                <a:lnTo>
                  <a:pt x="4821806" y="888662"/>
                </a:lnTo>
                <a:cubicBezTo>
                  <a:pt x="4926178" y="984309"/>
                  <a:pt x="5043030" y="1097045"/>
                  <a:pt x="5159881" y="1209782"/>
                </a:cubicBezTo>
                <a:cubicBezTo>
                  <a:pt x="5163450" y="1212949"/>
                  <a:pt x="5173290" y="1206649"/>
                  <a:pt x="5178654" y="1205395"/>
                </a:cubicBezTo>
                <a:cubicBezTo>
                  <a:pt x="5223358" y="1190947"/>
                  <a:pt x="5218103" y="1132155"/>
                  <a:pt x="5198488" y="1108730"/>
                </a:cubicBezTo>
                <a:cubicBezTo>
                  <a:pt x="5144096" y="1045417"/>
                  <a:pt x="5104930" y="962541"/>
                  <a:pt x="5055015" y="894181"/>
                </a:cubicBezTo>
                <a:lnTo>
                  <a:pt x="5122060" y="878512"/>
                </a:lnTo>
                <a:cubicBezTo>
                  <a:pt x="5229136" y="961523"/>
                  <a:pt x="5328145" y="1058423"/>
                  <a:pt x="5444197" y="1119330"/>
                </a:cubicBezTo>
                <a:cubicBezTo>
                  <a:pt x="5550430" y="1174529"/>
                  <a:pt x="5644940" y="1288486"/>
                  <a:pt x="5730584" y="1364502"/>
                </a:cubicBezTo>
                <a:cubicBezTo>
                  <a:pt x="5751951" y="1407524"/>
                  <a:pt x="5763499" y="1444838"/>
                  <a:pt x="5781342" y="1460675"/>
                </a:cubicBezTo>
                <a:cubicBezTo>
                  <a:pt x="6085549" y="1733692"/>
                  <a:pt x="6388870" y="2002915"/>
                  <a:pt x="6694872" y="2271512"/>
                </a:cubicBezTo>
                <a:cubicBezTo>
                  <a:pt x="6699328" y="2278473"/>
                  <a:pt x="6710963" y="2267751"/>
                  <a:pt x="6716327" y="2266498"/>
                </a:cubicBezTo>
                <a:cubicBezTo>
                  <a:pt x="6726967" y="2312027"/>
                  <a:pt x="6748378" y="2331031"/>
                  <a:pt x="6776991" y="2320343"/>
                </a:cubicBezTo>
                <a:cubicBezTo>
                  <a:pt x="6787631" y="2365872"/>
                  <a:pt x="6806360" y="2385502"/>
                  <a:pt x="6837655" y="2374187"/>
                </a:cubicBezTo>
                <a:cubicBezTo>
                  <a:pt x="6848295" y="2419716"/>
                  <a:pt x="6867024" y="2439347"/>
                  <a:pt x="6892069" y="2425491"/>
                </a:cubicBezTo>
                <a:cubicBezTo>
                  <a:pt x="6909003" y="2449543"/>
                  <a:pt x="6924164" y="2466006"/>
                  <a:pt x="6939324" y="2482470"/>
                </a:cubicBezTo>
                <a:cubicBezTo>
                  <a:pt x="6958206" y="2418038"/>
                  <a:pt x="6921547" y="2430606"/>
                  <a:pt x="6892069" y="2425491"/>
                </a:cubicBezTo>
                <a:cubicBezTo>
                  <a:pt x="6890361" y="2381876"/>
                  <a:pt x="6869837" y="2366666"/>
                  <a:pt x="6837655" y="2374187"/>
                </a:cubicBezTo>
                <a:cubicBezTo>
                  <a:pt x="6830584" y="2331826"/>
                  <a:pt x="6809173" y="2312822"/>
                  <a:pt x="6776991" y="2320343"/>
                </a:cubicBezTo>
                <a:cubicBezTo>
                  <a:pt x="6769920" y="2277981"/>
                  <a:pt x="6748509" y="2258977"/>
                  <a:pt x="6716327" y="2266498"/>
                </a:cubicBezTo>
                <a:lnTo>
                  <a:pt x="6684407" y="2129912"/>
                </a:lnTo>
                <a:cubicBezTo>
                  <a:pt x="6639790" y="2096324"/>
                  <a:pt x="6572854" y="2051948"/>
                  <a:pt x="6532692" y="2025322"/>
                </a:cubicBezTo>
                <a:cubicBezTo>
                  <a:pt x="6498846" y="1965210"/>
                  <a:pt x="6484594" y="1940532"/>
                  <a:pt x="6475684" y="1926609"/>
                </a:cubicBezTo>
                <a:cubicBezTo>
                  <a:pt x="6443524" y="1922121"/>
                  <a:pt x="6422978" y="1918920"/>
                  <a:pt x="6403318" y="1919513"/>
                </a:cubicBezTo>
                <a:cubicBezTo>
                  <a:pt x="6389088" y="1882826"/>
                  <a:pt x="6376631" y="1853727"/>
                  <a:pt x="6371290" y="1842971"/>
                </a:cubicBezTo>
                <a:cubicBezTo>
                  <a:pt x="6309695" y="1809351"/>
                  <a:pt x="6260601" y="1780811"/>
                  <a:pt x="6215076" y="1755439"/>
                </a:cubicBezTo>
                <a:lnTo>
                  <a:pt x="6197342" y="1679557"/>
                </a:lnTo>
                <a:cubicBezTo>
                  <a:pt x="6133110" y="1622545"/>
                  <a:pt x="6069786" y="1557318"/>
                  <a:pt x="6004644" y="1508521"/>
                </a:cubicBezTo>
                <a:cubicBezTo>
                  <a:pt x="5936821" y="1460351"/>
                  <a:pt x="5894087" y="1374307"/>
                  <a:pt x="5837013" y="1311621"/>
                </a:cubicBezTo>
                <a:cubicBezTo>
                  <a:pt x="5779053" y="1245140"/>
                  <a:pt x="5711230" y="1196970"/>
                  <a:pt x="5646997" y="1139958"/>
                </a:cubicBezTo>
                <a:cubicBezTo>
                  <a:pt x="5582765" y="1082946"/>
                  <a:pt x="5518532" y="1025934"/>
                  <a:pt x="5468573" y="981592"/>
                </a:cubicBezTo>
                <a:cubicBezTo>
                  <a:pt x="5447206" y="938570"/>
                  <a:pt x="5436544" y="905050"/>
                  <a:pt x="5418702" y="889213"/>
                </a:cubicBezTo>
                <a:cubicBezTo>
                  <a:pt x="5249210" y="732760"/>
                  <a:pt x="5077923" y="580728"/>
                  <a:pt x="4907523" y="432490"/>
                </a:cubicBezTo>
                <a:cubicBezTo>
                  <a:pt x="4836153" y="369144"/>
                  <a:pt x="4795214" y="278679"/>
                  <a:pt x="4736388" y="196396"/>
                </a:cubicBezTo>
                <a:cubicBezTo>
                  <a:pt x="4773090" y="159810"/>
                  <a:pt x="4797270" y="130151"/>
                  <a:pt x="4825019" y="103660"/>
                </a:cubicBezTo>
                <a:cubicBezTo>
                  <a:pt x="4818812" y="77101"/>
                  <a:pt x="4811697" y="58758"/>
                  <a:pt x="4809059" y="35367"/>
                </a:cubicBezTo>
                <a:cubicBezTo>
                  <a:pt x="4807286" y="27779"/>
                  <a:pt x="4816239" y="17684"/>
                  <a:pt x="4823420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64917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08929" y="899724"/>
            <a:ext cx="9126537" cy="7419095"/>
          </a:xfrm>
          <a:custGeom>
            <a:avLst/>
            <a:gdLst>
              <a:gd name="connsiteX0" fmla="*/ 2215664 w 9126537"/>
              <a:gd name="connsiteY0" fmla="*/ 7223071 h 7419095"/>
              <a:gd name="connsiteX1" fmla="*/ 2216586 w 9126537"/>
              <a:gd name="connsiteY1" fmla="*/ 7224785 h 7419095"/>
              <a:gd name="connsiteX2" fmla="*/ 2213389 w 9126537"/>
              <a:gd name="connsiteY2" fmla="*/ 7225350 h 7419095"/>
              <a:gd name="connsiteX3" fmla="*/ 4872326 w 9126537"/>
              <a:gd name="connsiteY3" fmla="*/ 7129399 h 7419095"/>
              <a:gd name="connsiteX4" fmla="*/ 4872642 w 9126537"/>
              <a:gd name="connsiteY4" fmla="*/ 7131897 h 7419095"/>
              <a:gd name="connsiteX5" fmla="*/ 4870368 w 9126537"/>
              <a:gd name="connsiteY5" fmla="*/ 7129617 h 7419095"/>
              <a:gd name="connsiteX6" fmla="*/ 2304703 w 9126537"/>
              <a:gd name="connsiteY6" fmla="*/ 6928551 h 7419095"/>
              <a:gd name="connsiteX7" fmla="*/ 2306657 w 9126537"/>
              <a:gd name="connsiteY7" fmla="*/ 6929034 h 7419095"/>
              <a:gd name="connsiteX8" fmla="*/ 2304382 w 9126537"/>
              <a:gd name="connsiteY8" fmla="*/ 6929034 h 7419095"/>
              <a:gd name="connsiteX9" fmla="*/ 2306657 w 9126537"/>
              <a:gd name="connsiteY9" fmla="*/ 6400224 h 7419095"/>
              <a:gd name="connsiteX10" fmla="*/ 2306657 w 9126537"/>
              <a:gd name="connsiteY10" fmla="*/ 6401674 h 7419095"/>
              <a:gd name="connsiteX11" fmla="*/ 2304382 w 9126537"/>
              <a:gd name="connsiteY11" fmla="*/ 6402503 h 7419095"/>
              <a:gd name="connsiteX12" fmla="*/ 7592862 w 9126537"/>
              <a:gd name="connsiteY12" fmla="*/ 6217620 h 7419095"/>
              <a:gd name="connsiteX13" fmla="*/ 7597864 w 9126537"/>
              <a:gd name="connsiteY13" fmla="*/ 6217875 h 7419095"/>
              <a:gd name="connsiteX14" fmla="*/ 7595590 w 9126537"/>
              <a:gd name="connsiteY14" fmla="*/ 6220155 h 7419095"/>
              <a:gd name="connsiteX15" fmla="*/ 7516179 w 9126537"/>
              <a:gd name="connsiteY15" fmla="*/ 6146755 h 7419095"/>
              <a:gd name="connsiteX16" fmla="*/ 7518246 w 9126537"/>
              <a:gd name="connsiteY16" fmla="*/ 6147215 h 7419095"/>
              <a:gd name="connsiteX17" fmla="*/ 7515972 w 9126537"/>
              <a:gd name="connsiteY17" fmla="*/ 6147215 h 7419095"/>
              <a:gd name="connsiteX18" fmla="*/ 7629712 w 9126537"/>
              <a:gd name="connsiteY18" fmla="*/ 6044644 h 7419095"/>
              <a:gd name="connsiteX19" fmla="*/ 7629712 w 9126537"/>
              <a:gd name="connsiteY19" fmla="*/ 6046924 h 7419095"/>
              <a:gd name="connsiteX20" fmla="*/ 7628743 w 9126537"/>
              <a:gd name="connsiteY20" fmla="*/ 6045398 h 7419095"/>
              <a:gd name="connsiteX21" fmla="*/ 1951355 w 9126537"/>
              <a:gd name="connsiteY21" fmla="*/ 6022714 h 7419095"/>
              <a:gd name="connsiteX22" fmla="*/ 1949512 w 9126537"/>
              <a:gd name="connsiteY22" fmla="*/ 6026409 h 7419095"/>
              <a:gd name="connsiteX23" fmla="*/ 1949512 w 9126537"/>
              <a:gd name="connsiteY23" fmla="*/ 6024130 h 7419095"/>
              <a:gd name="connsiteX24" fmla="*/ 1474077 w 9126537"/>
              <a:gd name="connsiteY24" fmla="*/ 5759725 h 7419095"/>
              <a:gd name="connsiteX25" fmla="*/ 1476803 w 9126537"/>
              <a:gd name="connsiteY25" fmla="*/ 5761546 h 7419095"/>
              <a:gd name="connsiteX26" fmla="*/ 1476352 w 9126537"/>
              <a:gd name="connsiteY26" fmla="*/ 5762004 h 7419095"/>
              <a:gd name="connsiteX27" fmla="*/ 1574168 w 9126537"/>
              <a:gd name="connsiteY27" fmla="*/ 5559142 h 7419095"/>
              <a:gd name="connsiteX28" fmla="*/ 1576443 w 9126537"/>
              <a:gd name="connsiteY28" fmla="*/ 5559142 h 7419095"/>
              <a:gd name="connsiteX29" fmla="*/ 1574043 w 9126537"/>
              <a:gd name="connsiteY29" fmla="*/ 5559342 h 7419095"/>
              <a:gd name="connsiteX30" fmla="*/ 823480 w 9126537"/>
              <a:gd name="connsiteY30" fmla="*/ 5230914 h 7419095"/>
              <a:gd name="connsiteX31" fmla="*/ 826341 w 9126537"/>
              <a:gd name="connsiteY31" fmla="*/ 5231631 h 7419095"/>
              <a:gd name="connsiteX32" fmla="*/ 825756 w 9126537"/>
              <a:gd name="connsiteY32" fmla="*/ 5233194 h 7419095"/>
              <a:gd name="connsiteX33" fmla="*/ 360515 w 9126537"/>
              <a:gd name="connsiteY33" fmla="*/ 3270049 h 7419095"/>
              <a:gd name="connsiteX34" fmla="*/ 359420 w 9126537"/>
              <a:gd name="connsiteY34" fmla="*/ 3272949 h 7419095"/>
              <a:gd name="connsiteX35" fmla="*/ 359420 w 9126537"/>
              <a:gd name="connsiteY35" fmla="*/ 3270669 h 7419095"/>
              <a:gd name="connsiteX36" fmla="*/ 420177 w 9126537"/>
              <a:gd name="connsiteY36" fmla="*/ 3137438 h 7419095"/>
              <a:gd name="connsiteX37" fmla="*/ 420839 w 9126537"/>
              <a:gd name="connsiteY37" fmla="*/ 3138466 h 7419095"/>
              <a:gd name="connsiteX38" fmla="*/ 418565 w 9126537"/>
              <a:gd name="connsiteY38" fmla="*/ 3138466 h 7419095"/>
              <a:gd name="connsiteX39" fmla="*/ 8378124 w 9126537"/>
              <a:gd name="connsiteY39" fmla="*/ 2741859 h 7419095"/>
              <a:gd name="connsiteX40" fmla="*/ 8378124 w 9126537"/>
              <a:gd name="connsiteY40" fmla="*/ 2744138 h 7419095"/>
              <a:gd name="connsiteX41" fmla="*/ 8376675 w 9126537"/>
              <a:gd name="connsiteY41" fmla="*/ 2742976 h 7419095"/>
              <a:gd name="connsiteX42" fmla="*/ 8469117 w 9126537"/>
              <a:gd name="connsiteY42" fmla="*/ 2477454 h 7419095"/>
              <a:gd name="connsiteX43" fmla="*/ 8469117 w 9126537"/>
              <a:gd name="connsiteY43" fmla="*/ 2479733 h 7419095"/>
              <a:gd name="connsiteX44" fmla="*/ 8467736 w 9126537"/>
              <a:gd name="connsiteY44" fmla="*/ 2478858 h 7419095"/>
              <a:gd name="connsiteX45" fmla="*/ 914473 w 9126537"/>
              <a:gd name="connsiteY45" fmla="*/ 2162903 h 7419095"/>
              <a:gd name="connsiteX46" fmla="*/ 916748 w 9126537"/>
              <a:gd name="connsiteY46" fmla="*/ 2162903 h 7419095"/>
              <a:gd name="connsiteX47" fmla="*/ 914395 w 9126537"/>
              <a:gd name="connsiteY47" fmla="*/ 2163214 h 7419095"/>
              <a:gd name="connsiteX48" fmla="*/ 8177941 w 9126537"/>
              <a:gd name="connsiteY48" fmla="*/ 2101360 h 7419095"/>
              <a:gd name="connsiteX49" fmla="*/ 8177941 w 9126537"/>
              <a:gd name="connsiteY49" fmla="*/ 2103639 h 7419095"/>
              <a:gd name="connsiteX50" fmla="*/ 8174609 w 9126537"/>
              <a:gd name="connsiteY50" fmla="*/ 2103447 h 7419095"/>
              <a:gd name="connsiteX51" fmla="*/ 1251145 w 9126537"/>
              <a:gd name="connsiteY51" fmla="*/ 1969157 h 7419095"/>
              <a:gd name="connsiteX52" fmla="*/ 1249558 w 9126537"/>
              <a:gd name="connsiteY52" fmla="*/ 1971401 h 7419095"/>
              <a:gd name="connsiteX53" fmla="*/ 1248870 w 9126537"/>
              <a:gd name="connsiteY53" fmla="*/ 1971437 h 7419095"/>
              <a:gd name="connsiteX54" fmla="*/ 1562794 w 9126537"/>
              <a:gd name="connsiteY54" fmla="*/ 1877983 h 7419095"/>
              <a:gd name="connsiteX55" fmla="*/ 1565069 w 9126537"/>
              <a:gd name="connsiteY55" fmla="*/ 1880262 h 7419095"/>
              <a:gd name="connsiteX56" fmla="*/ 1560916 w 9126537"/>
              <a:gd name="connsiteY56" fmla="*/ 1879090 h 7419095"/>
              <a:gd name="connsiteX57" fmla="*/ 1765252 w 9126537"/>
              <a:gd name="connsiteY57" fmla="*/ 1866586 h 7419095"/>
              <a:gd name="connsiteX58" fmla="*/ 1767527 w 9126537"/>
              <a:gd name="connsiteY58" fmla="*/ 1868866 h 7419095"/>
              <a:gd name="connsiteX59" fmla="*/ 1761595 w 9126537"/>
              <a:gd name="connsiteY59" fmla="*/ 1870251 h 7419095"/>
              <a:gd name="connsiteX60" fmla="*/ 8269427 w 9126537"/>
              <a:gd name="connsiteY60" fmla="*/ 1845990 h 7419095"/>
              <a:gd name="connsiteX61" fmla="*/ 8268934 w 9126537"/>
              <a:gd name="connsiteY61" fmla="*/ 1848352 h 7419095"/>
              <a:gd name="connsiteX62" fmla="*/ 8268934 w 9126537"/>
              <a:gd name="connsiteY62" fmla="*/ 1846072 h 7419095"/>
              <a:gd name="connsiteX63" fmla="*/ 4758902 w 9126537"/>
              <a:gd name="connsiteY63" fmla="*/ 1572550 h 7419095"/>
              <a:gd name="connsiteX64" fmla="*/ 4758902 w 9126537"/>
              <a:gd name="connsiteY64" fmla="*/ 1574829 h 7419095"/>
              <a:gd name="connsiteX65" fmla="*/ 4758211 w 9126537"/>
              <a:gd name="connsiteY65" fmla="*/ 1573736 h 7419095"/>
              <a:gd name="connsiteX66" fmla="*/ 6494582 w 9126537"/>
              <a:gd name="connsiteY66" fmla="*/ 1481375 h 7419095"/>
              <a:gd name="connsiteX67" fmla="*/ 6492307 w 9126537"/>
              <a:gd name="connsiteY67" fmla="*/ 1483655 h 7419095"/>
              <a:gd name="connsiteX68" fmla="*/ 6491749 w 9126537"/>
              <a:gd name="connsiteY68" fmla="*/ 1482258 h 7419095"/>
              <a:gd name="connsiteX69" fmla="*/ 4747528 w 9126537"/>
              <a:gd name="connsiteY69" fmla="*/ 1390201 h 7419095"/>
              <a:gd name="connsiteX70" fmla="*/ 4749802 w 9126537"/>
              <a:gd name="connsiteY70" fmla="*/ 1390201 h 7419095"/>
              <a:gd name="connsiteX71" fmla="*/ 4747955 w 9126537"/>
              <a:gd name="connsiteY71" fmla="*/ 1391232 h 7419095"/>
              <a:gd name="connsiteX72" fmla="*/ 3553252 w 9126537"/>
              <a:gd name="connsiteY72" fmla="*/ 1349173 h 7419095"/>
              <a:gd name="connsiteX73" fmla="*/ 3557386 w 9126537"/>
              <a:gd name="connsiteY73" fmla="*/ 1349361 h 7419095"/>
              <a:gd name="connsiteX74" fmla="*/ 3553252 w 9126537"/>
              <a:gd name="connsiteY74" fmla="*/ 1351452 h 7419095"/>
              <a:gd name="connsiteX75" fmla="*/ 5288952 w 9126537"/>
              <a:gd name="connsiteY75" fmla="*/ 1348921 h 7419095"/>
              <a:gd name="connsiteX76" fmla="*/ 5286658 w 9126537"/>
              <a:gd name="connsiteY76" fmla="*/ 1351452 h 7419095"/>
              <a:gd name="connsiteX77" fmla="*/ 5286658 w 9126537"/>
              <a:gd name="connsiteY77" fmla="*/ 1349173 h 7419095"/>
              <a:gd name="connsiteX78" fmla="*/ 4670184 w 9126537"/>
              <a:gd name="connsiteY78" fmla="*/ 1043739 h 7419095"/>
              <a:gd name="connsiteX79" fmla="*/ 4669850 w 9126537"/>
              <a:gd name="connsiteY79" fmla="*/ 1048093 h 7419095"/>
              <a:gd name="connsiteX80" fmla="*/ 4667910 w 9126537"/>
              <a:gd name="connsiteY80" fmla="*/ 1046018 h 7419095"/>
              <a:gd name="connsiteX81" fmla="*/ 4565543 w 9126537"/>
              <a:gd name="connsiteY81" fmla="*/ 1034622 h 7419095"/>
              <a:gd name="connsiteX82" fmla="*/ 4567818 w 9126537"/>
              <a:gd name="connsiteY82" fmla="*/ 1036901 h 7419095"/>
              <a:gd name="connsiteX83" fmla="*/ 4565785 w 9126537"/>
              <a:gd name="connsiteY83" fmla="*/ 1036901 h 7419095"/>
              <a:gd name="connsiteX84" fmla="*/ 6603772 w 9126537"/>
              <a:gd name="connsiteY84" fmla="*/ 993593 h 7419095"/>
              <a:gd name="connsiteX85" fmla="*/ 6606048 w 9126537"/>
              <a:gd name="connsiteY85" fmla="*/ 995873 h 7419095"/>
              <a:gd name="connsiteX86" fmla="*/ 6601083 w 9126537"/>
              <a:gd name="connsiteY86" fmla="*/ 997116 h 7419095"/>
              <a:gd name="connsiteX87" fmla="*/ 4679284 w 9126537"/>
              <a:gd name="connsiteY87" fmla="*/ 952565 h 7419095"/>
              <a:gd name="connsiteX88" fmla="*/ 4680568 w 9126537"/>
              <a:gd name="connsiteY88" fmla="*/ 955067 h 7419095"/>
              <a:gd name="connsiteX89" fmla="*/ 4677008 w 9126537"/>
              <a:gd name="connsiteY89" fmla="*/ 954844 h 7419095"/>
              <a:gd name="connsiteX90" fmla="*/ 3955894 w 9126537"/>
              <a:gd name="connsiteY90" fmla="*/ 911537 h 7419095"/>
              <a:gd name="connsiteX91" fmla="*/ 3958168 w 9126537"/>
              <a:gd name="connsiteY91" fmla="*/ 913816 h 7419095"/>
              <a:gd name="connsiteX92" fmla="*/ 3957449 w 9126537"/>
              <a:gd name="connsiteY92" fmla="*/ 913874 h 7419095"/>
              <a:gd name="connsiteX93" fmla="*/ 7061010 w 9126537"/>
              <a:gd name="connsiteY93" fmla="*/ 840877 h 7419095"/>
              <a:gd name="connsiteX94" fmla="*/ 7063284 w 9126537"/>
              <a:gd name="connsiteY94" fmla="*/ 843156 h 7419095"/>
              <a:gd name="connsiteX95" fmla="*/ 7057008 w 9126537"/>
              <a:gd name="connsiteY95" fmla="*/ 842786 h 7419095"/>
              <a:gd name="connsiteX96" fmla="*/ 6248902 w 9126537"/>
              <a:gd name="connsiteY96" fmla="*/ 840877 h 7419095"/>
              <a:gd name="connsiteX97" fmla="*/ 6251177 w 9126537"/>
              <a:gd name="connsiteY97" fmla="*/ 843156 h 7419095"/>
              <a:gd name="connsiteX98" fmla="*/ 6250290 w 9126537"/>
              <a:gd name="connsiteY98" fmla="*/ 843570 h 7419095"/>
              <a:gd name="connsiteX99" fmla="*/ 7475025 w 9126537"/>
              <a:gd name="connsiteY99" fmla="*/ 770217 h 7419095"/>
              <a:gd name="connsiteX100" fmla="*/ 7477300 w 9126537"/>
              <a:gd name="connsiteY100" fmla="*/ 772496 h 7419095"/>
              <a:gd name="connsiteX101" fmla="*/ 7474123 w 9126537"/>
              <a:gd name="connsiteY101" fmla="*/ 771497 h 7419095"/>
              <a:gd name="connsiteX102" fmla="*/ 7349724 w 9126537"/>
              <a:gd name="connsiteY102" fmla="*/ 763117 h 7419095"/>
              <a:gd name="connsiteX103" fmla="*/ 7349910 w 9126537"/>
              <a:gd name="connsiteY103" fmla="*/ 763378 h 7419095"/>
              <a:gd name="connsiteX104" fmla="*/ 7347636 w 9126537"/>
              <a:gd name="connsiteY104" fmla="*/ 763378 h 7419095"/>
              <a:gd name="connsiteX105" fmla="*/ 6465009 w 9126537"/>
              <a:gd name="connsiteY105" fmla="*/ 546840 h 7419095"/>
              <a:gd name="connsiteX106" fmla="*/ 6462734 w 9126537"/>
              <a:gd name="connsiteY106" fmla="*/ 549119 h 7419095"/>
              <a:gd name="connsiteX107" fmla="*/ 6462628 w 9126537"/>
              <a:gd name="connsiteY107" fmla="*/ 549082 h 7419095"/>
              <a:gd name="connsiteX108" fmla="*/ 6492307 w 9126537"/>
              <a:gd name="connsiteY108" fmla="*/ 514929 h 7419095"/>
              <a:gd name="connsiteX109" fmla="*/ 6494195 w 9126537"/>
              <a:gd name="connsiteY109" fmla="*/ 515656 h 7419095"/>
              <a:gd name="connsiteX110" fmla="*/ 6494582 w 9126537"/>
              <a:gd name="connsiteY110" fmla="*/ 517208 h 7419095"/>
              <a:gd name="connsiteX111" fmla="*/ 6687940 w 9126537"/>
              <a:gd name="connsiteY111" fmla="*/ 464783 h 7419095"/>
              <a:gd name="connsiteX112" fmla="*/ 6686975 w 9126537"/>
              <a:gd name="connsiteY112" fmla="*/ 466717 h 7419095"/>
              <a:gd name="connsiteX113" fmla="*/ 6685666 w 9126537"/>
              <a:gd name="connsiteY113" fmla="*/ 467062 h 7419095"/>
              <a:gd name="connsiteX114" fmla="*/ 6489806 w 9126537"/>
              <a:gd name="connsiteY114" fmla="*/ 279526 h 7419095"/>
              <a:gd name="connsiteX115" fmla="*/ 6483208 w 9126537"/>
              <a:gd name="connsiteY115" fmla="*/ 282435 h 7419095"/>
              <a:gd name="connsiteX116" fmla="*/ 6483208 w 9126537"/>
              <a:gd name="connsiteY116" fmla="*/ 280155 h 7419095"/>
              <a:gd name="connsiteX117" fmla="*/ 6656094 w 9126537"/>
              <a:gd name="connsiteY117" fmla="*/ 131997 h 7419095"/>
              <a:gd name="connsiteX118" fmla="*/ 6656094 w 9126537"/>
              <a:gd name="connsiteY118" fmla="*/ 134276 h 7419095"/>
              <a:gd name="connsiteX119" fmla="*/ 6655154 w 9126537"/>
              <a:gd name="connsiteY119" fmla="*/ 134276 h 7419095"/>
              <a:gd name="connsiteX120" fmla="*/ 7222237 w 9126537"/>
              <a:gd name="connsiteY120" fmla="*/ 1219 h 7419095"/>
              <a:gd name="connsiteX121" fmla="*/ 7242994 w 9126537"/>
              <a:gd name="connsiteY121" fmla="*/ 15750 h 7419095"/>
              <a:gd name="connsiteX122" fmla="*/ 7204322 w 9126537"/>
              <a:gd name="connsiteY122" fmla="*/ 33985 h 7419095"/>
              <a:gd name="connsiteX123" fmla="*/ 7236170 w 9126537"/>
              <a:gd name="connsiteY123" fmla="*/ 77293 h 7419095"/>
              <a:gd name="connsiteX124" fmla="*/ 7231620 w 9126537"/>
              <a:gd name="connsiteY124" fmla="*/ 152511 h 7419095"/>
              <a:gd name="connsiteX125" fmla="*/ 7208872 w 9126537"/>
              <a:gd name="connsiteY125" fmla="*/ 216333 h 7419095"/>
              <a:gd name="connsiteX126" fmla="*/ 7177025 w 9126537"/>
              <a:gd name="connsiteY126" fmla="*/ 220892 h 7419095"/>
              <a:gd name="connsiteX127" fmla="*/ 7163376 w 9126537"/>
              <a:gd name="connsiteY127" fmla="*/ 234568 h 7419095"/>
              <a:gd name="connsiteX128" fmla="*/ 7174750 w 9126537"/>
              <a:gd name="connsiteY128" fmla="*/ 255082 h 7419095"/>
              <a:gd name="connsiteX129" fmla="*/ 7202048 w 9126537"/>
              <a:gd name="connsiteY129" fmla="*/ 266479 h 7419095"/>
              <a:gd name="connsiteX130" fmla="*/ 7192948 w 9126537"/>
              <a:gd name="connsiteY130" fmla="*/ 296111 h 7419095"/>
              <a:gd name="connsiteX131" fmla="*/ 7202048 w 9126537"/>
              <a:gd name="connsiteY131" fmla="*/ 355374 h 7419095"/>
              <a:gd name="connsiteX132" fmla="*/ 7199773 w 9126537"/>
              <a:gd name="connsiteY132" fmla="*/ 375888 h 7419095"/>
              <a:gd name="connsiteX133" fmla="*/ 7158826 w 9126537"/>
              <a:gd name="connsiteY133" fmla="*/ 400961 h 7419095"/>
              <a:gd name="connsiteX134" fmla="*/ 7177025 w 9126537"/>
              <a:gd name="connsiteY134" fmla="*/ 414637 h 7419095"/>
              <a:gd name="connsiteX135" fmla="*/ 7265742 w 9126537"/>
              <a:gd name="connsiteY135" fmla="*/ 423755 h 7419095"/>
              <a:gd name="connsiteX136" fmla="*/ 7286216 w 9126537"/>
              <a:gd name="connsiteY136" fmla="*/ 412358 h 7419095"/>
              <a:gd name="connsiteX137" fmla="*/ 7331712 w 9126537"/>
              <a:gd name="connsiteY137" fmla="*/ 398682 h 7419095"/>
              <a:gd name="connsiteX138" fmla="*/ 7340811 w 9126537"/>
              <a:gd name="connsiteY138" fmla="*/ 444269 h 7419095"/>
              <a:gd name="connsiteX139" fmla="*/ 7411330 w 9126537"/>
              <a:gd name="connsiteY139" fmla="*/ 437431 h 7419095"/>
              <a:gd name="connsiteX140" fmla="*/ 7420430 w 9126537"/>
              <a:gd name="connsiteY140" fmla="*/ 400961 h 7419095"/>
              <a:gd name="connsiteX141" fmla="*/ 7434078 w 9126537"/>
              <a:gd name="connsiteY141" fmla="*/ 451107 h 7419095"/>
              <a:gd name="connsiteX142" fmla="*/ 7475025 w 9126537"/>
              <a:gd name="connsiteY142" fmla="*/ 455666 h 7419095"/>
              <a:gd name="connsiteX143" fmla="*/ 7504598 w 9126537"/>
              <a:gd name="connsiteY143" fmla="*/ 432872 h 7419095"/>
              <a:gd name="connsiteX144" fmla="*/ 7529620 w 9126537"/>
              <a:gd name="connsiteY144" fmla="*/ 453386 h 7419095"/>
              <a:gd name="connsiteX145" fmla="*/ 7527346 w 9126537"/>
              <a:gd name="connsiteY145" fmla="*/ 464783 h 7419095"/>
              <a:gd name="connsiteX146" fmla="*/ 7452277 w 9126537"/>
              <a:gd name="connsiteY146" fmla="*/ 505811 h 7419095"/>
              <a:gd name="connsiteX147" fmla="*/ 7390857 w 9126537"/>
              <a:gd name="connsiteY147" fmla="*/ 533164 h 7419095"/>
              <a:gd name="connsiteX148" fmla="*/ 7409056 w 9126537"/>
              <a:gd name="connsiteY148" fmla="*/ 574192 h 7419095"/>
              <a:gd name="connsiteX149" fmla="*/ 7411330 w 9126537"/>
              <a:gd name="connsiteY149" fmla="*/ 587868 h 7419095"/>
              <a:gd name="connsiteX150" fmla="*/ 7418154 w 9126537"/>
              <a:gd name="connsiteY150" fmla="*/ 649411 h 7419095"/>
              <a:gd name="connsiteX151" fmla="*/ 7443178 w 9126537"/>
              <a:gd name="connsiteY151" fmla="*/ 663087 h 7419095"/>
              <a:gd name="connsiteX152" fmla="*/ 7459101 w 9126537"/>
              <a:gd name="connsiteY152" fmla="*/ 688160 h 7419095"/>
              <a:gd name="connsiteX153" fmla="*/ 7438628 w 9126537"/>
              <a:gd name="connsiteY153" fmla="*/ 745144 h 7419095"/>
              <a:gd name="connsiteX154" fmla="*/ 7452845 w 9126537"/>
              <a:gd name="connsiteY154" fmla="*/ 764803 h 7419095"/>
              <a:gd name="connsiteX155" fmla="*/ 7474123 w 9126537"/>
              <a:gd name="connsiteY155" fmla="*/ 771497 h 7419095"/>
              <a:gd name="connsiteX156" fmla="*/ 7447727 w 9126537"/>
              <a:gd name="connsiteY156" fmla="*/ 808966 h 7419095"/>
              <a:gd name="connsiteX157" fmla="*/ 7420430 w 9126537"/>
              <a:gd name="connsiteY157" fmla="*/ 811245 h 7419095"/>
              <a:gd name="connsiteX158" fmla="*/ 7388582 w 9126537"/>
              <a:gd name="connsiteY158" fmla="*/ 820362 h 7419095"/>
              <a:gd name="connsiteX159" fmla="*/ 7345360 w 9126537"/>
              <a:gd name="connsiteY159" fmla="*/ 831759 h 7419095"/>
              <a:gd name="connsiteX160" fmla="*/ 7347636 w 9126537"/>
              <a:gd name="connsiteY160" fmla="*/ 827201 h 7419095"/>
              <a:gd name="connsiteX161" fmla="*/ 7365834 w 9126537"/>
              <a:gd name="connsiteY161" fmla="*/ 761099 h 7419095"/>
              <a:gd name="connsiteX162" fmla="*/ 7349724 w 9126537"/>
              <a:gd name="connsiteY162" fmla="*/ 763117 h 7419095"/>
              <a:gd name="connsiteX163" fmla="*/ 7339958 w 9126537"/>
              <a:gd name="connsiteY163" fmla="*/ 749417 h 7419095"/>
              <a:gd name="connsiteX164" fmla="*/ 7324888 w 9126537"/>
              <a:gd name="connsiteY164" fmla="*/ 740585 h 7419095"/>
              <a:gd name="connsiteX165" fmla="*/ 7295315 w 9126537"/>
              <a:gd name="connsiteY165" fmla="*/ 733747 h 7419095"/>
              <a:gd name="connsiteX166" fmla="*/ 7211147 w 9126537"/>
              <a:gd name="connsiteY166" fmla="*/ 765658 h 7419095"/>
              <a:gd name="connsiteX167" fmla="*/ 7256643 w 9126537"/>
              <a:gd name="connsiteY167" fmla="*/ 736026 h 7419095"/>
              <a:gd name="connsiteX168" fmla="*/ 7247544 w 9126537"/>
              <a:gd name="connsiteY168" fmla="*/ 724630 h 7419095"/>
              <a:gd name="connsiteX169" fmla="*/ 7213422 w 9126537"/>
              <a:gd name="connsiteY169" fmla="*/ 736026 h 7419095"/>
              <a:gd name="connsiteX170" fmla="*/ 7058734 w 9126537"/>
              <a:gd name="connsiteY170" fmla="*/ 808966 h 7419095"/>
              <a:gd name="connsiteX171" fmla="*/ 7024612 w 9126537"/>
              <a:gd name="connsiteY171" fmla="*/ 840877 h 7419095"/>
              <a:gd name="connsiteX172" fmla="*/ 7057008 w 9126537"/>
              <a:gd name="connsiteY172" fmla="*/ 842786 h 7419095"/>
              <a:gd name="connsiteX173" fmla="*/ 7013238 w 9126537"/>
              <a:gd name="connsiteY173" fmla="*/ 863670 h 7419095"/>
              <a:gd name="connsiteX174" fmla="*/ 6960918 w 9126537"/>
              <a:gd name="connsiteY174" fmla="*/ 902419 h 7419095"/>
              <a:gd name="connsiteX175" fmla="*/ 6954094 w 9126537"/>
              <a:gd name="connsiteY175" fmla="*/ 909257 h 7419095"/>
              <a:gd name="connsiteX176" fmla="*/ 6847178 w 9126537"/>
              <a:gd name="connsiteY176" fmla="*/ 961682 h 7419095"/>
              <a:gd name="connsiteX177" fmla="*/ 6828979 w 9126537"/>
              <a:gd name="connsiteY177" fmla="*/ 959403 h 7419095"/>
              <a:gd name="connsiteX178" fmla="*/ 6906322 w 9126537"/>
              <a:gd name="connsiteY178" fmla="*/ 906978 h 7419095"/>
              <a:gd name="connsiteX179" fmla="*/ 6904048 w 9126537"/>
              <a:gd name="connsiteY179" fmla="*/ 872788 h 7419095"/>
              <a:gd name="connsiteX180" fmla="*/ 6819880 w 9126537"/>
              <a:gd name="connsiteY180" fmla="*/ 909257 h 7419095"/>
              <a:gd name="connsiteX181" fmla="*/ 6744811 w 9126537"/>
              <a:gd name="connsiteY181" fmla="*/ 950286 h 7419095"/>
              <a:gd name="connsiteX182" fmla="*/ 6635620 w 9126537"/>
              <a:gd name="connsiteY182" fmla="*/ 984476 h 7419095"/>
              <a:gd name="connsiteX183" fmla="*/ 6635620 w 9126537"/>
              <a:gd name="connsiteY183" fmla="*/ 961682 h 7419095"/>
              <a:gd name="connsiteX184" fmla="*/ 6535528 w 9126537"/>
              <a:gd name="connsiteY184" fmla="*/ 1014108 h 7419095"/>
              <a:gd name="connsiteX185" fmla="*/ 6535465 w 9126537"/>
              <a:gd name="connsiteY185" fmla="*/ 1014171 h 7419095"/>
              <a:gd name="connsiteX186" fmla="*/ 6533254 w 9126537"/>
              <a:gd name="connsiteY186" fmla="*/ 1014108 h 7419095"/>
              <a:gd name="connsiteX187" fmla="*/ 6530978 w 9126537"/>
              <a:gd name="connsiteY187" fmla="*/ 1018666 h 7419095"/>
              <a:gd name="connsiteX188" fmla="*/ 6535465 w 9126537"/>
              <a:gd name="connsiteY188" fmla="*/ 1014171 h 7419095"/>
              <a:gd name="connsiteX189" fmla="*/ 6553158 w 9126537"/>
              <a:gd name="connsiteY189" fmla="*/ 1014677 h 7419095"/>
              <a:gd name="connsiteX190" fmla="*/ 6569650 w 9126537"/>
              <a:gd name="connsiteY190" fmla="*/ 1004990 h 7419095"/>
              <a:gd name="connsiteX191" fmla="*/ 6601083 w 9126537"/>
              <a:gd name="connsiteY191" fmla="*/ 997116 h 7419095"/>
              <a:gd name="connsiteX192" fmla="*/ 6588987 w 9126537"/>
              <a:gd name="connsiteY192" fmla="*/ 1012968 h 7419095"/>
              <a:gd name="connsiteX193" fmla="*/ 6567376 w 9126537"/>
              <a:gd name="connsiteY193" fmla="*/ 1025504 h 7419095"/>
              <a:gd name="connsiteX194" fmla="*/ 6421788 w 9126537"/>
              <a:gd name="connsiteY194" fmla="*/ 1114399 h 7419095"/>
              <a:gd name="connsiteX195" fmla="*/ 6414964 w 9126537"/>
              <a:gd name="connsiteY195" fmla="*/ 1123517 h 7419095"/>
              <a:gd name="connsiteX196" fmla="*/ 6465009 w 9126537"/>
              <a:gd name="connsiteY196" fmla="*/ 1132634 h 7419095"/>
              <a:gd name="connsiteX197" fmla="*/ 6487758 w 9126537"/>
              <a:gd name="connsiteY197" fmla="*/ 1125796 h 7419095"/>
              <a:gd name="connsiteX198" fmla="*/ 6490032 w 9126537"/>
              <a:gd name="connsiteY198" fmla="*/ 1144031 h 7419095"/>
              <a:gd name="connsiteX199" fmla="*/ 6621971 w 9126537"/>
              <a:gd name="connsiteY199" fmla="*/ 1139472 h 7419095"/>
              <a:gd name="connsiteX200" fmla="*/ 6601498 w 9126537"/>
              <a:gd name="connsiteY200" fmla="*/ 1162266 h 7419095"/>
              <a:gd name="connsiteX201" fmla="*/ 6571926 w 9126537"/>
              <a:gd name="connsiteY201" fmla="*/ 1185059 h 7419095"/>
              <a:gd name="connsiteX202" fmla="*/ 6608322 w 9126537"/>
              <a:gd name="connsiteY202" fmla="*/ 1169104 h 7419095"/>
              <a:gd name="connsiteX203" fmla="*/ 6642444 w 9126537"/>
              <a:gd name="connsiteY203" fmla="*/ 1166824 h 7419095"/>
              <a:gd name="connsiteX204" fmla="*/ 6642444 w 9126537"/>
              <a:gd name="connsiteY204" fmla="*/ 1180500 h 7419095"/>
              <a:gd name="connsiteX205" fmla="*/ 6544628 w 9126537"/>
              <a:gd name="connsiteY205" fmla="*/ 1221529 h 7419095"/>
              <a:gd name="connsiteX206" fmla="*/ 6521880 w 9126537"/>
              <a:gd name="connsiteY206" fmla="*/ 1239764 h 7419095"/>
              <a:gd name="connsiteX207" fmla="*/ 6496856 w 9126537"/>
              <a:gd name="connsiteY207" fmla="*/ 1244323 h 7419095"/>
              <a:gd name="connsiteX208" fmla="*/ 6499132 w 9126537"/>
              <a:gd name="connsiteY208" fmla="*/ 1255719 h 7419095"/>
              <a:gd name="connsiteX209" fmla="*/ 6512780 w 9126537"/>
              <a:gd name="connsiteY209" fmla="*/ 1267116 h 7419095"/>
              <a:gd name="connsiteX210" fmla="*/ 6551452 w 9126537"/>
              <a:gd name="connsiteY210" fmla="*/ 1260278 h 7419095"/>
              <a:gd name="connsiteX211" fmla="*/ 6530978 w 9126537"/>
              <a:gd name="connsiteY211" fmla="*/ 1299027 h 7419095"/>
              <a:gd name="connsiteX212" fmla="*/ 6485482 w 9126537"/>
              <a:gd name="connsiteY212" fmla="*/ 1310424 h 7419095"/>
              <a:gd name="connsiteX213" fmla="*/ 6462734 w 9126537"/>
              <a:gd name="connsiteY213" fmla="*/ 1328659 h 7419095"/>
              <a:gd name="connsiteX214" fmla="*/ 6574200 w 9126537"/>
              <a:gd name="connsiteY214" fmla="*/ 1301306 h 7419095"/>
              <a:gd name="connsiteX215" fmla="*/ 6590124 w 9126537"/>
              <a:gd name="connsiteY215" fmla="*/ 1310424 h 7419095"/>
              <a:gd name="connsiteX216" fmla="*/ 6626520 w 9126537"/>
              <a:gd name="connsiteY216" fmla="*/ 1308144 h 7419095"/>
              <a:gd name="connsiteX217" fmla="*/ 6674292 w 9126537"/>
              <a:gd name="connsiteY217" fmla="*/ 1287630 h 7419095"/>
              <a:gd name="connsiteX218" fmla="*/ 6662918 w 9126537"/>
              <a:gd name="connsiteY218" fmla="*/ 1296748 h 7419095"/>
              <a:gd name="connsiteX219" fmla="*/ 6665192 w 9126537"/>
              <a:gd name="connsiteY219" fmla="*/ 1351452 h 7419095"/>
              <a:gd name="connsiteX220" fmla="*/ 6667468 w 9126537"/>
              <a:gd name="connsiteY220" fmla="*/ 1356011 h 7419095"/>
              <a:gd name="connsiteX221" fmla="*/ 6599223 w 9126537"/>
              <a:gd name="connsiteY221" fmla="*/ 1403877 h 7419095"/>
              <a:gd name="connsiteX222" fmla="*/ 6590124 w 9126537"/>
              <a:gd name="connsiteY222" fmla="*/ 1390201 h 7419095"/>
              <a:gd name="connsiteX223" fmla="*/ 6560551 w 9126537"/>
              <a:gd name="connsiteY223" fmla="*/ 1392481 h 7419095"/>
              <a:gd name="connsiteX224" fmla="*/ 6458185 w 9126537"/>
              <a:gd name="connsiteY224" fmla="*/ 1438068 h 7419095"/>
              <a:gd name="connsiteX225" fmla="*/ 6460460 w 9126537"/>
              <a:gd name="connsiteY225" fmla="*/ 1454023 h 7419095"/>
              <a:gd name="connsiteX226" fmla="*/ 6483208 w 9126537"/>
              <a:gd name="connsiteY226" fmla="*/ 1463140 h 7419095"/>
              <a:gd name="connsiteX227" fmla="*/ 6483208 w 9126537"/>
              <a:gd name="connsiteY227" fmla="*/ 1460861 h 7419095"/>
              <a:gd name="connsiteX228" fmla="*/ 6491749 w 9126537"/>
              <a:gd name="connsiteY228" fmla="*/ 1482258 h 7419095"/>
              <a:gd name="connsiteX229" fmla="*/ 6473540 w 9126537"/>
              <a:gd name="connsiteY229" fmla="*/ 1487929 h 7419095"/>
              <a:gd name="connsiteX230" fmla="*/ 6476384 w 9126537"/>
              <a:gd name="connsiteY230" fmla="*/ 1499610 h 7419095"/>
              <a:gd name="connsiteX231" fmla="*/ 6478658 w 9126537"/>
              <a:gd name="connsiteY231" fmla="*/ 1538359 h 7419095"/>
              <a:gd name="connsiteX232" fmla="*/ 6546902 w 9126537"/>
              <a:gd name="connsiteY232" fmla="*/ 1524683 h 7419095"/>
              <a:gd name="connsiteX233" fmla="*/ 6565101 w 9126537"/>
              <a:gd name="connsiteY233" fmla="*/ 1501890 h 7419095"/>
              <a:gd name="connsiteX234" fmla="*/ 6565101 w 9126537"/>
              <a:gd name="connsiteY234" fmla="*/ 1504169 h 7419095"/>
              <a:gd name="connsiteX235" fmla="*/ 6581024 w 9126537"/>
              <a:gd name="connsiteY235" fmla="*/ 1504169 h 7419095"/>
              <a:gd name="connsiteX236" fmla="*/ 6656094 w 9126537"/>
              <a:gd name="connsiteY236" fmla="*/ 1479096 h 7419095"/>
              <a:gd name="connsiteX237" fmla="*/ 6708414 w 9126537"/>
              <a:gd name="connsiteY237" fmla="*/ 1476817 h 7419095"/>
              <a:gd name="connsiteX238" fmla="*/ 6697040 w 9126537"/>
              <a:gd name="connsiteY238" fmla="*/ 1501890 h 7419095"/>
              <a:gd name="connsiteX239" fmla="*/ 6712964 w 9126537"/>
              <a:gd name="connsiteY239" fmla="*/ 1520124 h 7419095"/>
              <a:gd name="connsiteX240" fmla="*/ 6708414 w 9126537"/>
              <a:gd name="connsiteY240" fmla="*/ 1558874 h 7419095"/>
              <a:gd name="connsiteX241" fmla="*/ 6601498 w 9126537"/>
              <a:gd name="connsiteY241" fmla="*/ 1618137 h 7419095"/>
              <a:gd name="connsiteX242" fmla="*/ 6565101 w 9126537"/>
              <a:gd name="connsiteY242" fmla="*/ 1636372 h 7419095"/>
              <a:gd name="connsiteX243" fmla="*/ 6567376 w 9126537"/>
              <a:gd name="connsiteY243" fmla="*/ 1695635 h 7419095"/>
              <a:gd name="connsiteX244" fmla="*/ 6528704 w 9126537"/>
              <a:gd name="connsiteY244" fmla="*/ 1725266 h 7419095"/>
              <a:gd name="connsiteX245" fmla="*/ 6526429 w 9126537"/>
              <a:gd name="connsiteY245" fmla="*/ 1743501 h 7419095"/>
              <a:gd name="connsiteX246" fmla="*/ 6540078 w 9126537"/>
              <a:gd name="connsiteY246" fmla="*/ 1745781 h 7419095"/>
              <a:gd name="connsiteX247" fmla="*/ 6581024 w 9126537"/>
              <a:gd name="connsiteY247" fmla="*/ 1727546 h 7419095"/>
              <a:gd name="connsiteX248" fmla="*/ 6642444 w 9126537"/>
              <a:gd name="connsiteY248" fmla="*/ 1707032 h 7419095"/>
              <a:gd name="connsiteX249" fmla="*/ 6640170 w 9126537"/>
              <a:gd name="connsiteY249" fmla="*/ 1679679 h 7419095"/>
              <a:gd name="connsiteX250" fmla="*/ 6676566 w 9126537"/>
              <a:gd name="connsiteY250" fmla="*/ 1675120 h 7419095"/>
              <a:gd name="connsiteX251" fmla="*/ 6677644 w 9126537"/>
              <a:gd name="connsiteY251" fmla="*/ 1675930 h 7419095"/>
              <a:gd name="connsiteX252" fmla="*/ 6674292 w 9126537"/>
              <a:gd name="connsiteY252" fmla="*/ 1677400 h 7419095"/>
              <a:gd name="connsiteX253" fmla="*/ 6679599 w 9126537"/>
              <a:gd name="connsiteY253" fmla="*/ 1677400 h 7419095"/>
              <a:gd name="connsiteX254" fmla="*/ 6685666 w 9126537"/>
              <a:gd name="connsiteY254" fmla="*/ 1681959 h 7419095"/>
              <a:gd name="connsiteX255" fmla="*/ 6687940 w 9126537"/>
              <a:gd name="connsiteY255" fmla="*/ 1677400 h 7419095"/>
              <a:gd name="connsiteX256" fmla="*/ 6679599 w 9126537"/>
              <a:gd name="connsiteY256" fmla="*/ 1677400 h 7419095"/>
              <a:gd name="connsiteX257" fmla="*/ 6677644 w 9126537"/>
              <a:gd name="connsiteY257" fmla="*/ 1675930 h 7419095"/>
              <a:gd name="connsiteX258" fmla="*/ 6710688 w 9126537"/>
              <a:gd name="connsiteY258" fmla="*/ 1661444 h 7419095"/>
              <a:gd name="connsiteX259" fmla="*/ 6737986 w 9126537"/>
              <a:gd name="connsiteY259" fmla="*/ 1666003 h 7419095"/>
              <a:gd name="connsiteX260" fmla="*/ 6735712 w 9126537"/>
              <a:gd name="connsiteY260" fmla="*/ 1666003 h 7419095"/>
              <a:gd name="connsiteX261" fmla="*/ 6715238 w 9126537"/>
              <a:gd name="connsiteY261" fmla="*/ 1677400 h 7419095"/>
              <a:gd name="connsiteX262" fmla="*/ 6692490 w 9126537"/>
              <a:gd name="connsiteY262" fmla="*/ 1729825 h 7419095"/>
              <a:gd name="connsiteX263" fmla="*/ 6694765 w 9126537"/>
              <a:gd name="connsiteY263" fmla="*/ 1750339 h 7419095"/>
              <a:gd name="connsiteX264" fmla="*/ 6665192 w 9126537"/>
              <a:gd name="connsiteY264" fmla="*/ 1768574 h 7419095"/>
              <a:gd name="connsiteX265" fmla="*/ 6565101 w 9126537"/>
              <a:gd name="connsiteY265" fmla="*/ 1818720 h 7419095"/>
              <a:gd name="connsiteX266" fmla="*/ 6530978 w 9126537"/>
              <a:gd name="connsiteY266" fmla="*/ 1859748 h 7419095"/>
              <a:gd name="connsiteX267" fmla="*/ 6519604 w 9126537"/>
              <a:gd name="connsiteY267" fmla="*/ 1875704 h 7419095"/>
              <a:gd name="connsiteX268" fmla="*/ 6478658 w 9126537"/>
              <a:gd name="connsiteY268" fmla="*/ 1925850 h 7419095"/>
              <a:gd name="connsiteX269" fmla="*/ 6399040 w 9126537"/>
              <a:gd name="connsiteY269" fmla="*/ 1978275 h 7419095"/>
              <a:gd name="connsiteX270" fmla="*/ 6321696 w 9126537"/>
              <a:gd name="connsiteY270" fmla="*/ 2012465 h 7419095"/>
              <a:gd name="connsiteX271" fmla="*/ 6339894 w 9126537"/>
              <a:gd name="connsiteY271" fmla="*/ 2026141 h 7419095"/>
              <a:gd name="connsiteX272" fmla="*/ 6387666 w 9126537"/>
              <a:gd name="connsiteY272" fmla="*/ 2010186 h 7419095"/>
              <a:gd name="connsiteX273" fmla="*/ 6512780 w 9126537"/>
              <a:gd name="connsiteY273" fmla="*/ 1960040 h 7419095"/>
              <a:gd name="connsiteX274" fmla="*/ 6599223 w 9126537"/>
              <a:gd name="connsiteY274" fmla="*/ 1928129 h 7419095"/>
              <a:gd name="connsiteX275" fmla="*/ 6676566 w 9126537"/>
              <a:gd name="connsiteY275" fmla="*/ 1909894 h 7419095"/>
              <a:gd name="connsiteX276" fmla="*/ 6665192 w 9126537"/>
              <a:gd name="connsiteY276" fmla="*/ 1925850 h 7419095"/>
              <a:gd name="connsiteX277" fmla="*/ 6585574 w 9126537"/>
              <a:gd name="connsiteY277" fmla="*/ 1962319 h 7419095"/>
              <a:gd name="connsiteX278" fmla="*/ 6505956 w 9126537"/>
              <a:gd name="connsiteY278" fmla="*/ 1996510 h 7419095"/>
              <a:gd name="connsiteX279" fmla="*/ 6476384 w 9126537"/>
              <a:gd name="connsiteY279" fmla="*/ 2023862 h 7419095"/>
              <a:gd name="connsiteX280" fmla="*/ 6471834 w 9126537"/>
              <a:gd name="connsiteY280" fmla="*/ 2028421 h 7419095"/>
              <a:gd name="connsiteX281" fmla="*/ 6380841 w 9126537"/>
              <a:gd name="connsiteY281" fmla="*/ 2064890 h 7419095"/>
              <a:gd name="connsiteX282" fmla="*/ 6328520 w 9126537"/>
              <a:gd name="connsiteY282" fmla="*/ 2085405 h 7419095"/>
              <a:gd name="connsiteX283" fmla="*/ 6342170 w 9126537"/>
              <a:gd name="connsiteY283" fmla="*/ 2092242 h 7419095"/>
              <a:gd name="connsiteX284" fmla="*/ 6328520 w 9126537"/>
              <a:gd name="connsiteY284" fmla="*/ 2108198 h 7419095"/>
              <a:gd name="connsiteX285" fmla="*/ 6362643 w 9126537"/>
              <a:gd name="connsiteY285" fmla="*/ 2092242 h 7419095"/>
              <a:gd name="connsiteX286" fmla="*/ 6435436 w 9126537"/>
              <a:gd name="connsiteY286" fmla="*/ 2092242 h 7419095"/>
              <a:gd name="connsiteX287" fmla="*/ 6460460 w 9126537"/>
              <a:gd name="connsiteY287" fmla="*/ 2053494 h 7419095"/>
              <a:gd name="connsiteX288" fmla="*/ 6521880 w 9126537"/>
              <a:gd name="connsiteY288" fmla="*/ 2060332 h 7419095"/>
              <a:gd name="connsiteX289" fmla="*/ 6571926 w 9126537"/>
              <a:gd name="connsiteY289" fmla="*/ 2076287 h 7419095"/>
              <a:gd name="connsiteX290" fmla="*/ 6512780 w 9126537"/>
              <a:gd name="connsiteY290" fmla="*/ 2103639 h 7419095"/>
              <a:gd name="connsiteX291" fmla="*/ 6533254 w 9126537"/>
              <a:gd name="connsiteY291" fmla="*/ 2112757 h 7419095"/>
              <a:gd name="connsiteX292" fmla="*/ 6624246 w 9126537"/>
              <a:gd name="connsiteY292" fmla="*/ 2080846 h 7419095"/>
              <a:gd name="connsiteX293" fmla="*/ 6708414 w 9126537"/>
              <a:gd name="connsiteY293" fmla="*/ 2076287 h 7419095"/>
              <a:gd name="connsiteX294" fmla="*/ 6797132 w 9126537"/>
              <a:gd name="connsiteY294" fmla="*/ 2076287 h 7419095"/>
              <a:gd name="connsiteX295" fmla="*/ 6860826 w 9126537"/>
              <a:gd name="connsiteY295" fmla="*/ 2058052 h 7419095"/>
              <a:gd name="connsiteX296" fmla="*/ 7122430 w 9126537"/>
              <a:gd name="connsiteY296" fmla="*/ 1982834 h 7419095"/>
              <a:gd name="connsiteX297" fmla="*/ 7402231 w 9126537"/>
              <a:gd name="connsiteY297" fmla="*/ 1903056 h 7419095"/>
              <a:gd name="connsiteX298" fmla="*/ 7447727 w 9126537"/>
              <a:gd name="connsiteY298" fmla="*/ 1893939 h 7419095"/>
              <a:gd name="connsiteX299" fmla="*/ 7459101 w 9126537"/>
              <a:gd name="connsiteY299" fmla="*/ 1880262 h 7419095"/>
              <a:gd name="connsiteX300" fmla="*/ 7445452 w 9126537"/>
              <a:gd name="connsiteY300" fmla="*/ 1873425 h 7419095"/>
              <a:gd name="connsiteX301" fmla="*/ 7399956 w 9126537"/>
              <a:gd name="connsiteY301" fmla="*/ 1877983 h 7419095"/>
              <a:gd name="connsiteX302" fmla="*/ 7484124 w 9126537"/>
              <a:gd name="connsiteY302" fmla="*/ 1832396 h 7419095"/>
              <a:gd name="connsiteX303" fmla="*/ 7427254 w 9126537"/>
              <a:gd name="connsiteY303" fmla="*/ 1827837 h 7419095"/>
              <a:gd name="connsiteX304" fmla="*/ 7518246 w 9126537"/>
              <a:gd name="connsiteY304" fmla="*/ 1800485 h 7419095"/>
              <a:gd name="connsiteX305" fmla="*/ 7520521 w 9126537"/>
              <a:gd name="connsiteY305" fmla="*/ 1818720 h 7419095"/>
              <a:gd name="connsiteX306" fmla="*/ 7525070 w 9126537"/>
              <a:gd name="connsiteY306" fmla="*/ 1825558 h 7419095"/>
              <a:gd name="connsiteX307" fmla="*/ 7536445 w 9126537"/>
              <a:gd name="connsiteY307" fmla="*/ 1820999 h 7419095"/>
              <a:gd name="connsiteX308" fmla="*/ 7540994 w 9126537"/>
              <a:gd name="connsiteY308" fmla="*/ 1802765 h 7419095"/>
              <a:gd name="connsiteX309" fmla="*/ 7563742 w 9126537"/>
              <a:gd name="connsiteY309" fmla="*/ 1823279 h 7419095"/>
              <a:gd name="connsiteX310" fmla="*/ 7597864 w 9126537"/>
              <a:gd name="connsiteY310" fmla="*/ 1823279 h 7419095"/>
              <a:gd name="connsiteX311" fmla="*/ 7486399 w 9126537"/>
              <a:gd name="connsiteY311" fmla="*/ 1866586 h 7419095"/>
              <a:gd name="connsiteX312" fmla="*/ 7495498 w 9126537"/>
              <a:gd name="connsiteY312" fmla="*/ 1877983 h 7419095"/>
              <a:gd name="connsiteX313" fmla="*/ 7504598 w 9126537"/>
              <a:gd name="connsiteY313" fmla="*/ 1877983 h 7419095"/>
              <a:gd name="connsiteX314" fmla="*/ 7650186 w 9126537"/>
              <a:gd name="connsiteY314" fmla="*/ 1839234 h 7419095"/>
              <a:gd name="connsiteX315" fmla="*/ 7682032 w 9126537"/>
              <a:gd name="connsiteY315" fmla="*/ 1823279 h 7419095"/>
              <a:gd name="connsiteX316" fmla="*/ 7679758 w 9126537"/>
              <a:gd name="connsiteY316" fmla="*/ 1800485 h 7419095"/>
              <a:gd name="connsiteX317" fmla="*/ 7725254 w 9126537"/>
              <a:gd name="connsiteY317" fmla="*/ 1791368 h 7419095"/>
              <a:gd name="connsiteX318" fmla="*/ 7857193 w 9126537"/>
              <a:gd name="connsiteY318" fmla="*/ 1748060 h 7419095"/>
              <a:gd name="connsiteX319" fmla="*/ 7873116 w 9126537"/>
              <a:gd name="connsiteY319" fmla="*/ 1754898 h 7419095"/>
              <a:gd name="connsiteX320" fmla="*/ 7893590 w 9126537"/>
              <a:gd name="connsiteY320" fmla="*/ 1768574 h 7419095"/>
              <a:gd name="connsiteX321" fmla="*/ 7952735 w 9126537"/>
              <a:gd name="connsiteY321" fmla="*/ 1745781 h 7419095"/>
              <a:gd name="connsiteX322" fmla="*/ 8009606 w 9126537"/>
              <a:gd name="connsiteY322" fmla="*/ 1736663 h 7419095"/>
              <a:gd name="connsiteX323" fmla="*/ 7993682 w 9126537"/>
              <a:gd name="connsiteY323" fmla="*/ 1716149 h 7419095"/>
              <a:gd name="connsiteX324" fmla="*/ 7995956 w 9126537"/>
              <a:gd name="connsiteY324" fmla="*/ 1716149 h 7419095"/>
              <a:gd name="connsiteX325" fmla="*/ 8027804 w 9126537"/>
              <a:gd name="connsiteY325" fmla="*/ 1695635 h 7419095"/>
              <a:gd name="connsiteX326" fmla="*/ 8066476 w 9126537"/>
              <a:gd name="connsiteY326" fmla="*/ 1697914 h 7419095"/>
              <a:gd name="connsiteX327" fmla="*/ 8066476 w 9126537"/>
              <a:gd name="connsiteY327" fmla="*/ 1695635 h 7419095"/>
              <a:gd name="connsiteX328" fmla="*/ 8086949 w 9126537"/>
              <a:gd name="connsiteY328" fmla="*/ 1707032 h 7419095"/>
              <a:gd name="connsiteX329" fmla="*/ 8127896 w 9126537"/>
              <a:gd name="connsiteY329" fmla="*/ 1697914 h 7419095"/>
              <a:gd name="connsiteX330" fmla="*/ 8121071 w 9126537"/>
              <a:gd name="connsiteY330" fmla="*/ 1716149 h 7419095"/>
              <a:gd name="connsiteX331" fmla="*/ 8175666 w 9126537"/>
              <a:gd name="connsiteY331" fmla="*/ 1718428 h 7419095"/>
              <a:gd name="connsiteX332" fmla="*/ 8241636 w 9126537"/>
              <a:gd name="connsiteY332" fmla="*/ 1782250 h 7419095"/>
              <a:gd name="connsiteX333" fmla="*/ 8241636 w 9126537"/>
              <a:gd name="connsiteY333" fmla="*/ 1805044 h 7419095"/>
              <a:gd name="connsiteX334" fmla="*/ 8266659 w 9126537"/>
              <a:gd name="connsiteY334" fmla="*/ 1816441 h 7419095"/>
              <a:gd name="connsiteX335" fmla="*/ 8339452 w 9126537"/>
              <a:gd name="connsiteY335" fmla="*/ 1779971 h 7419095"/>
              <a:gd name="connsiteX336" fmla="*/ 8348552 w 9126537"/>
              <a:gd name="connsiteY336" fmla="*/ 1759457 h 7419095"/>
              <a:gd name="connsiteX337" fmla="*/ 8325804 w 9126537"/>
              <a:gd name="connsiteY337" fmla="*/ 1745781 h 7419095"/>
              <a:gd name="connsiteX338" fmla="*/ 8291682 w 9126537"/>
              <a:gd name="connsiteY338" fmla="*/ 1754898 h 7419095"/>
              <a:gd name="connsiteX339" fmla="*/ 8266659 w 9126537"/>
              <a:gd name="connsiteY339" fmla="*/ 1752619 h 7419095"/>
              <a:gd name="connsiteX340" fmla="*/ 8450918 w 9126537"/>
              <a:gd name="connsiteY340" fmla="*/ 1681959 h 7419095"/>
              <a:gd name="connsiteX341" fmla="*/ 8432720 w 9126537"/>
              <a:gd name="connsiteY341" fmla="*/ 1711590 h 7419095"/>
              <a:gd name="connsiteX342" fmla="*/ 8450918 w 9126537"/>
              <a:gd name="connsiteY342" fmla="*/ 1720708 h 7419095"/>
              <a:gd name="connsiteX343" fmla="*/ 8421346 w 9126537"/>
              <a:gd name="connsiteY343" fmla="*/ 1741222 h 7419095"/>
              <a:gd name="connsiteX344" fmla="*/ 8471392 w 9126537"/>
              <a:gd name="connsiteY344" fmla="*/ 1766295 h 7419095"/>
              <a:gd name="connsiteX345" fmla="*/ 8419071 w 9126537"/>
              <a:gd name="connsiteY345" fmla="*/ 1795926 h 7419095"/>
              <a:gd name="connsiteX346" fmla="*/ 8384949 w 9126537"/>
              <a:gd name="connsiteY346" fmla="*/ 1805044 h 7419095"/>
              <a:gd name="connsiteX347" fmla="*/ 8362201 w 9126537"/>
              <a:gd name="connsiteY347" fmla="*/ 1811882 h 7419095"/>
              <a:gd name="connsiteX348" fmla="*/ 8282582 w 9126537"/>
              <a:gd name="connsiteY348" fmla="*/ 1843793 h 7419095"/>
              <a:gd name="connsiteX349" fmla="*/ 8269427 w 9126537"/>
              <a:gd name="connsiteY349" fmla="*/ 1845990 h 7419095"/>
              <a:gd name="connsiteX350" fmla="*/ 8271493 w 9126537"/>
              <a:gd name="connsiteY350" fmla="*/ 1836100 h 7419095"/>
              <a:gd name="connsiteX351" fmla="*/ 8262109 w 9126537"/>
              <a:gd name="connsiteY351" fmla="*/ 1825558 h 7419095"/>
              <a:gd name="connsiteX352" fmla="*/ 8230262 w 9126537"/>
              <a:gd name="connsiteY352" fmla="*/ 1873425 h 7419095"/>
              <a:gd name="connsiteX353" fmla="*/ 8264384 w 9126537"/>
              <a:gd name="connsiteY353" fmla="*/ 1889380 h 7419095"/>
              <a:gd name="connsiteX354" fmla="*/ 8275758 w 9126537"/>
              <a:gd name="connsiteY354" fmla="*/ 1903056 h 7419095"/>
              <a:gd name="connsiteX355" fmla="*/ 8264384 w 9126537"/>
              <a:gd name="connsiteY355" fmla="*/ 1916732 h 7419095"/>
              <a:gd name="connsiteX356" fmla="*/ 8214338 w 9126537"/>
              <a:gd name="connsiteY356" fmla="*/ 1893939 h 7419095"/>
              <a:gd name="connsiteX357" fmla="*/ 8187040 w 9126537"/>
              <a:gd name="connsiteY357" fmla="*/ 1912174 h 7419095"/>
              <a:gd name="connsiteX358" fmla="*/ 8116522 w 9126537"/>
              <a:gd name="connsiteY358" fmla="*/ 1975995 h 7419095"/>
              <a:gd name="connsiteX359" fmla="*/ 8116522 w 9126537"/>
              <a:gd name="connsiteY359" fmla="*/ 2046655 h 7419095"/>
              <a:gd name="connsiteX360" fmla="*/ 8157468 w 9126537"/>
              <a:gd name="connsiteY360" fmla="*/ 2051214 h 7419095"/>
              <a:gd name="connsiteX361" fmla="*/ 8134720 w 9126537"/>
              <a:gd name="connsiteY361" fmla="*/ 2067170 h 7419095"/>
              <a:gd name="connsiteX362" fmla="*/ 8162550 w 9126537"/>
              <a:gd name="connsiteY362" fmla="*/ 2102749 h 7419095"/>
              <a:gd name="connsiteX363" fmla="*/ 8174609 w 9126537"/>
              <a:gd name="connsiteY363" fmla="*/ 2103447 h 7419095"/>
              <a:gd name="connsiteX364" fmla="*/ 8159742 w 9126537"/>
              <a:gd name="connsiteY364" fmla="*/ 2112757 h 7419095"/>
              <a:gd name="connsiteX365" fmla="*/ 8150644 w 9126537"/>
              <a:gd name="connsiteY365" fmla="*/ 2130992 h 7419095"/>
              <a:gd name="connsiteX366" fmla="*/ 8107422 w 9126537"/>
              <a:gd name="connsiteY366" fmla="*/ 2210769 h 7419095"/>
              <a:gd name="connsiteX367" fmla="*/ 8073300 w 9126537"/>
              <a:gd name="connsiteY367" fmla="*/ 2213048 h 7419095"/>
              <a:gd name="connsiteX368" fmla="*/ 8027804 w 9126537"/>
              <a:gd name="connsiteY368" fmla="*/ 2210769 h 7419095"/>
              <a:gd name="connsiteX369" fmla="*/ 8005056 w 9126537"/>
              <a:gd name="connsiteY369" fmla="*/ 2213048 h 7419095"/>
              <a:gd name="connsiteX370" fmla="*/ 8064200 w 9126537"/>
              <a:gd name="connsiteY370" fmla="*/ 2194813 h 7419095"/>
              <a:gd name="connsiteX371" fmla="*/ 8091498 w 9126537"/>
              <a:gd name="connsiteY371" fmla="*/ 2176579 h 7419095"/>
              <a:gd name="connsiteX372" fmla="*/ 8089224 w 9126537"/>
              <a:gd name="connsiteY372" fmla="*/ 2137830 h 7419095"/>
              <a:gd name="connsiteX373" fmla="*/ 8048277 w 9126537"/>
              <a:gd name="connsiteY373" fmla="*/ 2151506 h 7419095"/>
              <a:gd name="connsiteX374" fmla="*/ 8007330 w 9126537"/>
              <a:gd name="connsiteY374" fmla="*/ 2165182 h 7419095"/>
              <a:gd name="connsiteX375" fmla="*/ 8005056 w 9126537"/>
              <a:gd name="connsiteY375" fmla="*/ 2183417 h 7419095"/>
              <a:gd name="connsiteX376" fmla="*/ 7991407 w 9126537"/>
              <a:gd name="connsiteY376" fmla="*/ 2187976 h 7419095"/>
              <a:gd name="connsiteX377" fmla="*/ 7977758 w 9126537"/>
              <a:gd name="connsiteY377" fmla="*/ 2167461 h 7419095"/>
              <a:gd name="connsiteX378" fmla="*/ 7968658 w 9126537"/>
              <a:gd name="connsiteY378" fmla="*/ 2144668 h 7419095"/>
              <a:gd name="connsiteX379" fmla="*/ 8080124 w 9126537"/>
              <a:gd name="connsiteY379" fmla="*/ 2108198 h 7419095"/>
              <a:gd name="connsiteX380" fmla="*/ 8082399 w 9126537"/>
              <a:gd name="connsiteY380" fmla="*/ 2083125 h 7419095"/>
              <a:gd name="connsiteX381" fmla="*/ 8036903 w 9126537"/>
              <a:gd name="connsiteY381" fmla="*/ 2096801 h 7419095"/>
              <a:gd name="connsiteX382" fmla="*/ 7989132 w 9126537"/>
              <a:gd name="connsiteY382" fmla="*/ 2115036 h 7419095"/>
              <a:gd name="connsiteX383" fmla="*/ 7932262 w 9126537"/>
              <a:gd name="connsiteY383" fmla="*/ 2130992 h 7419095"/>
              <a:gd name="connsiteX384" fmla="*/ 7920888 w 9126537"/>
              <a:gd name="connsiteY384" fmla="*/ 2121874 h 7419095"/>
              <a:gd name="connsiteX385" fmla="*/ 7922079 w 9126537"/>
              <a:gd name="connsiteY385" fmla="*/ 2121440 h 7419095"/>
              <a:gd name="connsiteX386" fmla="*/ 7923162 w 9126537"/>
              <a:gd name="connsiteY386" fmla="*/ 2121874 h 7419095"/>
              <a:gd name="connsiteX387" fmla="*/ 7948186 w 9126537"/>
              <a:gd name="connsiteY387" fmla="*/ 2112757 h 7419095"/>
              <a:gd name="connsiteX388" fmla="*/ 7948711 w 9126537"/>
              <a:gd name="connsiteY388" fmla="*/ 2112055 h 7419095"/>
              <a:gd name="connsiteX389" fmla="*/ 7955010 w 9126537"/>
              <a:gd name="connsiteY389" fmla="*/ 2110477 h 7419095"/>
              <a:gd name="connsiteX390" fmla="*/ 7959560 w 9126537"/>
              <a:gd name="connsiteY390" fmla="*/ 2105919 h 7419095"/>
              <a:gd name="connsiteX391" fmla="*/ 7955010 w 9126537"/>
              <a:gd name="connsiteY391" fmla="*/ 2103639 h 7419095"/>
              <a:gd name="connsiteX392" fmla="*/ 7948711 w 9126537"/>
              <a:gd name="connsiteY392" fmla="*/ 2112055 h 7419095"/>
              <a:gd name="connsiteX393" fmla="*/ 7945910 w 9126537"/>
              <a:gd name="connsiteY393" fmla="*/ 2112757 h 7419095"/>
              <a:gd name="connsiteX394" fmla="*/ 7922079 w 9126537"/>
              <a:gd name="connsiteY394" fmla="*/ 2121440 h 7419095"/>
              <a:gd name="connsiteX395" fmla="*/ 7900414 w 9126537"/>
              <a:gd name="connsiteY395" fmla="*/ 2112757 h 7419095"/>
              <a:gd name="connsiteX396" fmla="*/ 7925438 w 9126537"/>
              <a:gd name="connsiteY396" fmla="*/ 2096801 h 7419095"/>
              <a:gd name="connsiteX397" fmla="*/ 8000506 w 9126537"/>
              <a:gd name="connsiteY397" fmla="*/ 2074008 h 7419095"/>
              <a:gd name="connsiteX398" fmla="*/ 8046002 w 9126537"/>
              <a:gd name="connsiteY398" fmla="*/ 2037538 h 7419095"/>
              <a:gd name="connsiteX399" fmla="*/ 8064200 w 9126537"/>
              <a:gd name="connsiteY399" fmla="*/ 2005627 h 7419095"/>
              <a:gd name="connsiteX400" fmla="*/ 8025529 w 9126537"/>
              <a:gd name="connsiteY400" fmla="*/ 1985113 h 7419095"/>
              <a:gd name="connsiteX401" fmla="*/ 8066476 w 9126537"/>
              <a:gd name="connsiteY401" fmla="*/ 1946364 h 7419095"/>
              <a:gd name="connsiteX402" fmla="*/ 8041452 w 9126537"/>
              <a:gd name="connsiteY402" fmla="*/ 1944084 h 7419095"/>
              <a:gd name="connsiteX403" fmla="*/ 7948186 w 9126537"/>
              <a:gd name="connsiteY403" fmla="*/ 1978275 h 7419095"/>
              <a:gd name="connsiteX404" fmla="*/ 7902689 w 9126537"/>
              <a:gd name="connsiteY404" fmla="*/ 2001068 h 7419095"/>
              <a:gd name="connsiteX405" fmla="*/ 7902224 w 9126537"/>
              <a:gd name="connsiteY405" fmla="*/ 2000758 h 7419095"/>
              <a:gd name="connsiteX406" fmla="*/ 7904964 w 9126537"/>
              <a:gd name="connsiteY406" fmla="*/ 1998789 h 7419095"/>
              <a:gd name="connsiteX407" fmla="*/ 7899277 w 9126537"/>
              <a:gd name="connsiteY407" fmla="*/ 1998789 h 7419095"/>
              <a:gd name="connsiteX408" fmla="*/ 7887335 w 9126537"/>
              <a:gd name="connsiteY408" fmla="*/ 1990811 h 7419095"/>
              <a:gd name="connsiteX409" fmla="*/ 7878046 w 9126537"/>
              <a:gd name="connsiteY409" fmla="*/ 1998789 h 7419095"/>
              <a:gd name="connsiteX410" fmla="*/ 7873116 w 9126537"/>
              <a:gd name="connsiteY410" fmla="*/ 1998789 h 7419095"/>
              <a:gd name="connsiteX411" fmla="*/ 7870842 w 9126537"/>
              <a:gd name="connsiteY411" fmla="*/ 2001068 h 7419095"/>
              <a:gd name="connsiteX412" fmla="*/ 7875392 w 9126537"/>
              <a:gd name="connsiteY412" fmla="*/ 2001068 h 7419095"/>
              <a:gd name="connsiteX413" fmla="*/ 7878046 w 9126537"/>
              <a:gd name="connsiteY413" fmla="*/ 1998789 h 7419095"/>
              <a:gd name="connsiteX414" fmla="*/ 7899277 w 9126537"/>
              <a:gd name="connsiteY414" fmla="*/ 1998789 h 7419095"/>
              <a:gd name="connsiteX415" fmla="*/ 7902224 w 9126537"/>
              <a:gd name="connsiteY415" fmla="*/ 2000758 h 7419095"/>
              <a:gd name="connsiteX416" fmla="*/ 7874823 w 9126537"/>
              <a:gd name="connsiteY416" fmla="*/ 2020443 h 7419095"/>
              <a:gd name="connsiteX417" fmla="*/ 7841270 w 9126537"/>
              <a:gd name="connsiteY417" fmla="*/ 2028421 h 7419095"/>
              <a:gd name="connsiteX418" fmla="*/ 7741178 w 9126537"/>
              <a:gd name="connsiteY418" fmla="*/ 2058052 h 7419095"/>
              <a:gd name="connsiteX419" fmla="*/ 7716155 w 9126537"/>
              <a:gd name="connsiteY419" fmla="*/ 2067170 h 7419095"/>
              <a:gd name="connsiteX420" fmla="*/ 7629712 w 9126537"/>
              <a:gd name="connsiteY420" fmla="*/ 2117316 h 7419095"/>
              <a:gd name="connsiteX421" fmla="*/ 7640113 w 9126537"/>
              <a:gd name="connsiteY421" fmla="*/ 2142329 h 7419095"/>
              <a:gd name="connsiteX422" fmla="*/ 7638811 w 9126537"/>
              <a:gd name="connsiteY422" fmla="*/ 2142388 h 7419095"/>
              <a:gd name="connsiteX423" fmla="*/ 7638212 w 9126537"/>
              <a:gd name="connsiteY423" fmla="*/ 2143588 h 7419095"/>
              <a:gd name="connsiteX424" fmla="*/ 7622888 w 9126537"/>
              <a:gd name="connsiteY424" fmla="*/ 2137830 h 7419095"/>
              <a:gd name="connsiteX425" fmla="*/ 7613788 w 9126537"/>
              <a:gd name="connsiteY425" fmla="*/ 2121874 h 7419095"/>
              <a:gd name="connsiteX426" fmla="*/ 7586490 w 9126537"/>
              <a:gd name="connsiteY426" fmla="*/ 2137830 h 7419095"/>
              <a:gd name="connsiteX427" fmla="*/ 7547819 w 9126537"/>
              <a:gd name="connsiteY427" fmla="*/ 2181138 h 7419095"/>
              <a:gd name="connsiteX428" fmla="*/ 7631987 w 9126537"/>
              <a:gd name="connsiteY428" fmla="*/ 2156064 h 7419095"/>
              <a:gd name="connsiteX429" fmla="*/ 7638212 w 9126537"/>
              <a:gd name="connsiteY429" fmla="*/ 2143588 h 7419095"/>
              <a:gd name="connsiteX430" fmla="*/ 7641086 w 9126537"/>
              <a:gd name="connsiteY430" fmla="*/ 2144668 h 7419095"/>
              <a:gd name="connsiteX431" fmla="*/ 7640113 w 9126537"/>
              <a:gd name="connsiteY431" fmla="*/ 2142329 h 7419095"/>
              <a:gd name="connsiteX432" fmla="*/ 7688857 w 9126537"/>
              <a:gd name="connsiteY432" fmla="*/ 2140109 h 7419095"/>
              <a:gd name="connsiteX433" fmla="*/ 7661560 w 9126537"/>
              <a:gd name="connsiteY433" fmla="*/ 2174299 h 7419095"/>
              <a:gd name="connsiteX434" fmla="*/ 7727529 w 9126537"/>
              <a:gd name="connsiteY434" fmla="*/ 2158344 h 7419095"/>
              <a:gd name="connsiteX435" fmla="*/ 7743452 w 9126537"/>
              <a:gd name="connsiteY435" fmla="*/ 2149226 h 7419095"/>
              <a:gd name="connsiteX436" fmla="*/ 7861742 w 9126537"/>
              <a:gd name="connsiteY436" fmla="*/ 2137830 h 7419095"/>
              <a:gd name="connsiteX437" fmla="*/ 7866292 w 9126537"/>
              <a:gd name="connsiteY437" fmla="*/ 2142388 h 7419095"/>
              <a:gd name="connsiteX438" fmla="*/ 7807147 w 9126537"/>
              <a:gd name="connsiteY438" fmla="*/ 2174299 h 7419095"/>
              <a:gd name="connsiteX439" fmla="*/ 7773025 w 9126537"/>
              <a:gd name="connsiteY439" fmla="*/ 2174299 h 7419095"/>
              <a:gd name="connsiteX440" fmla="*/ 7697956 w 9126537"/>
              <a:gd name="connsiteY440" fmla="*/ 2210769 h 7419095"/>
              <a:gd name="connsiteX441" fmla="*/ 7777574 w 9126537"/>
              <a:gd name="connsiteY441" fmla="*/ 2215328 h 7419095"/>
              <a:gd name="connsiteX442" fmla="*/ 7904964 w 9126537"/>
              <a:gd name="connsiteY442" fmla="*/ 2167461 h 7419095"/>
              <a:gd name="connsiteX443" fmla="*/ 7957284 w 9126537"/>
              <a:gd name="connsiteY443" fmla="*/ 2183417 h 7419095"/>
              <a:gd name="connsiteX444" fmla="*/ 7959560 w 9126537"/>
              <a:gd name="connsiteY444" fmla="*/ 2199372 h 7419095"/>
              <a:gd name="connsiteX445" fmla="*/ 7925438 w 9126537"/>
              <a:gd name="connsiteY445" fmla="*/ 2213048 h 7419095"/>
              <a:gd name="connsiteX446" fmla="*/ 7879941 w 9126537"/>
              <a:gd name="connsiteY446" fmla="*/ 2249518 h 7419095"/>
              <a:gd name="connsiteX447" fmla="*/ 7843544 w 9126537"/>
              <a:gd name="connsiteY447" fmla="*/ 2256356 h 7419095"/>
              <a:gd name="connsiteX448" fmla="*/ 7843544 w 9126537"/>
              <a:gd name="connsiteY448" fmla="*/ 2274591 h 7419095"/>
              <a:gd name="connsiteX449" fmla="*/ 7818521 w 9126537"/>
              <a:gd name="connsiteY449" fmla="*/ 2283708 h 7419095"/>
              <a:gd name="connsiteX450" fmla="*/ 7843544 w 9126537"/>
              <a:gd name="connsiteY450" fmla="*/ 2274591 h 7419095"/>
              <a:gd name="connsiteX451" fmla="*/ 7882216 w 9126537"/>
              <a:gd name="connsiteY451" fmla="*/ 2270032 h 7419095"/>
              <a:gd name="connsiteX452" fmla="*/ 7959560 w 9126537"/>
              <a:gd name="connsiteY452" fmla="*/ 2256356 h 7419095"/>
              <a:gd name="connsiteX453" fmla="*/ 7943636 w 9126537"/>
              <a:gd name="connsiteY453" fmla="*/ 2288267 h 7419095"/>
              <a:gd name="connsiteX454" fmla="*/ 7964109 w 9126537"/>
              <a:gd name="connsiteY454" fmla="*/ 2299664 h 7419095"/>
              <a:gd name="connsiteX455" fmla="*/ 7927712 w 9126537"/>
              <a:gd name="connsiteY455" fmla="*/ 2322458 h 7419095"/>
              <a:gd name="connsiteX456" fmla="*/ 8000506 w 9126537"/>
              <a:gd name="connsiteY456" fmla="*/ 2313340 h 7419095"/>
              <a:gd name="connsiteX457" fmla="*/ 7986857 w 9126537"/>
              <a:gd name="connsiteY457" fmla="*/ 2270032 h 7419095"/>
              <a:gd name="connsiteX458" fmla="*/ 8030078 w 9126537"/>
              <a:gd name="connsiteY458" fmla="*/ 2276870 h 7419095"/>
              <a:gd name="connsiteX459" fmla="*/ 8025529 w 9126537"/>
              <a:gd name="connsiteY459" fmla="*/ 2295105 h 7419095"/>
              <a:gd name="connsiteX460" fmla="*/ 8046002 w 9126537"/>
              <a:gd name="connsiteY460" fmla="*/ 2320178 h 7419095"/>
              <a:gd name="connsiteX461" fmla="*/ 8102872 w 9126537"/>
              <a:gd name="connsiteY461" fmla="*/ 2313340 h 7419095"/>
              <a:gd name="connsiteX462" fmla="*/ 8105148 w 9126537"/>
              <a:gd name="connsiteY462" fmla="*/ 2288267 h 7419095"/>
              <a:gd name="connsiteX463" fmla="*/ 8127896 w 9126537"/>
              <a:gd name="connsiteY463" fmla="*/ 2290547 h 7419095"/>
              <a:gd name="connsiteX464" fmla="*/ 8202964 w 9126537"/>
              <a:gd name="connsiteY464" fmla="*/ 2281429 h 7419095"/>
              <a:gd name="connsiteX465" fmla="*/ 8282582 w 9126537"/>
              <a:gd name="connsiteY465" fmla="*/ 2251798 h 7419095"/>
              <a:gd name="connsiteX466" fmla="*/ 8321254 w 9126537"/>
              <a:gd name="connsiteY466" fmla="*/ 2231283 h 7419095"/>
              <a:gd name="connsiteX467" fmla="*/ 8366750 w 9126537"/>
              <a:gd name="connsiteY467" fmla="*/ 2213048 h 7419095"/>
              <a:gd name="connsiteX468" fmla="*/ 8387224 w 9126537"/>
              <a:gd name="connsiteY468" fmla="*/ 2201652 h 7419095"/>
              <a:gd name="connsiteX469" fmla="*/ 8382674 w 9126537"/>
              <a:gd name="connsiteY469" fmla="*/ 2178858 h 7419095"/>
              <a:gd name="connsiteX470" fmla="*/ 8382674 w 9126537"/>
              <a:gd name="connsiteY470" fmla="*/ 2167461 h 7419095"/>
              <a:gd name="connsiteX471" fmla="*/ 8412247 w 9126537"/>
              <a:gd name="connsiteY471" fmla="*/ 2210769 h 7419095"/>
              <a:gd name="connsiteX472" fmla="*/ 8396323 w 9126537"/>
              <a:gd name="connsiteY472" fmla="*/ 2244959 h 7419095"/>
              <a:gd name="connsiteX473" fmla="*/ 8491865 w 9126537"/>
              <a:gd name="connsiteY473" fmla="*/ 2219887 h 7419095"/>
              <a:gd name="connsiteX474" fmla="*/ 8635178 w 9126537"/>
              <a:gd name="connsiteY474" fmla="*/ 2160623 h 7419095"/>
              <a:gd name="connsiteX475" fmla="*/ 8678399 w 9126537"/>
              <a:gd name="connsiteY475" fmla="*/ 2137830 h 7419095"/>
              <a:gd name="connsiteX476" fmla="*/ 8662476 w 9126537"/>
              <a:gd name="connsiteY476" fmla="*/ 2121874 h 7419095"/>
              <a:gd name="connsiteX477" fmla="*/ 8662476 w 9126537"/>
              <a:gd name="connsiteY477" fmla="*/ 2112757 h 7419095"/>
              <a:gd name="connsiteX478" fmla="*/ 8671575 w 9126537"/>
              <a:gd name="connsiteY478" fmla="*/ 2108198 h 7419095"/>
              <a:gd name="connsiteX479" fmla="*/ 8710247 w 9126537"/>
              <a:gd name="connsiteY479" fmla="*/ 2140109 h 7419095"/>
              <a:gd name="connsiteX480" fmla="*/ 8712522 w 9126537"/>
              <a:gd name="connsiteY480" fmla="*/ 2162903 h 7419095"/>
              <a:gd name="connsiteX481" fmla="*/ 8696598 w 9126537"/>
              <a:gd name="connsiteY481" fmla="*/ 2203931 h 7419095"/>
              <a:gd name="connsiteX482" fmla="*/ 8598781 w 9126537"/>
              <a:gd name="connsiteY482" fmla="*/ 2233563 h 7419095"/>
              <a:gd name="connsiteX483" fmla="*/ 8523712 w 9126537"/>
              <a:gd name="connsiteY483" fmla="*/ 2265474 h 7419095"/>
              <a:gd name="connsiteX484" fmla="*/ 8475941 w 9126537"/>
              <a:gd name="connsiteY484" fmla="*/ 2283708 h 7419095"/>
              <a:gd name="connsiteX485" fmla="*/ 8446369 w 9126537"/>
              <a:gd name="connsiteY485" fmla="*/ 2311061 h 7419095"/>
              <a:gd name="connsiteX486" fmla="*/ 8400873 w 9126537"/>
              <a:gd name="connsiteY486" fmla="*/ 2345251 h 7419095"/>
              <a:gd name="connsiteX487" fmla="*/ 8387224 w 9126537"/>
              <a:gd name="connsiteY487" fmla="*/ 2324737 h 7419095"/>
              <a:gd name="connsiteX488" fmla="*/ 8275758 w 9126537"/>
              <a:gd name="connsiteY488" fmla="*/ 2349810 h 7419095"/>
              <a:gd name="connsiteX489" fmla="*/ 8221162 w 9126537"/>
              <a:gd name="connsiteY489" fmla="*/ 2374883 h 7419095"/>
              <a:gd name="connsiteX490" fmla="*/ 8207514 w 9126537"/>
              <a:gd name="connsiteY490" fmla="*/ 2399956 h 7419095"/>
              <a:gd name="connsiteX491" fmla="*/ 8282582 w 9126537"/>
              <a:gd name="connsiteY491" fmla="*/ 2386279 h 7419095"/>
              <a:gd name="connsiteX492" fmla="*/ 8321254 w 9126537"/>
              <a:gd name="connsiteY492" fmla="*/ 2381721 h 7419095"/>
              <a:gd name="connsiteX493" fmla="*/ 8218888 w 9126537"/>
              <a:gd name="connsiteY493" fmla="*/ 2429587 h 7419095"/>
              <a:gd name="connsiteX494" fmla="*/ 8216613 w 9126537"/>
              <a:gd name="connsiteY494" fmla="*/ 2447822 h 7419095"/>
              <a:gd name="connsiteX495" fmla="*/ 8152918 w 9126537"/>
              <a:gd name="connsiteY495" fmla="*/ 2479733 h 7419095"/>
              <a:gd name="connsiteX496" fmla="*/ 8086949 w 9126537"/>
              <a:gd name="connsiteY496" fmla="*/ 2482012 h 7419095"/>
              <a:gd name="connsiteX497" fmla="*/ 8030078 w 9126537"/>
              <a:gd name="connsiteY497" fmla="*/ 2491130 h 7419095"/>
              <a:gd name="connsiteX498" fmla="*/ 7984582 w 9126537"/>
              <a:gd name="connsiteY498" fmla="*/ 2534438 h 7419095"/>
              <a:gd name="connsiteX499" fmla="*/ 8057376 w 9126537"/>
              <a:gd name="connsiteY499" fmla="*/ 2541276 h 7419095"/>
              <a:gd name="connsiteX500" fmla="*/ 8116522 w 9126537"/>
              <a:gd name="connsiteY500" fmla="*/ 2525320 h 7419095"/>
              <a:gd name="connsiteX501" fmla="*/ 8096048 w 9126537"/>
              <a:gd name="connsiteY501" fmla="*/ 2559510 h 7419095"/>
              <a:gd name="connsiteX502" fmla="*/ 8127896 w 9126537"/>
              <a:gd name="connsiteY502" fmla="*/ 2561790 h 7419095"/>
              <a:gd name="connsiteX503" fmla="*/ 8182491 w 9126537"/>
              <a:gd name="connsiteY503" fmla="*/ 2568628 h 7419095"/>
              <a:gd name="connsiteX504" fmla="*/ 8227987 w 9126537"/>
              <a:gd name="connsiteY504" fmla="*/ 2568628 h 7419095"/>
              <a:gd name="connsiteX505" fmla="*/ 8412247 w 9126537"/>
              <a:gd name="connsiteY505" fmla="*/ 2497968 h 7419095"/>
              <a:gd name="connsiteX506" fmla="*/ 8437270 w 9126537"/>
              <a:gd name="connsiteY506" fmla="*/ 2477454 h 7419095"/>
              <a:gd name="connsiteX507" fmla="*/ 8449781 w 9126537"/>
              <a:gd name="connsiteY507" fmla="*/ 2467481 h 7419095"/>
              <a:gd name="connsiteX508" fmla="*/ 8467736 w 9126537"/>
              <a:gd name="connsiteY508" fmla="*/ 2478858 h 7419095"/>
              <a:gd name="connsiteX509" fmla="*/ 8450066 w 9126537"/>
              <a:gd name="connsiteY509" fmla="*/ 2496828 h 7419095"/>
              <a:gd name="connsiteX510" fmla="*/ 8425895 w 9126537"/>
              <a:gd name="connsiteY510" fmla="*/ 2509364 h 7419095"/>
              <a:gd name="connsiteX511" fmla="*/ 8266659 w 9126537"/>
              <a:gd name="connsiteY511" fmla="*/ 2568628 h 7419095"/>
              <a:gd name="connsiteX512" fmla="*/ 8253010 w 9126537"/>
              <a:gd name="connsiteY512" fmla="*/ 2595980 h 7419095"/>
              <a:gd name="connsiteX513" fmla="*/ 8207514 w 9126537"/>
              <a:gd name="connsiteY513" fmla="*/ 2614215 h 7419095"/>
              <a:gd name="connsiteX514" fmla="*/ 8196140 w 9126537"/>
              <a:gd name="connsiteY514" fmla="*/ 2637009 h 7419095"/>
              <a:gd name="connsiteX515" fmla="*/ 8187040 w 9126537"/>
              <a:gd name="connsiteY515" fmla="*/ 2659802 h 7419095"/>
              <a:gd name="connsiteX516" fmla="*/ 8298506 w 9126537"/>
              <a:gd name="connsiteY516" fmla="*/ 2659802 h 7419095"/>
              <a:gd name="connsiteX517" fmla="*/ 8268934 w 9126537"/>
              <a:gd name="connsiteY517" fmla="*/ 2675757 h 7419095"/>
              <a:gd name="connsiteX518" fmla="*/ 8309880 w 9126537"/>
              <a:gd name="connsiteY518" fmla="*/ 2705389 h 7419095"/>
              <a:gd name="connsiteX519" fmla="*/ 8325804 w 9126537"/>
              <a:gd name="connsiteY519" fmla="*/ 2725903 h 7419095"/>
              <a:gd name="connsiteX520" fmla="*/ 8337178 w 9126537"/>
              <a:gd name="connsiteY520" fmla="*/ 2705389 h 7419095"/>
              <a:gd name="connsiteX521" fmla="*/ 8364476 w 9126537"/>
              <a:gd name="connsiteY521" fmla="*/ 2730462 h 7419095"/>
              <a:gd name="connsiteX522" fmla="*/ 8369594 w 9126537"/>
              <a:gd name="connsiteY522" fmla="*/ 2737300 h 7419095"/>
              <a:gd name="connsiteX523" fmla="*/ 8376675 w 9126537"/>
              <a:gd name="connsiteY523" fmla="*/ 2742976 h 7419095"/>
              <a:gd name="connsiteX524" fmla="*/ 8348552 w 9126537"/>
              <a:gd name="connsiteY524" fmla="*/ 2764652 h 7419095"/>
              <a:gd name="connsiteX525" fmla="*/ 8403147 w 9126537"/>
              <a:gd name="connsiteY525" fmla="*/ 2814798 h 7419095"/>
              <a:gd name="connsiteX526" fmla="*/ 8371300 w 9126537"/>
              <a:gd name="connsiteY526" fmla="*/ 2807960 h 7419095"/>
              <a:gd name="connsiteX527" fmla="*/ 8348552 w 9126537"/>
              <a:gd name="connsiteY527" fmla="*/ 2819357 h 7419095"/>
              <a:gd name="connsiteX528" fmla="*/ 8371300 w 9126537"/>
              <a:gd name="connsiteY528" fmla="*/ 2837592 h 7419095"/>
              <a:gd name="connsiteX529" fmla="*/ 8387224 w 9126537"/>
              <a:gd name="connsiteY529" fmla="*/ 2874061 h 7419095"/>
              <a:gd name="connsiteX530" fmla="*/ 8387224 w 9126537"/>
              <a:gd name="connsiteY530" fmla="*/ 2926486 h 7419095"/>
              <a:gd name="connsiteX531" fmla="*/ 8369025 w 9126537"/>
              <a:gd name="connsiteY531" fmla="*/ 2953839 h 7419095"/>
              <a:gd name="connsiteX532" fmla="*/ 8339452 w 9126537"/>
              <a:gd name="connsiteY532" fmla="*/ 2940163 h 7419095"/>
              <a:gd name="connsiteX533" fmla="*/ 8312155 w 9126537"/>
              <a:gd name="connsiteY533" fmla="*/ 2919649 h 7419095"/>
              <a:gd name="connsiteX534" fmla="*/ 8184766 w 9126537"/>
              <a:gd name="connsiteY534" fmla="*/ 2896855 h 7419095"/>
              <a:gd name="connsiteX535" fmla="*/ 8141544 w 9126537"/>
              <a:gd name="connsiteY535" fmla="*/ 2896855 h 7419095"/>
              <a:gd name="connsiteX536" fmla="*/ 8166567 w 9126537"/>
              <a:gd name="connsiteY536" fmla="*/ 2924207 h 7419095"/>
              <a:gd name="connsiteX537" fmla="*/ 8168842 w 9126537"/>
              <a:gd name="connsiteY537" fmla="*/ 2924207 h 7419095"/>
              <a:gd name="connsiteX538" fmla="*/ 8080124 w 9126537"/>
              <a:gd name="connsiteY538" fmla="*/ 2912810 h 7419095"/>
              <a:gd name="connsiteX539" fmla="*/ 8066476 w 9126537"/>
              <a:gd name="connsiteY539" fmla="*/ 2908252 h 7419095"/>
              <a:gd name="connsiteX540" fmla="*/ 7982308 w 9126537"/>
              <a:gd name="connsiteY540" fmla="*/ 2894576 h 7419095"/>
              <a:gd name="connsiteX541" fmla="*/ 7945910 w 9126537"/>
              <a:gd name="connsiteY541" fmla="*/ 2912810 h 7419095"/>
              <a:gd name="connsiteX542" fmla="*/ 7977758 w 9126537"/>
              <a:gd name="connsiteY542" fmla="*/ 2926486 h 7419095"/>
              <a:gd name="connsiteX543" fmla="*/ 8084674 w 9126537"/>
              <a:gd name="connsiteY543" fmla="*/ 2953839 h 7419095"/>
              <a:gd name="connsiteX544" fmla="*/ 8177941 w 9126537"/>
              <a:gd name="connsiteY544" fmla="*/ 2965236 h 7419095"/>
              <a:gd name="connsiteX545" fmla="*/ 8209788 w 9126537"/>
              <a:gd name="connsiteY545" fmla="*/ 2967515 h 7419095"/>
              <a:gd name="connsiteX546" fmla="*/ 8282582 w 9126537"/>
              <a:gd name="connsiteY546" fmla="*/ 2983470 h 7419095"/>
              <a:gd name="connsiteX547" fmla="*/ 8357651 w 9126537"/>
              <a:gd name="connsiteY547" fmla="*/ 2990308 h 7419095"/>
              <a:gd name="connsiteX548" fmla="*/ 8416796 w 9126537"/>
              <a:gd name="connsiteY548" fmla="*/ 3010823 h 7419095"/>
              <a:gd name="connsiteX549" fmla="*/ 8478216 w 9126537"/>
              <a:gd name="connsiteY549" fmla="*/ 3026778 h 7419095"/>
              <a:gd name="connsiteX550" fmla="*/ 8423621 w 9126537"/>
              <a:gd name="connsiteY550" fmla="*/ 3026778 h 7419095"/>
              <a:gd name="connsiteX551" fmla="*/ 8414521 w 9126537"/>
              <a:gd name="connsiteY551" fmla="*/ 3035895 h 7419095"/>
              <a:gd name="connsiteX552" fmla="*/ 8421346 w 9126537"/>
              <a:gd name="connsiteY552" fmla="*/ 3049572 h 7419095"/>
              <a:gd name="connsiteX553" fmla="*/ 8430445 w 9126537"/>
              <a:gd name="connsiteY553" fmla="*/ 3054130 h 7419095"/>
              <a:gd name="connsiteX554" fmla="*/ 8510063 w 9126537"/>
              <a:gd name="connsiteY554" fmla="*/ 3099718 h 7419095"/>
              <a:gd name="connsiteX555" fmla="*/ 8519163 w 9126537"/>
              <a:gd name="connsiteY555" fmla="*/ 3113394 h 7419095"/>
              <a:gd name="connsiteX556" fmla="*/ 8462292 w 9126537"/>
              <a:gd name="connsiteY556" fmla="*/ 3106556 h 7419095"/>
              <a:gd name="connsiteX557" fmla="*/ 8423621 w 9126537"/>
              <a:gd name="connsiteY557" fmla="*/ 3129349 h 7419095"/>
              <a:gd name="connsiteX558" fmla="*/ 8364476 w 9126537"/>
              <a:gd name="connsiteY558" fmla="*/ 3099718 h 7419095"/>
              <a:gd name="connsiteX559" fmla="*/ 8280308 w 9126537"/>
              <a:gd name="connsiteY559" fmla="*/ 3127070 h 7419095"/>
              <a:gd name="connsiteX560" fmla="*/ 8253010 w 9126537"/>
              <a:gd name="connsiteY560" fmla="*/ 3147584 h 7419095"/>
              <a:gd name="connsiteX561" fmla="*/ 8253010 w 9126537"/>
              <a:gd name="connsiteY561" fmla="*/ 3129349 h 7419095"/>
              <a:gd name="connsiteX562" fmla="*/ 8234812 w 9126537"/>
              <a:gd name="connsiteY562" fmla="*/ 3097438 h 7419095"/>
              <a:gd name="connsiteX563" fmla="*/ 8048277 w 9126537"/>
              <a:gd name="connsiteY563" fmla="*/ 3054130 h 7419095"/>
              <a:gd name="connsiteX564" fmla="*/ 7900414 w 9126537"/>
              <a:gd name="connsiteY564" fmla="*/ 3022220 h 7419095"/>
              <a:gd name="connsiteX565" fmla="*/ 7877666 w 9126537"/>
              <a:gd name="connsiteY565" fmla="*/ 3017661 h 7419095"/>
              <a:gd name="connsiteX566" fmla="*/ 7782124 w 9126537"/>
              <a:gd name="connsiteY566" fmla="*/ 3003985 h 7419095"/>
              <a:gd name="connsiteX567" fmla="*/ 7757102 w 9126537"/>
              <a:gd name="connsiteY567" fmla="*/ 3006264 h 7419095"/>
              <a:gd name="connsiteX568" fmla="*/ 7668384 w 9126537"/>
              <a:gd name="connsiteY568" fmla="*/ 3008543 h 7419095"/>
              <a:gd name="connsiteX569" fmla="*/ 7641086 w 9126537"/>
              <a:gd name="connsiteY569" fmla="*/ 3008543 h 7419095"/>
              <a:gd name="connsiteX570" fmla="*/ 7641086 w 9126537"/>
              <a:gd name="connsiteY570" fmla="*/ 3019940 h 7419095"/>
              <a:gd name="connsiteX571" fmla="*/ 7704780 w 9126537"/>
              <a:gd name="connsiteY571" fmla="*/ 3054130 h 7419095"/>
              <a:gd name="connsiteX572" fmla="*/ 7825346 w 9126537"/>
              <a:gd name="connsiteY572" fmla="*/ 3090600 h 7419095"/>
              <a:gd name="connsiteX573" fmla="*/ 7836720 w 9126537"/>
              <a:gd name="connsiteY573" fmla="*/ 3099718 h 7419095"/>
              <a:gd name="connsiteX574" fmla="*/ 7886766 w 9126537"/>
              <a:gd name="connsiteY574" fmla="*/ 3131629 h 7419095"/>
              <a:gd name="connsiteX575" fmla="*/ 7900414 w 9126537"/>
              <a:gd name="connsiteY575" fmla="*/ 3158981 h 7419095"/>
              <a:gd name="connsiteX576" fmla="*/ 7927712 w 9126537"/>
              <a:gd name="connsiteY576" fmla="*/ 3170378 h 7419095"/>
              <a:gd name="connsiteX577" fmla="*/ 8027804 w 9126537"/>
              <a:gd name="connsiteY577" fmla="*/ 3179495 h 7419095"/>
              <a:gd name="connsiteX578" fmla="*/ 8052826 w 9126537"/>
              <a:gd name="connsiteY578" fmla="*/ 3184053 h 7419095"/>
              <a:gd name="connsiteX579" fmla="*/ 8182491 w 9126537"/>
              <a:gd name="connsiteY579" fmla="*/ 3218244 h 7419095"/>
              <a:gd name="connsiteX580" fmla="*/ 8278033 w 9126537"/>
              <a:gd name="connsiteY580" fmla="*/ 3231920 h 7419095"/>
              <a:gd name="connsiteX581" fmla="*/ 8400873 w 9126537"/>
              <a:gd name="connsiteY581" fmla="*/ 3252434 h 7419095"/>
              <a:gd name="connsiteX582" fmla="*/ 8421346 w 9126537"/>
              <a:gd name="connsiteY582" fmla="*/ 3254714 h 7419095"/>
              <a:gd name="connsiteX583" fmla="*/ 8480491 w 9126537"/>
              <a:gd name="connsiteY583" fmla="*/ 3261552 h 7419095"/>
              <a:gd name="connsiteX584" fmla="*/ 8614705 w 9126537"/>
              <a:gd name="connsiteY584" fmla="*/ 3282066 h 7419095"/>
              <a:gd name="connsiteX585" fmla="*/ 8705697 w 9126537"/>
              <a:gd name="connsiteY585" fmla="*/ 3304859 h 7419095"/>
              <a:gd name="connsiteX586" fmla="*/ 8728445 w 9126537"/>
              <a:gd name="connsiteY586" fmla="*/ 3313977 h 7419095"/>
              <a:gd name="connsiteX587" fmla="*/ 8876308 w 9126537"/>
              <a:gd name="connsiteY587" fmla="*/ 3350446 h 7419095"/>
              <a:gd name="connsiteX588" fmla="*/ 8946827 w 9126537"/>
              <a:gd name="connsiteY588" fmla="*/ 3343608 h 7419095"/>
              <a:gd name="connsiteX589" fmla="*/ 8953651 w 9126537"/>
              <a:gd name="connsiteY589" fmla="*/ 3352726 h 7419095"/>
              <a:gd name="connsiteX590" fmla="*/ 8958201 w 9126537"/>
              <a:gd name="connsiteY590" fmla="*/ 3380078 h 7419095"/>
              <a:gd name="connsiteX591" fmla="*/ 8899056 w 9126537"/>
              <a:gd name="connsiteY591" fmla="*/ 3380078 h 7419095"/>
              <a:gd name="connsiteX592" fmla="*/ 8901331 w 9126537"/>
              <a:gd name="connsiteY592" fmla="*/ 3391475 h 7419095"/>
              <a:gd name="connsiteX593" fmla="*/ 8942277 w 9126537"/>
              <a:gd name="connsiteY593" fmla="*/ 3418827 h 7419095"/>
              <a:gd name="connsiteX594" fmla="*/ 8974125 w 9126537"/>
              <a:gd name="connsiteY594" fmla="*/ 3455297 h 7419095"/>
              <a:gd name="connsiteX595" fmla="*/ 9015071 w 9126537"/>
              <a:gd name="connsiteY595" fmla="*/ 3475811 h 7419095"/>
              <a:gd name="connsiteX596" fmla="*/ 9119713 w 9126537"/>
              <a:gd name="connsiteY596" fmla="*/ 3498604 h 7419095"/>
              <a:gd name="connsiteX597" fmla="*/ 9119713 w 9126537"/>
              <a:gd name="connsiteY597" fmla="*/ 3521398 h 7419095"/>
              <a:gd name="connsiteX598" fmla="*/ 9106064 w 9126537"/>
              <a:gd name="connsiteY598" fmla="*/ 3532795 h 7419095"/>
              <a:gd name="connsiteX599" fmla="*/ 9099239 w 9126537"/>
              <a:gd name="connsiteY599" fmla="*/ 3516839 h 7419095"/>
              <a:gd name="connsiteX600" fmla="*/ 9094690 w 9126537"/>
              <a:gd name="connsiteY600" fmla="*/ 3510001 h 7419095"/>
              <a:gd name="connsiteX601" fmla="*/ 8896781 w 9126537"/>
              <a:gd name="connsiteY601" fmla="*/ 3464414 h 7419095"/>
              <a:gd name="connsiteX602" fmla="*/ 8892232 w 9126537"/>
              <a:gd name="connsiteY602" fmla="*/ 3480370 h 7419095"/>
              <a:gd name="connsiteX603" fmla="*/ 8883132 w 9126537"/>
              <a:gd name="connsiteY603" fmla="*/ 3482649 h 7419095"/>
              <a:gd name="connsiteX604" fmla="*/ 8874033 w 9126537"/>
              <a:gd name="connsiteY604" fmla="*/ 3473532 h 7419095"/>
              <a:gd name="connsiteX605" fmla="*/ 8864934 w 9126537"/>
              <a:gd name="connsiteY605" fmla="*/ 3450738 h 7419095"/>
              <a:gd name="connsiteX606" fmla="*/ 8780766 w 9126537"/>
              <a:gd name="connsiteY606" fmla="*/ 3441621 h 7419095"/>
              <a:gd name="connsiteX607" fmla="*/ 8755743 w 9126537"/>
              <a:gd name="connsiteY607" fmla="*/ 3441621 h 7419095"/>
              <a:gd name="connsiteX608" fmla="*/ 8648827 w 9126537"/>
              <a:gd name="connsiteY608" fmla="*/ 3414268 h 7419095"/>
              <a:gd name="connsiteX609" fmla="*/ 8607880 w 9126537"/>
              <a:gd name="connsiteY609" fmla="*/ 3409710 h 7419095"/>
              <a:gd name="connsiteX610" fmla="*/ 8594231 w 9126537"/>
              <a:gd name="connsiteY610" fmla="*/ 3411989 h 7419095"/>
              <a:gd name="connsiteX611" fmla="*/ 8541911 w 9126537"/>
              <a:gd name="connsiteY611" fmla="*/ 3425665 h 7419095"/>
              <a:gd name="connsiteX612" fmla="*/ 8478216 w 9126537"/>
              <a:gd name="connsiteY612" fmla="*/ 3423386 h 7419095"/>
              <a:gd name="connsiteX613" fmla="*/ 8432720 w 9126537"/>
              <a:gd name="connsiteY613" fmla="*/ 3421106 h 7419095"/>
              <a:gd name="connsiteX614" fmla="*/ 8382674 w 9126537"/>
              <a:gd name="connsiteY614" fmla="*/ 3416548 h 7419095"/>
              <a:gd name="connsiteX615" fmla="*/ 8353102 w 9126537"/>
              <a:gd name="connsiteY615" fmla="*/ 3414268 h 7419095"/>
              <a:gd name="connsiteX616" fmla="*/ 8275758 w 9126537"/>
              <a:gd name="connsiteY616" fmla="*/ 3400592 h 7419095"/>
              <a:gd name="connsiteX617" fmla="*/ 8243910 w 9126537"/>
              <a:gd name="connsiteY617" fmla="*/ 3389195 h 7419095"/>
              <a:gd name="connsiteX618" fmla="*/ 8164292 w 9126537"/>
              <a:gd name="connsiteY618" fmla="*/ 3361843 h 7419095"/>
              <a:gd name="connsiteX619" fmla="*/ 8018704 w 9126537"/>
              <a:gd name="connsiteY619" fmla="*/ 3343608 h 7419095"/>
              <a:gd name="connsiteX620" fmla="*/ 7986857 w 9126537"/>
              <a:gd name="connsiteY620" fmla="*/ 3352726 h 7419095"/>
              <a:gd name="connsiteX621" fmla="*/ 7966384 w 9126537"/>
              <a:gd name="connsiteY621" fmla="*/ 3359564 h 7419095"/>
              <a:gd name="connsiteX622" fmla="*/ 7932262 w 9126537"/>
              <a:gd name="connsiteY622" fmla="*/ 3352726 h 7419095"/>
              <a:gd name="connsiteX623" fmla="*/ 7823071 w 9126537"/>
              <a:gd name="connsiteY623" fmla="*/ 3361843 h 7419095"/>
              <a:gd name="connsiteX624" fmla="*/ 7788948 w 9126537"/>
              <a:gd name="connsiteY624" fmla="*/ 3386916 h 7419095"/>
              <a:gd name="connsiteX625" fmla="*/ 7852644 w 9126537"/>
              <a:gd name="connsiteY625" fmla="*/ 3396033 h 7419095"/>
              <a:gd name="connsiteX626" fmla="*/ 7873116 w 9126537"/>
              <a:gd name="connsiteY626" fmla="*/ 3393754 h 7419095"/>
              <a:gd name="connsiteX627" fmla="*/ 7918613 w 9126537"/>
              <a:gd name="connsiteY627" fmla="*/ 3373240 h 7419095"/>
              <a:gd name="connsiteX628" fmla="*/ 7955010 w 9126537"/>
              <a:gd name="connsiteY628" fmla="*/ 3375519 h 7419095"/>
              <a:gd name="connsiteX629" fmla="*/ 7925438 w 9126537"/>
              <a:gd name="connsiteY629" fmla="*/ 3450738 h 7419095"/>
              <a:gd name="connsiteX630" fmla="*/ 8050552 w 9126537"/>
              <a:gd name="connsiteY630" fmla="*/ 3473532 h 7419095"/>
              <a:gd name="connsiteX631" fmla="*/ 8121071 w 9126537"/>
              <a:gd name="connsiteY631" fmla="*/ 3484928 h 7419095"/>
              <a:gd name="connsiteX632" fmla="*/ 8239361 w 9126537"/>
              <a:gd name="connsiteY632" fmla="*/ 3510001 h 7419095"/>
              <a:gd name="connsiteX633" fmla="*/ 8350827 w 9126537"/>
              <a:gd name="connsiteY633" fmla="*/ 3537353 h 7419095"/>
              <a:gd name="connsiteX634" fmla="*/ 8380400 w 9126537"/>
              <a:gd name="connsiteY634" fmla="*/ 3544192 h 7419095"/>
              <a:gd name="connsiteX635" fmla="*/ 8530537 w 9126537"/>
              <a:gd name="connsiteY635" fmla="*/ 3580661 h 7419095"/>
              <a:gd name="connsiteX636" fmla="*/ 8621529 w 9126537"/>
              <a:gd name="connsiteY636" fmla="*/ 3603455 h 7419095"/>
              <a:gd name="connsiteX637" fmla="*/ 8648827 w 9126537"/>
              <a:gd name="connsiteY637" fmla="*/ 3619410 h 7419095"/>
              <a:gd name="connsiteX638" fmla="*/ 8655651 w 9126537"/>
              <a:gd name="connsiteY638" fmla="*/ 3649042 h 7419095"/>
              <a:gd name="connsiteX639" fmla="*/ 8707972 w 9126537"/>
              <a:gd name="connsiteY639" fmla="*/ 3649042 h 7419095"/>
              <a:gd name="connsiteX640" fmla="*/ 8744369 w 9126537"/>
              <a:gd name="connsiteY640" fmla="*/ 3660439 h 7419095"/>
              <a:gd name="connsiteX641" fmla="*/ 8789865 w 9126537"/>
              <a:gd name="connsiteY641" fmla="*/ 3660439 h 7419095"/>
              <a:gd name="connsiteX642" fmla="*/ 8830812 w 9126537"/>
              <a:gd name="connsiteY642" fmla="*/ 3664997 h 7419095"/>
              <a:gd name="connsiteX643" fmla="*/ 8894506 w 9126537"/>
              <a:gd name="connsiteY643" fmla="*/ 3676394 h 7419095"/>
              <a:gd name="connsiteX644" fmla="*/ 8910430 w 9126537"/>
              <a:gd name="connsiteY644" fmla="*/ 3708305 h 7419095"/>
              <a:gd name="connsiteX645" fmla="*/ 8903606 w 9126537"/>
              <a:gd name="connsiteY645" fmla="*/ 3751613 h 7419095"/>
              <a:gd name="connsiteX646" fmla="*/ 8878583 w 9126537"/>
              <a:gd name="connsiteY646" fmla="*/ 3733378 h 7419095"/>
              <a:gd name="connsiteX647" fmla="*/ 8855835 w 9126537"/>
              <a:gd name="connsiteY647" fmla="*/ 3744775 h 7419095"/>
              <a:gd name="connsiteX648" fmla="*/ 8855835 w 9126537"/>
              <a:gd name="connsiteY648" fmla="*/ 3776686 h 7419095"/>
              <a:gd name="connsiteX649" fmla="*/ 8810338 w 9126537"/>
              <a:gd name="connsiteY649" fmla="*/ 3776686 h 7419095"/>
              <a:gd name="connsiteX650" fmla="*/ 8769392 w 9126537"/>
              <a:gd name="connsiteY650" fmla="*/ 3776686 h 7419095"/>
              <a:gd name="connsiteX651" fmla="*/ 8744369 w 9126537"/>
              <a:gd name="connsiteY651" fmla="*/ 3772127 h 7419095"/>
              <a:gd name="connsiteX652" fmla="*/ 8660201 w 9126537"/>
              <a:gd name="connsiteY652" fmla="*/ 3769848 h 7419095"/>
              <a:gd name="connsiteX653" fmla="*/ 8598781 w 9126537"/>
              <a:gd name="connsiteY653" fmla="*/ 3751613 h 7419095"/>
              <a:gd name="connsiteX654" fmla="*/ 8498689 w 9126537"/>
              <a:gd name="connsiteY654" fmla="*/ 3737937 h 7419095"/>
              <a:gd name="connsiteX655" fmla="*/ 8398598 w 9126537"/>
              <a:gd name="connsiteY655" fmla="*/ 3731099 h 7419095"/>
              <a:gd name="connsiteX656" fmla="*/ 8384949 w 9126537"/>
              <a:gd name="connsiteY656" fmla="*/ 3726540 h 7419095"/>
              <a:gd name="connsiteX657" fmla="*/ 8321254 w 9126537"/>
              <a:gd name="connsiteY657" fmla="*/ 3703746 h 7419095"/>
              <a:gd name="connsiteX658" fmla="*/ 8177941 w 9126537"/>
              <a:gd name="connsiteY658" fmla="*/ 3671835 h 7419095"/>
              <a:gd name="connsiteX659" fmla="*/ 8018704 w 9126537"/>
              <a:gd name="connsiteY659" fmla="*/ 3651321 h 7419095"/>
              <a:gd name="connsiteX660" fmla="*/ 7907239 w 9126537"/>
              <a:gd name="connsiteY660" fmla="*/ 3637645 h 7419095"/>
              <a:gd name="connsiteX661" fmla="*/ 7873116 w 9126537"/>
              <a:gd name="connsiteY661" fmla="*/ 3637645 h 7419095"/>
              <a:gd name="connsiteX662" fmla="*/ 7886766 w 9126537"/>
              <a:gd name="connsiteY662" fmla="*/ 3653601 h 7419095"/>
              <a:gd name="connsiteX663" fmla="*/ 8109697 w 9126537"/>
              <a:gd name="connsiteY663" fmla="*/ 3696908 h 7419095"/>
              <a:gd name="connsiteX664" fmla="*/ 8207514 w 9126537"/>
              <a:gd name="connsiteY664" fmla="*/ 3717423 h 7419095"/>
              <a:gd name="connsiteX665" fmla="*/ 8303056 w 9126537"/>
              <a:gd name="connsiteY665" fmla="*/ 3735657 h 7419095"/>
              <a:gd name="connsiteX666" fmla="*/ 8348552 w 9126537"/>
              <a:gd name="connsiteY666" fmla="*/ 3760730 h 7419095"/>
              <a:gd name="connsiteX667" fmla="*/ 8355376 w 9126537"/>
              <a:gd name="connsiteY667" fmla="*/ 3797200 h 7419095"/>
              <a:gd name="connsiteX668" fmla="*/ 8428170 w 9126537"/>
              <a:gd name="connsiteY668" fmla="*/ 3817714 h 7419095"/>
              <a:gd name="connsiteX669" fmla="*/ 8512338 w 9126537"/>
              <a:gd name="connsiteY669" fmla="*/ 3835949 h 7419095"/>
              <a:gd name="connsiteX670" fmla="*/ 8591957 w 9126537"/>
              <a:gd name="connsiteY670" fmla="*/ 3851904 h 7419095"/>
              <a:gd name="connsiteX671" fmla="*/ 8714796 w 9126537"/>
              <a:gd name="connsiteY671" fmla="*/ 3874698 h 7419095"/>
              <a:gd name="connsiteX672" fmla="*/ 8767117 w 9126537"/>
              <a:gd name="connsiteY672" fmla="*/ 3849625 h 7419095"/>
              <a:gd name="connsiteX673" fmla="*/ 8776216 w 9126537"/>
              <a:gd name="connsiteY673" fmla="*/ 3888374 h 7419095"/>
              <a:gd name="connsiteX674" fmla="*/ 8894506 w 9126537"/>
              <a:gd name="connsiteY674" fmla="*/ 3922564 h 7419095"/>
              <a:gd name="connsiteX675" fmla="*/ 8878583 w 9126537"/>
              <a:gd name="connsiteY675" fmla="*/ 3956755 h 7419095"/>
              <a:gd name="connsiteX676" fmla="*/ 8878583 w 9126537"/>
              <a:gd name="connsiteY676" fmla="*/ 3995504 h 7419095"/>
              <a:gd name="connsiteX677" fmla="*/ 8889957 w 9126537"/>
              <a:gd name="connsiteY677" fmla="*/ 4004621 h 7419095"/>
              <a:gd name="connsiteX678" fmla="*/ 8992323 w 9126537"/>
              <a:gd name="connsiteY678" fmla="*/ 4022856 h 7419095"/>
              <a:gd name="connsiteX679" fmla="*/ 9008247 w 9126537"/>
              <a:gd name="connsiteY679" fmla="*/ 4011459 h 7419095"/>
              <a:gd name="connsiteX680" fmla="*/ 9005972 w 9126537"/>
              <a:gd name="connsiteY680" fmla="*/ 3993225 h 7419095"/>
              <a:gd name="connsiteX681" fmla="*/ 8969575 w 9126537"/>
              <a:gd name="connsiteY681" fmla="*/ 3961314 h 7419095"/>
              <a:gd name="connsiteX682" fmla="*/ 8910430 w 9126537"/>
              <a:gd name="connsiteY682" fmla="*/ 3956755 h 7419095"/>
              <a:gd name="connsiteX683" fmla="*/ 8944552 w 9126537"/>
              <a:gd name="connsiteY683" fmla="*/ 3913447 h 7419095"/>
              <a:gd name="connsiteX684" fmla="*/ 8960476 w 9126537"/>
              <a:gd name="connsiteY684" fmla="*/ 3940799 h 7419095"/>
              <a:gd name="connsiteX685" fmla="*/ 9017346 w 9126537"/>
              <a:gd name="connsiteY685" fmla="*/ 3997783 h 7419095"/>
              <a:gd name="connsiteX686" fmla="*/ 9051468 w 9126537"/>
              <a:gd name="connsiteY686" fmla="*/ 4034253 h 7419095"/>
              <a:gd name="connsiteX687" fmla="*/ 9126537 w 9126537"/>
              <a:gd name="connsiteY687" fmla="*/ 4050208 h 7419095"/>
              <a:gd name="connsiteX688" fmla="*/ 9085590 w 9126537"/>
              <a:gd name="connsiteY688" fmla="*/ 4052488 h 7419095"/>
              <a:gd name="connsiteX689" fmla="*/ 8944552 w 9126537"/>
              <a:gd name="connsiteY689" fmla="*/ 4031974 h 7419095"/>
              <a:gd name="connsiteX690" fmla="*/ 8871758 w 9126537"/>
              <a:gd name="connsiteY690" fmla="*/ 4061605 h 7419095"/>
              <a:gd name="connsiteX691" fmla="*/ 8855835 w 9126537"/>
              <a:gd name="connsiteY691" fmla="*/ 4093516 h 7419095"/>
              <a:gd name="connsiteX692" fmla="*/ 8810338 w 9126537"/>
              <a:gd name="connsiteY692" fmla="*/ 4073002 h 7419095"/>
              <a:gd name="connsiteX693" fmla="*/ 8767480 w 9126537"/>
              <a:gd name="connsiteY693" fmla="*/ 4053677 h 7419095"/>
              <a:gd name="connsiteX694" fmla="*/ 8767707 w 9126537"/>
              <a:gd name="connsiteY694" fmla="*/ 4052995 h 7419095"/>
              <a:gd name="connsiteX695" fmla="*/ 8803514 w 9126537"/>
              <a:gd name="connsiteY695" fmla="*/ 4059326 h 7419095"/>
              <a:gd name="connsiteX696" fmla="*/ 8817163 w 9126537"/>
              <a:gd name="connsiteY696" fmla="*/ 4061605 h 7419095"/>
              <a:gd name="connsiteX697" fmla="*/ 8826262 w 9126537"/>
              <a:gd name="connsiteY697" fmla="*/ 4052488 h 7419095"/>
              <a:gd name="connsiteX698" fmla="*/ 8821712 w 9126537"/>
              <a:gd name="connsiteY698" fmla="*/ 4043370 h 7419095"/>
              <a:gd name="connsiteX699" fmla="*/ 8771667 w 9126537"/>
              <a:gd name="connsiteY699" fmla="*/ 4041091 h 7419095"/>
              <a:gd name="connsiteX700" fmla="*/ 8767707 w 9126537"/>
              <a:gd name="connsiteY700" fmla="*/ 4052995 h 7419095"/>
              <a:gd name="connsiteX701" fmla="*/ 8764842 w 9126537"/>
              <a:gd name="connsiteY701" fmla="*/ 4052488 h 7419095"/>
              <a:gd name="connsiteX702" fmla="*/ 8767480 w 9126537"/>
              <a:gd name="connsiteY702" fmla="*/ 4053677 h 7419095"/>
              <a:gd name="connsiteX703" fmla="*/ 8767117 w 9126537"/>
              <a:gd name="connsiteY703" fmla="*/ 4054767 h 7419095"/>
              <a:gd name="connsiteX704" fmla="*/ 8671575 w 9126537"/>
              <a:gd name="connsiteY704" fmla="*/ 4057046 h 7419095"/>
              <a:gd name="connsiteX705" fmla="*/ 8616980 w 9126537"/>
              <a:gd name="connsiteY705" fmla="*/ 4045650 h 7419095"/>
              <a:gd name="connsiteX706" fmla="*/ 8532812 w 9126537"/>
              <a:gd name="connsiteY706" fmla="*/ 4034253 h 7419095"/>
              <a:gd name="connsiteX707" fmla="*/ 8403147 w 9126537"/>
              <a:gd name="connsiteY707" fmla="*/ 4016018 h 7419095"/>
              <a:gd name="connsiteX708" fmla="*/ 8341728 w 9126537"/>
              <a:gd name="connsiteY708" fmla="*/ 4029694 h 7419095"/>
              <a:gd name="connsiteX709" fmla="*/ 8325804 w 9126537"/>
              <a:gd name="connsiteY709" fmla="*/ 4034253 h 7419095"/>
              <a:gd name="connsiteX710" fmla="*/ 8241636 w 9126537"/>
              <a:gd name="connsiteY710" fmla="*/ 4027415 h 7419095"/>
              <a:gd name="connsiteX711" fmla="*/ 8196140 w 9126537"/>
              <a:gd name="connsiteY711" fmla="*/ 4025135 h 7419095"/>
              <a:gd name="connsiteX712" fmla="*/ 8146094 w 9126537"/>
              <a:gd name="connsiteY712" fmla="*/ 4025135 h 7419095"/>
              <a:gd name="connsiteX713" fmla="*/ 7980032 w 9126537"/>
              <a:gd name="connsiteY713" fmla="*/ 4016018 h 7419095"/>
              <a:gd name="connsiteX714" fmla="*/ 7834445 w 9126537"/>
              <a:gd name="connsiteY714" fmla="*/ 4006901 h 7419095"/>
              <a:gd name="connsiteX715" fmla="*/ 7811697 w 9126537"/>
              <a:gd name="connsiteY715" fmla="*/ 4016018 h 7419095"/>
              <a:gd name="connsiteX716" fmla="*/ 7802598 w 9126537"/>
              <a:gd name="connsiteY716" fmla="*/ 4031974 h 7419095"/>
              <a:gd name="connsiteX717" fmla="*/ 7811697 w 9126537"/>
              <a:gd name="connsiteY717" fmla="*/ 4038812 h 7419095"/>
              <a:gd name="connsiteX718" fmla="*/ 7877666 w 9126537"/>
              <a:gd name="connsiteY718" fmla="*/ 4038812 h 7419095"/>
              <a:gd name="connsiteX719" fmla="*/ 7932262 w 9126537"/>
              <a:gd name="connsiteY719" fmla="*/ 4031974 h 7419095"/>
              <a:gd name="connsiteX720" fmla="*/ 7961834 w 9126537"/>
              <a:gd name="connsiteY720" fmla="*/ 4038812 h 7419095"/>
              <a:gd name="connsiteX721" fmla="*/ 8007330 w 9126537"/>
              <a:gd name="connsiteY721" fmla="*/ 4052488 h 7419095"/>
              <a:gd name="connsiteX722" fmla="*/ 8182491 w 9126537"/>
              <a:gd name="connsiteY722" fmla="*/ 4075281 h 7419095"/>
              <a:gd name="connsiteX723" fmla="*/ 8234812 w 9126537"/>
              <a:gd name="connsiteY723" fmla="*/ 4091237 h 7419095"/>
              <a:gd name="connsiteX724" fmla="*/ 8157468 w 9126537"/>
              <a:gd name="connsiteY724" fmla="*/ 4102634 h 7419095"/>
              <a:gd name="connsiteX725" fmla="*/ 8134720 w 9126537"/>
              <a:gd name="connsiteY725" fmla="*/ 4100354 h 7419095"/>
              <a:gd name="connsiteX726" fmla="*/ 8046002 w 9126537"/>
              <a:gd name="connsiteY726" fmla="*/ 4091237 h 7419095"/>
              <a:gd name="connsiteX727" fmla="*/ 7991407 w 9126537"/>
              <a:gd name="connsiteY727" fmla="*/ 4086678 h 7419095"/>
              <a:gd name="connsiteX728" fmla="*/ 7895865 w 9126537"/>
              <a:gd name="connsiteY728" fmla="*/ 4077561 h 7419095"/>
              <a:gd name="connsiteX729" fmla="*/ 7804872 w 9126537"/>
              <a:gd name="connsiteY729" fmla="*/ 4075281 h 7419095"/>
              <a:gd name="connsiteX730" fmla="*/ 7820796 w 9126537"/>
              <a:gd name="connsiteY730" fmla="*/ 4111751 h 7419095"/>
              <a:gd name="connsiteX731" fmla="*/ 7745728 w 9126537"/>
              <a:gd name="connsiteY731" fmla="*/ 4111751 h 7419095"/>
              <a:gd name="connsiteX732" fmla="*/ 7939086 w 9126537"/>
              <a:gd name="connsiteY732" fmla="*/ 4171014 h 7419095"/>
              <a:gd name="connsiteX733" fmla="*/ 7904964 w 9126537"/>
              <a:gd name="connsiteY733" fmla="*/ 4177852 h 7419095"/>
              <a:gd name="connsiteX734" fmla="*/ 7859468 w 9126537"/>
              <a:gd name="connsiteY734" fmla="*/ 4168735 h 7419095"/>
              <a:gd name="connsiteX735" fmla="*/ 7807147 w 9126537"/>
              <a:gd name="connsiteY735" fmla="*/ 4168735 h 7419095"/>
              <a:gd name="connsiteX736" fmla="*/ 7841270 w 9126537"/>
              <a:gd name="connsiteY736" fmla="*/ 4216601 h 7419095"/>
              <a:gd name="connsiteX737" fmla="*/ 7891315 w 9126537"/>
              <a:gd name="connsiteY737" fmla="*/ 4250792 h 7419095"/>
              <a:gd name="connsiteX738" fmla="*/ 7845819 w 9126537"/>
              <a:gd name="connsiteY738" fmla="*/ 4264468 h 7419095"/>
              <a:gd name="connsiteX739" fmla="*/ 7845819 w 9126537"/>
              <a:gd name="connsiteY739" fmla="*/ 4364760 h 7419095"/>
              <a:gd name="connsiteX740" fmla="*/ 7811697 w 9126537"/>
              <a:gd name="connsiteY740" fmla="*/ 4428581 h 7419095"/>
              <a:gd name="connsiteX741" fmla="*/ 7859468 w 9126537"/>
              <a:gd name="connsiteY741" fmla="*/ 4449096 h 7419095"/>
              <a:gd name="connsiteX742" fmla="*/ 7959560 w 9126537"/>
              <a:gd name="connsiteY742" fmla="*/ 4524314 h 7419095"/>
              <a:gd name="connsiteX743" fmla="*/ 8005056 w 9126537"/>
              <a:gd name="connsiteY743" fmla="*/ 4590416 h 7419095"/>
              <a:gd name="connsiteX744" fmla="*/ 8023254 w 9126537"/>
              <a:gd name="connsiteY744" fmla="*/ 4604092 h 7419095"/>
              <a:gd name="connsiteX745" fmla="*/ 8061926 w 9126537"/>
              <a:gd name="connsiteY745" fmla="*/ 4658796 h 7419095"/>
              <a:gd name="connsiteX746" fmla="*/ 8000506 w 9126537"/>
              <a:gd name="connsiteY746" fmla="*/ 4649679 h 7419095"/>
              <a:gd name="connsiteX747" fmla="*/ 7936812 w 9126537"/>
              <a:gd name="connsiteY747" fmla="*/ 4622327 h 7419095"/>
              <a:gd name="connsiteX748" fmla="*/ 7889040 w 9126537"/>
              <a:gd name="connsiteY748" fmla="*/ 4615489 h 7419095"/>
              <a:gd name="connsiteX749" fmla="*/ 7891315 w 9126537"/>
              <a:gd name="connsiteY749" fmla="*/ 4672472 h 7419095"/>
              <a:gd name="connsiteX750" fmla="*/ 7911788 w 9126537"/>
              <a:gd name="connsiteY750" fmla="*/ 4683869 h 7419095"/>
              <a:gd name="connsiteX751" fmla="*/ 7932262 w 9126537"/>
              <a:gd name="connsiteY751" fmla="*/ 4711221 h 7419095"/>
              <a:gd name="connsiteX752" fmla="*/ 7948186 w 9126537"/>
              <a:gd name="connsiteY752" fmla="*/ 4736294 h 7419095"/>
              <a:gd name="connsiteX753" fmla="*/ 7975483 w 9126537"/>
              <a:gd name="connsiteY753" fmla="*/ 4754529 h 7419095"/>
              <a:gd name="connsiteX754" fmla="*/ 8023254 w 9126537"/>
              <a:gd name="connsiteY754" fmla="*/ 4847983 h 7419095"/>
              <a:gd name="connsiteX755" fmla="*/ 8020980 w 9126537"/>
              <a:gd name="connsiteY755" fmla="*/ 4852541 h 7419095"/>
              <a:gd name="connsiteX756" fmla="*/ 7995956 w 9126537"/>
              <a:gd name="connsiteY756" fmla="*/ 4843424 h 7419095"/>
              <a:gd name="connsiteX757" fmla="*/ 7955010 w 9126537"/>
              <a:gd name="connsiteY757" fmla="*/ 4866218 h 7419095"/>
              <a:gd name="connsiteX758" fmla="*/ 7966384 w 9126537"/>
              <a:gd name="connsiteY758" fmla="*/ 4918643 h 7419095"/>
              <a:gd name="connsiteX759" fmla="*/ 7993682 w 9126537"/>
              <a:gd name="connsiteY759" fmla="*/ 4955112 h 7419095"/>
              <a:gd name="connsiteX760" fmla="*/ 8027804 w 9126537"/>
              <a:gd name="connsiteY760" fmla="*/ 5012096 h 7419095"/>
              <a:gd name="connsiteX761" fmla="*/ 8009606 w 9126537"/>
              <a:gd name="connsiteY761" fmla="*/ 5094153 h 7419095"/>
              <a:gd name="connsiteX762" fmla="*/ 7980032 w 9126537"/>
              <a:gd name="connsiteY762" fmla="*/ 5087315 h 7419095"/>
              <a:gd name="connsiteX763" fmla="*/ 7943636 w 9126537"/>
              <a:gd name="connsiteY763" fmla="*/ 5171651 h 7419095"/>
              <a:gd name="connsiteX764" fmla="*/ 8025529 w 9126537"/>
              <a:gd name="connsiteY764" fmla="*/ 5224076 h 7419095"/>
              <a:gd name="connsiteX765" fmla="*/ 8032354 w 9126537"/>
              <a:gd name="connsiteY765" fmla="*/ 5228635 h 7419095"/>
              <a:gd name="connsiteX766" fmla="*/ 8039178 w 9126537"/>
              <a:gd name="connsiteY766" fmla="*/ 5253708 h 7419095"/>
              <a:gd name="connsiteX767" fmla="*/ 8011880 w 9126537"/>
              <a:gd name="connsiteY767" fmla="*/ 5294736 h 7419095"/>
              <a:gd name="connsiteX768" fmla="*/ 7986857 w 9126537"/>
              <a:gd name="connsiteY768" fmla="*/ 5331206 h 7419095"/>
              <a:gd name="connsiteX769" fmla="*/ 7959560 w 9126537"/>
              <a:gd name="connsiteY769" fmla="*/ 5383631 h 7419095"/>
              <a:gd name="connsiteX770" fmla="*/ 7929987 w 9126537"/>
              <a:gd name="connsiteY770" fmla="*/ 5372234 h 7419095"/>
              <a:gd name="connsiteX771" fmla="*/ 7893590 w 9126537"/>
              <a:gd name="connsiteY771" fmla="*/ 5422380 h 7419095"/>
              <a:gd name="connsiteX772" fmla="*/ 7943636 w 9126537"/>
              <a:gd name="connsiteY772" fmla="*/ 5477085 h 7419095"/>
              <a:gd name="connsiteX773" fmla="*/ 7982308 w 9126537"/>
              <a:gd name="connsiteY773" fmla="*/ 5499878 h 7419095"/>
              <a:gd name="connsiteX774" fmla="*/ 8068750 w 9126537"/>
              <a:gd name="connsiteY774" fmla="*/ 5520393 h 7419095"/>
              <a:gd name="connsiteX775" fmla="*/ 8084674 w 9126537"/>
              <a:gd name="connsiteY775" fmla="*/ 5536348 h 7419095"/>
              <a:gd name="connsiteX776" fmla="*/ 8075574 w 9126537"/>
              <a:gd name="connsiteY776" fmla="*/ 5543186 h 7419095"/>
              <a:gd name="connsiteX777" fmla="*/ 8025529 w 9126537"/>
              <a:gd name="connsiteY777" fmla="*/ 5561421 h 7419095"/>
              <a:gd name="connsiteX778" fmla="*/ 8020980 w 9126537"/>
              <a:gd name="connsiteY778" fmla="*/ 5584214 h 7419095"/>
              <a:gd name="connsiteX779" fmla="*/ 8055102 w 9126537"/>
              <a:gd name="connsiteY779" fmla="*/ 5591053 h 7419095"/>
              <a:gd name="connsiteX780" fmla="*/ 8057376 w 9126537"/>
              <a:gd name="connsiteY780" fmla="*/ 5595611 h 7419095"/>
              <a:gd name="connsiteX781" fmla="*/ 8023254 w 9126537"/>
              <a:gd name="connsiteY781" fmla="*/ 5654874 h 7419095"/>
              <a:gd name="connsiteX782" fmla="*/ 8016430 w 9126537"/>
              <a:gd name="connsiteY782" fmla="*/ 5625243 h 7419095"/>
              <a:gd name="connsiteX783" fmla="*/ 8000506 w 9126537"/>
              <a:gd name="connsiteY783" fmla="*/ 5600170 h 7419095"/>
              <a:gd name="connsiteX784" fmla="*/ 7982308 w 9126537"/>
              <a:gd name="connsiteY784" fmla="*/ 5591053 h 7419095"/>
              <a:gd name="connsiteX785" fmla="*/ 7966384 w 9126537"/>
              <a:gd name="connsiteY785" fmla="*/ 5607008 h 7419095"/>
              <a:gd name="connsiteX786" fmla="*/ 7943636 w 9126537"/>
              <a:gd name="connsiteY786" fmla="*/ 5657154 h 7419095"/>
              <a:gd name="connsiteX787" fmla="*/ 7909514 w 9126537"/>
              <a:gd name="connsiteY787" fmla="*/ 5636640 h 7419095"/>
              <a:gd name="connsiteX788" fmla="*/ 7866292 w 9126537"/>
              <a:gd name="connsiteY788" fmla="*/ 5652595 h 7419095"/>
              <a:gd name="connsiteX789" fmla="*/ 7852644 w 9126537"/>
              <a:gd name="connsiteY789" fmla="*/ 5638919 h 7419095"/>
              <a:gd name="connsiteX790" fmla="*/ 7802598 w 9126537"/>
              <a:gd name="connsiteY790" fmla="*/ 5648036 h 7419095"/>
              <a:gd name="connsiteX791" fmla="*/ 7779850 w 9126537"/>
              <a:gd name="connsiteY791" fmla="*/ 5643478 h 7419095"/>
              <a:gd name="connsiteX792" fmla="*/ 7641086 w 9126537"/>
              <a:gd name="connsiteY792" fmla="*/ 5622963 h 7419095"/>
              <a:gd name="connsiteX793" fmla="*/ 7600140 w 9126537"/>
              <a:gd name="connsiteY793" fmla="*/ 5632081 h 7419095"/>
              <a:gd name="connsiteX794" fmla="*/ 7552368 w 9126537"/>
              <a:gd name="connsiteY794" fmla="*/ 5645757 h 7419095"/>
              <a:gd name="connsiteX795" fmla="*/ 7540994 w 9126537"/>
              <a:gd name="connsiteY795" fmla="*/ 5641198 h 7419095"/>
              <a:gd name="connsiteX796" fmla="*/ 7545544 w 9126537"/>
              <a:gd name="connsiteY796" fmla="*/ 5652595 h 7419095"/>
              <a:gd name="connsiteX797" fmla="*/ 7559193 w 9126537"/>
              <a:gd name="connsiteY797" fmla="*/ 5663992 h 7419095"/>
              <a:gd name="connsiteX798" fmla="*/ 7611514 w 9126537"/>
              <a:gd name="connsiteY798" fmla="*/ 5675389 h 7419095"/>
              <a:gd name="connsiteX799" fmla="*/ 7659284 w 9126537"/>
              <a:gd name="connsiteY799" fmla="*/ 5673109 h 7419095"/>
              <a:gd name="connsiteX800" fmla="*/ 7736628 w 9126537"/>
              <a:gd name="connsiteY800" fmla="*/ 5684506 h 7419095"/>
              <a:gd name="connsiteX801" fmla="*/ 7741178 w 9126537"/>
              <a:gd name="connsiteY801" fmla="*/ 5689065 h 7419095"/>
              <a:gd name="connsiteX802" fmla="*/ 7791224 w 9126537"/>
              <a:gd name="connsiteY802" fmla="*/ 5718696 h 7419095"/>
              <a:gd name="connsiteX803" fmla="*/ 7950460 w 9126537"/>
              <a:gd name="connsiteY803" fmla="*/ 5759725 h 7419095"/>
              <a:gd name="connsiteX804" fmla="*/ 7991407 w 9126537"/>
              <a:gd name="connsiteY804" fmla="*/ 5798474 h 7419095"/>
              <a:gd name="connsiteX805" fmla="*/ 7977758 w 9126537"/>
              <a:gd name="connsiteY805" fmla="*/ 5828105 h 7419095"/>
              <a:gd name="connsiteX806" fmla="*/ 7975483 w 9126537"/>
              <a:gd name="connsiteY806" fmla="*/ 5860016 h 7419095"/>
              <a:gd name="connsiteX807" fmla="*/ 7980032 w 9126537"/>
              <a:gd name="connsiteY807" fmla="*/ 5935235 h 7419095"/>
              <a:gd name="connsiteX808" fmla="*/ 8020980 w 9126537"/>
              <a:gd name="connsiteY808" fmla="*/ 5973984 h 7419095"/>
              <a:gd name="connsiteX809" fmla="*/ 8041452 w 9126537"/>
              <a:gd name="connsiteY809" fmla="*/ 6001336 h 7419095"/>
              <a:gd name="connsiteX810" fmla="*/ 7941361 w 9126537"/>
              <a:gd name="connsiteY810" fmla="*/ 5985381 h 7419095"/>
              <a:gd name="connsiteX811" fmla="*/ 7927712 w 9126537"/>
              <a:gd name="connsiteY811" fmla="*/ 5987660 h 7419095"/>
              <a:gd name="connsiteX812" fmla="*/ 7920888 w 9126537"/>
              <a:gd name="connsiteY812" fmla="*/ 5994498 h 7419095"/>
              <a:gd name="connsiteX813" fmla="*/ 7923162 w 9126537"/>
              <a:gd name="connsiteY813" fmla="*/ 6003616 h 7419095"/>
              <a:gd name="connsiteX814" fmla="*/ 7929987 w 9126537"/>
              <a:gd name="connsiteY814" fmla="*/ 6010454 h 7419095"/>
              <a:gd name="connsiteX815" fmla="*/ 8020980 w 9126537"/>
              <a:gd name="connsiteY815" fmla="*/ 6060600 h 7419095"/>
              <a:gd name="connsiteX816" fmla="*/ 8032354 w 9126537"/>
              <a:gd name="connsiteY816" fmla="*/ 6124422 h 7419095"/>
              <a:gd name="connsiteX817" fmla="*/ 7991407 w 9126537"/>
              <a:gd name="connsiteY817" fmla="*/ 6206478 h 7419095"/>
              <a:gd name="connsiteX818" fmla="*/ 7980032 w 9126537"/>
              <a:gd name="connsiteY818" fmla="*/ 6199640 h 7419095"/>
              <a:gd name="connsiteX819" fmla="*/ 7879941 w 9126537"/>
              <a:gd name="connsiteY819" fmla="*/ 6110745 h 7419095"/>
              <a:gd name="connsiteX820" fmla="*/ 7836720 w 9126537"/>
              <a:gd name="connsiteY820" fmla="*/ 6097069 h 7419095"/>
              <a:gd name="connsiteX821" fmla="*/ 7916338 w 9126537"/>
              <a:gd name="connsiteY821" fmla="*/ 6097069 h 7419095"/>
              <a:gd name="connsiteX822" fmla="*/ 7982308 w 9126537"/>
              <a:gd name="connsiteY822" fmla="*/ 6142656 h 7419095"/>
              <a:gd name="connsiteX823" fmla="*/ 7986857 w 9126537"/>
              <a:gd name="connsiteY823" fmla="*/ 6108466 h 7419095"/>
              <a:gd name="connsiteX824" fmla="*/ 7918613 w 9126537"/>
              <a:gd name="connsiteY824" fmla="*/ 6067438 h 7419095"/>
              <a:gd name="connsiteX825" fmla="*/ 7807147 w 9126537"/>
              <a:gd name="connsiteY825" fmla="*/ 6033247 h 7419095"/>
              <a:gd name="connsiteX826" fmla="*/ 7725254 w 9126537"/>
              <a:gd name="connsiteY826" fmla="*/ 6012733 h 7419095"/>
              <a:gd name="connsiteX827" fmla="*/ 7631987 w 9126537"/>
              <a:gd name="connsiteY827" fmla="*/ 5996778 h 7419095"/>
              <a:gd name="connsiteX828" fmla="*/ 7613788 w 9126537"/>
              <a:gd name="connsiteY828" fmla="*/ 6003616 h 7419095"/>
              <a:gd name="connsiteX829" fmla="*/ 7613788 w 9126537"/>
              <a:gd name="connsiteY829" fmla="*/ 6021851 h 7419095"/>
              <a:gd name="connsiteX830" fmla="*/ 7628743 w 9126537"/>
              <a:gd name="connsiteY830" fmla="*/ 6045398 h 7419095"/>
              <a:gd name="connsiteX831" fmla="*/ 7613219 w 9126537"/>
              <a:gd name="connsiteY831" fmla="*/ 6057466 h 7419095"/>
              <a:gd name="connsiteX832" fmla="*/ 7593315 w 9126537"/>
              <a:gd name="connsiteY832" fmla="*/ 6058320 h 7419095"/>
              <a:gd name="connsiteX833" fmla="*/ 7534170 w 9126537"/>
              <a:gd name="connsiteY833" fmla="*/ 6049203 h 7419095"/>
              <a:gd name="connsiteX834" fmla="*/ 7500048 w 9126537"/>
              <a:gd name="connsiteY834" fmla="*/ 6056041 h 7419095"/>
              <a:gd name="connsiteX835" fmla="*/ 7509147 w 9126537"/>
              <a:gd name="connsiteY835" fmla="*/ 6078834 h 7419095"/>
              <a:gd name="connsiteX836" fmla="*/ 7506872 w 9126537"/>
              <a:gd name="connsiteY836" fmla="*/ 6097069 h 7419095"/>
              <a:gd name="connsiteX837" fmla="*/ 7540994 w 9126537"/>
              <a:gd name="connsiteY837" fmla="*/ 6108466 h 7419095"/>
              <a:gd name="connsiteX838" fmla="*/ 7525071 w 9126537"/>
              <a:gd name="connsiteY838" fmla="*/ 6126986 h 7419095"/>
              <a:gd name="connsiteX839" fmla="*/ 7516179 w 9126537"/>
              <a:gd name="connsiteY839" fmla="*/ 6146755 h 7419095"/>
              <a:gd name="connsiteX840" fmla="*/ 7497773 w 9126537"/>
              <a:gd name="connsiteY840" fmla="*/ 6142656 h 7419095"/>
              <a:gd name="connsiteX841" fmla="*/ 7477300 w 9126537"/>
              <a:gd name="connsiteY841" fmla="*/ 6144936 h 7419095"/>
              <a:gd name="connsiteX842" fmla="*/ 7431804 w 9126537"/>
              <a:gd name="connsiteY842" fmla="*/ 6160891 h 7419095"/>
              <a:gd name="connsiteX843" fmla="*/ 7445452 w 9126537"/>
              <a:gd name="connsiteY843" fmla="*/ 6179126 h 7419095"/>
              <a:gd name="connsiteX844" fmla="*/ 7559193 w 9126537"/>
              <a:gd name="connsiteY844" fmla="*/ 6199640 h 7419095"/>
              <a:gd name="connsiteX845" fmla="*/ 7579950 w 9126537"/>
              <a:gd name="connsiteY845" fmla="*/ 6205624 h 7419095"/>
              <a:gd name="connsiteX846" fmla="*/ 7592862 w 9126537"/>
              <a:gd name="connsiteY846" fmla="*/ 6217620 h 7419095"/>
              <a:gd name="connsiteX847" fmla="*/ 7581088 w 9126537"/>
              <a:gd name="connsiteY847" fmla="*/ 6217020 h 7419095"/>
              <a:gd name="connsiteX848" fmla="*/ 7566018 w 9126537"/>
              <a:gd name="connsiteY848" fmla="*/ 6224713 h 7419095"/>
              <a:gd name="connsiteX849" fmla="*/ 7529620 w 9126537"/>
              <a:gd name="connsiteY849" fmla="*/ 6252065 h 7419095"/>
              <a:gd name="connsiteX850" fmla="*/ 7515972 w 9126537"/>
              <a:gd name="connsiteY850" fmla="*/ 6254345 h 7419095"/>
              <a:gd name="connsiteX851" fmla="*/ 7493224 w 9126537"/>
              <a:gd name="connsiteY851" fmla="*/ 6258904 h 7419095"/>
              <a:gd name="connsiteX852" fmla="*/ 7509147 w 9126537"/>
              <a:gd name="connsiteY852" fmla="*/ 6281697 h 7419095"/>
              <a:gd name="connsiteX853" fmla="*/ 7604689 w 9126537"/>
              <a:gd name="connsiteY853" fmla="*/ 6309049 h 7419095"/>
              <a:gd name="connsiteX854" fmla="*/ 7629712 w 9126537"/>
              <a:gd name="connsiteY854" fmla="*/ 6315887 h 7419095"/>
              <a:gd name="connsiteX855" fmla="*/ 7559193 w 9126537"/>
              <a:gd name="connsiteY855" fmla="*/ 6320446 h 7419095"/>
              <a:gd name="connsiteX856" fmla="*/ 7515972 w 9126537"/>
              <a:gd name="connsiteY856" fmla="*/ 6309049 h 7419095"/>
              <a:gd name="connsiteX857" fmla="*/ 7413605 w 9126537"/>
              <a:gd name="connsiteY857" fmla="*/ 6281697 h 7419095"/>
              <a:gd name="connsiteX858" fmla="*/ 7386308 w 9126537"/>
              <a:gd name="connsiteY858" fmla="*/ 6288535 h 7419095"/>
              <a:gd name="connsiteX859" fmla="*/ 7354460 w 9126537"/>
              <a:gd name="connsiteY859" fmla="*/ 6295373 h 7419095"/>
              <a:gd name="connsiteX860" fmla="*/ 7361284 w 9126537"/>
              <a:gd name="connsiteY860" fmla="*/ 6327284 h 7419095"/>
              <a:gd name="connsiteX861" fmla="*/ 7349910 w 9126537"/>
              <a:gd name="connsiteY861" fmla="*/ 6331843 h 7419095"/>
              <a:gd name="connsiteX862" fmla="*/ 7333986 w 9126537"/>
              <a:gd name="connsiteY862" fmla="*/ 6350078 h 7419095"/>
              <a:gd name="connsiteX863" fmla="*/ 7349910 w 9126537"/>
              <a:gd name="connsiteY863" fmla="*/ 6366033 h 7419095"/>
              <a:gd name="connsiteX864" fmla="*/ 7379483 w 9126537"/>
              <a:gd name="connsiteY864" fmla="*/ 6370592 h 7419095"/>
              <a:gd name="connsiteX865" fmla="*/ 7438628 w 9126537"/>
              <a:gd name="connsiteY865" fmla="*/ 6381989 h 7419095"/>
              <a:gd name="connsiteX866" fmla="*/ 7518246 w 9126537"/>
              <a:gd name="connsiteY866" fmla="*/ 6400224 h 7419095"/>
              <a:gd name="connsiteX867" fmla="*/ 7577392 w 9126537"/>
              <a:gd name="connsiteY867" fmla="*/ 6404782 h 7419095"/>
              <a:gd name="connsiteX868" fmla="*/ 7588766 w 9126537"/>
              <a:gd name="connsiteY868" fmla="*/ 6386547 h 7419095"/>
              <a:gd name="connsiteX869" fmla="*/ 7595590 w 9126537"/>
              <a:gd name="connsiteY869" fmla="*/ 6388827 h 7419095"/>
              <a:gd name="connsiteX870" fmla="*/ 7627437 w 9126537"/>
              <a:gd name="connsiteY870" fmla="*/ 6411620 h 7419095"/>
              <a:gd name="connsiteX871" fmla="*/ 7720704 w 9126537"/>
              <a:gd name="connsiteY871" fmla="*/ 6427576 h 7419095"/>
              <a:gd name="connsiteX872" fmla="*/ 7809422 w 9126537"/>
              <a:gd name="connsiteY872" fmla="*/ 6443531 h 7419095"/>
              <a:gd name="connsiteX873" fmla="*/ 7838994 w 9126537"/>
              <a:gd name="connsiteY873" fmla="*/ 6448090 h 7419095"/>
              <a:gd name="connsiteX874" fmla="*/ 7939086 w 9126537"/>
              <a:gd name="connsiteY874" fmla="*/ 6464045 h 7419095"/>
              <a:gd name="connsiteX875" fmla="*/ 7955010 w 9126537"/>
              <a:gd name="connsiteY875" fmla="*/ 6466325 h 7419095"/>
              <a:gd name="connsiteX876" fmla="*/ 8089224 w 9126537"/>
              <a:gd name="connsiteY876" fmla="*/ 6491398 h 7419095"/>
              <a:gd name="connsiteX877" fmla="*/ 8114246 w 9126537"/>
              <a:gd name="connsiteY877" fmla="*/ 6509633 h 7419095"/>
              <a:gd name="connsiteX878" fmla="*/ 8089224 w 9126537"/>
              <a:gd name="connsiteY878" fmla="*/ 6509633 h 7419095"/>
              <a:gd name="connsiteX879" fmla="*/ 7766200 w 9126537"/>
              <a:gd name="connsiteY879" fmla="*/ 6450369 h 7419095"/>
              <a:gd name="connsiteX880" fmla="*/ 7641086 w 9126537"/>
              <a:gd name="connsiteY880" fmla="*/ 6429855 h 7419095"/>
              <a:gd name="connsiteX881" fmla="*/ 7604689 w 9126537"/>
              <a:gd name="connsiteY881" fmla="*/ 6445811 h 7419095"/>
              <a:gd name="connsiteX882" fmla="*/ 7584216 w 9126537"/>
              <a:gd name="connsiteY882" fmla="*/ 6423017 h 7419095"/>
              <a:gd name="connsiteX883" fmla="*/ 7436353 w 9126537"/>
              <a:gd name="connsiteY883" fmla="*/ 6395665 h 7419095"/>
              <a:gd name="connsiteX884" fmla="*/ 7386308 w 9126537"/>
              <a:gd name="connsiteY884" fmla="*/ 6402503 h 7419095"/>
              <a:gd name="connsiteX885" fmla="*/ 7388582 w 9126537"/>
              <a:gd name="connsiteY885" fmla="*/ 6425296 h 7419095"/>
              <a:gd name="connsiteX886" fmla="*/ 7518246 w 9126537"/>
              <a:gd name="connsiteY886" fmla="*/ 6502795 h 7419095"/>
              <a:gd name="connsiteX887" fmla="*/ 7540994 w 9126537"/>
              <a:gd name="connsiteY887" fmla="*/ 6495956 h 7419095"/>
              <a:gd name="connsiteX888" fmla="*/ 7550094 w 9126537"/>
              <a:gd name="connsiteY888" fmla="*/ 6527867 h 7419095"/>
              <a:gd name="connsiteX889" fmla="*/ 7636536 w 9126537"/>
              <a:gd name="connsiteY889" fmla="*/ 6557499 h 7419095"/>
              <a:gd name="connsiteX890" fmla="*/ 7616063 w 9126537"/>
              <a:gd name="connsiteY890" fmla="*/ 6566616 h 7419095"/>
              <a:gd name="connsiteX891" fmla="*/ 7609238 w 9126537"/>
              <a:gd name="connsiteY891" fmla="*/ 6591689 h 7419095"/>
              <a:gd name="connsiteX892" fmla="*/ 7659284 w 9126537"/>
              <a:gd name="connsiteY892" fmla="*/ 6623600 h 7419095"/>
              <a:gd name="connsiteX893" fmla="*/ 7679758 w 9126537"/>
              <a:gd name="connsiteY893" fmla="*/ 6634997 h 7419095"/>
              <a:gd name="connsiteX894" fmla="*/ 7682032 w 9126537"/>
              <a:gd name="connsiteY894" fmla="*/ 6641835 h 7419095"/>
              <a:gd name="connsiteX895" fmla="*/ 7631987 w 9126537"/>
              <a:gd name="connsiteY895" fmla="*/ 6634997 h 7419095"/>
              <a:gd name="connsiteX896" fmla="*/ 7584216 w 9126537"/>
              <a:gd name="connsiteY896" fmla="*/ 6637276 h 7419095"/>
              <a:gd name="connsiteX897" fmla="*/ 7577392 w 9126537"/>
              <a:gd name="connsiteY897" fmla="*/ 6680584 h 7419095"/>
              <a:gd name="connsiteX898" fmla="*/ 7659284 w 9126537"/>
              <a:gd name="connsiteY898" fmla="*/ 6705657 h 7419095"/>
              <a:gd name="connsiteX899" fmla="*/ 7540994 w 9126537"/>
              <a:gd name="connsiteY899" fmla="*/ 6719333 h 7419095"/>
              <a:gd name="connsiteX900" fmla="*/ 7563742 w 9126537"/>
              <a:gd name="connsiteY900" fmla="*/ 6746686 h 7419095"/>
              <a:gd name="connsiteX901" fmla="*/ 7550094 w 9126537"/>
              <a:gd name="connsiteY901" fmla="*/ 6753524 h 7419095"/>
              <a:gd name="connsiteX902" fmla="*/ 7518246 w 9126537"/>
              <a:gd name="connsiteY902" fmla="*/ 6755803 h 7419095"/>
              <a:gd name="connsiteX903" fmla="*/ 7522796 w 9126537"/>
              <a:gd name="connsiteY903" fmla="*/ 6789993 h 7419095"/>
              <a:gd name="connsiteX904" fmla="*/ 7468200 w 9126537"/>
              <a:gd name="connsiteY904" fmla="*/ 6789993 h 7419095"/>
              <a:gd name="connsiteX905" fmla="*/ 7399956 w 9126537"/>
              <a:gd name="connsiteY905" fmla="*/ 6783155 h 7419095"/>
              <a:gd name="connsiteX906" fmla="*/ 7324888 w 9126537"/>
              <a:gd name="connsiteY906" fmla="*/ 6780876 h 7419095"/>
              <a:gd name="connsiteX907" fmla="*/ 7306689 w 9126537"/>
              <a:gd name="connsiteY907" fmla="*/ 6812787 h 7419095"/>
              <a:gd name="connsiteX908" fmla="*/ 7320338 w 9126537"/>
              <a:gd name="connsiteY908" fmla="*/ 6872050 h 7419095"/>
              <a:gd name="connsiteX909" fmla="*/ 7356735 w 9126537"/>
              <a:gd name="connsiteY909" fmla="*/ 6856095 h 7419095"/>
              <a:gd name="connsiteX910" fmla="*/ 7472750 w 9126537"/>
              <a:gd name="connsiteY910" fmla="*/ 6931313 h 7419095"/>
              <a:gd name="connsiteX911" fmla="*/ 7470476 w 9126537"/>
              <a:gd name="connsiteY911" fmla="*/ 6940431 h 7419095"/>
              <a:gd name="connsiteX912" fmla="*/ 7452277 w 9126537"/>
              <a:gd name="connsiteY912" fmla="*/ 6960945 h 7419095"/>
              <a:gd name="connsiteX913" fmla="*/ 7484124 w 9126537"/>
              <a:gd name="connsiteY913" fmla="*/ 6972342 h 7419095"/>
              <a:gd name="connsiteX914" fmla="*/ 7468200 w 9126537"/>
              <a:gd name="connsiteY914" fmla="*/ 6988297 h 7419095"/>
              <a:gd name="connsiteX915" fmla="*/ 7431804 w 9126537"/>
              <a:gd name="connsiteY915" fmla="*/ 6986018 h 7419095"/>
              <a:gd name="connsiteX916" fmla="*/ 7420430 w 9126537"/>
              <a:gd name="connsiteY916" fmla="*/ 6992856 h 7419095"/>
              <a:gd name="connsiteX917" fmla="*/ 7477300 w 9126537"/>
              <a:gd name="connsiteY917" fmla="*/ 7008811 h 7419095"/>
              <a:gd name="connsiteX918" fmla="*/ 7465926 w 9126537"/>
              <a:gd name="connsiteY918" fmla="*/ 7020208 h 7419095"/>
              <a:gd name="connsiteX919" fmla="*/ 7409056 w 9126537"/>
              <a:gd name="connsiteY919" fmla="*/ 7017929 h 7419095"/>
              <a:gd name="connsiteX920" fmla="*/ 7286216 w 9126537"/>
              <a:gd name="connsiteY920" fmla="*/ 7027046 h 7419095"/>
              <a:gd name="connsiteX921" fmla="*/ 7270292 w 9126537"/>
              <a:gd name="connsiteY921" fmla="*/ 7029326 h 7419095"/>
              <a:gd name="connsiteX922" fmla="*/ 7177025 w 9126537"/>
              <a:gd name="connsiteY922" fmla="*/ 7015649 h 7419095"/>
              <a:gd name="connsiteX923" fmla="*/ 7138353 w 9126537"/>
              <a:gd name="connsiteY923" fmla="*/ 7022487 h 7419095"/>
              <a:gd name="connsiteX924" fmla="*/ 7076933 w 9126537"/>
              <a:gd name="connsiteY924" fmla="*/ 7047560 h 7419095"/>
              <a:gd name="connsiteX925" fmla="*/ 7104231 w 9126537"/>
              <a:gd name="connsiteY925" fmla="*/ 7049840 h 7419095"/>
              <a:gd name="connsiteX926" fmla="*/ 7126979 w 9126537"/>
              <a:gd name="connsiteY926" fmla="*/ 7052119 h 7419095"/>
              <a:gd name="connsiteX927" fmla="*/ 7120154 w 9126537"/>
              <a:gd name="connsiteY927" fmla="*/ 7065795 h 7419095"/>
              <a:gd name="connsiteX928" fmla="*/ 7122430 w 9126537"/>
              <a:gd name="connsiteY928" fmla="*/ 7074913 h 7419095"/>
              <a:gd name="connsiteX929" fmla="*/ 7156552 w 9126537"/>
              <a:gd name="connsiteY929" fmla="*/ 7084030 h 7419095"/>
              <a:gd name="connsiteX930" fmla="*/ 7249818 w 9126537"/>
              <a:gd name="connsiteY930" fmla="*/ 7079471 h 7419095"/>
              <a:gd name="connsiteX931" fmla="*/ 7283941 w 9126537"/>
              <a:gd name="connsiteY931" fmla="*/ 7084030 h 7419095"/>
              <a:gd name="connsiteX932" fmla="*/ 7318063 w 9126537"/>
              <a:gd name="connsiteY932" fmla="*/ 7102265 h 7419095"/>
              <a:gd name="connsiteX933" fmla="*/ 7434078 w 9126537"/>
              <a:gd name="connsiteY933" fmla="*/ 7111382 h 7419095"/>
              <a:gd name="connsiteX934" fmla="*/ 7504598 w 9126537"/>
              <a:gd name="connsiteY934" fmla="*/ 7115941 h 7419095"/>
              <a:gd name="connsiteX935" fmla="*/ 7536445 w 9126537"/>
              <a:gd name="connsiteY935" fmla="*/ 7129617 h 7419095"/>
              <a:gd name="connsiteX936" fmla="*/ 7613788 w 9126537"/>
              <a:gd name="connsiteY936" fmla="*/ 7136455 h 7419095"/>
              <a:gd name="connsiteX937" fmla="*/ 7616063 w 9126537"/>
              <a:gd name="connsiteY937" fmla="*/ 7172925 h 7419095"/>
              <a:gd name="connsiteX938" fmla="*/ 7682032 w 9126537"/>
              <a:gd name="connsiteY938" fmla="*/ 7175204 h 7419095"/>
              <a:gd name="connsiteX939" fmla="*/ 7679758 w 9126537"/>
              <a:gd name="connsiteY939" fmla="*/ 7175204 h 7419095"/>
              <a:gd name="connsiteX940" fmla="*/ 7634262 w 9126537"/>
              <a:gd name="connsiteY940" fmla="*/ 7193439 h 7419095"/>
              <a:gd name="connsiteX941" fmla="*/ 7611514 w 9126537"/>
              <a:gd name="connsiteY941" fmla="*/ 7202557 h 7419095"/>
              <a:gd name="connsiteX942" fmla="*/ 7584216 w 9126537"/>
              <a:gd name="connsiteY942" fmla="*/ 7202557 h 7419095"/>
              <a:gd name="connsiteX943" fmla="*/ 7559193 w 9126537"/>
              <a:gd name="connsiteY943" fmla="*/ 7211674 h 7419095"/>
              <a:gd name="connsiteX944" fmla="*/ 7529620 w 9126537"/>
              <a:gd name="connsiteY944" fmla="*/ 7211674 h 7419095"/>
              <a:gd name="connsiteX945" fmla="*/ 7500048 w 9126537"/>
              <a:gd name="connsiteY945" fmla="*/ 7209395 h 7419095"/>
              <a:gd name="connsiteX946" fmla="*/ 7459101 w 9126537"/>
              <a:gd name="connsiteY946" fmla="*/ 7209395 h 7419095"/>
              <a:gd name="connsiteX947" fmla="*/ 7438628 w 9126537"/>
              <a:gd name="connsiteY947" fmla="*/ 7209395 h 7419095"/>
              <a:gd name="connsiteX948" fmla="*/ 7338536 w 9126537"/>
              <a:gd name="connsiteY948" fmla="*/ 7211674 h 7419095"/>
              <a:gd name="connsiteX949" fmla="*/ 7263468 w 9126537"/>
              <a:gd name="connsiteY949" fmla="*/ 7216233 h 7419095"/>
              <a:gd name="connsiteX950" fmla="*/ 7327162 w 9126537"/>
              <a:gd name="connsiteY950" fmla="*/ 7225350 h 7419095"/>
              <a:gd name="connsiteX951" fmla="*/ 7327162 w 9126537"/>
              <a:gd name="connsiteY951" fmla="*/ 7232188 h 7419095"/>
              <a:gd name="connsiteX952" fmla="*/ 7272567 w 9126537"/>
              <a:gd name="connsiteY952" fmla="*/ 7236747 h 7419095"/>
              <a:gd name="connsiteX953" fmla="*/ 7213422 w 9126537"/>
              <a:gd name="connsiteY953" fmla="*/ 7234467 h 7419095"/>
              <a:gd name="connsiteX954" fmla="*/ 7122430 w 9126537"/>
              <a:gd name="connsiteY954" fmla="*/ 7227629 h 7419095"/>
              <a:gd name="connsiteX955" fmla="*/ 7154276 w 9126537"/>
              <a:gd name="connsiteY955" fmla="*/ 7248144 h 7419095"/>
              <a:gd name="connsiteX956" fmla="*/ 7145178 w 9126537"/>
              <a:gd name="connsiteY956" fmla="*/ 7250423 h 7419095"/>
              <a:gd name="connsiteX957" fmla="*/ 7040536 w 9126537"/>
              <a:gd name="connsiteY957" fmla="*/ 7259540 h 7419095"/>
              <a:gd name="connsiteX958" fmla="*/ 6995040 w 9126537"/>
              <a:gd name="connsiteY958" fmla="*/ 7248144 h 7419095"/>
              <a:gd name="connsiteX959" fmla="*/ 6931346 w 9126537"/>
              <a:gd name="connsiteY959" fmla="*/ 7223071 h 7419095"/>
              <a:gd name="connsiteX960" fmla="*/ 6765284 w 9126537"/>
              <a:gd name="connsiteY960" fmla="*/ 7213953 h 7419095"/>
              <a:gd name="connsiteX961" fmla="*/ 6740261 w 9126537"/>
              <a:gd name="connsiteY961" fmla="*/ 7209395 h 7419095"/>
              <a:gd name="connsiteX962" fmla="*/ 6631070 w 9126537"/>
              <a:gd name="connsiteY962" fmla="*/ 7191160 h 7419095"/>
              <a:gd name="connsiteX963" fmla="*/ 6515055 w 9126537"/>
              <a:gd name="connsiteY963" fmla="*/ 7179763 h 7419095"/>
              <a:gd name="connsiteX964" fmla="*/ 6451360 w 9126537"/>
              <a:gd name="connsiteY964" fmla="*/ 7170646 h 7419095"/>
              <a:gd name="connsiteX965" fmla="*/ 6371742 w 9126537"/>
              <a:gd name="connsiteY965" fmla="*/ 7166087 h 7419095"/>
              <a:gd name="connsiteX966" fmla="*/ 6198856 w 9126537"/>
              <a:gd name="connsiteY966" fmla="*/ 7156969 h 7419095"/>
              <a:gd name="connsiteX967" fmla="*/ 6178383 w 9126537"/>
              <a:gd name="connsiteY967" fmla="*/ 7154690 h 7419095"/>
              <a:gd name="connsiteX968" fmla="*/ 6003223 w 9126537"/>
              <a:gd name="connsiteY968" fmla="*/ 7152411 h 7419095"/>
              <a:gd name="connsiteX969" fmla="*/ 5994124 w 9126537"/>
              <a:gd name="connsiteY969" fmla="*/ 7145573 h 7419095"/>
              <a:gd name="connsiteX970" fmla="*/ 6016872 w 9126537"/>
              <a:gd name="connsiteY970" fmla="*/ 7136455 h 7419095"/>
              <a:gd name="connsiteX971" fmla="*/ 6012322 w 9126537"/>
              <a:gd name="connsiteY971" fmla="*/ 7129617 h 7419095"/>
              <a:gd name="connsiteX972" fmla="*/ 5966826 w 9126537"/>
              <a:gd name="connsiteY972" fmla="*/ 7131897 h 7419095"/>
              <a:gd name="connsiteX973" fmla="*/ 5969100 w 9126537"/>
              <a:gd name="connsiteY973" fmla="*/ 7152411 h 7419095"/>
              <a:gd name="connsiteX974" fmla="*/ 5928154 w 9126537"/>
              <a:gd name="connsiteY974" fmla="*/ 7161528 h 7419095"/>
              <a:gd name="connsiteX975" fmla="*/ 5934978 w 9126537"/>
              <a:gd name="connsiteY975" fmla="*/ 7129617 h 7419095"/>
              <a:gd name="connsiteX976" fmla="*/ 5921330 w 9126537"/>
              <a:gd name="connsiteY976" fmla="*/ 7125058 h 7419095"/>
              <a:gd name="connsiteX977" fmla="*/ 5873558 w 9126537"/>
              <a:gd name="connsiteY977" fmla="*/ 7166087 h 7419095"/>
              <a:gd name="connsiteX978" fmla="*/ 5898582 w 9126537"/>
              <a:gd name="connsiteY978" fmla="*/ 7182042 h 7419095"/>
              <a:gd name="connsiteX979" fmla="*/ 5814414 w 9126537"/>
              <a:gd name="connsiteY979" fmla="*/ 7184322 h 7419095"/>
              <a:gd name="connsiteX980" fmla="*/ 5828062 w 9126537"/>
              <a:gd name="connsiteY980" fmla="*/ 7172925 h 7419095"/>
              <a:gd name="connsiteX981" fmla="*/ 5843986 w 9126537"/>
              <a:gd name="connsiteY981" fmla="*/ 7166087 h 7419095"/>
              <a:gd name="connsiteX982" fmla="*/ 5796215 w 9126537"/>
              <a:gd name="connsiteY982" fmla="*/ 7145573 h 7419095"/>
              <a:gd name="connsiteX983" fmla="*/ 5825788 w 9126537"/>
              <a:gd name="connsiteY983" fmla="*/ 7127338 h 7419095"/>
              <a:gd name="connsiteX984" fmla="*/ 5696124 w 9126537"/>
              <a:gd name="connsiteY984" fmla="*/ 7127338 h 7419095"/>
              <a:gd name="connsiteX985" fmla="*/ 5709772 w 9126537"/>
              <a:gd name="connsiteY985" fmla="*/ 7170646 h 7419095"/>
              <a:gd name="connsiteX986" fmla="*/ 5677925 w 9126537"/>
              <a:gd name="connsiteY986" fmla="*/ 7168366 h 7419095"/>
              <a:gd name="connsiteX987" fmla="*/ 5614230 w 9126537"/>
              <a:gd name="connsiteY987" fmla="*/ 7168366 h 7419095"/>
              <a:gd name="connsiteX988" fmla="*/ 5568734 w 9126537"/>
              <a:gd name="connsiteY988" fmla="*/ 7156969 h 7419095"/>
              <a:gd name="connsiteX989" fmla="*/ 5559635 w 9126537"/>
              <a:gd name="connsiteY989" fmla="*/ 7118220 h 7419095"/>
              <a:gd name="connsiteX990" fmla="*/ 5518688 w 9126537"/>
              <a:gd name="connsiteY990" fmla="*/ 7127338 h 7419095"/>
              <a:gd name="connsiteX991" fmla="*/ 5523238 w 9126537"/>
              <a:gd name="connsiteY991" fmla="*/ 7138735 h 7419095"/>
              <a:gd name="connsiteX992" fmla="*/ 5548261 w 9126537"/>
              <a:gd name="connsiteY992" fmla="*/ 7150131 h 7419095"/>
              <a:gd name="connsiteX993" fmla="*/ 5534612 w 9126537"/>
              <a:gd name="connsiteY993" fmla="*/ 7163807 h 7419095"/>
              <a:gd name="connsiteX994" fmla="*/ 5416322 w 9126537"/>
              <a:gd name="connsiteY994" fmla="*/ 7147852 h 7419095"/>
              <a:gd name="connsiteX995" fmla="*/ 5400398 w 9126537"/>
              <a:gd name="connsiteY995" fmla="*/ 7136455 h 7419095"/>
              <a:gd name="connsiteX996" fmla="*/ 5432246 w 9126537"/>
              <a:gd name="connsiteY996" fmla="*/ 7131897 h 7419095"/>
              <a:gd name="connsiteX997" fmla="*/ 5452718 w 9126537"/>
              <a:gd name="connsiteY997" fmla="*/ 7104544 h 7419095"/>
              <a:gd name="connsiteX998" fmla="*/ 5434520 w 9126537"/>
              <a:gd name="connsiteY998" fmla="*/ 7102265 h 7419095"/>
              <a:gd name="connsiteX999" fmla="*/ 5382200 w 9126537"/>
              <a:gd name="connsiteY999" fmla="*/ 7097706 h 7419095"/>
              <a:gd name="connsiteX1000" fmla="*/ 5364001 w 9126537"/>
              <a:gd name="connsiteY1000" fmla="*/ 7095427 h 7419095"/>
              <a:gd name="connsiteX1001" fmla="*/ 5300306 w 9126537"/>
              <a:gd name="connsiteY1001" fmla="*/ 7099986 h 7419095"/>
              <a:gd name="connsiteX1002" fmla="*/ 5282108 w 9126537"/>
              <a:gd name="connsiteY1002" fmla="*/ 7113662 h 7419095"/>
              <a:gd name="connsiteX1003" fmla="*/ 5300306 w 9126537"/>
              <a:gd name="connsiteY1003" fmla="*/ 7129617 h 7419095"/>
              <a:gd name="connsiteX1004" fmla="*/ 5318505 w 9126537"/>
              <a:gd name="connsiteY1004" fmla="*/ 7127338 h 7419095"/>
              <a:gd name="connsiteX1005" fmla="*/ 5357176 w 9126537"/>
              <a:gd name="connsiteY1005" fmla="*/ 7136455 h 7419095"/>
              <a:gd name="connsiteX1006" fmla="*/ 5247986 w 9126537"/>
              <a:gd name="connsiteY1006" fmla="*/ 7138735 h 7419095"/>
              <a:gd name="connsiteX1007" fmla="*/ 5259360 w 9126537"/>
              <a:gd name="connsiteY1007" fmla="*/ 7115941 h 7419095"/>
              <a:gd name="connsiteX1008" fmla="*/ 5136520 w 9126537"/>
              <a:gd name="connsiteY1008" fmla="*/ 7081751 h 7419095"/>
              <a:gd name="connsiteX1009" fmla="*/ 5096151 w 9126537"/>
              <a:gd name="connsiteY1009" fmla="*/ 7100911 h 7419095"/>
              <a:gd name="connsiteX1010" fmla="*/ 5095574 w 9126537"/>
              <a:gd name="connsiteY1010" fmla="*/ 7099986 h 7419095"/>
              <a:gd name="connsiteX1011" fmla="*/ 5093379 w 9126537"/>
              <a:gd name="connsiteY1011" fmla="*/ 7100437 h 7419095"/>
              <a:gd name="connsiteX1012" fmla="*/ 5093868 w 9126537"/>
              <a:gd name="connsiteY1012" fmla="*/ 7089444 h 7419095"/>
              <a:gd name="connsiteX1013" fmla="*/ 5084200 w 9126537"/>
              <a:gd name="connsiteY1013" fmla="*/ 7081751 h 7419095"/>
              <a:gd name="connsiteX1014" fmla="*/ 5050078 w 9126537"/>
              <a:gd name="connsiteY1014" fmla="*/ 7079471 h 7419095"/>
              <a:gd name="connsiteX1015" fmla="*/ 4986382 w 9126537"/>
              <a:gd name="connsiteY1015" fmla="*/ 7088589 h 7419095"/>
              <a:gd name="connsiteX1016" fmla="*/ 4972734 w 9126537"/>
              <a:gd name="connsiteY1016" fmla="*/ 7118220 h 7419095"/>
              <a:gd name="connsiteX1017" fmla="*/ 4872326 w 9126537"/>
              <a:gd name="connsiteY1017" fmla="*/ 7129399 h 7419095"/>
              <a:gd name="connsiteX1018" fmla="*/ 4870083 w 9126537"/>
              <a:gd name="connsiteY1018" fmla="*/ 7111667 h 7419095"/>
              <a:gd name="connsiteX1019" fmla="*/ 4858994 w 9126537"/>
              <a:gd name="connsiteY1019" fmla="*/ 7093147 h 7419095"/>
              <a:gd name="connsiteX1020" fmla="*/ 4786200 w 9126537"/>
              <a:gd name="connsiteY1020" fmla="*/ 7104544 h 7419095"/>
              <a:gd name="connsiteX1021" fmla="*/ 4815772 w 9126537"/>
              <a:gd name="connsiteY1021" fmla="*/ 7147852 h 7419095"/>
              <a:gd name="connsiteX1022" fmla="*/ 4770276 w 9126537"/>
              <a:gd name="connsiteY1022" fmla="*/ 7152411 h 7419095"/>
              <a:gd name="connsiteX1023" fmla="*/ 4752077 w 9126537"/>
              <a:gd name="connsiteY1023" fmla="*/ 7125058 h 7419095"/>
              <a:gd name="connsiteX1024" fmla="*/ 4720230 w 9126537"/>
              <a:gd name="connsiteY1024" fmla="*/ 7127338 h 7419095"/>
              <a:gd name="connsiteX1025" fmla="*/ 4722504 w 9126537"/>
              <a:gd name="connsiteY1025" fmla="*/ 7182042 h 7419095"/>
              <a:gd name="connsiteX1026" fmla="*/ 4802123 w 9126537"/>
              <a:gd name="connsiteY1026" fmla="*/ 7195718 h 7419095"/>
              <a:gd name="connsiteX1027" fmla="*/ 4911314 w 9126537"/>
              <a:gd name="connsiteY1027" fmla="*/ 7200277 h 7419095"/>
              <a:gd name="connsiteX1028" fmla="*/ 4965910 w 9126537"/>
              <a:gd name="connsiteY1028" fmla="*/ 7195718 h 7419095"/>
              <a:gd name="connsiteX1029" fmla="*/ 5018230 w 9126537"/>
              <a:gd name="connsiteY1029" fmla="*/ 7202557 h 7419095"/>
              <a:gd name="connsiteX1030" fmla="*/ 5027330 w 9126537"/>
              <a:gd name="connsiteY1030" fmla="*/ 7177484 h 7419095"/>
              <a:gd name="connsiteX1031" fmla="*/ 5020505 w 9126537"/>
              <a:gd name="connsiteY1031" fmla="*/ 7166087 h 7419095"/>
              <a:gd name="connsiteX1032" fmla="*/ 5045528 w 9126537"/>
              <a:gd name="connsiteY1032" fmla="*/ 7129617 h 7419095"/>
              <a:gd name="connsiteX1033" fmla="*/ 5022780 w 9126537"/>
              <a:gd name="connsiteY1033" fmla="*/ 7129617 h 7419095"/>
              <a:gd name="connsiteX1034" fmla="*/ 5006856 w 9126537"/>
              <a:gd name="connsiteY1034" fmla="*/ 7118220 h 7419095"/>
              <a:gd name="connsiteX1035" fmla="*/ 5093379 w 9126537"/>
              <a:gd name="connsiteY1035" fmla="*/ 7100437 h 7419095"/>
              <a:gd name="connsiteX1036" fmla="*/ 5093298 w 9126537"/>
              <a:gd name="connsiteY1036" fmla="*/ 7102265 h 7419095"/>
              <a:gd name="connsiteX1037" fmla="*/ 5096151 w 9126537"/>
              <a:gd name="connsiteY1037" fmla="*/ 7100911 h 7419095"/>
              <a:gd name="connsiteX1038" fmla="*/ 5106948 w 9126537"/>
              <a:gd name="connsiteY1038" fmla="*/ 7118220 h 7419095"/>
              <a:gd name="connsiteX1039" fmla="*/ 5063726 w 9126537"/>
              <a:gd name="connsiteY1039" fmla="*/ 7134176 h 7419095"/>
              <a:gd name="connsiteX1040" fmla="*/ 5059176 w 9126537"/>
              <a:gd name="connsiteY1040" fmla="*/ 7202557 h 7419095"/>
              <a:gd name="connsiteX1041" fmla="*/ 5086474 w 9126537"/>
              <a:gd name="connsiteY1041" fmla="*/ 7209395 h 7419095"/>
              <a:gd name="connsiteX1042" fmla="*/ 5184291 w 9126537"/>
              <a:gd name="connsiteY1042" fmla="*/ 7216233 h 7419095"/>
              <a:gd name="connsiteX1043" fmla="*/ 5238886 w 9126537"/>
              <a:gd name="connsiteY1043" fmla="*/ 7220791 h 7419095"/>
              <a:gd name="connsiteX1044" fmla="*/ 5400398 w 9126537"/>
              <a:gd name="connsiteY1044" fmla="*/ 7225350 h 7419095"/>
              <a:gd name="connsiteX1045" fmla="*/ 5480016 w 9126537"/>
              <a:gd name="connsiteY1045" fmla="*/ 7232188 h 7419095"/>
              <a:gd name="connsiteX1046" fmla="*/ 5550536 w 9126537"/>
              <a:gd name="connsiteY1046" fmla="*/ 7234467 h 7419095"/>
              <a:gd name="connsiteX1047" fmla="*/ 5545986 w 9126537"/>
              <a:gd name="connsiteY1047" fmla="*/ 7207115 h 7419095"/>
              <a:gd name="connsiteX1048" fmla="*/ 5589208 w 9126537"/>
              <a:gd name="connsiteY1048" fmla="*/ 7207115 h 7419095"/>
              <a:gd name="connsiteX1049" fmla="*/ 5709772 w 9126537"/>
              <a:gd name="connsiteY1049" fmla="*/ 7209395 h 7419095"/>
              <a:gd name="connsiteX1050" fmla="*/ 5739345 w 9126537"/>
              <a:gd name="connsiteY1050" fmla="*/ 7223071 h 7419095"/>
              <a:gd name="connsiteX1051" fmla="*/ 5748444 w 9126537"/>
              <a:gd name="connsiteY1051" fmla="*/ 7248144 h 7419095"/>
              <a:gd name="connsiteX1052" fmla="*/ 5887208 w 9126537"/>
              <a:gd name="connsiteY1052" fmla="*/ 7259540 h 7419095"/>
              <a:gd name="connsiteX1053" fmla="*/ 5971376 w 9126537"/>
              <a:gd name="connsiteY1053" fmla="*/ 7261820 h 7419095"/>
              <a:gd name="connsiteX1054" fmla="*/ 6060093 w 9126537"/>
              <a:gd name="connsiteY1054" fmla="*/ 7277775 h 7419095"/>
              <a:gd name="connsiteX1055" fmla="*/ 6096490 w 9126537"/>
              <a:gd name="connsiteY1055" fmla="*/ 7286893 h 7419095"/>
              <a:gd name="connsiteX1056" fmla="*/ 6110139 w 9126537"/>
              <a:gd name="connsiteY1056" fmla="*/ 7291451 h 7419095"/>
              <a:gd name="connsiteX1057" fmla="*/ 6246628 w 9126537"/>
              <a:gd name="connsiteY1057" fmla="*/ 7291451 h 7419095"/>
              <a:gd name="connsiteX1058" fmla="*/ 6260276 w 9126537"/>
              <a:gd name="connsiteY1058" fmla="*/ 7291451 h 7419095"/>
              <a:gd name="connsiteX1059" fmla="*/ 6353544 w 9126537"/>
              <a:gd name="connsiteY1059" fmla="*/ 7300569 h 7419095"/>
              <a:gd name="connsiteX1060" fmla="*/ 6480933 w 9126537"/>
              <a:gd name="connsiteY1060" fmla="*/ 7334759 h 7419095"/>
              <a:gd name="connsiteX1061" fmla="*/ 6449086 w 9126537"/>
              <a:gd name="connsiteY1061" fmla="*/ 7337038 h 7419095"/>
              <a:gd name="connsiteX1062" fmla="*/ 6353544 w 9126537"/>
              <a:gd name="connsiteY1062" fmla="*/ 7330200 h 7419095"/>
              <a:gd name="connsiteX1063" fmla="*/ 6187482 w 9126537"/>
              <a:gd name="connsiteY1063" fmla="*/ 7314245 h 7419095"/>
              <a:gd name="connsiteX1064" fmla="*/ 6171558 w 9126537"/>
              <a:gd name="connsiteY1064" fmla="*/ 7314245 h 7419095"/>
              <a:gd name="connsiteX1065" fmla="*/ 6112414 w 9126537"/>
              <a:gd name="connsiteY1065" fmla="*/ 7334759 h 7419095"/>
              <a:gd name="connsiteX1066" fmla="*/ 6094215 w 9126537"/>
              <a:gd name="connsiteY1066" fmla="*/ 7318804 h 7419095"/>
              <a:gd name="connsiteX1067" fmla="*/ 6060093 w 9126537"/>
              <a:gd name="connsiteY1067" fmla="*/ 7321083 h 7419095"/>
              <a:gd name="connsiteX1068" fmla="*/ 6035070 w 9126537"/>
              <a:gd name="connsiteY1068" fmla="*/ 7341597 h 7419095"/>
              <a:gd name="connsiteX1069" fmla="*/ 6144261 w 9126537"/>
              <a:gd name="connsiteY1069" fmla="*/ 7357553 h 7419095"/>
              <a:gd name="connsiteX1070" fmla="*/ 6162460 w 9126537"/>
              <a:gd name="connsiteY1070" fmla="*/ 7339318 h 7419095"/>
              <a:gd name="connsiteX1071" fmla="*/ 6178383 w 9126537"/>
              <a:gd name="connsiteY1071" fmla="*/ 7346156 h 7419095"/>
              <a:gd name="connsiteX1072" fmla="*/ 6207956 w 9126537"/>
              <a:gd name="connsiteY1072" fmla="*/ 7375788 h 7419095"/>
              <a:gd name="connsiteX1073" fmla="*/ 6271650 w 9126537"/>
              <a:gd name="connsiteY1073" fmla="*/ 7355273 h 7419095"/>
              <a:gd name="connsiteX1074" fmla="*/ 6348994 w 9126537"/>
              <a:gd name="connsiteY1074" fmla="*/ 7398581 h 7419095"/>
              <a:gd name="connsiteX1075" fmla="*/ 6378566 w 9126537"/>
              <a:gd name="connsiteY1075" fmla="*/ 7405419 h 7419095"/>
              <a:gd name="connsiteX1076" fmla="*/ 6421788 w 9126537"/>
              <a:gd name="connsiteY1076" fmla="*/ 7414537 h 7419095"/>
              <a:gd name="connsiteX1077" fmla="*/ 6405864 w 9126537"/>
              <a:gd name="connsiteY1077" fmla="*/ 7419095 h 7419095"/>
              <a:gd name="connsiteX1078" fmla="*/ 6201132 w 9126537"/>
              <a:gd name="connsiteY1078" fmla="*/ 7405419 h 7419095"/>
              <a:gd name="connsiteX1079" fmla="*/ 6035070 w 9126537"/>
              <a:gd name="connsiteY1079" fmla="*/ 7389464 h 7419095"/>
              <a:gd name="connsiteX1080" fmla="*/ 5978200 w 9126537"/>
              <a:gd name="connsiteY1080" fmla="*/ 7384905 h 7419095"/>
              <a:gd name="connsiteX1081" fmla="*/ 5960002 w 9126537"/>
              <a:gd name="connsiteY1081" fmla="*/ 7380346 h 7419095"/>
              <a:gd name="connsiteX1082" fmla="*/ 5857635 w 9126537"/>
              <a:gd name="connsiteY1082" fmla="*/ 7375788 h 7419095"/>
              <a:gd name="connsiteX1083" fmla="*/ 5828062 w 9126537"/>
              <a:gd name="connsiteY1083" fmla="*/ 7375788 h 7419095"/>
              <a:gd name="connsiteX1084" fmla="*/ 5687024 w 9126537"/>
              <a:gd name="connsiteY1084" fmla="*/ 7366670 h 7419095"/>
              <a:gd name="connsiteX1085" fmla="*/ 5662002 w 9126537"/>
              <a:gd name="connsiteY1085" fmla="*/ 7364391 h 7419095"/>
              <a:gd name="connsiteX1086" fmla="*/ 5500490 w 9126537"/>
              <a:gd name="connsiteY1086" fmla="*/ 7357553 h 7419095"/>
              <a:gd name="connsiteX1087" fmla="*/ 5457268 w 9126537"/>
              <a:gd name="connsiteY1087" fmla="*/ 7362111 h 7419095"/>
              <a:gd name="connsiteX1088" fmla="*/ 5432246 w 9126537"/>
              <a:gd name="connsiteY1088" fmla="*/ 7352994 h 7419095"/>
              <a:gd name="connsiteX1089" fmla="*/ 5414047 w 9126537"/>
              <a:gd name="connsiteY1089" fmla="*/ 7343877 h 7419095"/>
              <a:gd name="connsiteX1090" fmla="*/ 5163818 w 9126537"/>
              <a:gd name="connsiteY1090" fmla="*/ 7330200 h 7419095"/>
              <a:gd name="connsiteX1091" fmla="*/ 4927238 w 9126537"/>
              <a:gd name="connsiteY1091" fmla="*/ 7316524 h 7419095"/>
              <a:gd name="connsiteX1092" fmla="*/ 4861268 w 9126537"/>
              <a:gd name="connsiteY1092" fmla="*/ 7314245 h 7419095"/>
              <a:gd name="connsiteX1093" fmla="*/ 4770276 w 9126537"/>
              <a:gd name="connsiteY1093" fmla="*/ 7307407 h 7419095"/>
              <a:gd name="connsiteX1094" fmla="*/ 4663360 w 9126537"/>
              <a:gd name="connsiteY1094" fmla="*/ 7305127 h 7419095"/>
              <a:gd name="connsiteX1095" fmla="*/ 4533696 w 9126537"/>
              <a:gd name="connsiteY1095" fmla="*/ 7302848 h 7419095"/>
              <a:gd name="connsiteX1096" fmla="*/ 4381283 w 9126537"/>
              <a:gd name="connsiteY1096" fmla="*/ 7298289 h 7419095"/>
              <a:gd name="connsiteX1097" fmla="*/ 4342612 w 9126537"/>
              <a:gd name="connsiteY1097" fmla="*/ 7305127 h 7419095"/>
              <a:gd name="connsiteX1098" fmla="*/ 4294840 w 9126537"/>
              <a:gd name="connsiteY1098" fmla="*/ 7284613 h 7419095"/>
              <a:gd name="connsiteX1099" fmla="*/ 4144703 w 9126537"/>
              <a:gd name="connsiteY1099" fmla="*/ 7280055 h 7419095"/>
              <a:gd name="connsiteX1100" fmla="*/ 4044611 w 9126537"/>
              <a:gd name="connsiteY1100" fmla="*/ 7286893 h 7419095"/>
              <a:gd name="connsiteX1101" fmla="*/ 4019588 w 9126537"/>
              <a:gd name="connsiteY1101" fmla="*/ 7296010 h 7419095"/>
              <a:gd name="connsiteX1102" fmla="*/ 3928596 w 9126537"/>
              <a:gd name="connsiteY1102" fmla="*/ 7280055 h 7419095"/>
              <a:gd name="connsiteX1103" fmla="*/ 3839878 w 9126537"/>
              <a:gd name="connsiteY1103" fmla="*/ 7286893 h 7419095"/>
              <a:gd name="connsiteX1104" fmla="*/ 3846703 w 9126537"/>
              <a:gd name="connsiteY1104" fmla="*/ 7311966 h 7419095"/>
              <a:gd name="connsiteX1105" fmla="*/ 3821680 w 9126537"/>
              <a:gd name="connsiteY1105" fmla="*/ 7307407 h 7419095"/>
              <a:gd name="connsiteX1106" fmla="*/ 3748886 w 9126537"/>
              <a:gd name="connsiteY1106" fmla="*/ 7298289 h 7419095"/>
              <a:gd name="connsiteX1107" fmla="*/ 3676093 w 9126537"/>
              <a:gd name="connsiteY1107" fmla="*/ 7323362 h 7419095"/>
              <a:gd name="connsiteX1108" fmla="*/ 3653345 w 9126537"/>
              <a:gd name="connsiteY1108" fmla="*/ 7346156 h 7419095"/>
              <a:gd name="connsiteX1109" fmla="*/ 3641971 w 9126537"/>
              <a:gd name="connsiteY1109" fmla="*/ 7355273 h 7419095"/>
              <a:gd name="connsiteX1110" fmla="*/ 3632872 w 9126537"/>
              <a:gd name="connsiteY1110" fmla="*/ 7334759 h 7419095"/>
              <a:gd name="connsiteX1111" fmla="*/ 3596475 w 9126537"/>
              <a:gd name="connsiteY1111" fmla="*/ 7357553 h 7419095"/>
              <a:gd name="connsiteX1112" fmla="*/ 3550978 w 9126537"/>
              <a:gd name="connsiteY1112" fmla="*/ 7346156 h 7419095"/>
              <a:gd name="connsiteX1113" fmla="*/ 3519131 w 9126537"/>
              <a:gd name="connsiteY1113" fmla="*/ 7368949 h 7419095"/>
              <a:gd name="connsiteX1114" fmla="*/ 3507757 w 9126537"/>
              <a:gd name="connsiteY1114" fmla="*/ 7391743 h 7419095"/>
              <a:gd name="connsiteX1115" fmla="*/ 3498658 w 9126537"/>
              <a:gd name="connsiteY1115" fmla="*/ 7394022 h 7419095"/>
              <a:gd name="connsiteX1116" fmla="*/ 3491833 w 9126537"/>
              <a:gd name="connsiteY1116" fmla="*/ 7380346 h 7419095"/>
              <a:gd name="connsiteX1117" fmla="*/ 3487283 w 9126537"/>
              <a:gd name="connsiteY1117" fmla="*/ 7368949 h 7419095"/>
              <a:gd name="connsiteX1118" fmla="*/ 3437238 w 9126537"/>
              <a:gd name="connsiteY1118" fmla="*/ 7396302 h 7419095"/>
              <a:gd name="connsiteX1119" fmla="*/ 3487283 w 9126537"/>
              <a:gd name="connsiteY1119" fmla="*/ 7334759 h 7419095"/>
              <a:gd name="connsiteX1120" fmla="*/ 3466810 w 9126537"/>
              <a:gd name="connsiteY1120" fmla="*/ 7325642 h 7419095"/>
              <a:gd name="connsiteX1121" fmla="*/ 3441788 w 9126537"/>
              <a:gd name="connsiteY1121" fmla="*/ 7327921 h 7419095"/>
              <a:gd name="connsiteX1122" fmla="*/ 3412214 w 9126537"/>
              <a:gd name="connsiteY1122" fmla="*/ 7323362 h 7419095"/>
              <a:gd name="connsiteX1123" fmla="*/ 3384917 w 9126537"/>
              <a:gd name="connsiteY1123" fmla="*/ 7323362 h 7419095"/>
              <a:gd name="connsiteX1124" fmla="*/ 3357620 w 9126537"/>
              <a:gd name="connsiteY1124" fmla="*/ 7321083 h 7419095"/>
              <a:gd name="connsiteX1125" fmla="*/ 3343971 w 9126537"/>
              <a:gd name="connsiteY1125" fmla="*/ 7334759 h 7419095"/>
              <a:gd name="connsiteX1126" fmla="*/ 3312123 w 9126537"/>
              <a:gd name="connsiteY1126" fmla="*/ 7327921 h 7419095"/>
              <a:gd name="connsiteX1127" fmla="*/ 3271176 w 9126537"/>
              <a:gd name="connsiteY1127" fmla="*/ 7327921 h 7419095"/>
              <a:gd name="connsiteX1128" fmla="*/ 3284826 w 9126537"/>
              <a:gd name="connsiteY1128" fmla="*/ 7316524 h 7419095"/>
              <a:gd name="connsiteX1129" fmla="*/ 3366719 w 9126537"/>
              <a:gd name="connsiteY1129" fmla="*/ 7298289 h 7419095"/>
              <a:gd name="connsiteX1130" fmla="*/ 3373542 w 9126537"/>
              <a:gd name="connsiteY1130" fmla="*/ 7286893 h 7419095"/>
              <a:gd name="connsiteX1131" fmla="*/ 3368993 w 9126537"/>
              <a:gd name="connsiteY1131" fmla="*/ 7280055 h 7419095"/>
              <a:gd name="connsiteX1132" fmla="*/ 3293924 w 9126537"/>
              <a:gd name="connsiteY1132" fmla="*/ 7266378 h 7419095"/>
              <a:gd name="connsiteX1133" fmla="*/ 3232505 w 9126537"/>
              <a:gd name="connsiteY1133" fmla="*/ 7284613 h 7419095"/>
              <a:gd name="connsiteX1134" fmla="*/ 3218855 w 9126537"/>
              <a:gd name="connsiteY1134" fmla="*/ 7284613 h 7419095"/>
              <a:gd name="connsiteX1135" fmla="*/ 3189283 w 9126537"/>
              <a:gd name="connsiteY1135" fmla="*/ 7227629 h 7419095"/>
              <a:gd name="connsiteX1136" fmla="*/ 3273451 w 9126537"/>
              <a:gd name="connsiteY1136" fmla="*/ 7220791 h 7419095"/>
              <a:gd name="connsiteX1137" fmla="*/ 3337145 w 9126537"/>
              <a:gd name="connsiteY1137" fmla="*/ 7213953 h 7419095"/>
              <a:gd name="connsiteX1138" fmla="*/ 3346245 w 9126537"/>
              <a:gd name="connsiteY1138" fmla="*/ 7200277 h 7419095"/>
              <a:gd name="connsiteX1139" fmla="*/ 3334871 w 9126537"/>
              <a:gd name="connsiteY1139" fmla="*/ 7193439 h 7419095"/>
              <a:gd name="connsiteX1140" fmla="*/ 3309848 w 9126537"/>
              <a:gd name="connsiteY1140" fmla="*/ 7197998 h 7419095"/>
              <a:gd name="connsiteX1141" fmla="*/ 3280276 w 9126537"/>
              <a:gd name="connsiteY1141" fmla="*/ 7195718 h 7419095"/>
              <a:gd name="connsiteX1142" fmla="*/ 3157436 w 9126537"/>
              <a:gd name="connsiteY1142" fmla="*/ 7200277 h 7419095"/>
              <a:gd name="connsiteX1143" fmla="*/ 3152886 w 9126537"/>
              <a:gd name="connsiteY1143" fmla="*/ 7204836 h 7419095"/>
              <a:gd name="connsiteX1144" fmla="*/ 3171085 w 9126537"/>
              <a:gd name="connsiteY1144" fmla="*/ 7239026 h 7419095"/>
              <a:gd name="connsiteX1145" fmla="*/ 3132413 w 9126537"/>
              <a:gd name="connsiteY1145" fmla="*/ 7239026 h 7419095"/>
              <a:gd name="connsiteX1146" fmla="*/ 3134688 w 9126537"/>
              <a:gd name="connsiteY1146" fmla="*/ 7207115 h 7419095"/>
              <a:gd name="connsiteX1147" fmla="*/ 3109665 w 9126537"/>
              <a:gd name="connsiteY1147" fmla="*/ 7211674 h 7419095"/>
              <a:gd name="connsiteX1148" fmla="*/ 3084642 w 9126537"/>
              <a:gd name="connsiteY1148" fmla="*/ 7213953 h 7419095"/>
              <a:gd name="connsiteX1149" fmla="*/ 3052795 w 9126537"/>
              <a:gd name="connsiteY1149" fmla="*/ 7225350 h 7419095"/>
              <a:gd name="connsiteX1150" fmla="*/ 3018672 w 9126537"/>
              <a:gd name="connsiteY1150" fmla="*/ 7239026 h 7419095"/>
              <a:gd name="connsiteX1151" fmla="*/ 2982275 w 9126537"/>
              <a:gd name="connsiteY1151" fmla="*/ 7245864 h 7419095"/>
              <a:gd name="connsiteX1152" fmla="*/ 2845787 w 9126537"/>
              <a:gd name="connsiteY1152" fmla="*/ 7245864 h 7419095"/>
              <a:gd name="connsiteX1153" fmla="*/ 2845787 w 9126537"/>
              <a:gd name="connsiteY1153" fmla="*/ 7270937 h 7419095"/>
              <a:gd name="connsiteX1154" fmla="*/ 2818489 w 9126537"/>
              <a:gd name="connsiteY1154" fmla="*/ 7268658 h 7419095"/>
              <a:gd name="connsiteX1155" fmla="*/ 2700199 w 9126537"/>
              <a:gd name="connsiteY1155" fmla="*/ 7264099 h 7419095"/>
              <a:gd name="connsiteX1156" fmla="*/ 2654703 w 9126537"/>
              <a:gd name="connsiteY1156" fmla="*/ 7298289 h 7419095"/>
              <a:gd name="connsiteX1157" fmla="*/ 2606931 w 9126537"/>
              <a:gd name="connsiteY1157" fmla="*/ 7282334 h 7419095"/>
              <a:gd name="connsiteX1158" fmla="*/ 2561436 w 9126537"/>
              <a:gd name="connsiteY1158" fmla="*/ 7282334 h 7419095"/>
              <a:gd name="connsiteX1159" fmla="*/ 2522764 w 9126537"/>
              <a:gd name="connsiteY1159" fmla="*/ 7307407 h 7419095"/>
              <a:gd name="connsiteX1160" fmla="*/ 2465893 w 9126537"/>
              <a:gd name="connsiteY1160" fmla="*/ 7325642 h 7419095"/>
              <a:gd name="connsiteX1161" fmla="*/ 2388550 w 9126537"/>
              <a:gd name="connsiteY1161" fmla="*/ 7348435 h 7419095"/>
              <a:gd name="connsiteX1162" fmla="*/ 2377176 w 9126537"/>
              <a:gd name="connsiteY1162" fmla="*/ 7357553 h 7419095"/>
              <a:gd name="connsiteX1163" fmla="*/ 2397650 w 9126537"/>
              <a:gd name="connsiteY1163" fmla="*/ 7316524 h 7419095"/>
              <a:gd name="connsiteX1164" fmla="*/ 2333954 w 9126537"/>
              <a:gd name="connsiteY1164" fmla="*/ 7289172 h 7419095"/>
              <a:gd name="connsiteX1165" fmla="*/ 2331679 w 9126537"/>
              <a:gd name="connsiteY1165" fmla="*/ 7291451 h 7419095"/>
              <a:gd name="connsiteX1166" fmla="*/ 2286184 w 9126537"/>
              <a:gd name="connsiteY1166" fmla="*/ 7307407 h 7419095"/>
              <a:gd name="connsiteX1167" fmla="*/ 2272534 w 9126537"/>
              <a:gd name="connsiteY1167" fmla="*/ 7309686 h 7419095"/>
              <a:gd name="connsiteX1168" fmla="*/ 2206565 w 9126537"/>
              <a:gd name="connsiteY1168" fmla="*/ 7302848 h 7419095"/>
              <a:gd name="connsiteX1169" fmla="*/ 2179268 w 9126537"/>
              <a:gd name="connsiteY1169" fmla="*/ 7289172 h 7419095"/>
              <a:gd name="connsiteX1170" fmla="*/ 2220215 w 9126537"/>
              <a:gd name="connsiteY1170" fmla="*/ 7275496 h 7419095"/>
              <a:gd name="connsiteX1171" fmla="*/ 2265710 w 9126537"/>
              <a:gd name="connsiteY1171" fmla="*/ 7261820 h 7419095"/>
              <a:gd name="connsiteX1172" fmla="*/ 2263436 w 9126537"/>
              <a:gd name="connsiteY1172" fmla="*/ 7239026 h 7419095"/>
              <a:gd name="connsiteX1173" fmla="*/ 2231588 w 9126537"/>
              <a:gd name="connsiteY1173" fmla="*/ 7252702 h 7419095"/>
              <a:gd name="connsiteX1174" fmla="*/ 2216586 w 9126537"/>
              <a:gd name="connsiteY1174" fmla="*/ 7224785 h 7419095"/>
              <a:gd name="connsiteX1175" fmla="*/ 2252061 w 9126537"/>
              <a:gd name="connsiteY1175" fmla="*/ 7218512 h 7419095"/>
              <a:gd name="connsiteX1176" fmla="*/ 2274809 w 9126537"/>
              <a:gd name="connsiteY1176" fmla="*/ 7191160 h 7419095"/>
              <a:gd name="connsiteX1177" fmla="*/ 2258886 w 9126537"/>
              <a:gd name="connsiteY1177" fmla="*/ 7191160 h 7419095"/>
              <a:gd name="connsiteX1178" fmla="*/ 2224764 w 9126537"/>
              <a:gd name="connsiteY1178" fmla="*/ 7197998 h 7419095"/>
              <a:gd name="connsiteX1179" fmla="*/ 2206565 w 9126537"/>
              <a:gd name="connsiteY1179" fmla="*/ 7202557 h 7419095"/>
              <a:gd name="connsiteX1180" fmla="*/ 2204291 w 9126537"/>
              <a:gd name="connsiteY1180" fmla="*/ 7213953 h 7419095"/>
              <a:gd name="connsiteX1181" fmla="*/ 2204291 w 9126537"/>
              <a:gd name="connsiteY1181" fmla="*/ 7211674 h 7419095"/>
              <a:gd name="connsiteX1182" fmla="*/ 2170168 w 9126537"/>
              <a:gd name="connsiteY1182" fmla="*/ 7220791 h 7419095"/>
              <a:gd name="connsiteX1183" fmla="*/ 2147420 w 9126537"/>
              <a:gd name="connsiteY1183" fmla="*/ 7211674 h 7419095"/>
              <a:gd name="connsiteX1184" fmla="*/ 2222489 w 9126537"/>
              <a:gd name="connsiteY1184" fmla="*/ 7150131 h 7419095"/>
              <a:gd name="connsiteX1185" fmla="*/ 2213389 w 9126537"/>
              <a:gd name="connsiteY1185" fmla="*/ 7106824 h 7419095"/>
              <a:gd name="connsiteX1186" fmla="*/ 2231588 w 9126537"/>
              <a:gd name="connsiteY1186" fmla="*/ 7129617 h 7419095"/>
              <a:gd name="connsiteX1187" fmla="*/ 2249787 w 9126537"/>
              <a:gd name="connsiteY1187" fmla="*/ 7113662 h 7419095"/>
              <a:gd name="connsiteX1188" fmla="*/ 2277085 w 9126537"/>
              <a:gd name="connsiteY1188" fmla="*/ 7047560 h 7419095"/>
              <a:gd name="connsiteX1189" fmla="*/ 2329405 w 9126537"/>
              <a:gd name="connsiteY1189" fmla="*/ 7031605 h 7419095"/>
              <a:gd name="connsiteX1190" fmla="*/ 2333954 w 9126537"/>
              <a:gd name="connsiteY1190" fmla="*/ 7017929 h 7419095"/>
              <a:gd name="connsiteX1191" fmla="*/ 2320306 w 9126537"/>
              <a:gd name="connsiteY1191" fmla="*/ 6990577 h 7419095"/>
              <a:gd name="connsiteX1192" fmla="*/ 2165619 w 9126537"/>
              <a:gd name="connsiteY1192" fmla="*/ 7020208 h 7419095"/>
              <a:gd name="connsiteX1193" fmla="*/ 2176992 w 9126537"/>
              <a:gd name="connsiteY1193" fmla="*/ 6999694 h 7419095"/>
              <a:gd name="connsiteX1194" fmla="*/ 2331679 w 9126537"/>
              <a:gd name="connsiteY1194" fmla="*/ 6958666 h 7419095"/>
              <a:gd name="connsiteX1195" fmla="*/ 2404474 w 9126537"/>
              <a:gd name="connsiteY1195" fmla="*/ 6938151 h 7419095"/>
              <a:gd name="connsiteX1196" fmla="*/ 2413573 w 9126537"/>
              <a:gd name="connsiteY1196" fmla="*/ 6913078 h 7419095"/>
              <a:gd name="connsiteX1197" fmla="*/ 2404474 w 9126537"/>
              <a:gd name="connsiteY1197" fmla="*/ 6913078 h 7419095"/>
              <a:gd name="connsiteX1198" fmla="*/ 2349878 w 9126537"/>
              <a:gd name="connsiteY1198" fmla="*/ 6917637 h 7419095"/>
              <a:gd name="connsiteX1199" fmla="*/ 2338505 w 9126537"/>
              <a:gd name="connsiteY1199" fmla="*/ 6908520 h 7419095"/>
              <a:gd name="connsiteX1200" fmla="*/ 2318031 w 9126537"/>
              <a:gd name="connsiteY1200" fmla="*/ 6908520 h 7419095"/>
              <a:gd name="connsiteX1201" fmla="*/ 2304703 w 9126537"/>
              <a:gd name="connsiteY1201" fmla="*/ 6928551 h 7419095"/>
              <a:gd name="connsiteX1202" fmla="*/ 2283625 w 9126537"/>
              <a:gd name="connsiteY1202" fmla="*/ 6923336 h 7419095"/>
              <a:gd name="connsiteX1203" fmla="*/ 2258886 w 9126537"/>
              <a:gd name="connsiteY1203" fmla="*/ 6924475 h 7419095"/>
              <a:gd name="connsiteX1204" fmla="*/ 2188367 w 9126537"/>
              <a:gd name="connsiteY1204" fmla="*/ 6944989 h 7419095"/>
              <a:gd name="connsiteX1205" fmla="*/ 2181543 w 9126537"/>
              <a:gd name="connsiteY1205" fmla="*/ 6935872 h 7419095"/>
              <a:gd name="connsiteX1206" fmla="*/ 2254337 w 9126537"/>
              <a:gd name="connsiteY1206" fmla="*/ 6908520 h 7419095"/>
              <a:gd name="connsiteX1207" fmla="*/ 2322581 w 9126537"/>
              <a:gd name="connsiteY1207" fmla="*/ 6883447 h 7419095"/>
              <a:gd name="connsiteX1208" fmla="*/ 2283909 w 9126537"/>
              <a:gd name="connsiteY1208" fmla="*/ 6860653 h 7419095"/>
              <a:gd name="connsiteX1209" fmla="*/ 2233863 w 9126537"/>
              <a:gd name="connsiteY1209" fmla="*/ 6869771 h 7419095"/>
              <a:gd name="connsiteX1210" fmla="*/ 2222489 w 9126537"/>
              <a:gd name="connsiteY1210" fmla="*/ 6842418 h 7419095"/>
              <a:gd name="connsiteX1211" fmla="*/ 2206565 w 9126537"/>
              <a:gd name="connsiteY1211" fmla="*/ 6819625 h 7419095"/>
              <a:gd name="connsiteX1212" fmla="*/ 2245237 w 9126537"/>
              <a:gd name="connsiteY1212" fmla="*/ 6787714 h 7419095"/>
              <a:gd name="connsiteX1213" fmla="*/ 2252061 w 9126537"/>
              <a:gd name="connsiteY1213" fmla="*/ 6780876 h 7419095"/>
              <a:gd name="connsiteX1214" fmla="*/ 2240688 w 9126537"/>
              <a:gd name="connsiteY1214" fmla="*/ 6785435 h 7419095"/>
              <a:gd name="connsiteX1215" fmla="*/ 2215664 w 9126537"/>
              <a:gd name="connsiteY1215" fmla="*/ 6776317 h 7419095"/>
              <a:gd name="connsiteX1216" fmla="*/ 2229313 w 9126537"/>
              <a:gd name="connsiteY1216" fmla="*/ 6742127 h 7419095"/>
              <a:gd name="connsiteX1217" fmla="*/ 2204291 w 9126537"/>
              <a:gd name="connsiteY1217" fmla="*/ 6705657 h 7419095"/>
              <a:gd name="connsiteX1218" fmla="*/ 2247512 w 9126537"/>
              <a:gd name="connsiteY1218" fmla="*/ 6676026 h 7419095"/>
              <a:gd name="connsiteX1219" fmla="*/ 2222489 w 9126537"/>
              <a:gd name="connsiteY1219" fmla="*/ 6632718 h 7419095"/>
              <a:gd name="connsiteX1220" fmla="*/ 2261161 w 9126537"/>
              <a:gd name="connsiteY1220" fmla="*/ 6603086 h 7419095"/>
              <a:gd name="connsiteX1221" fmla="*/ 2304382 w 9126537"/>
              <a:gd name="connsiteY1221" fmla="*/ 6591689 h 7419095"/>
              <a:gd name="connsiteX1222" fmla="*/ 2347603 w 9126537"/>
              <a:gd name="connsiteY1222" fmla="*/ 6593969 h 7419095"/>
              <a:gd name="connsiteX1223" fmla="*/ 2358978 w 9126537"/>
              <a:gd name="connsiteY1223" fmla="*/ 6578013 h 7419095"/>
              <a:gd name="connsiteX1224" fmla="*/ 2345329 w 9126537"/>
              <a:gd name="connsiteY1224" fmla="*/ 6575734 h 7419095"/>
              <a:gd name="connsiteX1225" fmla="*/ 2308932 w 9126537"/>
              <a:gd name="connsiteY1225" fmla="*/ 6566616 h 7419095"/>
              <a:gd name="connsiteX1226" fmla="*/ 2324856 w 9126537"/>
              <a:gd name="connsiteY1226" fmla="*/ 6555220 h 7419095"/>
              <a:gd name="connsiteX1227" fmla="*/ 2395375 w 9126537"/>
              <a:gd name="connsiteY1227" fmla="*/ 6532426 h 7419095"/>
              <a:gd name="connsiteX1228" fmla="*/ 2397650 w 9126537"/>
              <a:gd name="connsiteY1228" fmla="*/ 6532426 h 7419095"/>
              <a:gd name="connsiteX1229" fmla="*/ 2447695 w 9126537"/>
              <a:gd name="connsiteY1229" fmla="*/ 6507353 h 7419095"/>
              <a:gd name="connsiteX1230" fmla="*/ 2413573 w 9126537"/>
              <a:gd name="connsiteY1230" fmla="*/ 6484560 h 7419095"/>
              <a:gd name="connsiteX1231" fmla="*/ 2368077 w 9126537"/>
              <a:gd name="connsiteY1231" fmla="*/ 6500515 h 7419095"/>
              <a:gd name="connsiteX1232" fmla="*/ 2322581 w 9126537"/>
              <a:gd name="connsiteY1232" fmla="*/ 6484560 h 7419095"/>
              <a:gd name="connsiteX1233" fmla="*/ 2340779 w 9126537"/>
              <a:gd name="connsiteY1233" fmla="*/ 6532426 h 7419095"/>
              <a:gd name="connsiteX1234" fmla="*/ 2315757 w 9126537"/>
              <a:gd name="connsiteY1234" fmla="*/ 6527867 h 7419095"/>
              <a:gd name="connsiteX1235" fmla="*/ 2304382 w 9126537"/>
              <a:gd name="connsiteY1235" fmla="*/ 6498236 h 7419095"/>
              <a:gd name="connsiteX1236" fmla="*/ 2279360 w 9126537"/>
              <a:gd name="connsiteY1236" fmla="*/ 6500515 h 7419095"/>
              <a:gd name="connsiteX1237" fmla="*/ 2270260 w 9126537"/>
              <a:gd name="connsiteY1237" fmla="*/ 6459487 h 7419095"/>
              <a:gd name="connsiteX1238" fmla="*/ 2306657 w 9126537"/>
              <a:gd name="connsiteY1238" fmla="*/ 6443531 h 7419095"/>
              <a:gd name="connsiteX1239" fmla="*/ 2306657 w 9126537"/>
              <a:gd name="connsiteY1239" fmla="*/ 6401674 h 7419095"/>
              <a:gd name="connsiteX1240" fmla="*/ 2329405 w 9126537"/>
              <a:gd name="connsiteY1240" fmla="*/ 6393385 h 7419095"/>
              <a:gd name="connsiteX1241" fmla="*/ 2352153 w 9126537"/>
              <a:gd name="connsiteY1241" fmla="*/ 6397944 h 7419095"/>
              <a:gd name="connsiteX1242" fmla="*/ 2356702 w 9126537"/>
              <a:gd name="connsiteY1242" fmla="*/ 6416179 h 7419095"/>
              <a:gd name="connsiteX1243" fmla="*/ 2368077 w 9126537"/>
              <a:gd name="connsiteY1243" fmla="*/ 6402503 h 7419095"/>
              <a:gd name="connsiteX1244" fmla="*/ 2340779 w 9126537"/>
              <a:gd name="connsiteY1244" fmla="*/ 6345519 h 7419095"/>
              <a:gd name="connsiteX1245" fmla="*/ 2324856 w 9126537"/>
              <a:gd name="connsiteY1245" fmla="*/ 6354636 h 7419095"/>
              <a:gd name="connsiteX1246" fmla="*/ 2299833 w 9126537"/>
              <a:gd name="connsiteY1246" fmla="*/ 6336402 h 7419095"/>
              <a:gd name="connsiteX1247" fmla="*/ 2286184 w 9126537"/>
              <a:gd name="connsiteY1247" fmla="*/ 6320446 h 7419095"/>
              <a:gd name="connsiteX1248" fmla="*/ 2336230 w 9126537"/>
              <a:gd name="connsiteY1248" fmla="*/ 6302211 h 7419095"/>
              <a:gd name="connsiteX1249" fmla="*/ 2340779 w 9126537"/>
              <a:gd name="connsiteY1249" fmla="*/ 6302211 h 7419095"/>
              <a:gd name="connsiteX1250" fmla="*/ 2354428 w 9126537"/>
              <a:gd name="connsiteY1250" fmla="*/ 6325005 h 7419095"/>
              <a:gd name="connsiteX1251" fmla="*/ 2345329 w 9126537"/>
              <a:gd name="connsiteY1251" fmla="*/ 6272580 h 7419095"/>
              <a:gd name="connsiteX1252" fmla="*/ 2313482 w 9126537"/>
              <a:gd name="connsiteY1252" fmla="*/ 6283976 h 7419095"/>
              <a:gd name="connsiteX1253" fmla="*/ 2281634 w 9126537"/>
              <a:gd name="connsiteY1253" fmla="*/ 6318167 h 7419095"/>
              <a:gd name="connsiteX1254" fmla="*/ 2263436 w 9126537"/>
              <a:gd name="connsiteY1254" fmla="*/ 6293094 h 7419095"/>
              <a:gd name="connsiteX1255" fmla="*/ 2258886 w 9126537"/>
              <a:gd name="connsiteY1255" fmla="*/ 6274859 h 7419095"/>
              <a:gd name="connsiteX1256" fmla="*/ 2258886 w 9126537"/>
              <a:gd name="connsiteY1256" fmla="*/ 6208758 h 7419095"/>
              <a:gd name="connsiteX1257" fmla="*/ 2217940 w 9126537"/>
              <a:gd name="connsiteY1257" fmla="*/ 6181405 h 7419095"/>
              <a:gd name="connsiteX1258" fmla="*/ 2197466 w 9126537"/>
              <a:gd name="connsiteY1258" fmla="*/ 6167729 h 7419095"/>
              <a:gd name="connsiteX1259" fmla="*/ 2145146 w 9126537"/>
              <a:gd name="connsiteY1259" fmla="*/ 6158612 h 7419095"/>
              <a:gd name="connsiteX1260" fmla="*/ 2126947 w 9126537"/>
              <a:gd name="connsiteY1260" fmla="*/ 6154053 h 7419095"/>
              <a:gd name="connsiteX1261" fmla="*/ 2172443 w 9126537"/>
              <a:gd name="connsiteY1261" fmla="*/ 6142656 h 7419095"/>
              <a:gd name="connsiteX1262" fmla="*/ 2126947 w 9126537"/>
              <a:gd name="connsiteY1262" fmla="*/ 6101628 h 7419095"/>
              <a:gd name="connsiteX1263" fmla="*/ 2124672 w 9126537"/>
              <a:gd name="connsiteY1263" fmla="*/ 6065158 h 7419095"/>
              <a:gd name="connsiteX1264" fmla="*/ 2122398 w 9126537"/>
              <a:gd name="connsiteY1264" fmla="*/ 6030968 h 7419095"/>
              <a:gd name="connsiteX1265" fmla="*/ 2117847 w 9126537"/>
              <a:gd name="connsiteY1265" fmla="*/ 6001336 h 7419095"/>
              <a:gd name="connsiteX1266" fmla="*/ 2097374 w 9126537"/>
              <a:gd name="connsiteY1266" fmla="*/ 5989940 h 7419095"/>
              <a:gd name="connsiteX1267" fmla="*/ 2086001 w 9126537"/>
              <a:gd name="connsiteY1267" fmla="*/ 6008174 h 7419095"/>
              <a:gd name="connsiteX1268" fmla="*/ 2086001 w 9126537"/>
              <a:gd name="connsiteY1268" fmla="*/ 6019571 h 7419095"/>
              <a:gd name="connsiteX1269" fmla="*/ 2038230 w 9126537"/>
              <a:gd name="connsiteY1269" fmla="*/ 6021851 h 7419095"/>
              <a:gd name="connsiteX1270" fmla="*/ 2031405 w 9126537"/>
              <a:gd name="connsiteY1270" fmla="*/ 6019571 h 7419095"/>
              <a:gd name="connsiteX1271" fmla="*/ 2035954 w 9126537"/>
              <a:gd name="connsiteY1271" fmla="*/ 6008174 h 7419095"/>
              <a:gd name="connsiteX1272" fmla="*/ 2067802 w 9126537"/>
              <a:gd name="connsiteY1272" fmla="*/ 5976264 h 7419095"/>
              <a:gd name="connsiteX1273" fmla="*/ 2020031 w 9126537"/>
              <a:gd name="connsiteY1273" fmla="*/ 5971705 h 7419095"/>
              <a:gd name="connsiteX1274" fmla="*/ 1984771 w 9126537"/>
              <a:gd name="connsiteY1274" fmla="*/ 5997062 h 7419095"/>
              <a:gd name="connsiteX1275" fmla="*/ 1951355 w 9126537"/>
              <a:gd name="connsiteY1275" fmla="*/ 6022714 h 7419095"/>
              <a:gd name="connsiteX1276" fmla="*/ 1963161 w 9126537"/>
              <a:gd name="connsiteY1276" fmla="*/ 5999057 h 7419095"/>
              <a:gd name="connsiteX1277" fmla="*/ 1981359 w 9126537"/>
              <a:gd name="connsiteY1277" fmla="*/ 5976264 h 7419095"/>
              <a:gd name="connsiteX1278" fmla="*/ 1979085 w 9126537"/>
              <a:gd name="connsiteY1278" fmla="*/ 5976264 h 7419095"/>
              <a:gd name="connsiteX1279" fmla="*/ 1995008 w 9126537"/>
              <a:gd name="connsiteY1279" fmla="*/ 5971705 h 7419095"/>
              <a:gd name="connsiteX1280" fmla="*/ 2015481 w 9126537"/>
              <a:gd name="connsiteY1280" fmla="*/ 5955749 h 7419095"/>
              <a:gd name="connsiteX1281" fmla="*/ 2010932 w 9126537"/>
              <a:gd name="connsiteY1281" fmla="*/ 5937514 h 7419095"/>
              <a:gd name="connsiteX1282" fmla="*/ 2010932 w 9126537"/>
              <a:gd name="connsiteY1282" fmla="*/ 5898765 h 7419095"/>
              <a:gd name="connsiteX1283" fmla="*/ 1987046 w 9126537"/>
              <a:gd name="connsiteY1283" fmla="*/ 5876257 h 7419095"/>
              <a:gd name="connsiteX1284" fmla="*/ 1958190 w 9126537"/>
              <a:gd name="connsiteY1284" fmla="*/ 5863139 h 7419095"/>
              <a:gd name="connsiteX1285" fmla="*/ 1958611 w 9126537"/>
              <a:gd name="connsiteY1285" fmla="*/ 5862296 h 7419095"/>
              <a:gd name="connsiteX1286" fmla="*/ 1956336 w 9126537"/>
              <a:gd name="connsiteY1286" fmla="*/ 5862296 h 7419095"/>
              <a:gd name="connsiteX1287" fmla="*/ 1983634 w 9126537"/>
              <a:gd name="connsiteY1287" fmla="*/ 5850899 h 7419095"/>
              <a:gd name="connsiteX1288" fmla="*/ 2020031 w 9126537"/>
              <a:gd name="connsiteY1288" fmla="*/ 5803033 h 7419095"/>
              <a:gd name="connsiteX1289" fmla="*/ 1983634 w 9126537"/>
              <a:gd name="connsiteY1289" fmla="*/ 5784798 h 7419095"/>
              <a:gd name="connsiteX1290" fmla="*/ 1867619 w 9126537"/>
              <a:gd name="connsiteY1290" fmla="*/ 5791636 h 7419095"/>
              <a:gd name="connsiteX1291" fmla="*/ 1865343 w 9126537"/>
              <a:gd name="connsiteY1291" fmla="*/ 5830385 h 7419095"/>
              <a:gd name="connsiteX1292" fmla="*/ 1924489 w 9126537"/>
              <a:gd name="connsiteY1292" fmla="*/ 5841782 h 7419095"/>
              <a:gd name="connsiteX1293" fmla="*/ 1924489 w 9126537"/>
              <a:gd name="connsiteY1293" fmla="*/ 5862296 h 7419095"/>
              <a:gd name="connsiteX1294" fmla="*/ 1956336 w 9126537"/>
              <a:gd name="connsiteY1294" fmla="*/ 5862296 h 7419095"/>
              <a:gd name="connsiteX1295" fmla="*/ 1958190 w 9126537"/>
              <a:gd name="connsiteY1295" fmla="*/ 5863139 h 7419095"/>
              <a:gd name="connsiteX1296" fmla="*/ 1942688 w 9126537"/>
              <a:gd name="connsiteY1296" fmla="*/ 5894207 h 7419095"/>
              <a:gd name="connsiteX1297" fmla="*/ 1979085 w 9126537"/>
              <a:gd name="connsiteY1297" fmla="*/ 5921559 h 7419095"/>
              <a:gd name="connsiteX1298" fmla="*/ 1901740 w 9126537"/>
              <a:gd name="connsiteY1298" fmla="*/ 5912442 h 7419095"/>
              <a:gd name="connsiteX1299" fmla="*/ 1851695 w 9126537"/>
              <a:gd name="connsiteY1299" fmla="*/ 5958029 h 7419095"/>
              <a:gd name="connsiteX1300" fmla="*/ 1842595 w 9126537"/>
              <a:gd name="connsiteY1300" fmla="*/ 5960308 h 7419095"/>
              <a:gd name="connsiteX1301" fmla="*/ 1840321 w 9126537"/>
              <a:gd name="connsiteY1301" fmla="*/ 5946632 h 7419095"/>
              <a:gd name="connsiteX1302" fmla="*/ 1851695 w 9126537"/>
              <a:gd name="connsiteY1302" fmla="*/ 5928397 h 7419095"/>
              <a:gd name="connsiteX1303" fmla="*/ 1828947 w 9126537"/>
              <a:gd name="connsiteY1303" fmla="*/ 5885089 h 7419095"/>
              <a:gd name="connsiteX1304" fmla="*/ 1813023 w 9126537"/>
              <a:gd name="connsiteY1304" fmla="*/ 5853178 h 7419095"/>
              <a:gd name="connsiteX1305" fmla="*/ 1792550 w 9126537"/>
              <a:gd name="connsiteY1305" fmla="*/ 5816709 h 7419095"/>
              <a:gd name="connsiteX1306" fmla="*/ 1797099 w 9126537"/>
              <a:gd name="connsiteY1306" fmla="*/ 5787077 h 7419095"/>
              <a:gd name="connsiteX1307" fmla="*/ 1762978 w 9126537"/>
              <a:gd name="connsiteY1307" fmla="*/ 5768842 h 7419095"/>
              <a:gd name="connsiteX1308" fmla="*/ 1692459 w 9126537"/>
              <a:gd name="connsiteY1308" fmla="*/ 5798474 h 7419095"/>
              <a:gd name="connsiteX1309" fmla="*/ 1676535 w 9126537"/>
              <a:gd name="connsiteY1309" fmla="*/ 5821267 h 7419095"/>
              <a:gd name="connsiteX1310" fmla="*/ 1676535 w 9126537"/>
              <a:gd name="connsiteY1310" fmla="*/ 5818988 h 7419095"/>
              <a:gd name="connsiteX1311" fmla="*/ 1560519 w 9126537"/>
              <a:gd name="connsiteY1311" fmla="*/ 5882810 h 7419095"/>
              <a:gd name="connsiteX1312" fmla="*/ 1537771 w 9126537"/>
              <a:gd name="connsiteY1312" fmla="*/ 5853178 h 7419095"/>
              <a:gd name="connsiteX1313" fmla="*/ 1524122 w 9126537"/>
              <a:gd name="connsiteY1313" fmla="*/ 5855458 h 7419095"/>
              <a:gd name="connsiteX1314" fmla="*/ 1485450 w 9126537"/>
              <a:gd name="connsiteY1314" fmla="*/ 5882810 h 7419095"/>
              <a:gd name="connsiteX1315" fmla="*/ 1503649 w 9126537"/>
              <a:gd name="connsiteY1315" fmla="*/ 5921559 h 7419095"/>
              <a:gd name="connsiteX1316" fmla="*/ 1380809 w 9126537"/>
              <a:gd name="connsiteY1316" fmla="*/ 5926118 h 7419095"/>
              <a:gd name="connsiteX1317" fmla="*/ 1335313 w 9126537"/>
              <a:gd name="connsiteY1317" fmla="*/ 5930676 h 7419095"/>
              <a:gd name="connsiteX1318" fmla="*/ 1237496 w 9126537"/>
              <a:gd name="connsiteY1318" fmla="*/ 5942073 h 7419095"/>
              <a:gd name="connsiteX1319" fmla="*/ 1212474 w 9126537"/>
              <a:gd name="connsiteY1319" fmla="*/ 5978543 h 7419095"/>
              <a:gd name="connsiteX1320" fmla="*/ 1198825 w 9126537"/>
              <a:gd name="connsiteY1320" fmla="*/ 5983102 h 7419095"/>
              <a:gd name="connsiteX1321" fmla="*/ 1148778 w 9126537"/>
              <a:gd name="connsiteY1321" fmla="*/ 6012733 h 7419095"/>
              <a:gd name="connsiteX1322" fmla="*/ 1089633 w 9126537"/>
              <a:gd name="connsiteY1322" fmla="*/ 6028689 h 7419095"/>
              <a:gd name="connsiteX1323" fmla="*/ 1048687 w 9126537"/>
              <a:gd name="connsiteY1323" fmla="*/ 6056041 h 7419095"/>
              <a:gd name="connsiteX1324" fmla="*/ 1023664 w 9126537"/>
              <a:gd name="connsiteY1324" fmla="*/ 6078834 h 7419095"/>
              <a:gd name="connsiteX1325" fmla="*/ 969069 w 9126537"/>
              <a:gd name="connsiteY1325" fmla="*/ 6142656 h 7419095"/>
              <a:gd name="connsiteX1326" fmla="*/ 937222 w 9126537"/>
              <a:gd name="connsiteY1326" fmla="*/ 6188244 h 7419095"/>
              <a:gd name="connsiteX1327" fmla="*/ 898549 w 9126537"/>
              <a:gd name="connsiteY1327" fmla="*/ 6226993 h 7419095"/>
              <a:gd name="connsiteX1328" fmla="*/ 839404 w 9126537"/>
              <a:gd name="connsiteY1328" fmla="*/ 6268021 h 7419095"/>
              <a:gd name="connsiteX1329" fmla="*/ 814381 w 9126537"/>
              <a:gd name="connsiteY1329" fmla="*/ 6268021 h 7419095"/>
              <a:gd name="connsiteX1330" fmla="*/ 839404 w 9126537"/>
              <a:gd name="connsiteY1330" fmla="*/ 6233831 h 7419095"/>
              <a:gd name="connsiteX1331" fmla="*/ 925847 w 9126537"/>
              <a:gd name="connsiteY1331" fmla="*/ 6174567 h 7419095"/>
              <a:gd name="connsiteX1332" fmla="*/ 944046 w 9126537"/>
              <a:gd name="connsiteY1332" fmla="*/ 6158612 h 7419095"/>
              <a:gd name="connsiteX1333" fmla="*/ 941771 w 9126537"/>
              <a:gd name="connsiteY1333" fmla="*/ 6144936 h 7419095"/>
              <a:gd name="connsiteX1334" fmla="*/ 928122 w 9126537"/>
              <a:gd name="connsiteY1334" fmla="*/ 6140377 h 7419095"/>
              <a:gd name="connsiteX1335" fmla="*/ 905374 w 9126537"/>
              <a:gd name="connsiteY1335" fmla="*/ 6158612 h 7419095"/>
              <a:gd name="connsiteX1336" fmla="*/ 843954 w 9126537"/>
              <a:gd name="connsiteY1336" fmla="*/ 6188244 h 7419095"/>
              <a:gd name="connsiteX1337" fmla="*/ 875801 w 9126537"/>
              <a:gd name="connsiteY1337" fmla="*/ 6124422 h 7419095"/>
              <a:gd name="connsiteX1338" fmla="*/ 905374 w 9126537"/>
              <a:gd name="connsiteY1338" fmla="*/ 6085673 h 7419095"/>
              <a:gd name="connsiteX1339" fmla="*/ 905374 w 9126537"/>
              <a:gd name="connsiteY1339" fmla="*/ 6087952 h 7419095"/>
              <a:gd name="connsiteX1340" fmla="*/ 934946 w 9126537"/>
              <a:gd name="connsiteY1340" fmla="*/ 6085673 h 7419095"/>
              <a:gd name="connsiteX1341" fmla="*/ 930397 w 9126537"/>
              <a:gd name="connsiteY1341" fmla="*/ 6103907 h 7419095"/>
              <a:gd name="connsiteX1342" fmla="*/ 946321 w 9126537"/>
              <a:gd name="connsiteY1342" fmla="*/ 6085673 h 7419095"/>
              <a:gd name="connsiteX1343" fmla="*/ 946321 w 9126537"/>
              <a:gd name="connsiteY1343" fmla="*/ 6074276 h 7419095"/>
              <a:gd name="connsiteX1344" fmla="*/ 1082809 w 9126537"/>
              <a:gd name="connsiteY1344" fmla="*/ 5980822 h 7419095"/>
              <a:gd name="connsiteX1345" fmla="*/ 1101008 w 9126537"/>
              <a:gd name="connsiteY1345" fmla="*/ 5964867 h 7419095"/>
              <a:gd name="connsiteX1346" fmla="*/ 1155603 w 9126537"/>
              <a:gd name="connsiteY1346" fmla="*/ 5930676 h 7419095"/>
              <a:gd name="connsiteX1347" fmla="*/ 1201100 w 9126537"/>
              <a:gd name="connsiteY1347" fmla="*/ 5907883 h 7419095"/>
              <a:gd name="connsiteX1348" fmla="*/ 1221573 w 9126537"/>
              <a:gd name="connsiteY1348" fmla="*/ 5923838 h 7419095"/>
              <a:gd name="connsiteX1349" fmla="*/ 1289816 w 9126537"/>
              <a:gd name="connsiteY1349" fmla="*/ 5894207 h 7419095"/>
              <a:gd name="connsiteX1350" fmla="*/ 1351236 w 9126537"/>
              <a:gd name="connsiteY1350" fmla="*/ 5862296 h 7419095"/>
              <a:gd name="connsiteX1351" fmla="*/ 1373984 w 9126537"/>
              <a:gd name="connsiteY1351" fmla="*/ 5894207 h 7419095"/>
              <a:gd name="connsiteX1352" fmla="*/ 1344618 w 9126537"/>
              <a:gd name="connsiteY1352" fmla="*/ 5892105 h 7419095"/>
              <a:gd name="connsiteX1353" fmla="*/ 1344412 w 9126537"/>
              <a:gd name="connsiteY1353" fmla="*/ 5891927 h 7419095"/>
              <a:gd name="connsiteX1354" fmla="*/ 1343730 w 9126537"/>
              <a:gd name="connsiteY1354" fmla="*/ 5892041 h 7419095"/>
              <a:gd name="connsiteX1355" fmla="*/ 1342138 w 9126537"/>
              <a:gd name="connsiteY1355" fmla="*/ 5891927 h 7419095"/>
              <a:gd name="connsiteX1356" fmla="*/ 1333820 w 9126537"/>
              <a:gd name="connsiteY1356" fmla="*/ 5887761 h 7419095"/>
              <a:gd name="connsiteX1357" fmla="*/ 1333086 w 9126537"/>
              <a:gd name="connsiteY1357" fmla="*/ 5893819 h 7419095"/>
              <a:gd name="connsiteX1358" fmla="*/ 1330764 w 9126537"/>
              <a:gd name="connsiteY1358" fmla="*/ 5894207 h 7419095"/>
              <a:gd name="connsiteX1359" fmla="*/ 1319390 w 9126537"/>
              <a:gd name="connsiteY1359" fmla="*/ 5894207 h 7419095"/>
              <a:gd name="connsiteX1360" fmla="*/ 1310290 w 9126537"/>
              <a:gd name="connsiteY1360" fmla="*/ 5905604 h 7419095"/>
              <a:gd name="connsiteX1361" fmla="*/ 1312565 w 9126537"/>
              <a:gd name="connsiteY1361" fmla="*/ 5910162 h 7419095"/>
              <a:gd name="connsiteX1362" fmla="*/ 1326214 w 9126537"/>
              <a:gd name="connsiteY1362" fmla="*/ 5905604 h 7419095"/>
              <a:gd name="connsiteX1363" fmla="*/ 1330764 w 9126537"/>
              <a:gd name="connsiteY1363" fmla="*/ 5894207 h 7419095"/>
              <a:gd name="connsiteX1364" fmla="*/ 1333039 w 9126537"/>
              <a:gd name="connsiteY1364" fmla="*/ 5894207 h 7419095"/>
              <a:gd name="connsiteX1365" fmla="*/ 1333086 w 9126537"/>
              <a:gd name="connsiteY1365" fmla="*/ 5893819 h 7419095"/>
              <a:gd name="connsiteX1366" fmla="*/ 1343730 w 9126537"/>
              <a:gd name="connsiteY1366" fmla="*/ 5892041 h 7419095"/>
              <a:gd name="connsiteX1367" fmla="*/ 1344618 w 9126537"/>
              <a:gd name="connsiteY1367" fmla="*/ 5892105 h 7419095"/>
              <a:gd name="connsiteX1368" fmla="*/ 1356640 w 9126537"/>
              <a:gd name="connsiteY1368" fmla="*/ 5902470 h 7419095"/>
              <a:gd name="connsiteX1369" fmla="*/ 1373984 w 9126537"/>
              <a:gd name="connsiteY1369" fmla="*/ 5894207 h 7419095"/>
              <a:gd name="connsiteX1370" fmla="*/ 1387633 w 9126537"/>
              <a:gd name="connsiteY1370" fmla="*/ 5894207 h 7419095"/>
              <a:gd name="connsiteX1371" fmla="*/ 1433130 w 9126537"/>
              <a:gd name="connsiteY1371" fmla="*/ 5871413 h 7419095"/>
              <a:gd name="connsiteX1372" fmla="*/ 1453603 w 9126537"/>
              <a:gd name="connsiteY1372" fmla="*/ 5878251 h 7419095"/>
              <a:gd name="connsiteX1373" fmla="*/ 1455878 w 9126537"/>
              <a:gd name="connsiteY1373" fmla="*/ 5818988 h 7419095"/>
              <a:gd name="connsiteX1374" fmla="*/ 1412657 w 9126537"/>
              <a:gd name="connsiteY1374" fmla="*/ 5832664 h 7419095"/>
              <a:gd name="connsiteX1375" fmla="*/ 1412657 w 9126537"/>
              <a:gd name="connsiteY1375" fmla="*/ 5830385 h 7419095"/>
              <a:gd name="connsiteX1376" fmla="*/ 1430855 w 9126537"/>
              <a:gd name="connsiteY1376" fmla="*/ 5816709 h 7419095"/>
              <a:gd name="connsiteX1377" fmla="*/ 1464409 w 9126537"/>
              <a:gd name="connsiteY1377" fmla="*/ 5797334 h 7419095"/>
              <a:gd name="connsiteX1378" fmla="*/ 1493067 w 9126537"/>
              <a:gd name="connsiteY1378" fmla="*/ 5772411 h 7419095"/>
              <a:gd name="connsiteX1379" fmla="*/ 1494550 w 9126537"/>
              <a:gd name="connsiteY1379" fmla="*/ 5773401 h 7419095"/>
              <a:gd name="connsiteX1380" fmla="*/ 1496618 w 9126537"/>
              <a:gd name="connsiteY1380" fmla="*/ 5770006 h 7419095"/>
              <a:gd name="connsiteX1381" fmla="*/ 1524122 w 9126537"/>
              <a:gd name="connsiteY1381" fmla="*/ 5755166 h 7419095"/>
              <a:gd name="connsiteX1382" fmla="*/ 1526397 w 9126537"/>
              <a:gd name="connsiteY1382" fmla="*/ 5734652 h 7419095"/>
              <a:gd name="connsiteX1383" fmla="*/ 1507914 w 9126537"/>
              <a:gd name="connsiteY1383" fmla="*/ 5751462 h 7419095"/>
              <a:gd name="connsiteX1384" fmla="*/ 1496618 w 9126537"/>
              <a:gd name="connsiteY1384" fmla="*/ 5770006 h 7419095"/>
              <a:gd name="connsiteX1385" fmla="*/ 1494550 w 9126537"/>
              <a:gd name="connsiteY1385" fmla="*/ 5771122 h 7419095"/>
              <a:gd name="connsiteX1386" fmla="*/ 1493067 w 9126537"/>
              <a:gd name="connsiteY1386" fmla="*/ 5772411 h 7419095"/>
              <a:gd name="connsiteX1387" fmla="*/ 1476803 w 9126537"/>
              <a:gd name="connsiteY1387" fmla="*/ 5761546 h 7419095"/>
              <a:gd name="connsiteX1388" fmla="*/ 1496825 w 9126537"/>
              <a:gd name="connsiteY1388" fmla="*/ 5741205 h 7419095"/>
              <a:gd name="connsiteX1389" fmla="*/ 1517298 w 9126537"/>
              <a:gd name="connsiteY1389" fmla="*/ 5718696 h 7419095"/>
              <a:gd name="connsiteX1390" fmla="*/ 1549145 w 9126537"/>
              <a:gd name="connsiteY1390" fmla="*/ 5677668 h 7419095"/>
              <a:gd name="connsiteX1391" fmla="*/ 1551420 w 9126537"/>
              <a:gd name="connsiteY1391" fmla="*/ 5654874 h 7419095"/>
              <a:gd name="connsiteX1392" fmla="*/ 1587817 w 9126537"/>
              <a:gd name="connsiteY1392" fmla="*/ 5609287 h 7419095"/>
              <a:gd name="connsiteX1393" fmla="*/ 1558245 w 9126537"/>
              <a:gd name="connsiteY1393" fmla="*/ 5611567 h 7419095"/>
              <a:gd name="connsiteX1394" fmla="*/ 1460428 w 9126537"/>
              <a:gd name="connsiteY1394" fmla="*/ 5663992 h 7419095"/>
              <a:gd name="connsiteX1395" fmla="*/ 1435405 w 9126537"/>
              <a:gd name="connsiteY1395" fmla="*/ 5661713 h 7419095"/>
              <a:gd name="connsiteX1396" fmla="*/ 1462702 w 9126537"/>
              <a:gd name="connsiteY1396" fmla="*/ 5641198 h 7419095"/>
              <a:gd name="connsiteX1397" fmla="*/ 1499099 w 9126537"/>
              <a:gd name="connsiteY1397" fmla="*/ 5627522 h 7419095"/>
              <a:gd name="connsiteX1398" fmla="*/ 1549145 w 9126537"/>
              <a:gd name="connsiteY1398" fmla="*/ 5561421 h 7419095"/>
              <a:gd name="connsiteX1399" fmla="*/ 1574043 w 9126537"/>
              <a:gd name="connsiteY1399" fmla="*/ 5559342 h 7419095"/>
              <a:gd name="connsiteX1400" fmla="*/ 1562794 w 9126537"/>
              <a:gd name="connsiteY1400" fmla="*/ 5577376 h 7419095"/>
              <a:gd name="connsiteX1401" fmla="*/ 1612840 w 9126537"/>
              <a:gd name="connsiteY1401" fmla="*/ 5545465 h 7419095"/>
              <a:gd name="connsiteX1402" fmla="*/ 1633313 w 9126537"/>
              <a:gd name="connsiteY1402" fmla="*/ 5520393 h 7419095"/>
              <a:gd name="connsiteX1403" fmla="*/ 1653787 w 9126537"/>
              <a:gd name="connsiteY1403" fmla="*/ 5506716 h 7419095"/>
              <a:gd name="connsiteX1404" fmla="*/ 1653787 w 9126537"/>
              <a:gd name="connsiteY1404" fmla="*/ 5493040 h 7419095"/>
              <a:gd name="connsiteX1405" fmla="*/ 1642412 w 9126537"/>
              <a:gd name="connsiteY1405" fmla="*/ 5483923 h 7419095"/>
              <a:gd name="connsiteX1406" fmla="*/ 1628764 w 9126537"/>
              <a:gd name="connsiteY1406" fmla="*/ 5488482 h 7419095"/>
              <a:gd name="connsiteX1407" fmla="*/ 1606015 w 9126537"/>
              <a:gd name="connsiteY1407" fmla="*/ 5499878 h 7419095"/>
              <a:gd name="connsiteX1408" fmla="*/ 1555970 w 9126537"/>
              <a:gd name="connsiteY1408" fmla="*/ 5477085 h 7419095"/>
              <a:gd name="connsiteX1409" fmla="*/ 1565069 w 9126537"/>
              <a:gd name="connsiteY1409" fmla="*/ 5465688 h 7419095"/>
              <a:gd name="connsiteX1410" fmla="*/ 1574168 w 9126537"/>
              <a:gd name="connsiteY1410" fmla="*/ 5465688 h 7419095"/>
              <a:gd name="connsiteX1411" fmla="*/ 1578718 w 9126537"/>
              <a:gd name="connsiteY1411" fmla="*/ 5461129 h 7419095"/>
              <a:gd name="connsiteX1412" fmla="*/ 1569619 w 9126537"/>
              <a:gd name="connsiteY1412" fmla="*/ 5458850 h 7419095"/>
              <a:gd name="connsiteX1413" fmla="*/ 1565069 w 9126537"/>
              <a:gd name="connsiteY1413" fmla="*/ 5465688 h 7419095"/>
              <a:gd name="connsiteX1414" fmla="*/ 1551420 w 9126537"/>
              <a:gd name="connsiteY1414" fmla="*/ 5472526 h 7419095"/>
              <a:gd name="connsiteX1415" fmla="*/ 1494550 w 9126537"/>
              <a:gd name="connsiteY1415" fmla="*/ 5497599 h 7419095"/>
              <a:gd name="connsiteX1416" fmla="*/ 1483176 w 9126537"/>
              <a:gd name="connsiteY1416" fmla="*/ 5499878 h 7419095"/>
              <a:gd name="connsiteX1417" fmla="*/ 1442229 w 9126537"/>
              <a:gd name="connsiteY1417" fmla="*/ 5511275 h 7419095"/>
              <a:gd name="connsiteX1418" fmla="*/ 1353512 w 9126537"/>
              <a:gd name="connsiteY1418" fmla="*/ 5556862 h 7419095"/>
              <a:gd name="connsiteX1419" fmla="*/ 1301191 w 9126537"/>
              <a:gd name="connsiteY1419" fmla="*/ 5586494 h 7419095"/>
              <a:gd name="connsiteX1420" fmla="*/ 1285267 w 9126537"/>
              <a:gd name="connsiteY1420" fmla="*/ 5595611 h 7419095"/>
              <a:gd name="connsiteX1421" fmla="*/ 1187450 w 9126537"/>
              <a:gd name="connsiteY1421" fmla="*/ 5650316 h 7419095"/>
              <a:gd name="connsiteX1422" fmla="*/ 1173801 w 9126537"/>
              <a:gd name="connsiteY1422" fmla="*/ 5663992 h 7419095"/>
              <a:gd name="connsiteX1423" fmla="*/ 1141954 w 9126537"/>
              <a:gd name="connsiteY1423" fmla="*/ 5689065 h 7419095"/>
              <a:gd name="connsiteX1424" fmla="*/ 1050962 w 9126537"/>
              <a:gd name="connsiteY1424" fmla="*/ 5741490 h 7419095"/>
              <a:gd name="connsiteX1425" fmla="*/ 1048687 w 9126537"/>
              <a:gd name="connsiteY1425" fmla="*/ 5766563 h 7419095"/>
              <a:gd name="connsiteX1426" fmla="*/ 980443 w 9126537"/>
              <a:gd name="connsiteY1426" fmla="*/ 5793915 h 7419095"/>
              <a:gd name="connsiteX1427" fmla="*/ 914473 w 9126537"/>
              <a:gd name="connsiteY1427" fmla="*/ 5837223 h 7419095"/>
              <a:gd name="connsiteX1428" fmla="*/ 955419 w 9126537"/>
              <a:gd name="connsiteY1428" fmla="*/ 5862296 h 7419095"/>
              <a:gd name="connsiteX1429" fmla="*/ 834855 w 9126537"/>
              <a:gd name="connsiteY1429" fmla="*/ 5891927 h 7419095"/>
              <a:gd name="connsiteX1430" fmla="*/ 848504 w 9126537"/>
              <a:gd name="connsiteY1430" fmla="*/ 5921559 h 7419095"/>
              <a:gd name="connsiteX1431" fmla="*/ 818931 w 9126537"/>
              <a:gd name="connsiteY1431" fmla="*/ 5942073 h 7419095"/>
              <a:gd name="connsiteX1432" fmla="*/ 809832 w 9126537"/>
              <a:gd name="connsiteY1432" fmla="*/ 5932956 h 7419095"/>
              <a:gd name="connsiteX1433" fmla="*/ 809832 w 9126537"/>
              <a:gd name="connsiteY1433" fmla="*/ 5917000 h 7419095"/>
              <a:gd name="connsiteX1434" fmla="*/ 814381 w 9126537"/>
              <a:gd name="connsiteY1434" fmla="*/ 5864575 h 7419095"/>
              <a:gd name="connsiteX1435" fmla="*/ 750687 w 9126537"/>
              <a:gd name="connsiteY1435" fmla="*/ 5848620 h 7419095"/>
              <a:gd name="connsiteX1436" fmla="*/ 780260 w 9126537"/>
              <a:gd name="connsiteY1436" fmla="*/ 5814429 h 7419095"/>
              <a:gd name="connsiteX1437" fmla="*/ 803008 w 9126537"/>
              <a:gd name="connsiteY1437" fmla="*/ 5787077 h 7419095"/>
              <a:gd name="connsiteX1438" fmla="*/ 834855 w 9126537"/>
              <a:gd name="connsiteY1438" fmla="*/ 5725534 h 7419095"/>
              <a:gd name="connsiteX1439" fmla="*/ 843954 w 9126537"/>
              <a:gd name="connsiteY1439" fmla="*/ 5743769 h 7419095"/>
              <a:gd name="connsiteX1440" fmla="*/ 835987 w 9126537"/>
              <a:gd name="connsiteY1440" fmla="*/ 5759737 h 7419095"/>
              <a:gd name="connsiteX1441" fmla="*/ 834855 w 9126537"/>
              <a:gd name="connsiteY1441" fmla="*/ 5759725 h 7419095"/>
              <a:gd name="connsiteX1442" fmla="*/ 823480 w 9126537"/>
              <a:gd name="connsiteY1442" fmla="*/ 5766563 h 7419095"/>
              <a:gd name="connsiteX1443" fmla="*/ 823480 w 9126537"/>
              <a:gd name="connsiteY1443" fmla="*/ 5768842 h 7419095"/>
              <a:gd name="connsiteX1444" fmla="*/ 834855 w 9126537"/>
              <a:gd name="connsiteY1444" fmla="*/ 5762004 h 7419095"/>
              <a:gd name="connsiteX1445" fmla="*/ 835987 w 9126537"/>
              <a:gd name="connsiteY1445" fmla="*/ 5759737 h 7419095"/>
              <a:gd name="connsiteX1446" fmla="*/ 861584 w 9126537"/>
              <a:gd name="connsiteY1446" fmla="*/ 5760010 h 7419095"/>
              <a:gd name="connsiteX1447" fmla="*/ 884901 w 9126537"/>
              <a:gd name="connsiteY1447" fmla="*/ 5748328 h 7419095"/>
              <a:gd name="connsiteX1448" fmla="*/ 905374 w 9126537"/>
              <a:gd name="connsiteY1448" fmla="*/ 5734652 h 7419095"/>
              <a:gd name="connsiteX1449" fmla="*/ 925847 w 9126537"/>
              <a:gd name="connsiteY1449" fmla="*/ 5750607 h 7419095"/>
              <a:gd name="connsiteX1450" fmla="*/ 912198 w 9126537"/>
              <a:gd name="connsiteY1450" fmla="*/ 5750607 h 7419095"/>
              <a:gd name="connsiteX1451" fmla="*/ 907649 w 9126537"/>
              <a:gd name="connsiteY1451" fmla="*/ 5762004 h 7419095"/>
              <a:gd name="connsiteX1452" fmla="*/ 919022 w 9126537"/>
              <a:gd name="connsiteY1452" fmla="*/ 5762004 h 7419095"/>
              <a:gd name="connsiteX1453" fmla="*/ 925847 w 9126537"/>
              <a:gd name="connsiteY1453" fmla="*/ 5750607 h 7419095"/>
              <a:gd name="connsiteX1454" fmla="*/ 939496 w 9126537"/>
              <a:gd name="connsiteY1454" fmla="*/ 5714138 h 7419095"/>
              <a:gd name="connsiteX1455" fmla="*/ 998641 w 9126537"/>
              <a:gd name="connsiteY1455" fmla="*/ 5661713 h 7419095"/>
              <a:gd name="connsiteX1456" fmla="*/ 866702 w 9126537"/>
              <a:gd name="connsiteY1456" fmla="*/ 5716417 h 7419095"/>
              <a:gd name="connsiteX1457" fmla="*/ 848504 w 9126537"/>
              <a:gd name="connsiteY1457" fmla="*/ 5709579 h 7419095"/>
              <a:gd name="connsiteX1458" fmla="*/ 800732 w 9126537"/>
              <a:gd name="connsiteY1458" fmla="*/ 5709579 h 7419095"/>
              <a:gd name="connsiteX1459" fmla="*/ 777984 w 9126537"/>
              <a:gd name="connsiteY1459" fmla="*/ 5739211 h 7419095"/>
              <a:gd name="connsiteX1460" fmla="*/ 732488 w 9126537"/>
              <a:gd name="connsiteY1460" fmla="*/ 5750607 h 7419095"/>
              <a:gd name="connsiteX1461" fmla="*/ 734763 w 9126537"/>
              <a:gd name="connsiteY1461" fmla="*/ 5748328 h 7419095"/>
              <a:gd name="connsiteX1462" fmla="*/ 725664 w 9126537"/>
              <a:gd name="connsiteY1462" fmla="*/ 5746049 h 7419095"/>
              <a:gd name="connsiteX1463" fmla="*/ 636946 w 9126537"/>
              <a:gd name="connsiteY1463" fmla="*/ 5693623 h 7419095"/>
              <a:gd name="connsiteX1464" fmla="*/ 625573 w 9126537"/>
              <a:gd name="connsiteY1464" fmla="*/ 5682227 h 7419095"/>
              <a:gd name="connsiteX1465" fmla="*/ 589176 w 9126537"/>
              <a:gd name="connsiteY1465" fmla="*/ 5622963 h 7419095"/>
              <a:gd name="connsiteX1466" fmla="*/ 589176 w 9126537"/>
              <a:gd name="connsiteY1466" fmla="*/ 5613846 h 7419095"/>
              <a:gd name="connsiteX1467" fmla="*/ 625573 w 9126537"/>
              <a:gd name="connsiteY1467" fmla="*/ 5634360 h 7419095"/>
              <a:gd name="connsiteX1468" fmla="*/ 698366 w 9126537"/>
              <a:gd name="connsiteY1468" fmla="*/ 5684506 h 7419095"/>
              <a:gd name="connsiteX1469" fmla="*/ 725664 w 9126537"/>
              <a:gd name="connsiteY1469" fmla="*/ 5659433 h 7419095"/>
              <a:gd name="connsiteX1470" fmla="*/ 759786 w 9126537"/>
              <a:gd name="connsiteY1470" fmla="*/ 5643478 h 7419095"/>
              <a:gd name="connsiteX1471" fmla="*/ 727939 w 9126537"/>
              <a:gd name="connsiteY1471" fmla="*/ 5559142 h 7419095"/>
              <a:gd name="connsiteX1472" fmla="*/ 759786 w 9126537"/>
              <a:gd name="connsiteY1472" fmla="*/ 5543186 h 7419095"/>
              <a:gd name="connsiteX1473" fmla="*/ 737038 w 9126537"/>
              <a:gd name="connsiteY1473" fmla="*/ 5442894 h 7419095"/>
              <a:gd name="connsiteX1474" fmla="*/ 773435 w 9126537"/>
              <a:gd name="connsiteY1474" fmla="*/ 5415542 h 7419095"/>
              <a:gd name="connsiteX1475" fmla="*/ 782534 w 9126537"/>
              <a:gd name="connsiteY1475" fmla="*/ 5406425 h 7419095"/>
              <a:gd name="connsiteX1476" fmla="*/ 771160 w 9126537"/>
              <a:gd name="connsiteY1476" fmla="*/ 5395028 h 7419095"/>
              <a:gd name="connsiteX1477" fmla="*/ 727939 w 9126537"/>
              <a:gd name="connsiteY1477" fmla="*/ 5379072 h 7419095"/>
              <a:gd name="connsiteX1478" fmla="*/ 725664 w 9126537"/>
              <a:gd name="connsiteY1478" fmla="*/ 5367676 h 7419095"/>
              <a:gd name="connsiteX1479" fmla="*/ 828031 w 9126537"/>
              <a:gd name="connsiteY1479" fmla="*/ 5365396 h 7419095"/>
              <a:gd name="connsiteX1480" fmla="*/ 841680 w 9126537"/>
              <a:gd name="connsiteY1480" fmla="*/ 5388190 h 7419095"/>
              <a:gd name="connsiteX1481" fmla="*/ 868977 w 9126537"/>
              <a:gd name="connsiteY1481" fmla="*/ 5392749 h 7419095"/>
              <a:gd name="connsiteX1482" fmla="*/ 907649 w 9126537"/>
              <a:gd name="connsiteY1482" fmla="*/ 5374514 h 7419095"/>
              <a:gd name="connsiteX1483" fmla="*/ 912198 w 9126537"/>
              <a:gd name="connsiteY1483" fmla="*/ 5367676 h 7419095"/>
              <a:gd name="connsiteX1484" fmla="*/ 923573 w 9126537"/>
              <a:gd name="connsiteY1484" fmla="*/ 5335765 h 7419095"/>
              <a:gd name="connsiteX1485" fmla="*/ 919022 w 9126537"/>
              <a:gd name="connsiteY1485" fmla="*/ 5312971 h 7419095"/>
              <a:gd name="connsiteX1486" fmla="*/ 873526 w 9126537"/>
              <a:gd name="connsiteY1486" fmla="*/ 5335765 h 7419095"/>
              <a:gd name="connsiteX1487" fmla="*/ 878076 w 9126537"/>
              <a:gd name="connsiteY1487" fmla="*/ 5312971 h 7419095"/>
              <a:gd name="connsiteX1488" fmla="*/ 875801 w 9126537"/>
              <a:gd name="connsiteY1488" fmla="*/ 5312971 h 7419095"/>
              <a:gd name="connsiteX1489" fmla="*/ 909924 w 9126537"/>
              <a:gd name="connsiteY1489" fmla="*/ 5299295 h 7419095"/>
              <a:gd name="connsiteX1490" fmla="*/ 898549 w 9126537"/>
              <a:gd name="connsiteY1490" fmla="*/ 5265105 h 7419095"/>
              <a:gd name="connsiteX1491" fmla="*/ 896274 w 9126537"/>
              <a:gd name="connsiteY1491" fmla="*/ 5237752 h 7419095"/>
              <a:gd name="connsiteX1492" fmla="*/ 871252 w 9126537"/>
              <a:gd name="connsiteY1492" fmla="*/ 5214959 h 7419095"/>
              <a:gd name="connsiteX1493" fmla="*/ 859877 w 9126537"/>
              <a:gd name="connsiteY1493" fmla="*/ 5240032 h 7419095"/>
              <a:gd name="connsiteX1494" fmla="*/ 826341 w 9126537"/>
              <a:gd name="connsiteY1494" fmla="*/ 5231631 h 7419095"/>
              <a:gd name="connsiteX1495" fmla="*/ 832580 w 9126537"/>
              <a:gd name="connsiteY1495" fmla="*/ 5214959 h 7419095"/>
              <a:gd name="connsiteX1496" fmla="*/ 796183 w 9126537"/>
              <a:gd name="connsiteY1496" fmla="*/ 5180769 h 7419095"/>
              <a:gd name="connsiteX1497" fmla="*/ 755236 w 9126537"/>
              <a:gd name="connsiteY1497" fmla="*/ 5180769 h 7419095"/>
              <a:gd name="connsiteX1498" fmla="*/ 793908 w 9126537"/>
              <a:gd name="connsiteY1498" fmla="*/ 5160254 h 7419095"/>
              <a:gd name="connsiteX1499" fmla="*/ 818931 w 9126537"/>
              <a:gd name="connsiteY1499" fmla="*/ 5144299 h 7419095"/>
              <a:gd name="connsiteX1500" fmla="*/ 784809 w 9126537"/>
              <a:gd name="connsiteY1500" fmla="*/ 5078198 h 7419095"/>
              <a:gd name="connsiteX1501" fmla="*/ 782534 w 9126537"/>
              <a:gd name="connsiteY1501" fmla="*/ 5073639 h 7419095"/>
              <a:gd name="connsiteX1502" fmla="*/ 741587 w 9126537"/>
              <a:gd name="connsiteY1502" fmla="*/ 5009817 h 7419095"/>
              <a:gd name="connsiteX1503" fmla="*/ 737038 w 9126537"/>
              <a:gd name="connsiteY1503" fmla="*/ 4998420 h 7419095"/>
              <a:gd name="connsiteX1504" fmla="*/ 752962 w 9126537"/>
              <a:gd name="connsiteY1504" fmla="*/ 4980185 h 7419095"/>
              <a:gd name="connsiteX1505" fmla="*/ 746137 w 9126537"/>
              <a:gd name="connsiteY1505" fmla="*/ 4968789 h 7419095"/>
              <a:gd name="connsiteX1506" fmla="*/ 739312 w 9126537"/>
              <a:gd name="connsiteY1506" fmla="*/ 4961951 h 7419095"/>
              <a:gd name="connsiteX1507" fmla="*/ 723389 w 9126537"/>
              <a:gd name="connsiteY1507" fmla="*/ 4879894 h 7419095"/>
              <a:gd name="connsiteX1508" fmla="*/ 725664 w 9126537"/>
              <a:gd name="connsiteY1508" fmla="*/ 4845703 h 7419095"/>
              <a:gd name="connsiteX1509" fmla="*/ 730782 w 9126537"/>
              <a:gd name="connsiteY1509" fmla="*/ 4825474 h 7419095"/>
              <a:gd name="connsiteX1510" fmla="*/ 744844 w 9126537"/>
              <a:gd name="connsiteY1510" fmla="*/ 4814776 h 7419095"/>
              <a:gd name="connsiteX1511" fmla="*/ 745682 w 9126537"/>
              <a:gd name="connsiteY1511" fmla="*/ 4815616 h 7419095"/>
              <a:gd name="connsiteX1512" fmla="*/ 743863 w 9126537"/>
              <a:gd name="connsiteY1512" fmla="*/ 4822910 h 7419095"/>
              <a:gd name="connsiteX1513" fmla="*/ 750687 w 9126537"/>
              <a:gd name="connsiteY1513" fmla="*/ 4825189 h 7419095"/>
              <a:gd name="connsiteX1514" fmla="*/ 750687 w 9126537"/>
              <a:gd name="connsiteY1514" fmla="*/ 4820631 h 7419095"/>
              <a:gd name="connsiteX1515" fmla="*/ 745682 w 9126537"/>
              <a:gd name="connsiteY1515" fmla="*/ 4815616 h 7419095"/>
              <a:gd name="connsiteX1516" fmla="*/ 746137 w 9126537"/>
              <a:gd name="connsiteY1516" fmla="*/ 4813792 h 7419095"/>
              <a:gd name="connsiteX1517" fmla="*/ 744844 w 9126537"/>
              <a:gd name="connsiteY1517" fmla="*/ 4814776 h 7419095"/>
              <a:gd name="connsiteX1518" fmla="*/ 743863 w 9126537"/>
              <a:gd name="connsiteY1518" fmla="*/ 4813792 h 7419095"/>
              <a:gd name="connsiteX1519" fmla="*/ 830305 w 9126537"/>
              <a:gd name="connsiteY1519" fmla="*/ 4790999 h 7419095"/>
              <a:gd name="connsiteX1520" fmla="*/ 859877 w 9126537"/>
              <a:gd name="connsiteY1520" fmla="*/ 4852541 h 7419095"/>
              <a:gd name="connsiteX1521" fmla="*/ 887176 w 9126537"/>
              <a:gd name="connsiteY1521" fmla="*/ 4838865 h 7419095"/>
              <a:gd name="connsiteX1522" fmla="*/ 887176 w 9126537"/>
              <a:gd name="connsiteY1522" fmla="*/ 4829748 h 7419095"/>
              <a:gd name="connsiteX1523" fmla="*/ 894000 w 9126537"/>
              <a:gd name="connsiteY1523" fmla="*/ 4820631 h 7419095"/>
              <a:gd name="connsiteX1524" fmla="*/ 914473 w 9126537"/>
              <a:gd name="connsiteY1524" fmla="*/ 4813792 h 7419095"/>
              <a:gd name="connsiteX1525" fmla="*/ 925847 w 9126537"/>
              <a:gd name="connsiteY1525" fmla="*/ 4781881 h 7419095"/>
              <a:gd name="connsiteX1526" fmla="*/ 1041863 w 9126537"/>
              <a:gd name="connsiteY1526" fmla="*/ 4768205 h 7419095"/>
              <a:gd name="connsiteX1527" fmla="*/ 1071435 w 9126537"/>
              <a:gd name="connsiteY1527" fmla="*/ 4788720 h 7419095"/>
              <a:gd name="connsiteX1528" fmla="*/ 1087359 w 9126537"/>
              <a:gd name="connsiteY1528" fmla="*/ 4770485 h 7419095"/>
              <a:gd name="connsiteX1529" fmla="*/ 1123756 w 9126537"/>
              <a:gd name="connsiteY1529" fmla="*/ 4756809 h 7419095"/>
              <a:gd name="connsiteX1530" fmla="*/ 1139680 w 9126537"/>
              <a:gd name="connsiteY1530" fmla="*/ 4749971 h 7419095"/>
              <a:gd name="connsiteX1531" fmla="*/ 1187450 w 9126537"/>
              <a:gd name="connsiteY1531" fmla="*/ 4704383 h 7419095"/>
              <a:gd name="connsiteX1532" fmla="*/ 1180626 w 9126537"/>
              <a:gd name="connsiteY1532" fmla="*/ 4599533 h 7419095"/>
              <a:gd name="connsiteX1533" fmla="*/ 1228397 w 9126537"/>
              <a:gd name="connsiteY1533" fmla="*/ 4503800 h 7419095"/>
              <a:gd name="connsiteX1534" fmla="*/ 1207924 w 9126537"/>
              <a:gd name="connsiteY1534" fmla="*/ 4503800 h 7419095"/>
              <a:gd name="connsiteX1535" fmla="*/ 1166977 w 9126537"/>
              <a:gd name="connsiteY1535" fmla="*/ 4549387 h 7419095"/>
              <a:gd name="connsiteX1536" fmla="*/ 1148778 w 9126537"/>
              <a:gd name="connsiteY1536" fmla="*/ 4563063 h 7419095"/>
              <a:gd name="connsiteX1537" fmla="*/ 1144229 w 9126537"/>
              <a:gd name="connsiteY1537" fmla="*/ 4537990 h 7419095"/>
              <a:gd name="connsiteX1538" fmla="*/ 1189725 w 9126537"/>
              <a:gd name="connsiteY1538" fmla="*/ 4490124 h 7419095"/>
              <a:gd name="connsiteX1539" fmla="*/ 1189725 w 9126537"/>
              <a:gd name="connsiteY1539" fmla="*/ 4492403 h 7419095"/>
              <a:gd name="connsiteX1540" fmla="*/ 1255695 w 9126537"/>
              <a:gd name="connsiteY1540" fmla="*/ 4487845 h 7419095"/>
              <a:gd name="connsiteX1541" fmla="*/ 1192000 w 9126537"/>
              <a:gd name="connsiteY1541" fmla="*/ 4469610 h 7419095"/>
              <a:gd name="connsiteX1542" fmla="*/ 1126031 w 9126537"/>
              <a:gd name="connsiteY1542" fmla="*/ 4487845 h 7419095"/>
              <a:gd name="connsiteX1543" fmla="*/ 1146504 w 9126537"/>
              <a:gd name="connsiteY1543" fmla="*/ 4467330 h 7419095"/>
              <a:gd name="connsiteX1544" fmla="*/ 1164702 w 9126537"/>
              <a:gd name="connsiteY1544" fmla="*/ 4442258 h 7419095"/>
              <a:gd name="connsiteX1545" fmla="*/ 1137405 w 9126537"/>
              <a:gd name="connsiteY1545" fmla="*/ 4287261 h 7419095"/>
              <a:gd name="connsiteX1546" fmla="*/ 1148778 w 9126537"/>
              <a:gd name="connsiteY1546" fmla="*/ 4298658 h 7419095"/>
              <a:gd name="connsiteX1547" fmla="*/ 1169252 w 9126537"/>
              <a:gd name="connsiteY1547" fmla="*/ 4305496 h 7419095"/>
              <a:gd name="connsiteX1548" fmla="*/ 1251145 w 9126537"/>
              <a:gd name="connsiteY1548" fmla="*/ 4234836 h 7419095"/>
              <a:gd name="connsiteX1549" fmla="*/ 1251145 w 9126537"/>
              <a:gd name="connsiteY1549" fmla="*/ 4180132 h 7419095"/>
              <a:gd name="connsiteX1550" fmla="*/ 1273893 w 9126537"/>
              <a:gd name="connsiteY1550" fmla="*/ 4116310 h 7419095"/>
              <a:gd name="connsiteX1551" fmla="*/ 1296642 w 9126537"/>
              <a:gd name="connsiteY1551" fmla="*/ 4084399 h 7419095"/>
              <a:gd name="connsiteX1552" fmla="*/ 1308015 w 9126537"/>
              <a:gd name="connsiteY1552" fmla="*/ 4082119 h 7419095"/>
              <a:gd name="connsiteX1553" fmla="*/ 1314839 w 9126537"/>
              <a:gd name="connsiteY1553" fmla="*/ 4095795 h 7419095"/>
              <a:gd name="connsiteX1554" fmla="*/ 1292091 w 9126537"/>
              <a:gd name="connsiteY1554" fmla="*/ 4143662 h 7419095"/>
              <a:gd name="connsiteX1555" fmla="*/ 1305740 w 9126537"/>
              <a:gd name="connsiteY1555" fmla="*/ 4189249 h 7419095"/>
              <a:gd name="connsiteX1556" fmla="*/ 1362611 w 9126537"/>
              <a:gd name="connsiteY1556" fmla="*/ 4189249 h 7419095"/>
              <a:gd name="connsiteX1557" fmla="*/ 1392184 w 9126537"/>
              <a:gd name="connsiteY1557" fmla="*/ 4173294 h 7419095"/>
              <a:gd name="connsiteX1558" fmla="*/ 1383084 w 9126537"/>
              <a:gd name="connsiteY1558" fmla="*/ 4127706 h 7419095"/>
              <a:gd name="connsiteX1559" fmla="*/ 1335313 w 9126537"/>
              <a:gd name="connsiteY1559" fmla="*/ 4073002 h 7419095"/>
              <a:gd name="connsiteX1560" fmla="*/ 1321664 w 9126537"/>
              <a:gd name="connsiteY1560" fmla="*/ 3984107 h 7419095"/>
              <a:gd name="connsiteX1561" fmla="*/ 1303466 w 9126537"/>
              <a:gd name="connsiteY1561" fmla="*/ 4041091 h 7419095"/>
              <a:gd name="connsiteX1562" fmla="*/ 1280718 w 9126537"/>
              <a:gd name="connsiteY1562" fmla="*/ 4025135 h 7419095"/>
              <a:gd name="connsiteX1563" fmla="*/ 1260245 w 9126537"/>
              <a:gd name="connsiteY1563" fmla="*/ 4013739 h 7419095"/>
              <a:gd name="connsiteX1564" fmla="*/ 1269343 w 9126537"/>
              <a:gd name="connsiteY1564" fmla="*/ 4009180 h 7419095"/>
              <a:gd name="connsiteX1565" fmla="*/ 1271619 w 9126537"/>
              <a:gd name="connsiteY1565" fmla="*/ 4006901 h 7419095"/>
              <a:gd name="connsiteX1566" fmla="*/ 1271619 w 9126537"/>
              <a:gd name="connsiteY1566" fmla="*/ 4002342 h 7419095"/>
              <a:gd name="connsiteX1567" fmla="*/ 1262519 w 9126537"/>
              <a:gd name="connsiteY1567" fmla="*/ 4004621 h 7419095"/>
              <a:gd name="connsiteX1568" fmla="*/ 1260245 w 9126537"/>
              <a:gd name="connsiteY1568" fmla="*/ 4013739 h 7419095"/>
              <a:gd name="connsiteX1569" fmla="*/ 1260245 w 9126537"/>
              <a:gd name="connsiteY1569" fmla="*/ 3970431 h 7419095"/>
              <a:gd name="connsiteX1570" fmla="*/ 1261336 w 9126537"/>
              <a:gd name="connsiteY1570" fmla="*/ 3971708 h 7419095"/>
              <a:gd name="connsiteX1571" fmla="*/ 1260245 w 9126537"/>
              <a:gd name="connsiteY1571" fmla="*/ 3972710 h 7419095"/>
              <a:gd name="connsiteX1572" fmla="*/ 1261951 w 9126537"/>
              <a:gd name="connsiteY1572" fmla="*/ 3972426 h 7419095"/>
              <a:gd name="connsiteX1573" fmla="*/ 1261336 w 9126537"/>
              <a:gd name="connsiteY1573" fmla="*/ 3971708 h 7419095"/>
              <a:gd name="connsiteX1574" fmla="*/ 1287542 w 9126537"/>
              <a:gd name="connsiteY1574" fmla="*/ 3947638 h 7419095"/>
              <a:gd name="connsiteX1575" fmla="*/ 1321664 w 9126537"/>
              <a:gd name="connsiteY1575" fmla="*/ 3929403 h 7419095"/>
              <a:gd name="connsiteX1576" fmla="*/ 1342138 w 9126537"/>
              <a:gd name="connsiteY1576" fmla="*/ 3913447 h 7419095"/>
              <a:gd name="connsiteX1577" fmla="*/ 1326214 w 9126537"/>
              <a:gd name="connsiteY1577" fmla="*/ 3902050 h 7419095"/>
              <a:gd name="connsiteX1578" fmla="*/ 1271619 w 9126537"/>
              <a:gd name="connsiteY1578" fmla="*/ 3886095 h 7419095"/>
              <a:gd name="connsiteX1579" fmla="*/ 1271619 w 9126537"/>
              <a:gd name="connsiteY1579" fmla="*/ 3824552 h 7419095"/>
              <a:gd name="connsiteX1580" fmla="*/ 1310290 w 9126537"/>
              <a:gd name="connsiteY1580" fmla="*/ 3733378 h 7419095"/>
              <a:gd name="connsiteX1581" fmla="*/ 1287542 w 9126537"/>
              <a:gd name="connsiteY1581" fmla="*/ 3740216 h 7419095"/>
              <a:gd name="connsiteX1582" fmla="*/ 1301191 w 9126537"/>
              <a:gd name="connsiteY1582" fmla="*/ 3712864 h 7419095"/>
              <a:gd name="connsiteX1583" fmla="*/ 1319390 w 9126537"/>
              <a:gd name="connsiteY1583" fmla="*/ 3715143 h 7419095"/>
              <a:gd name="connsiteX1584" fmla="*/ 1339863 w 9126537"/>
              <a:gd name="connsiteY1584" fmla="*/ 3706026 h 7419095"/>
              <a:gd name="connsiteX1585" fmla="*/ 1339863 w 9126537"/>
              <a:gd name="connsiteY1585" fmla="*/ 3683232 h 7419095"/>
              <a:gd name="connsiteX1586" fmla="*/ 1326214 w 9126537"/>
              <a:gd name="connsiteY1586" fmla="*/ 3667277 h 7419095"/>
              <a:gd name="connsiteX1587" fmla="*/ 1314839 w 9126537"/>
              <a:gd name="connsiteY1587" fmla="*/ 3658159 h 7419095"/>
              <a:gd name="connsiteX1588" fmla="*/ 1276168 w 9126537"/>
              <a:gd name="connsiteY1588" fmla="*/ 3601175 h 7419095"/>
              <a:gd name="connsiteX1589" fmla="*/ 1303466 w 9126537"/>
              <a:gd name="connsiteY1589" fmla="*/ 3596617 h 7419095"/>
              <a:gd name="connsiteX1590" fmla="*/ 1326214 w 9126537"/>
              <a:gd name="connsiteY1590" fmla="*/ 3587499 h 7419095"/>
              <a:gd name="connsiteX1591" fmla="*/ 1358061 w 9126537"/>
              <a:gd name="connsiteY1591" fmla="*/ 3623969 h 7419095"/>
              <a:gd name="connsiteX1592" fmla="*/ 1385359 w 9126537"/>
              <a:gd name="connsiteY1592" fmla="*/ 3589779 h 7419095"/>
              <a:gd name="connsiteX1593" fmla="*/ 1403557 w 9126537"/>
              <a:gd name="connsiteY1593" fmla="*/ 3576103 h 7419095"/>
              <a:gd name="connsiteX1594" fmla="*/ 1399008 w 9126537"/>
              <a:gd name="connsiteY1594" fmla="*/ 3608014 h 7419095"/>
              <a:gd name="connsiteX1595" fmla="*/ 1419481 w 9126537"/>
              <a:gd name="connsiteY1595" fmla="*/ 3589779 h 7419095"/>
              <a:gd name="connsiteX1596" fmla="*/ 1403557 w 9126537"/>
              <a:gd name="connsiteY1596" fmla="*/ 3576103 h 7419095"/>
              <a:gd name="connsiteX1597" fmla="*/ 1408107 w 9126537"/>
              <a:gd name="connsiteY1597" fmla="*/ 3541912 h 7419095"/>
              <a:gd name="connsiteX1598" fmla="*/ 1385359 w 9126537"/>
              <a:gd name="connsiteY1598" fmla="*/ 3546471 h 7419095"/>
              <a:gd name="connsiteX1599" fmla="*/ 1362611 w 9126537"/>
              <a:gd name="connsiteY1599" fmla="*/ 3562426 h 7419095"/>
              <a:gd name="connsiteX1600" fmla="*/ 1367160 w 9126537"/>
              <a:gd name="connsiteY1600" fmla="*/ 3532795 h 7419095"/>
              <a:gd name="connsiteX1601" fmla="*/ 1333039 w 9126537"/>
              <a:gd name="connsiteY1601" fmla="*/ 3539633 h 7419095"/>
              <a:gd name="connsiteX1602" fmla="*/ 1314839 w 9126537"/>
              <a:gd name="connsiteY1602" fmla="*/ 3535074 h 7419095"/>
              <a:gd name="connsiteX1603" fmla="*/ 1296642 w 9126537"/>
              <a:gd name="connsiteY1603" fmla="*/ 3475811 h 7419095"/>
              <a:gd name="connsiteX1604" fmla="*/ 1301191 w 9126537"/>
              <a:gd name="connsiteY1604" fmla="*/ 3448459 h 7419095"/>
              <a:gd name="connsiteX1605" fmla="*/ 1328488 w 9126537"/>
              <a:gd name="connsiteY1605" fmla="*/ 3368681 h 7419095"/>
              <a:gd name="connsiteX1606" fmla="*/ 1330764 w 9126537"/>
              <a:gd name="connsiteY1606" fmla="*/ 3352726 h 7419095"/>
              <a:gd name="connsiteX1607" fmla="*/ 1333039 w 9126537"/>
              <a:gd name="connsiteY1607" fmla="*/ 3350446 h 7419095"/>
              <a:gd name="connsiteX1608" fmla="*/ 1353512 w 9126537"/>
              <a:gd name="connsiteY1608" fmla="*/ 3352726 h 7419095"/>
              <a:gd name="connsiteX1609" fmla="*/ 1351236 w 9126537"/>
              <a:gd name="connsiteY1609" fmla="*/ 3352726 h 7419095"/>
              <a:gd name="connsiteX1610" fmla="*/ 1364885 w 9126537"/>
              <a:gd name="connsiteY1610" fmla="*/ 3380078 h 7419095"/>
              <a:gd name="connsiteX1611" fmla="*/ 1337588 w 9126537"/>
              <a:gd name="connsiteY1611" fmla="*/ 3407430 h 7419095"/>
              <a:gd name="connsiteX1612" fmla="*/ 1335313 w 9126537"/>
              <a:gd name="connsiteY1612" fmla="*/ 3425665 h 7419095"/>
              <a:gd name="connsiteX1613" fmla="*/ 1351236 w 9126537"/>
              <a:gd name="connsiteY1613" fmla="*/ 3434783 h 7419095"/>
              <a:gd name="connsiteX1614" fmla="*/ 1369435 w 9126537"/>
              <a:gd name="connsiteY1614" fmla="*/ 3427944 h 7419095"/>
              <a:gd name="connsiteX1615" fmla="*/ 1378535 w 9126537"/>
              <a:gd name="connsiteY1615" fmla="*/ 3416548 h 7419095"/>
              <a:gd name="connsiteX1616" fmla="*/ 1389908 w 9126537"/>
              <a:gd name="connsiteY1616" fmla="*/ 3368681 h 7419095"/>
              <a:gd name="connsiteX1617" fmla="*/ 1405832 w 9126537"/>
              <a:gd name="connsiteY1617" fmla="*/ 3323094 h 7419095"/>
              <a:gd name="connsiteX1618" fmla="*/ 1421756 w 9126537"/>
              <a:gd name="connsiteY1618" fmla="*/ 3282066 h 7419095"/>
              <a:gd name="connsiteX1619" fmla="*/ 1437680 w 9126537"/>
              <a:gd name="connsiteY1619" fmla="*/ 3291183 h 7419095"/>
              <a:gd name="connsiteX1620" fmla="*/ 1442229 w 9126537"/>
              <a:gd name="connsiteY1620" fmla="*/ 3288904 h 7419095"/>
              <a:gd name="connsiteX1621" fmla="*/ 1469526 w 9126537"/>
              <a:gd name="connsiteY1621" fmla="*/ 3268390 h 7419095"/>
              <a:gd name="connsiteX1622" fmla="*/ 1503649 w 9126537"/>
              <a:gd name="connsiteY1622" fmla="*/ 3256993 h 7419095"/>
              <a:gd name="connsiteX1623" fmla="*/ 1487726 w 9126537"/>
              <a:gd name="connsiteY1623" fmla="*/ 3245596 h 7419095"/>
              <a:gd name="connsiteX1624" fmla="*/ 1487726 w 9126537"/>
              <a:gd name="connsiteY1624" fmla="*/ 3241037 h 7419095"/>
              <a:gd name="connsiteX1625" fmla="*/ 1499099 w 9126537"/>
              <a:gd name="connsiteY1625" fmla="*/ 3172657 h 7419095"/>
              <a:gd name="connsiteX1626" fmla="*/ 1519573 w 9126537"/>
              <a:gd name="connsiteY1626" fmla="*/ 3143025 h 7419095"/>
              <a:gd name="connsiteX1627" fmla="*/ 1508198 w 9126537"/>
              <a:gd name="connsiteY1627" fmla="*/ 3111114 h 7419095"/>
              <a:gd name="connsiteX1628" fmla="*/ 1524122 w 9126537"/>
              <a:gd name="connsiteY1628" fmla="*/ 3076924 h 7419095"/>
              <a:gd name="connsiteX1629" fmla="*/ 1501374 w 9126537"/>
              <a:gd name="connsiteY1629" fmla="*/ 3076924 h 7419095"/>
              <a:gd name="connsiteX1630" fmla="*/ 1446778 w 9126537"/>
              <a:gd name="connsiteY1630" fmla="*/ 3097438 h 7419095"/>
              <a:gd name="connsiteX1631" fmla="*/ 1433130 w 9126537"/>
              <a:gd name="connsiteY1631" fmla="*/ 3131629 h 7419095"/>
              <a:gd name="connsiteX1632" fmla="*/ 1471802 w 9126537"/>
              <a:gd name="connsiteY1632" fmla="*/ 3177216 h 7419095"/>
              <a:gd name="connsiteX1633" fmla="*/ 1458153 w 9126537"/>
              <a:gd name="connsiteY1633" fmla="*/ 3190892 h 7419095"/>
              <a:gd name="connsiteX1634" fmla="*/ 1383084 w 9126537"/>
              <a:gd name="connsiteY1634" fmla="*/ 3190892 h 7419095"/>
              <a:gd name="connsiteX1635" fmla="*/ 1396733 w 9126537"/>
              <a:gd name="connsiteY1635" fmla="*/ 3168098 h 7419095"/>
              <a:gd name="connsiteX1636" fmla="*/ 1417206 w 9126537"/>
              <a:gd name="connsiteY1636" fmla="*/ 3158981 h 7419095"/>
              <a:gd name="connsiteX1637" fmla="*/ 1433130 w 9126537"/>
              <a:gd name="connsiteY1637" fmla="*/ 3095159 h 7419095"/>
              <a:gd name="connsiteX1638" fmla="*/ 1414932 w 9126537"/>
              <a:gd name="connsiteY1638" fmla="*/ 3092879 h 7419095"/>
              <a:gd name="connsiteX1639" fmla="*/ 1355787 w 9126537"/>
              <a:gd name="connsiteY1639" fmla="*/ 3111114 h 7419095"/>
              <a:gd name="connsiteX1640" fmla="*/ 1319390 w 9126537"/>
              <a:gd name="connsiteY1640" fmla="*/ 3154422 h 7419095"/>
              <a:gd name="connsiteX1641" fmla="*/ 1271619 w 9126537"/>
              <a:gd name="connsiteY1641" fmla="*/ 3143025 h 7419095"/>
              <a:gd name="connsiteX1642" fmla="*/ 1267069 w 9126537"/>
              <a:gd name="connsiteY1642" fmla="*/ 3184053 h 7419095"/>
              <a:gd name="connsiteX1643" fmla="*/ 1223847 w 9126537"/>
              <a:gd name="connsiteY1643" fmla="*/ 3193171 h 7419095"/>
              <a:gd name="connsiteX1644" fmla="*/ 1180626 w 9126537"/>
              <a:gd name="connsiteY1644" fmla="*/ 3202289 h 7419095"/>
              <a:gd name="connsiteX1645" fmla="*/ 1194274 w 9126537"/>
              <a:gd name="connsiteY1645" fmla="*/ 3186333 h 7419095"/>
              <a:gd name="connsiteX1646" fmla="*/ 1212474 w 9126537"/>
              <a:gd name="connsiteY1646" fmla="*/ 3170378 h 7419095"/>
              <a:gd name="connsiteX1647" fmla="*/ 1251145 w 9126537"/>
              <a:gd name="connsiteY1647" fmla="*/ 3127070 h 7419095"/>
              <a:gd name="connsiteX1648" fmla="*/ 1308015 w 9126537"/>
              <a:gd name="connsiteY1648" fmla="*/ 3108835 h 7419095"/>
              <a:gd name="connsiteX1649" fmla="*/ 1326214 w 9126537"/>
              <a:gd name="connsiteY1649" fmla="*/ 3101997 h 7419095"/>
              <a:gd name="connsiteX1650" fmla="*/ 1362611 w 9126537"/>
              <a:gd name="connsiteY1650" fmla="*/ 3088321 h 7419095"/>
              <a:gd name="connsiteX1651" fmla="*/ 1376260 w 9126537"/>
              <a:gd name="connsiteY1651" fmla="*/ 3088321 h 7419095"/>
              <a:gd name="connsiteX1652" fmla="*/ 1451329 w 9126537"/>
              <a:gd name="connsiteY1652" fmla="*/ 3070086 h 7419095"/>
              <a:gd name="connsiteX1653" fmla="*/ 1485450 w 9126537"/>
              <a:gd name="connsiteY1653" fmla="*/ 3056410 h 7419095"/>
              <a:gd name="connsiteX1654" fmla="*/ 1519573 w 9126537"/>
              <a:gd name="connsiteY1654" fmla="*/ 3031337 h 7419095"/>
              <a:gd name="connsiteX1655" fmla="*/ 1528672 w 9126537"/>
              <a:gd name="connsiteY1655" fmla="*/ 2962956 h 7419095"/>
              <a:gd name="connsiteX1656" fmla="*/ 1499099 w 9126537"/>
              <a:gd name="connsiteY1656" fmla="*/ 2962956 h 7419095"/>
              <a:gd name="connsiteX1657" fmla="*/ 1453603 w 9126537"/>
              <a:gd name="connsiteY1657" fmla="*/ 2983470 h 7419095"/>
              <a:gd name="connsiteX1658" fmla="*/ 1405832 w 9126537"/>
              <a:gd name="connsiteY1658" fmla="*/ 2981191 h 7419095"/>
              <a:gd name="connsiteX1659" fmla="*/ 1271619 w 9126537"/>
              <a:gd name="connsiteY1659" fmla="*/ 2958398 h 7419095"/>
              <a:gd name="connsiteX1660" fmla="*/ 1237496 w 9126537"/>
              <a:gd name="connsiteY1660" fmla="*/ 2965236 h 7419095"/>
              <a:gd name="connsiteX1661" fmla="*/ 1101008 w 9126537"/>
              <a:gd name="connsiteY1661" fmla="*/ 2992588 h 7419095"/>
              <a:gd name="connsiteX1662" fmla="*/ 1087359 w 9126537"/>
              <a:gd name="connsiteY1662" fmla="*/ 3006264 h 7419095"/>
              <a:gd name="connsiteX1663" fmla="*/ 1055512 w 9126537"/>
              <a:gd name="connsiteY1663" fmla="*/ 3019940 h 7419095"/>
              <a:gd name="connsiteX1664" fmla="*/ 996367 w 9126537"/>
              <a:gd name="connsiteY1664" fmla="*/ 3054130 h 7419095"/>
              <a:gd name="connsiteX1665" fmla="*/ 937222 w 9126537"/>
              <a:gd name="connsiteY1665" fmla="*/ 3074644 h 7419095"/>
              <a:gd name="connsiteX1666" fmla="*/ 991817 w 9126537"/>
              <a:gd name="connsiteY1666" fmla="*/ 3010823 h 7419095"/>
              <a:gd name="connsiteX1667" fmla="*/ 957694 w 9126537"/>
              <a:gd name="connsiteY1667" fmla="*/ 2997147 h 7419095"/>
              <a:gd name="connsiteX1668" fmla="*/ 855328 w 9126537"/>
              <a:gd name="connsiteY1668" fmla="*/ 3022220 h 7419095"/>
              <a:gd name="connsiteX1669" fmla="*/ 825756 w 9126537"/>
              <a:gd name="connsiteY1669" fmla="*/ 3026778 h 7419095"/>
              <a:gd name="connsiteX1670" fmla="*/ 777984 w 9126537"/>
              <a:gd name="connsiteY1670" fmla="*/ 3040454 h 7419095"/>
              <a:gd name="connsiteX1671" fmla="*/ 739312 w 9126537"/>
              <a:gd name="connsiteY1671" fmla="*/ 3047292 h 7419095"/>
              <a:gd name="connsiteX1672" fmla="*/ 714290 w 9126537"/>
              <a:gd name="connsiteY1672" fmla="*/ 3079203 h 7419095"/>
              <a:gd name="connsiteX1673" fmla="*/ 713049 w 9126537"/>
              <a:gd name="connsiteY1673" fmla="*/ 3077960 h 7419095"/>
              <a:gd name="connsiteX1674" fmla="*/ 714290 w 9126537"/>
              <a:gd name="connsiteY1674" fmla="*/ 3076924 h 7419095"/>
              <a:gd name="connsiteX1675" fmla="*/ 712015 w 9126537"/>
              <a:gd name="connsiteY1675" fmla="*/ 3076924 h 7419095"/>
              <a:gd name="connsiteX1676" fmla="*/ 713049 w 9126537"/>
              <a:gd name="connsiteY1676" fmla="*/ 3077960 h 7419095"/>
              <a:gd name="connsiteX1677" fmla="*/ 695523 w 9126537"/>
              <a:gd name="connsiteY1677" fmla="*/ 3092595 h 7419095"/>
              <a:gd name="connsiteX1678" fmla="*/ 673343 w 9126537"/>
              <a:gd name="connsiteY1678" fmla="*/ 3099718 h 7419095"/>
              <a:gd name="connsiteX1679" fmla="*/ 621022 w 9126537"/>
              <a:gd name="connsiteY1679" fmla="*/ 3115673 h 7419095"/>
              <a:gd name="connsiteX1680" fmla="*/ 623297 w 9126537"/>
              <a:gd name="connsiteY1680" fmla="*/ 3117952 h 7419095"/>
              <a:gd name="connsiteX1681" fmla="*/ 607374 w 9126537"/>
              <a:gd name="connsiteY1681" fmla="*/ 3111114 h 7419095"/>
              <a:gd name="connsiteX1682" fmla="*/ 582351 w 9126537"/>
              <a:gd name="connsiteY1682" fmla="*/ 3127070 h 7419095"/>
              <a:gd name="connsiteX1683" fmla="*/ 575527 w 9126537"/>
              <a:gd name="connsiteY1683" fmla="*/ 3108835 h 7419095"/>
              <a:gd name="connsiteX1684" fmla="*/ 536855 w 9126537"/>
              <a:gd name="connsiteY1684" fmla="*/ 3117952 h 7419095"/>
              <a:gd name="connsiteX1685" fmla="*/ 445863 w 9126537"/>
              <a:gd name="connsiteY1685" fmla="*/ 3190892 h 7419095"/>
              <a:gd name="connsiteX1686" fmla="*/ 439038 w 9126537"/>
              <a:gd name="connsiteY1686" fmla="*/ 3209127 h 7419095"/>
              <a:gd name="connsiteX1687" fmla="*/ 439038 w 9126537"/>
              <a:gd name="connsiteY1687" fmla="*/ 3215965 h 7419095"/>
              <a:gd name="connsiteX1688" fmla="*/ 380177 w 9126537"/>
              <a:gd name="connsiteY1688" fmla="*/ 3258916 h 7419095"/>
              <a:gd name="connsiteX1689" fmla="*/ 360515 w 9126537"/>
              <a:gd name="connsiteY1689" fmla="*/ 3270049 h 7419095"/>
              <a:gd name="connsiteX1690" fmla="*/ 374490 w 9126537"/>
              <a:gd name="connsiteY1690" fmla="*/ 3233060 h 7419095"/>
              <a:gd name="connsiteX1691" fmla="*/ 398091 w 9126537"/>
              <a:gd name="connsiteY1691" fmla="*/ 3200009 h 7419095"/>
              <a:gd name="connsiteX1692" fmla="*/ 443587 w 9126537"/>
              <a:gd name="connsiteY1692" fmla="*/ 3152143 h 7419095"/>
              <a:gd name="connsiteX1693" fmla="*/ 466335 w 9126537"/>
              <a:gd name="connsiteY1693" fmla="*/ 3124790 h 7419095"/>
              <a:gd name="connsiteX1694" fmla="*/ 443587 w 9126537"/>
              <a:gd name="connsiteY1694" fmla="*/ 3122511 h 7419095"/>
              <a:gd name="connsiteX1695" fmla="*/ 420177 w 9126537"/>
              <a:gd name="connsiteY1695" fmla="*/ 3137438 h 7419095"/>
              <a:gd name="connsiteX1696" fmla="*/ 409465 w 9126537"/>
              <a:gd name="connsiteY1696" fmla="*/ 3120802 h 7419095"/>
              <a:gd name="connsiteX1697" fmla="*/ 398091 w 9126537"/>
              <a:gd name="connsiteY1697" fmla="*/ 3120232 h 7419095"/>
              <a:gd name="connsiteX1698" fmla="*/ 338946 w 9126537"/>
              <a:gd name="connsiteY1698" fmla="*/ 3184053 h 7419095"/>
              <a:gd name="connsiteX1699" fmla="*/ 341221 w 9126537"/>
              <a:gd name="connsiteY1699" fmla="*/ 3197730 h 7419095"/>
              <a:gd name="connsiteX1700" fmla="*/ 375343 w 9126537"/>
              <a:gd name="connsiteY1700" fmla="*/ 3202289 h 7419095"/>
              <a:gd name="connsiteX1701" fmla="*/ 363969 w 9126537"/>
              <a:gd name="connsiteY1701" fmla="*/ 3215965 h 7419095"/>
              <a:gd name="connsiteX1702" fmla="*/ 334397 w 9126537"/>
              <a:gd name="connsiteY1702" fmla="*/ 3215965 h 7419095"/>
              <a:gd name="connsiteX1703" fmla="*/ 295725 w 9126537"/>
              <a:gd name="connsiteY1703" fmla="*/ 3247876 h 7419095"/>
              <a:gd name="connsiteX1704" fmla="*/ 284351 w 9126537"/>
              <a:gd name="connsiteY1704" fmla="*/ 3291183 h 7419095"/>
              <a:gd name="connsiteX1705" fmla="*/ 272976 w 9126537"/>
              <a:gd name="connsiteY1705" fmla="*/ 3277507 h 7419095"/>
              <a:gd name="connsiteX1706" fmla="*/ 277527 w 9126537"/>
              <a:gd name="connsiteY1706" fmla="*/ 3213685 h 7419095"/>
              <a:gd name="connsiteX1707" fmla="*/ 222931 w 9126537"/>
              <a:gd name="connsiteY1707" fmla="*/ 3247876 h 7419095"/>
              <a:gd name="connsiteX1708" fmla="*/ 218382 w 9126537"/>
              <a:gd name="connsiteY1708" fmla="*/ 3206847 h 7419095"/>
              <a:gd name="connsiteX1709" fmla="*/ 226343 w 9126537"/>
              <a:gd name="connsiteY1709" fmla="*/ 3190892 h 7419095"/>
              <a:gd name="connsiteX1710" fmla="*/ 229756 w 9126537"/>
              <a:gd name="connsiteY1710" fmla="*/ 3190892 h 7419095"/>
              <a:gd name="connsiteX1711" fmla="*/ 227480 w 9126537"/>
              <a:gd name="connsiteY1711" fmla="*/ 3188612 h 7419095"/>
              <a:gd name="connsiteX1712" fmla="*/ 226343 w 9126537"/>
              <a:gd name="connsiteY1712" fmla="*/ 3190892 h 7419095"/>
              <a:gd name="connsiteX1713" fmla="*/ 225206 w 9126537"/>
              <a:gd name="connsiteY1713" fmla="*/ 3190892 h 7419095"/>
              <a:gd name="connsiteX1714" fmla="*/ 237717 w 9126537"/>
              <a:gd name="connsiteY1714" fmla="*/ 3162115 h 7419095"/>
              <a:gd name="connsiteX1715" fmla="*/ 256392 w 9126537"/>
              <a:gd name="connsiteY1715" fmla="*/ 3139275 h 7419095"/>
              <a:gd name="connsiteX1716" fmla="*/ 258190 w 9126537"/>
              <a:gd name="connsiteY1716" fmla="*/ 3140176 h 7419095"/>
              <a:gd name="connsiteX1717" fmla="*/ 261603 w 9126537"/>
              <a:gd name="connsiteY1717" fmla="*/ 3145305 h 7419095"/>
              <a:gd name="connsiteX1718" fmla="*/ 263877 w 9126537"/>
              <a:gd name="connsiteY1718" fmla="*/ 3143025 h 7419095"/>
              <a:gd name="connsiteX1719" fmla="*/ 258190 w 9126537"/>
              <a:gd name="connsiteY1719" fmla="*/ 3140176 h 7419095"/>
              <a:gd name="connsiteX1720" fmla="*/ 257053 w 9126537"/>
              <a:gd name="connsiteY1720" fmla="*/ 3138466 h 7419095"/>
              <a:gd name="connsiteX1721" fmla="*/ 256392 w 9126537"/>
              <a:gd name="connsiteY1721" fmla="*/ 3139275 h 7419095"/>
              <a:gd name="connsiteX1722" fmla="*/ 254778 w 9126537"/>
              <a:gd name="connsiteY1722" fmla="*/ 3138466 h 7419095"/>
              <a:gd name="connsiteX1723" fmla="*/ 268427 w 9126537"/>
              <a:gd name="connsiteY1723" fmla="*/ 3111114 h 7419095"/>
              <a:gd name="connsiteX1724" fmla="*/ 245679 w 9126537"/>
              <a:gd name="connsiteY1724" fmla="*/ 3095159 h 7419095"/>
              <a:gd name="connsiteX1725" fmla="*/ 266152 w 9126537"/>
              <a:gd name="connsiteY1725" fmla="*/ 3070086 h 7419095"/>
              <a:gd name="connsiteX1726" fmla="*/ 266152 w 9126537"/>
              <a:gd name="connsiteY1726" fmla="*/ 3060969 h 7419095"/>
              <a:gd name="connsiteX1727" fmla="*/ 268427 w 9126537"/>
              <a:gd name="connsiteY1727" fmla="*/ 3010823 h 7419095"/>
              <a:gd name="connsiteX1728" fmla="*/ 277527 w 9126537"/>
              <a:gd name="connsiteY1728" fmla="*/ 2978912 h 7419095"/>
              <a:gd name="connsiteX1729" fmla="*/ 211557 w 9126537"/>
              <a:gd name="connsiteY1729" fmla="*/ 2942442 h 7419095"/>
              <a:gd name="connsiteX1730" fmla="*/ 156962 w 9126537"/>
              <a:gd name="connsiteY1730" fmla="*/ 2917369 h 7419095"/>
              <a:gd name="connsiteX1731" fmla="*/ 97817 w 9126537"/>
              <a:gd name="connsiteY1731" fmla="*/ 2892296 h 7419095"/>
              <a:gd name="connsiteX1732" fmla="*/ 81893 w 9126537"/>
              <a:gd name="connsiteY1732" fmla="*/ 2903693 h 7419095"/>
              <a:gd name="connsiteX1733" fmla="*/ 47770 w 9126537"/>
              <a:gd name="connsiteY1733" fmla="*/ 2896855 h 7419095"/>
              <a:gd name="connsiteX1734" fmla="*/ 18198 w 9126537"/>
              <a:gd name="connsiteY1734" fmla="*/ 2869502 h 7419095"/>
              <a:gd name="connsiteX1735" fmla="*/ 0 w 9126537"/>
              <a:gd name="connsiteY1735" fmla="*/ 2853547 h 7419095"/>
              <a:gd name="connsiteX1736" fmla="*/ 50045 w 9126537"/>
              <a:gd name="connsiteY1736" fmla="*/ 2844430 h 7419095"/>
              <a:gd name="connsiteX1737" fmla="*/ 25023 w 9126537"/>
              <a:gd name="connsiteY1737" fmla="*/ 2817078 h 7419095"/>
              <a:gd name="connsiteX1738" fmla="*/ 11373 w 9126537"/>
              <a:gd name="connsiteY1738" fmla="*/ 2785167 h 7419095"/>
              <a:gd name="connsiteX1739" fmla="*/ 70518 w 9126537"/>
              <a:gd name="connsiteY1739" fmla="*/ 2796563 h 7419095"/>
              <a:gd name="connsiteX1740" fmla="*/ 88717 w 9126537"/>
              <a:gd name="connsiteY1740" fmla="*/ 2794284 h 7419095"/>
              <a:gd name="connsiteX1741" fmla="*/ 90992 w 9126537"/>
              <a:gd name="connsiteY1741" fmla="*/ 2780608 h 7419095"/>
              <a:gd name="connsiteX1742" fmla="*/ 75068 w 9126537"/>
              <a:gd name="connsiteY1742" fmla="*/ 2755535 h 7419095"/>
              <a:gd name="connsiteX1743" fmla="*/ 68244 w 9126537"/>
              <a:gd name="connsiteY1743" fmla="*/ 2709948 h 7419095"/>
              <a:gd name="connsiteX1744" fmla="*/ 141038 w 9126537"/>
              <a:gd name="connsiteY1744" fmla="*/ 2766931 h 7419095"/>
              <a:gd name="connsiteX1745" fmla="*/ 175160 w 9126537"/>
              <a:gd name="connsiteY1745" fmla="*/ 2725903 h 7419095"/>
              <a:gd name="connsiteX1746" fmla="*/ 186534 w 9126537"/>
              <a:gd name="connsiteY1746" fmla="*/ 2698551 h 7419095"/>
              <a:gd name="connsiteX1747" fmla="*/ 207007 w 9126537"/>
              <a:gd name="connsiteY1747" fmla="*/ 2673478 h 7419095"/>
              <a:gd name="connsiteX1748" fmla="*/ 179710 w 9126537"/>
              <a:gd name="connsiteY1748" fmla="*/ 2655243 h 7419095"/>
              <a:gd name="connsiteX1749" fmla="*/ 147862 w 9126537"/>
              <a:gd name="connsiteY1749" fmla="*/ 2648405 h 7419095"/>
              <a:gd name="connsiteX1750" fmla="*/ 193359 w 9126537"/>
              <a:gd name="connsiteY1750" fmla="*/ 2607377 h 7419095"/>
              <a:gd name="connsiteX1751" fmla="*/ 216107 w 9126537"/>
              <a:gd name="connsiteY1751" fmla="*/ 2577745 h 7419095"/>
              <a:gd name="connsiteX1752" fmla="*/ 209282 w 9126537"/>
              <a:gd name="connsiteY1752" fmla="*/ 2488850 h 7419095"/>
              <a:gd name="connsiteX1753" fmla="*/ 238855 w 9126537"/>
              <a:gd name="connsiteY1753" fmla="*/ 2486571 h 7419095"/>
              <a:gd name="connsiteX1754" fmla="*/ 309373 w 9126537"/>
              <a:gd name="connsiteY1754" fmla="*/ 2500247 h 7419095"/>
              <a:gd name="connsiteX1755" fmla="*/ 379893 w 9126537"/>
              <a:gd name="connsiteY1755" fmla="*/ 2461498 h 7419095"/>
              <a:gd name="connsiteX1756" fmla="*/ 398091 w 9126537"/>
              <a:gd name="connsiteY1756" fmla="*/ 2459219 h 7419095"/>
              <a:gd name="connsiteX1757" fmla="*/ 398091 w 9126537"/>
              <a:gd name="connsiteY1757" fmla="*/ 2456939 h 7419095"/>
              <a:gd name="connsiteX1758" fmla="*/ 420839 w 9126537"/>
              <a:gd name="connsiteY1758" fmla="*/ 2456939 h 7419095"/>
              <a:gd name="connsiteX1759" fmla="*/ 418565 w 9126537"/>
              <a:gd name="connsiteY1759" fmla="*/ 2459219 h 7419095"/>
              <a:gd name="connsiteX1760" fmla="*/ 445863 w 9126537"/>
              <a:gd name="connsiteY1760" fmla="*/ 2452380 h 7419095"/>
              <a:gd name="connsiteX1761" fmla="*/ 495908 w 9126537"/>
              <a:gd name="connsiteY1761" fmla="*/ 2429587 h 7419095"/>
              <a:gd name="connsiteX1762" fmla="*/ 530031 w 9126537"/>
              <a:gd name="connsiteY1762" fmla="*/ 2406793 h 7419095"/>
              <a:gd name="connsiteX1763" fmla="*/ 536855 w 9126537"/>
              <a:gd name="connsiteY1763" fmla="*/ 2399955 h 7419095"/>
              <a:gd name="connsiteX1764" fmla="*/ 541404 w 9126537"/>
              <a:gd name="connsiteY1764" fmla="*/ 2397676 h 7419095"/>
              <a:gd name="connsiteX1765" fmla="*/ 541518 w 9126537"/>
              <a:gd name="connsiteY1765" fmla="*/ 2395322 h 7419095"/>
              <a:gd name="connsiteX1766" fmla="*/ 558750 w 9126537"/>
              <a:gd name="connsiteY1766" fmla="*/ 2384000 h 7419095"/>
              <a:gd name="connsiteX1767" fmla="*/ 569236 w 9126537"/>
              <a:gd name="connsiteY1767" fmla="*/ 2368362 h 7419095"/>
              <a:gd name="connsiteX1768" fmla="*/ 570977 w 9126537"/>
              <a:gd name="connsiteY1768" fmla="*/ 2368045 h 7419095"/>
              <a:gd name="connsiteX1769" fmla="*/ 573252 w 9126537"/>
              <a:gd name="connsiteY1769" fmla="*/ 2354368 h 7419095"/>
              <a:gd name="connsiteX1770" fmla="*/ 570183 w 9126537"/>
              <a:gd name="connsiteY1770" fmla="*/ 2353600 h 7419095"/>
              <a:gd name="connsiteX1771" fmla="*/ 569271 w 9126537"/>
              <a:gd name="connsiteY1771" fmla="*/ 2350095 h 7419095"/>
              <a:gd name="connsiteX1772" fmla="*/ 564153 w 9126537"/>
              <a:gd name="connsiteY1772" fmla="*/ 2352089 h 7419095"/>
              <a:gd name="connsiteX1773" fmla="*/ 570183 w 9126537"/>
              <a:gd name="connsiteY1773" fmla="*/ 2353600 h 7419095"/>
              <a:gd name="connsiteX1774" fmla="*/ 570977 w 9126537"/>
              <a:gd name="connsiteY1774" fmla="*/ 2356648 h 7419095"/>
              <a:gd name="connsiteX1775" fmla="*/ 570977 w 9126537"/>
              <a:gd name="connsiteY1775" fmla="*/ 2365765 h 7419095"/>
              <a:gd name="connsiteX1776" fmla="*/ 569236 w 9126537"/>
              <a:gd name="connsiteY1776" fmla="*/ 2368362 h 7419095"/>
              <a:gd name="connsiteX1777" fmla="*/ 545954 w 9126537"/>
              <a:gd name="connsiteY1777" fmla="*/ 2372603 h 7419095"/>
              <a:gd name="connsiteX1778" fmla="*/ 542186 w 9126537"/>
              <a:gd name="connsiteY1778" fmla="*/ 2381507 h 7419095"/>
              <a:gd name="connsiteX1779" fmla="*/ 541518 w 9126537"/>
              <a:gd name="connsiteY1779" fmla="*/ 2395322 h 7419095"/>
              <a:gd name="connsiteX1780" fmla="*/ 541404 w 9126537"/>
              <a:gd name="connsiteY1780" fmla="*/ 2395397 h 7419095"/>
              <a:gd name="connsiteX1781" fmla="*/ 536855 w 9126537"/>
              <a:gd name="connsiteY1781" fmla="*/ 2399955 h 7419095"/>
              <a:gd name="connsiteX1782" fmla="*/ 527756 w 9126537"/>
              <a:gd name="connsiteY1782" fmla="*/ 2404514 h 7419095"/>
              <a:gd name="connsiteX1783" fmla="*/ 448137 w 9126537"/>
              <a:gd name="connsiteY1783" fmla="*/ 2413632 h 7419095"/>
              <a:gd name="connsiteX1784" fmla="*/ 498183 w 9126537"/>
              <a:gd name="connsiteY1784" fmla="*/ 2377162 h 7419095"/>
              <a:gd name="connsiteX1785" fmla="*/ 502732 w 9126537"/>
              <a:gd name="connsiteY1785" fmla="*/ 2390838 h 7419095"/>
              <a:gd name="connsiteX1786" fmla="*/ 509557 w 9126537"/>
              <a:gd name="connsiteY1786" fmla="*/ 2384000 h 7419095"/>
              <a:gd name="connsiteX1787" fmla="*/ 500458 w 9126537"/>
              <a:gd name="connsiteY1787" fmla="*/ 2377162 h 7419095"/>
              <a:gd name="connsiteX1788" fmla="*/ 632397 w 9126537"/>
              <a:gd name="connsiteY1788" fmla="*/ 2281429 h 7419095"/>
              <a:gd name="connsiteX1789" fmla="*/ 648321 w 9126537"/>
              <a:gd name="connsiteY1789" fmla="*/ 2270032 h 7419095"/>
              <a:gd name="connsiteX1790" fmla="*/ 667372 w 9126537"/>
              <a:gd name="connsiteY1790" fmla="*/ 2267468 h 7419095"/>
              <a:gd name="connsiteX1791" fmla="*/ 683712 w 9126537"/>
              <a:gd name="connsiteY1791" fmla="*/ 2276325 h 7419095"/>
              <a:gd name="connsiteX1792" fmla="*/ 683281 w 9126537"/>
              <a:gd name="connsiteY1792" fmla="*/ 2276510 h 7419095"/>
              <a:gd name="connsiteX1793" fmla="*/ 675618 w 9126537"/>
              <a:gd name="connsiteY1793" fmla="*/ 2274591 h 7419095"/>
              <a:gd name="connsiteX1794" fmla="*/ 673343 w 9126537"/>
              <a:gd name="connsiteY1794" fmla="*/ 2281429 h 7419095"/>
              <a:gd name="connsiteX1795" fmla="*/ 677893 w 9126537"/>
              <a:gd name="connsiteY1795" fmla="*/ 2283708 h 7419095"/>
              <a:gd name="connsiteX1796" fmla="*/ 682442 w 9126537"/>
              <a:gd name="connsiteY1796" fmla="*/ 2276870 h 7419095"/>
              <a:gd name="connsiteX1797" fmla="*/ 683281 w 9126537"/>
              <a:gd name="connsiteY1797" fmla="*/ 2276510 h 7419095"/>
              <a:gd name="connsiteX1798" fmla="*/ 684718 w 9126537"/>
              <a:gd name="connsiteY1798" fmla="*/ 2276870 h 7419095"/>
              <a:gd name="connsiteX1799" fmla="*/ 683712 w 9126537"/>
              <a:gd name="connsiteY1799" fmla="*/ 2276325 h 7419095"/>
              <a:gd name="connsiteX1800" fmla="*/ 714290 w 9126537"/>
              <a:gd name="connsiteY1800" fmla="*/ 2263194 h 7419095"/>
              <a:gd name="connsiteX1801" fmla="*/ 712015 w 9126537"/>
              <a:gd name="connsiteY1801" fmla="*/ 2272312 h 7419095"/>
              <a:gd name="connsiteX1802" fmla="*/ 714290 w 9126537"/>
              <a:gd name="connsiteY1802" fmla="*/ 2283708 h 7419095"/>
              <a:gd name="connsiteX1803" fmla="*/ 718839 w 9126537"/>
              <a:gd name="connsiteY1803" fmla="*/ 2283708 h 7419095"/>
              <a:gd name="connsiteX1804" fmla="*/ 718839 w 9126537"/>
              <a:gd name="connsiteY1804" fmla="*/ 2270032 h 7419095"/>
              <a:gd name="connsiteX1805" fmla="*/ 714290 w 9126537"/>
              <a:gd name="connsiteY1805" fmla="*/ 2263194 h 7419095"/>
              <a:gd name="connsiteX1806" fmla="*/ 741587 w 9126537"/>
              <a:gd name="connsiteY1806" fmla="*/ 2247239 h 7419095"/>
              <a:gd name="connsiteX1807" fmla="*/ 775710 w 9126537"/>
              <a:gd name="connsiteY1807" fmla="*/ 2213048 h 7419095"/>
              <a:gd name="connsiteX1808" fmla="*/ 853053 w 9126537"/>
              <a:gd name="connsiteY1808" fmla="*/ 2185696 h 7419095"/>
              <a:gd name="connsiteX1809" fmla="*/ 882341 w 9126537"/>
              <a:gd name="connsiteY1809" fmla="*/ 2167461 h 7419095"/>
              <a:gd name="connsiteX1810" fmla="*/ 914395 w 9126537"/>
              <a:gd name="connsiteY1810" fmla="*/ 2163214 h 7419095"/>
              <a:gd name="connsiteX1811" fmla="*/ 909924 w 9126537"/>
              <a:gd name="connsiteY1811" fmla="*/ 2181138 h 7419095"/>
              <a:gd name="connsiteX1812" fmla="*/ 941771 w 9126537"/>
              <a:gd name="connsiteY1812" fmla="*/ 2176579 h 7419095"/>
              <a:gd name="connsiteX1813" fmla="*/ 1007740 w 9126537"/>
              <a:gd name="connsiteY1813" fmla="*/ 2133271 h 7419095"/>
              <a:gd name="connsiteX1814" fmla="*/ 1071435 w 9126537"/>
              <a:gd name="connsiteY1814" fmla="*/ 2092242 h 7419095"/>
              <a:gd name="connsiteX1815" fmla="*/ 1201100 w 9126537"/>
              <a:gd name="connsiteY1815" fmla="*/ 2019303 h 7419095"/>
              <a:gd name="connsiteX1816" fmla="*/ 1230388 w 9126537"/>
              <a:gd name="connsiteY1816" fmla="*/ 1998504 h 7419095"/>
              <a:gd name="connsiteX1817" fmla="*/ 1249558 w 9126537"/>
              <a:gd name="connsiteY1817" fmla="*/ 1971401 h 7419095"/>
              <a:gd name="connsiteX1818" fmla="*/ 1273787 w 9126537"/>
              <a:gd name="connsiteY1818" fmla="*/ 1970155 h 7419095"/>
              <a:gd name="connsiteX1819" fmla="*/ 1328488 w 9126537"/>
              <a:gd name="connsiteY1819" fmla="*/ 1930408 h 7419095"/>
              <a:gd name="connsiteX1820" fmla="*/ 1405832 w 9126537"/>
              <a:gd name="connsiteY1820" fmla="*/ 1919012 h 7419095"/>
              <a:gd name="connsiteX1821" fmla="*/ 1371710 w 9126537"/>
              <a:gd name="connsiteY1821" fmla="*/ 1941805 h 7419095"/>
              <a:gd name="connsiteX1822" fmla="*/ 1412657 w 9126537"/>
              <a:gd name="connsiteY1822" fmla="*/ 1946364 h 7419095"/>
              <a:gd name="connsiteX1823" fmla="*/ 1494550 w 9126537"/>
              <a:gd name="connsiteY1823" fmla="*/ 1893939 h 7419095"/>
              <a:gd name="connsiteX1824" fmla="*/ 1494550 w 9126537"/>
              <a:gd name="connsiteY1824" fmla="*/ 1880262 h 7419095"/>
              <a:gd name="connsiteX1825" fmla="*/ 1471802 w 9126537"/>
              <a:gd name="connsiteY1825" fmla="*/ 1889380 h 7419095"/>
              <a:gd name="connsiteX1826" fmla="*/ 1403557 w 9126537"/>
              <a:gd name="connsiteY1826" fmla="*/ 1919012 h 7419095"/>
              <a:gd name="connsiteX1827" fmla="*/ 1435405 w 9126537"/>
              <a:gd name="connsiteY1827" fmla="*/ 1887101 h 7419095"/>
              <a:gd name="connsiteX1828" fmla="*/ 1480901 w 9126537"/>
              <a:gd name="connsiteY1828" fmla="*/ 1864307 h 7419095"/>
              <a:gd name="connsiteX1829" fmla="*/ 1535497 w 9126537"/>
              <a:gd name="connsiteY1829" fmla="*/ 1818720 h 7419095"/>
              <a:gd name="connsiteX1830" fmla="*/ 1474077 w 9126537"/>
              <a:gd name="connsiteY1830" fmla="*/ 1839234 h 7419095"/>
              <a:gd name="connsiteX1831" fmla="*/ 1501374 w 9126537"/>
              <a:gd name="connsiteY1831" fmla="*/ 1807323 h 7419095"/>
              <a:gd name="connsiteX1832" fmla="*/ 1576443 w 9126537"/>
              <a:gd name="connsiteY1832" fmla="*/ 1777691 h 7419095"/>
              <a:gd name="connsiteX1833" fmla="*/ 1590091 w 9126537"/>
              <a:gd name="connsiteY1833" fmla="*/ 1779971 h 7419095"/>
              <a:gd name="connsiteX1834" fmla="*/ 1555970 w 9126537"/>
              <a:gd name="connsiteY1834" fmla="*/ 1800485 h 7419095"/>
              <a:gd name="connsiteX1835" fmla="*/ 1558245 w 9126537"/>
              <a:gd name="connsiteY1835" fmla="*/ 1823279 h 7419095"/>
              <a:gd name="connsiteX1836" fmla="*/ 1526397 w 9126537"/>
              <a:gd name="connsiteY1836" fmla="*/ 1862028 h 7419095"/>
              <a:gd name="connsiteX1837" fmla="*/ 1544880 w 9126537"/>
              <a:gd name="connsiteY1837" fmla="*/ 1874564 h 7419095"/>
              <a:gd name="connsiteX1838" fmla="*/ 1560916 w 9126537"/>
              <a:gd name="connsiteY1838" fmla="*/ 1879090 h 7419095"/>
              <a:gd name="connsiteX1839" fmla="*/ 1524122 w 9126537"/>
              <a:gd name="connsiteY1839" fmla="*/ 1900777 h 7419095"/>
              <a:gd name="connsiteX1840" fmla="*/ 1474077 w 9126537"/>
              <a:gd name="connsiteY1840" fmla="*/ 1928129 h 7419095"/>
              <a:gd name="connsiteX1841" fmla="*/ 1487726 w 9126537"/>
              <a:gd name="connsiteY1841" fmla="*/ 1939526 h 7419095"/>
              <a:gd name="connsiteX1842" fmla="*/ 1612840 w 9126537"/>
              <a:gd name="connsiteY1842" fmla="*/ 1928129 h 7419095"/>
              <a:gd name="connsiteX1843" fmla="*/ 1710657 w 9126537"/>
              <a:gd name="connsiteY1843" fmla="*/ 1889380 h 7419095"/>
              <a:gd name="connsiteX1844" fmla="*/ 1738239 w 9126537"/>
              <a:gd name="connsiteY1844" fmla="*/ 1875704 h 7419095"/>
              <a:gd name="connsiteX1845" fmla="*/ 1761595 w 9126537"/>
              <a:gd name="connsiteY1845" fmla="*/ 1870251 h 7419095"/>
              <a:gd name="connsiteX1846" fmla="*/ 1731130 w 9126537"/>
              <a:gd name="connsiteY1846" fmla="*/ 1900777 h 7419095"/>
              <a:gd name="connsiteX1847" fmla="*/ 1740229 w 9126537"/>
              <a:gd name="connsiteY1847" fmla="*/ 1932688 h 7419095"/>
              <a:gd name="connsiteX1848" fmla="*/ 1699282 w 9126537"/>
              <a:gd name="connsiteY1848" fmla="*/ 1944084 h 7419095"/>
              <a:gd name="connsiteX1849" fmla="*/ 1681084 w 9126537"/>
              <a:gd name="connsiteY1849" fmla="*/ 1932688 h 7419095"/>
              <a:gd name="connsiteX1850" fmla="*/ 1665160 w 9126537"/>
              <a:gd name="connsiteY1850" fmla="*/ 1950923 h 7419095"/>
              <a:gd name="connsiteX1851" fmla="*/ 1687909 w 9126537"/>
              <a:gd name="connsiteY1851" fmla="*/ 1966878 h 7419095"/>
              <a:gd name="connsiteX1852" fmla="*/ 1735680 w 9126537"/>
              <a:gd name="connsiteY1852" fmla="*/ 1960040 h 7419095"/>
              <a:gd name="connsiteX1853" fmla="*/ 1794825 w 9126537"/>
              <a:gd name="connsiteY1853" fmla="*/ 1948643 h 7419095"/>
              <a:gd name="connsiteX1854" fmla="*/ 1849420 w 9126537"/>
              <a:gd name="connsiteY1854" fmla="*/ 1941805 h 7419095"/>
              <a:gd name="connsiteX1855" fmla="*/ 1929039 w 9126537"/>
              <a:gd name="connsiteY1855" fmla="*/ 1916732 h 7419095"/>
              <a:gd name="connsiteX1856" fmla="*/ 1963161 w 9126537"/>
              <a:gd name="connsiteY1856" fmla="*/ 1905335 h 7419095"/>
              <a:gd name="connsiteX1857" fmla="*/ 1962827 w 9126537"/>
              <a:gd name="connsiteY1857" fmla="*/ 1906172 h 7419095"/>
              <a:gd name="connsiteX1858" fmla="*/ 1960885 w 9126537"/>
              <a:gd name="connsiteY1858" fmla="*/ 1907615 h 7419095"/>
              <a:gd name="connsiteX1859" fmla="*/ 1961861 w 9126537"/>
              <a:gd name="connsiteY1859" fmla="*/ 1908592 h 7419095"/>
              <a:gd name="connsiteX1860" fmla="*/ 1954061 w 9126537"/>
              <a:gd name="connsiteY1860" fmla="*/ 1928129 h 7419095"/>
              <a:gd name="connsiteX1861" fmla="*/ 1965436 w 9126537"/>
              <a:gd name="connsiteY1861" fmla="*/ 1912174 h 7419095"/>
              <a:gd name="connsiteX1862" fmla="*/ 1961861 w 9126537"/>
              <a:gd name="connsiteY1862" fmla="*/ 1908592 h 7419095"/>
              <a:gd name="connsiteX1863" fmla="*/ 1962827 w 9126537"/>
              <a:gd name="connsiteY1863" fmla="*/ 1906172 h 7419095"/>
              <a:gd name="connsiteX1864" fmla="*/ 1969701 w 9126537"/>
              <a:gd name="connsiteY1864" fmla="*/ 1901062 h 7419095"/>
              <a:gd name="connsiteX1865" fmla="*/ 1976809 w 9126537"/>
              <a:gd name="connsiteY1865" fmla="*/ 1903056 h 7419095"/>
              <a:gd name="connsiteX1866" fmla="*/ 2010932 w 9126537"/>
              <a:gd name="connsiteY1866" fmla="*/ 1916732 h 7419095"/>
              <a:gd name="connsiteX1867" fmla="*/ 2045054 w 9126537"/>
              <a:gd name="connsiteY1867" fmla="*/ 1914453 h 7419095"/>
              <a:gd name="connsiteX1868" fmla="*/ 2106474 w 9126537"/>
              <a:gd name="connsiteY1868" fmla="*/ 1896218 h 7419095"/>
              <a:gd name="connsiteX1869" fmla="*/ 2222489 w 9126537"/>
              <a:gd name="connsiteY1869" fmla="*/ 1864307 h 7419095"/>
              <a:gd name="connsiteX1870" fmla="*/ 2252061 w 9126537"/>
              <a:gd name="connsiteY1870" fmla="*/ 1864307 h 7419095"/>
              <a:gd name="connsiteX1871" fmla="*/ 2354428 w 9126537"/>
              <a:gd name="connsiteY1871" fmla="*/ 1848352 h 7419095"/>
              <a:gd name="connsiteX1872" fmla="*/ 2463619 w 9126537"/>
              <a:gd name="connsiteY1872" fmla="*/ 1800485 h 7419095"/>
              <a:gd name="connsiteX1873" fmla="*/ 2495467 w 9126537"/>
              <a:gd name="connsiteY1873" fmla="*/ 1791368 h 7419095"/>
              <a:gd name="connsiteX1874" fmla="*/ 2525039 w 9126537"/>
              <a:gd name="connsiteY1874" fmla="*/ 1770854 h 7419095"/>
              <a:gd name="connsiteX1875" fmla="*/ 2540963 w 9126537"/>
              <a:gd name="connsiteY1875" fmla="*/ 1784530 h 7419095"/>
              <a:gd name="connsiteX1876" fmla="*/ 2572809 w 9126537"/>
              <a:gd name="connsiteY1876" fmla="*/ 1764015 h 7419095"/>
              <a:gd name="connsiteX1877" fmla="*/ 2625130 w 9126537"/>
              <a:gd name="connsiteY1877" fmla="*/ 1738943 h 7419095"/>
              <a:gd name="connsiteX1878" fmla="*/ 2697924 w 9126537"/>
              <a:gd name="connsiteY1878" fmla="*/ 1707032 h 7419095"/>
              <a:gd name="connsiteX1879" fmla="*/ 2745696 w 9126537"/>
              <a:gd name="connsiteY1879" fmla="*/ 1684238 h 7419095"/>
              <a:gd name="connsiteX1880" fmla="*/ 2798016 w 9126537"/>
              <a:gd name="connsiteY1880" fmla="*/ 1663724 h 7419095"/>
              <a:gd name="connsiteX1881" fmla="*/ 2852612 w 9126537"/>
              <a:gd name="connsiteY1881" fmla="*/ 1643210 h 7419095"/>
              <a:gd name="connsiteX1882" fmla="*/ 2852612 w 9126537"/>
              <a:gd name="connsiteY1882" fmla="*/ 1645489 h 7419095"/>
              <a:gd name="connsiteX1883" fmla="*/ 2868535 w 9126537"/>
              <a:gd name="connsiteY1883" fmla="*/ 1606740 h 7419095"/>
              <a:gd name="connsiteX1884" fmla="*/ 2916306 w 9126537"/>
              <a:gd name="connsiteY1884" fmla="*/ 1595343 h 7419095"/>
              <a:gd name="connsiteX1885" fmla="*/ 2973176 w 9126537"/>
              <a:gd name="connsiteY1885" fmla="*/ 1593064 h 7419095"/>
              <a:gd name="connsiteX1886" fmla="*/ 2989100 w 9126537"/>
              <a:gd name="connsiteY1886" fmla="*/ 1602181 h 7419095"/>
              <a:gd name="connsiteX1887" fmla="*/ 3020948 w 9126537"/>
              <a:gd name="connsiteY1887" fmla="*/ 1590784 h 7419095"/>
              <a:gd name="connsiteX1888" fmla="*/ 3018672 w 9126537"/>
              <a:gd name="connsiteY1888" fmla="*/ 1579388 h 7419095"/>
              <a:gd name="connsiteX1889" fmla="*/ 3068719 w 9126537"/>
              <a:gd name="connsiteY1889" fmla="*/ 1563432 h 7419095"/>
              <a:gd name="connsiteX1890" fmla="*/ 3134688 w 9126537"/>
              <a:gd name="connsiteY1890" fmla="*/ 1540639 h 7419095"/>
              <a:gd name="connsiteX1891" fmla="*/ 3157436 w 9126537"/>
              <a:gd name="connsiteY1891" fmla="*/ 1531521 h 7419095"/>
              <a:gd name="connsiteX1892" fmla="*/ 3207482 w 9126537"/>
              <a:gd name="connsiteY1892" fmla="*/ 1511007 h 7419095"/>
              <a:gd name="connsiteX1893" fmla="*/ 3248428 w 9126537"/>
              <a:gd name="connsiteY1893" fmla="*/ 1495052 h 7419095"/>
              <a:gd name="connsiteX1894" fmla="*/ 3328047 w 9126537"/>
              <a:gd name="connsiteY1894" fmla="*/ 1483655 h 7419095"/>
              <a:gd name="connsiteX1895" fmla="*/ 3355344 w 9126537"/>
              <a:gd name="connsiteY1895" fmla="*/ 1472258 h 7419095"/>
              <a:gd name="connsiteX1896" fmla="*/ 3423589 w 9126537"/>
              <a:gd name="connsiteY1896" fmla="*/ 1442626 h 7419095"/>
              <a:gd name="connsiteX1897" fmla="*/ 3441788 w 9126537"/>
              <a:gd name="connsiteY1897" fmla="*/ 1444906 h 7419095"/>
              <a:gd name="connsiteX1898" fmla="*/ 3441788 w 9126537"/>
              <a:gd name="connsiteY1898" fmla="*/ 1442626 h 7419095"/>
              <a:gd name="connsiteX1899" fmla="*/ 3466810 w 9126537"/>
              <a:gd name="connsiteY1899" fmla="*/ 1449464 h 7419095"/>
              <a:gd name="connsiteX1900" fmla="*/ 3535055 w 9126537"/>
              <a:gd name="connsiteY1900" fmla="*/ 1412995 h 7419095"/>
              <a:gd name="connsiteX1901" fmla="*/ 3626047 w 9126537"/>
              <a:gd name="connsiteY1901" fmla="*/ 1397039 h 7419095"/>
              <a:gd name="connsiteX1902" fmla="*/ 3610123 w 9126537"/>
              <a:gd name="connsiteY1902" fmla="*/ 1385643 h 7419095"/>
              <a:gd name="connsiteX1903" fmla="*/ 3571452 w 9126537"/>
              <a:gd name="connsiteY1903" fmla="*/ 1385643 h 7419095"/>
              <a:gd name="connsiteX1904" fmla="*/ 3614672 w 9126537"/>
              <a:gd name="connsiteY1904" fmla="*/ 1362849 h 7419095"/>
              <a:gd name="connsiteX1905" fmla="*/ 3603299 w 9126537"/>
              <a:gd name="connsiteY1905" fmla="*/ 1351452 h 7419095"/>
              <a:gd name="connsiteX1906" fmla="*/ 3557386 w 9126537"/>
              <a:gd name="connsiteY1906" fmla="*/ 1349361 h 7419095"/>
              <a:gd name="connsiteX1907" fmla="*/ 3581972 w 9126537"/>
              <a:gd name="connsiteY1907" fmla="*/ 1336921 h 7419095"/>
              <a:gd name="connsiteX1908" fmla="*/ 3612398 w 9126537"/>
              <a:gd name="connsiteY1908" fmla="*/ 1330938 h 7419095"/>
              <a:gd name="connsiteX1909" fmla="*/ 3637421 w 9126537"/>
              <a:gd name="connsiteY1909" fmla="*/ 1328659 h 7419095"/>
              <a:gd name="connsiteX1910" fmla="*/ 3739787 w 9126537"/>
              <a:gd name="connsiteY1910" fmla="*/ 1308144 h 7419095"/>
              <a:gd name="connsiteX1911" fmla="*/ 3876275 w 9126537"/>
              <a:gd name="connsiteY1911" fmla="*/ 1294468 h 7419095"/>
              <a:gd name="connsiteX1912" fmla="*/ 3889924 w 9126537"/>
              <a:gd name="connsiteY1912" fmla="*/ 1289910 h 7419095"/>
              <a:gd name="connsiteX1913" fmla="*/ 3992291 w 9126537"/>
              <a:gd name="connsiteY1913" fmla="*/ 1269395 h 7419095"/>
              <a:gd name="connsiteX1914" fmla="*/ 4069634 w 9126537"/>
              <a:gd name="connsiteY1914" fmla="*/ 1251160 h 7419095"/>
              <a:gd name="connsiteX1915" fmla="*/ 4092382 w 9126537"/>
              <a:gd name="connsiteY1915" fmla="*/ 1246602 h 7419095"/>
              <a:gd name="connsiteX1916" fmla="*/ 4174276 w 9126537"/>
              <a:gd name="connsiteY1916" fmla="*/ 1216970 h 7419095"/>
              <a:gd name="connsiteX1917" fmla="*/ 4212379 w 9126537"/>
              <a:gd name="connsiteY1917" fmla="*/ 1192182 h 7419095"/>
              <a:gd name="connsiteX1918" fmla="*/ 4252766 w 9126537"/>
              <a:gd name="connsiteY1918" fmla="*/ 1176383 h 7419095"/>
              <a:gd name="connsiteX1919" fmla="*/ 4251619 w 9126537"/>
              <a:gd name="connsiteY1919" fmla="*/ 1178221 h 7419095"/>
              <a:gd name="connsiteX1920" fmla="*/ 4253043 w 9126537"/>
              <a:gd name="connsiteY1920" fmla="*/ 1179067 h 7419095"/>
              <a:gd name="connsiteX1921" fmla="*/ 4250482 w 9126537"/>
              <a:gd name="connsiteY1921" fmla="*/ 1188478 h 7419095"/>
              <a:gd name="connsiteX1922" fmla="*/ 4240245 w 9126537"/>
              <a:gd name="connsiteY1922" fmla="*/ 1194177 h 7419095"/>
              <a:gd name="connsiteX1923" fmla="*/ 4190199 w 9126537"/>
              <a:gd name="connsiteY1923" fmla="*/ 1223808 h 7419095"/>
              <a:gd name="connsiteX1924" fmla="*/ 4199298 w 9126537"/>
              <a:gd name="connsiteY1924" fmla="*/ 1235205 h 7419095"/>
              <a:gd name="connsiteX1925" fmla="*/ 4310764 w 9126537"/>
              <a:gd name="connsiteY1925" fmla="*/ 1232926 h 7419095"/>
              <a:gd name="connsiteX1926" fmla="*/ 4326688 w 9126537"/>
              <a:gd name="connsiteY1926" fmla="*/ 1212411 h 7419095"/>
              <a:gd name="connsiteX1927" fmla="*/ 4303940 w 9126537"/>
              <a:gd name="connsiteY1927" fmla="*/ 1198735 h 7419095"/>
              <a:gd name="connsiteX1928" fmla="*/ 4276073 w 9126537"/>
              <a:gd name="connsiteY1928" fmla="*/ 1192752 h 7419095"/>
              <a:gd name="connsiteX1929" fmla="*/ 4253043 w 9126537"/>
              <a:gd name="connsiteY1929" fmla="*/ 1179067 h 7419095"/>
              <a:gd name="connsiteX1930" fmla="*/ 4253894 w 9126537"/>
              <a:gd name="connsiteY1930" fmla="*/ 1175942 h 7419095"/>
              <a:gd name="connsiteX1931" fmla="*/ 4252766 w 9126537"/>
              <a:gd name="connsiteY1931" fmla="*/ 1176383 h 7419095"/>
              <a:gd name="connsiteX1932" fmla="*/ 4262993 w 9126537"/>
              <a:gd name="connsiteY1932" fmla="*/ 1159986 h 7419095"/>
              <a:gd name="connsiteX1933" fmla="*/ 4144703 w 9126537"/>
              <a:gd name="connsiteY1933" fmla="*/ 1125796 h 7419095"/>
              <a:gd name="connsiteX1934" fmla="*/ 4119680 w 9126537"/>
              <a:gd name="connsiteY1934" fmla="*/ 1121237 h 7419095"/>
              <a:gd name="connsiteX1935" fmla="*/ 4112856 w 9126537"/>
              <a:gd name="connsiteY1935" fmla="*/ 1105282 h 7419095"/>
              <a:gd name="connsiteX1936" fmla="*/ 4110581 w 9126537"/>
              <a:gd name="connsiteY1936" fmla="*/ 1105282 h 7419095"/>
              <a:gd name="connsiteX1937" fmla="*/ 4140153 w 9126537"/>
              <a:gd name="connsiteY1937" fmla="*/ 1100723 h 7419095"/>
              <a:gd name="connsiteX1938" fmla="*/ 4115130 w 9126537"/>
              <a:gd name="connsiteY1938" fmla="*/ 1077929 h 7419095"/>
              <a:gd name="connsiteX1939" fmla="*/ 4046886 w 9126537"/>
              <a:gd name="connsiteY1939" fmla="*/ 1073371 h 7419095"/>
              <a:gd name="connsiteX1940" fmla="*/ 4028688 w 9126537"/>
              <a:gd name="connsiteY1940" fmla="*/ 1057415 h 7419095"/>
              <a:gd name="connsiteX1941" fmla="*/ 4069634 w 9126537"/>
              <a:gd name="connsiteY1941" fmla="*/ 1036901 h 7419095"/>
              <a:gd name="connsiteX1942" fmla="*/ 4081578 w 9126537"/>
              <a:gd name="connsiteY1942" fmla="*/ 1033482 h 7419095"/>
              <a:gd name="connsiteX1943" fmla="*/ 4088583 w 9126537"/>
              <a:gd name="connsiteY1943" fmla="*/ 1025059 h 7419095"/>
              <a:gd name="connsiteX1944" fmla="*/ 4090108 w 9126537"/>
              <a:gd name="connsiteY1944" fmla="*/ 1025504 h 7419095"/>
              <a:gd name="connsiteX1945" fmla="*/ 4090108 w 9126537"/>
              <a:gd name="connsiteY1945" fmla="*/ 1023225 h 7419095"/>
              <a:gd name="connsiteX1946" fmla="*/ 4090108 w 9126537"/>
              <a:gd name="connsiteY1946" fmla="*/ 1023225 h 7419095"/>
              <a:gd name="connsiteX1947" fmla="*/ 4110581 w 9126537"/>
              <a:gd name="connsiteY1947" fmla="*/ 1014108 h 7419095"/>
              <a:gd name="connsiteX1948" fmla="*/ 4146978 w 9126537"/>
              <a:gd name="connsiteY1948" fmla="*/ 1011828 h 7419095"/>
              <a:gd name="connsiteX1949" fmla="*/ 4185650 w 9126537"/>
              <a:gd name="connsiteY1949" fmla="*/ 1025504 h 7419095"/>
              <a:gd name="connsiteX1950" fmla="*/ 4249344 w 9126537"/>
              <a:gd name="connsiteY1950" fmla="*/ 1011828 h 7419095"/>
              <a:gd name="connsiteX1951" fmla="*/ 4260718 w 9126537"/>
              <a:gd name="connsiteY1951" fmla="*/ 1000431 h 7419095"/>
              <a:gd name="connsiteX1952" fmla="*/ 4222046 w 9126537"/>
              <a:gd name="connsiteY1952" fmla="*/ 973079 h 7419095"/>
              <a:gd name="connsiteX1953" fmla="*/ 4199298 w 9126537"/>
              <a:gd name="connsiteY1953" fmla="*/ 950286 h 7419095"/>
              <a:gd name="connsiteX1954" fmla="*/ 4008214 w 9126537"/>
              <a:gd name="connsiteY1954" fmla="*/ 954844 h 7419095"/>
              <a:gd name="connsiteX1955" fmla="*/ 3967268 w 9126537"/>
              <a:gd name="connsiteY1955" fmla="*/ 959403 h 7419095"/>
              <a:gd name="connsiteX1956" fmla="*/ 3960443 w 9126537"/>
              <a:gd name="connsiteY1956" fmla="*/ 970800 h 7419095"/>
              <a:gd name="connsiteX1957" fmla="*/ 3964993 w 9126537"/>
              <a:gd name="connsiteY1957" fmla="*/ 984476 h 7419095"/>
              <a:gd name="connsiteX1958" fmla="*/ 3990016 w 9126537"/>
              <a:gd name="connsiteY1958" fmla="*/ 989035 h 7419095"/>
              <a:gd name="connsiteX1959" fmla="*/ 4076459 w 9126537"/>
              <a:gd name="connsiteY1959" fmla="*/ 998152 h 7419095"/>
              <a:gd name="connsiteX1960" fmla="*/ 4090108 w 9126537"/>
              <a:gd name="connsiteY1960" fmla="*/ 1008409 h 7419095"/>
              <a:gd name="connsiteX1961" fmla="*/ 4090108 w 9126537"/>
              <a:gd name="connsiteY1961" fmla="*/ 1023225 h 7419095"/>
              <a:gd name="connsiteX1962" fmla="*/ 4088583 w 9126537"/>
              <a:gd name="connsiteY1962" fmla="*/ 1025059 h 7419095"/>
              <a:gd name="connsiteX1963" fmla="*/ 4049161 w 9126537"/>
              <a:gd name="connsiteY1963" fmla="*/ 1013538 h 7419095"/>
              <a:gd name="connsiteX1964" fmla="*/ 4008214 w 9126537"/>
              <a:gd name="connsiteY1964" fmla="*/ 1018666 h 7419095"/>
              <a:gd name="connsiteX1965" fmla="*/ 3935420 w 9126537"/>
              <a:gd name="connsiteY1965" fmla="*/ 1011828 h 7419095"/>
              <a:gd name="connsiteX1966" fmla="*/ 3903573 w 9126537"/>
              <a:gd name="connsiteY1966" fmla="*/ 1009549 h 7419095"/>
              <a:gd name="connsiteX1967" fmla="*/ 3928596 w 9126537"/>
              <a:gd name="connsiteY1967" fmla="*/ 975359 h 7419095"/>
              <a:gd name="connsiteX1968" fmla="*/ 3821680 w 9126537"/>
              <a:gd name="connsiteY1968" fmla="*/ 986755 h 7419095"/>
              <a:gd name="connsiteX1969" fmla="*/ 3812581 w 9126537"/>
              <a:gd name="connsiteY1969" fmla="*/ 998152 h 7419095"/>
              <a:gd name="connsiteX1970" fmla="*/ 3878550 w 9126537"/>
              <a:gd name="connsiteY1970" fmla="*/ 1007269 h 7419095"/>
              <a:gd name="connsiteX1971" fmla="*/ 3833054 w 9126537"/>
              <a:gd name="connsiteY1971" fmla="*/ 1043739 h 7419095"/>
              <a:gd name="connsiteX1972" fmla="*/ 3673817 w 9126537"/>
              <a:gd name="connsiteY1972" fmla="*/ 1057415 h 7419095"/>
              <a:gd name="connsiteX1973" fmla="*/ 3717040 w 9126537"/>
              <a:gd name="connsiteY1973" fmla="*/ 1016387 h 7419095"/>
              <a:gd name="connsiteX1974" fmla="*/ 3701116 w 9126537"/>
              <a:gd name="connsiteY1974" fmla="*/ 1011828 h 7419095"/>
              <a:gd name="connsiteX1975" fmla="*/ 3598749 w 9126537"/>
              <a:gd name="connsiteY1975" fmla="*/ 1034622 h 7419095"/>
              <a:gd name="connsiteX1976" fmla="*/ 3564627 w 9126537"/>
              <a:gd name="connsiteY1976" fmla="*/ 1034622 h 7419095"/>
              <a:gd name="connsiteX1977" fmla="*/ 3714765 w 9126537"/>
              <a:gd name="connsiteY1977" fmla="*/ 993593 h 7419095"/>
              <a:gd name="connsiteX1978" fmla="*/ 3842153 w 9126537"/>
              <a:gd name="connsiteY1978" fmla="*/ 961682 h 7419095"/>
              <a:gd name="connsiteX1979" fmla="*/ 3860352 w 9126537"/>
              <a:gd name="connsiteY1979" fmla="*/ 945727 h 7419095"/>
              <a:gd name="connsiteX1980" fmla="*/ 3826230 w 9126537"/>
              <a:gd name="connsiteY1980" fmla="*/ 941168 h 7419095"/>
              <a:gd name="connsiteX1981" fmla="*/ 3751162 w 9126537"/>
              <a:gd name="connsiteY1981" fmla="*/ 954844 h 7419095"/>
              <a:gd name="connsiteX1982" fmla="*/ 3698841 w 9126537"/>
              <a:gd name="connsiteY1982" fmla="*/ 975359 h 7419095"/>
              <a:gd name="connsiteX1983" fmla="*/ 3671543 w 9126537"/>
              <a:gd name="connsiteY1983" fmla="*/ 968520 h 7419095"/>
              <a:gd name="connsiteX1984" fmla="*/ 3680642 w 9126537"/>
              <a:gd name="connsiteY1984" fmla="*/ 961682 h 7419095"/>
              <a:gd name="connsiteX1985" fmla="*/ 3760261 w 9126537"/>
              <a:gd name="connsiteY1985" fmla="*/ 941168 h 7419095"/>
              <a:gd name="connsiteX1986" fmla="*/ 3794382 w 9126537"/>
              <a:gd name="connsiteY1986" fmla="*/ 934330 h 7419095"/>
              <a:gd name="connsiteX1987" fmla="*/ 3901298 w 9126537"/>
              <a:gd name="connsiteY1987" fmla="*/ 918375 h 7419095"/>
              <a:gd name="connsiteX1988" fmla="*/ 3957449 w 9126537"/>
              <a:gd name="connsiteY1988" fmla="*/ 913874 h 7419095"/>
              <a:gd name="connsiteX1989" fmla="*/ 3970112 w 9126537"/>
              <a:gd name="connsiteY1989" fmla="*/ 932905 h 7419095"/>
              <a:gd name="connsiteX1990" fmla="*/ 3987741 w 9126537"/>
              <a:gd name="connsiteY1990" fmla="*/ 932051 h 7419095"/>
              <a:gd name="connsiteX1991" fmla="*/ 4037787 w 9126537"/>
              <a:gd name="connsiteY1991" fmla="*/ 906978 h 7419095"/>
              <a:gd name="connsiteX1992" fmla="*/ 4088843 w 9126537"/>
              <a:gd name="connsiteY1992" fmla="*/ 902529 h 7419095"/>
              <a:gd name="connsiteX1993" fmla="*/ 4090192 w 9126537"/>
              <a:gd name="connsiteY1993" fmla="*/ 902677 h 7419095"/>
              <a:gd name="connsiteX1994" fmla="*/ 4095226 w 9126537"/>
              <a:gd name="connsiteY1994" fmla="*/ 918090 h 7419095"/>
              <a:gd name="connsiteX1995" fmla="*/ 4110581 w 9126537"/>
              <a:gd name="connsiteY1995" fmla="*/ 925213 h 7419095"/>
              <a:gd name="connsiteX1996" fmla="*/ 4146978 w 9126537"/>
              <a:gd name="connsiteY1996" fmla="*/ 906978 h 7419095"/>
              <a:gd name="connsiteX1997" fmla="*/ 4103153 w 9126537"/>
              <a:gd name="connsiteY1997" fmla="*/ 904093 h 7419095"/>
              <a:gd name="connsiteX1998" fmla="*/ 4090192 w 9126537"/>
              <a:gd name="connsiteY1998" fmla="*/ 902677 h 7419095"/>
              <a:gd name="connsiteX1999" fmla="*/ 4090108 w 9126537"/>
              <a:gd name="connsiteY1999" fmla="*/ 902419 h 7419095"/>
              <a:gd name="connsiteX2000" fmla="*/ 4088843 w 9126537"/>
              <a:gd name="connsiteY2000" fmla="*/ 902529 h 7419095"/>
              <a:gd name="connsiteX2001" fmla="*/ 4087833 w 9126537"/>
              <a:gd name="connsiteY2001" fmla="*/ 902419 h 7419095"/>
              <a:gd name="connsiteX2002" fmla="*/ 4106031 w 9126537"/>
              <a:gd name="connsiteY2002" fmla="*/ 895581 h 7419095"/>
              <a:gd name="connsiteX2003" fmla="*/ 4251619 w 9126537"/>
              <a:gd name="connsiteY2003" fmla="*/ 902419 h 7419095"/>
              <a:gd name="connsiteX2004" fmla="*/ 4344886 w 9126537"/>
              <a:gd name="connsiteY2004" fmla="*/ 916095 h 7419095"/>
              <a:gd name="connsiteX2005" fmla="*/ 4388108 w 9126537"/>
              <a:gd name="connsiteY2005" fmla="*/ 916095 h 7419095"/>
              <a:gd name="connsiteX2006" fmla="*/ 4433604 w 9126537"/>
              <a:gd name="connsiteY2006" fmla="*/ 977638 h 7419095"/>
              <a:gd name="connsiteX2007" fmla="*/ 4485924 w 9126537"/>
              <a:gd name="connsiteY2007" fmla="*/ 1002711 h 7419095"/>
              <a:gd name="connsiteX2008" fmla="*/ 4486695 w 9126537"/>
              <a:gd name="connsiteY2008" fmla="*/ 1004840 h 7419095"/>
              <a:gd name="connsiteX2009" fmla="*/ 4485924 w 9126537"/>
              <a:gd name="connsiteY2009" fmla="*/ 1004990 h 7419095"/>
              <a:gd name="connsiteX2010" fmla="*/ 4486932 w 9126537"/>
              <a:gd name="connsiteY2010" fmla="*/ 1005495 h 7419095"/>
              <a:gd name="connsiteX2011" fmla="*/ 4490190 w 9126537"/>
              <a:gd name="connsiteY2011" fmla="*/ 1014499 h 7419095"/>
              <a:gd name="connsiteX2012" fmla="*/ 4513222 w 9126537"/>
              <a:gd name="connsiteY2012" fmla="*/ 1018666 h 7419095"/>
              <a:gd name="connsiteX2013" fmla="*/ 4486932 w 9126537"/>
              <a:gd name="connsiteY2013" fmla="*/ 1005495 h 7419095"/>
              <a:gd name="connsiteX2014" fmla="*/ 4486695 w 9126537"/>
              <a:gd name="connsiteY2014" fmla="*/ 1004840 h 7419095"/>
              <a:gd name="connsiteX2015" fmla="*/ 4518056 w 9126537"/>
              <a:gd name="connsiteY2015" fmla="*/ 998722 h 7419095"/>
              <a:gd name="connsiteX2016" fmla="*/ 4531420 w 9126537"/>
              <a:gd name="connsiteY2016" fmla="*/ 1016387 h 7419095"/>
              <a:gd name="connsiteX2017" fmla="*/ 4563268 w 9126537"/>
              <a:gd name="connsiteY2017" fmla="*/ 1036901 h 7419095"/>
              <a:gd name="connsiteX2018" fmla="*/ 4565785 w 9126537"/>
              <a:gd name="connsiteY2018" fmla="*/ 1036901 h 7419095"/>
              <a:gd name="connsiteX2019" fmla="*/ 4566965 w 9126537"/>
              <a:gd name="connsiteY2019" fmla="*/ 1048013 h 7419095"/>
              <a:gd name="connsiteX2020" fmla="*/ 4576917 w 9126537"/>
              <a:gd name="connsiteY2020" fmla="*/ 1059695 h 7419095"/>
              <a:gd name="connsiteX2021" fmla="*/ 4597390 w 9126537"/>
              <a:gd name="connsiteY2021" fmla="*/ 1075650 h 7419095"/>
              <a:gd name="connsiteX2022" fmla="*/ 4560993 w 9126537"/>
              <a:gd name="connsiteY2022" fmla="*/ 1061974 h 7419095"/>
              <a:gd name="connsiteX2023" fmla="*/ 4545070 w 9126537"/>
              <a:gd name="connsiteY2023" fmla="*/ 1064253 h 7419095"/>
              <a:gd name="connsiteX2024" fmla="*/ 4601940 w 9126537"/>
              <a:gd name="connsiteY2024" fmla="*/ 1118958 h 7419095"/>
              <a:gd name="connsiteX2025" fmla="*/ 4624688 w 9126537"/>
              <a:gd name="connsiteY2025" fmla="*/ 1105282 h 7419095"/>
              <a:gd name="connsiteX2026" fmla="*/ 4595116 w 9126537"/>
              <a:gd name="connsiteY2026" fmla="*/ 1075650 h 7419095"/>
              <a:gd name="connsiteX2027" fmla="*/ 4624688 w 9126537"/>
              <a:gd name="connsiteY2027" fmla="*/ 1077929 h 7419095"/>
              <a:gd name="connsiteX2028" fmla="*/ 4624688 w 9126537"/>
              <a:gd name="connsiteY2028" fmla="*/ 1057415 h 7419095"/>
              <a:gd name="connsiteX2029" fmla="*/ 4631512 w 9126537"/>
              <a:gd name="connsiteY2029" fmla="*/ 1055136 h 7419095"/>
              <a:gd name="connsiteX2030" fmla="*/ 4661085 w 9126537"/>
              <a:gd name="connsiteY2030" fmla="*/ 1073371 h 7419095"/>
              <a:gd name="connsiteX2031" fmla="*/ 4667910 w 9126537"/>
              <a:gd name="connsiteY2031" fmla="*/ 1073371 h 7419095"/>
              <a:gd name="connsiteX2032" fmla="*/ 4669850 w 9126537"/>
              <a:gd name="connsiteY2032" fmla="*/ 1048093 h 7419095"/>
              <a:gd name="connsiteX2033" fmla="*/ 4701747 w 9126537"/>
              <a:gd name="connsiteY2033" fmla="*/ 1082203 h 7419095"/>
              <a:gd name="connsiteX2034" fmla="*/ 4713406 w 9126537"/>
              <a:gd name="connsiteY2034" fmla="*/ 1130355 h 7419095"/>
              <a:gd name="connsiteX2035" fmla="*/ 4740703 w 9126537"/>
              <a:gd name="connsiteY2035" fmla="*/ 1107561 h 7419095"/>
              <a:gd name="connsiteX2036" fmla="*/ 4715680 w 9126537"/>
              <a:gd name="connsiteY2036" fmla="*/ 1011828 h 7419095"/>
              <a:gd name="connsiteX2037" fmla="*/ 4694923 w 9126537"/>
              <a:gd name="connsiteY2037" fmla="*/ 983051 h 7419095"/>
              <a:gd name="connsiteX2038" fmla="*/ 4680568 w 9126537"/>
              <a:gd name="connsiteY2038" fmla="*/ 955067 h 7419095"/>
              <a:gd name="connsiteX2039" fmla="*/ 4713406 w 9126537"/>
              <a:gd name="connsiteY2039" fmla="*/ 957124 h 7419095"/>
              <a:gd name="connsiteX2040" fmla="*/ 4724780 w 9126537"/>
              <a:gd name="connsiteY2040" fmla="*/ 975359 h 7419095"/>
              <a:gd name="connsiteX2041" fmla="*/ 4738428 w 9126537"/>
              <a:gd name="connsiteY2041" fmla="*/ 1018666 h 7419095"/>
              <a:gd name="connsiteX2042" fmla="*/ 4752077 w 9126537"/>
              <a:gd name="connsiteY2042" fmla="*/ 1030063 h 7419095"/>
              <a:gd name="connsiteX2043" fmla="*/ 4752077 w 9126537"/>
              <a:gd name="connsiteY2043" fmla="*/ 1141752 h 7419095"/>
              <a:gd name="connsiteX2044" fmla="*/ 4747528 w 9126537"/>
              <a:gd name="connsiteY2044" fmla="*/ 1169104 h 7419095"/>
              <a:gd name="connsiteX2045" fmla="*/ 4738428 w 9126537"/>
              <a:gd name="connsiteY2045" fmla="*/ 1210132 h 7419095"/>
              <a:gd name="connsiteX2046" fmla="*/ 4758902 w 9126537"/>
              <a:gd name="connsiteY2046" fmla="*/ 1228367 h 7419095"/>
              <a:gd name="connsiteX2047" fmla="*/ 4756627 w 9126537"/>
              <a:gd name="connsiteY2047" fmla="*/ 1228367 h 7419095"/>
              <a:gd name="connsiteX2048" fmla="*/ 4697482 w 9126537"/>
              <a:gd name="connsiteY2048" fmla="*/ 1312703 h 7419095"/>
              <a:gd name="connsiteX2049" fmla="*/ 4692932 w 9126537"/>
              <a:gd name="connsiteY2049" fmla="*/ 1356011 h 7419095"/>
              <a:gd name="connsiteX2050" fmla="*/ 4706581 w 9126537"/>
              <a:gd name="connsiteY2050" fmla="*/ 1397039 h 7419095"/>
              <a:gd name="connsiteX2051" fmla="*/ 4729898 w 9126537"/>
              <a:gd name="connsiteY2051" fmla="*/ 1401313 h 7419095"/>
              <a:gd name="connsiteX2052" fmla="*/ 4747955 w 9126537"/>
              <a:gd name="connsiteY2052" fmla="*/ 1391232 h 7419095"/>
              <a:gd name="connsiteX2053" fmla="*/ 4755205 w 9126537"/>
              <a:gd name="connsiteY2053" fmla="*/ 1408721 h 7419095"/>
              <a:gd name="connsiteX2054" fmla="*/ 4768001 w 9126537"/>
              <a:gd name="connsiteY2054" fmla="*/ 1408436 h 7419095"/>
              <a:gd name="connsiteX2055" fmla="*/ 4811222 w 9126537"/>
              <a:gd name="connsiteY2055" fmla="*/ 1387922 h 7419095"/>
              <a:gd name="connsiteX2056" fmla="*/ 4802123 w 9126537"/>
              <a:gd name="connsiteY2056" fmla="*/ 1428950 h 7419095"/>
              <a:gd name="connsiteX2057" fmla="*/ 4788474 w 9126537"/>
              <a:gd name="connsiteY2057" fmla="*/ 1458582 h 7419095"/>
              <a:gd name="connsiteX2058" fmla="*/ 4763452 w 9126537"/>
              <a:gd name="connsiteY2058" fmla="*/ 1458582 h 7419095"/>
              <a:gd name="connsiteX2059" fmla="*/ 4717955 w 9126537"/>
              <a:gd name="connsiteY2059" fmla="*/ 1490493 h 7419095"/>
              <a:gd name="connsiteX2060" fmla="*/ 4715680 w 9126537"/>
              <a:gd name="connsiteY2060" fmla="*/ 1506448 h 7419095"/>
              <a:gd name="connsiteX2061" fmla="*/ 4758211 w 9126537"/>
              <a:gd name="connsiteY2061" fmla="*/ 1573736 h 7419095"/>
              <a:gd name="connsiteX2062" fmla="*/ 4742978 w 9126537"/>
              <a:gd name="connsiteY2062" fmla="*/ 1599902 h 7419095"/>
              <a:gd name="connsiteX2063" fmla="*/ 4820322 w 9126537"/>
              <a:gd name="connsiteY2063" fmla="*/ 1599902 h 7419095"/>
              <a:gd name="connsiteX2064" fmla="*/ 4868092 w 9126537"/>
              <a:gd name="connsiteY2064" fmla="*/ 1556594 h 7419095"/>
              <a:gd name="connsiteX2065" fmla="*/ 4959085 w 9126537"/>
              <a:gd name="connsiteY2065" fmla="*/ 1529242 h 7419095"/>
              <a:gd name="connsiteX2066" fmla="*/ 4963634 w 9126537"/>
              <a:gd name="connsiteY2066" fmla="*/ 1501890 h 7419095"/>
              <a:gd name="connsiteX2067" fmla="*/ 4963634 w 9126537"/>
              <a:gd name="connsiteY2067" fmla="*/ 1504169 h 7419095"/>
              <a:gd name="connsiteX2068" fmla="*/ 5050078 w 9126537"/>
              <a:gd name="connsiteY2068" fmla="*/ 1481375 h 7419095"/>
              <a:gd name="connsiteX2069" fmla="*/ 5086474 w 9126537"/>
              <a:gd name="connsiteY2069" fmla="*/ 1460861 h 7419095"/>
              <a:gd name="connsiteX2070" fmla="*/ 5125146 w 9126537"/>
              <a:gd name="connsiteY2070" fmla="*/ 1442626 h 7419095"/>
              <a:gd name="connsiteX2071" fmla="*/ 5125146 w 9126537"/>
              <a:gd name="connsiteY2071" fmla="*/ 1440347 h 7419095"/>
              <a:gd name="connsiteX2072" fmla="*/ 5154718 w 9126537"/>
              <a:gd name="connsiteY2072" fmla="*/ 1444906 h 7419095"/>
              <a:gd name="connsiteX2073" fmla="*/ 5225238 w 9126537"/>
              <a:gd name="connsiteY2073" fmla="*/ 1381084 h 7419095"/>
              <a:gd name="connsiteX2074" fmla="*/ 5225238 w 9126537"/>
              <a:gd name="connsiteY2074" fmla="*/ 1378804 h 7419095"/>
              <a:gd name="connsiteX2075" fmla="*/ 5227512 w 9126537"/>
              <a:gd name="connsiteY2075" fmla="*/ 1399319 h 7419095"/>
              <a:gd name="connsiteX2076" fmla="*/ 5275284 w 9126537"/>
              <a:gd name="connsiteY2076" fmla="*/ 1385643 h 7419095"/>
              <a:gd name="connsiteX2077" fmla="*/ 5338978 w 9126537"/>
              <a:gd name="connsiteY2077" fmla="*/ 1342335 h 7419095"/>
              <a:gd name="connsiteX2078" fmla="*/ 5299311 w 9126537"/>
              <a:gd name="connsiteY2078" fmla="*/ 1347784 h 7419095"/>
              <a:gd name="connsiteX2079" fmla="*/ 5288952 w 9126537"/>
              <a:gd name="connsiteY2079" fmla="*/ 1348921 h 7419095"/>
              <a:gd name="connsiteX2080" fmla="*/ 5309122 w 9126537"/>
              <a:gd name="connsiteY2080" fmla="*/ 1326664 h 7419095"/>
              <a:gd name="connsiteX2081" fmla="*/ 5336704 w 9126537"/>
              <a:gd name="connsiteY2081" fmla="*/ 1310424 h 7419095"/>
              <a:gd name="connsiteX2082" fmla="*/ 5511864 w 9126537"/>
              <a:gd name="connsiteY2082" fmla="*/ 1210132 h 7419095"/>
              <a:gd name="connsiteX2083" fmla="*/ 5721146 w 9126537"/>
              <a:gd name="connsiteY2083" fmla="*/ 1100723 h 7419095"/>
              <a:gd name="connsiteX2084" fmla="*/ 5880383 w 9126537"/>
              <a:gd name="connsiteY2084" fmla="*/ 1023225 h 7419095"/>
              <a:gd name="connsiteX2085" fmla="*/ 5980474 w 9126537"/>
              <a:gd name="connsiteY2085" fmla="*/ 975359 h 7419095"/>
              <a:gd name="connsiteX2086" fmla="*/ 6119238 w 9126537"/>
              <a:gd name="connsiteY2086" fmla="*/ 904698 h 7419095"/>
              <a:gd name="connsiteX2087" fmla="*/ 6250290 w 9126537"/>
              <a:gd name="connsiteY2087" fmla="*/ 843570 h 7419095"/>
              <a:gd name="connsiteX2088" fmla="*/ 6256188 w 9126537"/>
              <a:gd name="connsiteY2088" fmla="*/ 855016 h 7419095"/>
              <a:gd name="connsiteX2089" fmla="*/ 6285299 w 9126537"/>
              <a:gd name="connsiteY2089" fmla="*/ 843156 h 7419095"/>
              <a:gd name="connsiteX2090" fmla="*/ 6269376 w 9126537"/>
              <a:gd name="connsiteY2090" fmla="*/ 831759 h 7419095"/>
              <a:gd name="connsiteX2091" fmla="*/ 6271650 w 9126537"/>
              <a:gd name="connsiteY2091" fmla="*/ 831759 h 7419095"/>
              <a:gd name="connsiteX2092" fmla="*/ 6378566 w 9126537"/>
              <a:gd name="connsiteY2092" fmla="*/ 777055 h 7419095"/>
              <a:gd name="connsiteX2093" fmla="*/ 6494582 w 9126537"/>
              <a:gd name="connsiteY2093" fmla="*/ 726909 h 7419095"/>
              <a:gd name="connsiteX2094" fmla="*/ 6608322 w 9126537"/>
              <a:gd name="connsiteY2094" fmla="*/ 672204 h 7419095"/>
              <a:gd name="connsiteX2095" fmla="*/ 6634767 w 9126537"/>
              <a:gd name="connsiteY2095" fmla="*/ 659668 h 7419095"/>
              <a:gd name="connsiteX2096" fmla="*/ 6655844 w 9126537"/>
              <a:gd name="connsiteY2096" fmla="*/ 640521 h 7419095"/>
              <a:gd name="connsiteX2097" fmla="*/ 6658368 w 9126537"/>
              <a:gd name="connsiteY2097" fmla="*/ 640293 h 7419095"/>
              <a:gd name="connsiteX2098" fmla="*/ 6658368 w 9126537"/>
              <a:gd name="connsiteY2098" fmla="*/ 638014 h 7419095"/>
              <a:gd name="connsiteX2099" fmla="*/ 6656094 w 9126537"/>
              <a:gd name="connsiteY2099" fmla="*/ 640293 h 7419095"/>
              <a:gd name="connsiteX2100" fmla="*/ 6655844 w 9126537"/>
              <a:gd name="connsiteY2100" fmla="*/ 640521 h 7419095"/>
              <a:gd name="connsiteX2101" fmla="*/ 6607754 w 9126537"/>
              <a:gd name="connsiteY2101" fmla="*/ 644852 h 7419095"/>
              <a:gd name="connsiteX2102" fmla="*/ 6560551 w 9126537"/>
              <a:gd name="connsiteY2102" fmla="*/ 663087 h 7419095"/>
              <a:gd name="connsiteX2103" fmla="*/ 6467284 w 9126537"/>
              <a:gd name="connsiteY2103" fmla="*/ 685880 h 7419095"/>
              <a:gd name="connsiteX2104" fmla="*/ 6412688 w 9126537"/>
              <a:gd name="connsiteY2104" fmla="*/ 688160 h 7419095"/>
              <a:gd name="connsiteX2105" fmla="*/ 6433162 w 9126537"/>
              <a:gd name="connsiteY2105" fmla="*/ 676763 h 7419095"/>
              <a:gd name="connsiteX2106" fmla="*/ 6576475 w 9126537"/>
              <a:gd name="connsiteY2106" fmla="*/ 617500 h 7419095"/>
              <a:gd name="connsiteX2107" fmla="*/ 6635620 w 9126537"/>
              <a:gd name="connsiteY2107" fmla="*/ 587868 h 7419095"/>
              <a:gd name="connsiteX2108" fmla="*/ 6658368 w 9126537"/>
              <a:gd name="connsiteY2108" fmla="*/ 569633 h 7419095"/>
              <a:gd name="connsiteX2109" fmla="*/ 6590124 w 9126537"/>
              <a:gd name="connsiteY2109" fmla="*/ 585589 h 7419095"/>
              <a:gd name="connsiteX2110" fmla="*/ 6526429 w 9126537"/>
              <a:gd name="connsiteY2110" fmla="*/ 594706 h 7419095"/>
              <a:gd name="connsiteX2111" fmla="*/ 6530978 w 9126537"/>
              <a:gd name="connsiteY2111" fmla="*/ 578751 h 7419095"/>
              <a:gd name="connsiteX2112" fmla="*/ 6594674 w 9126537"/>
              <a:gd name="connsiteY2112" fmla="*/ 533164 h 7419095"/>
              <a:gd name="connsiteX2113" fmla="*/ 6603772 w 9126537"/>
              <a:gd name="connsiteY2113" fmla="*/ 528605 h 7419095"/>
              <a:gd name="connsiteX2114" fmla="*/ 6683391 w 9126537"/>
              <a:gd name="connsiteY2114" fmla="*/ 473901 h 7419095"/>
              <a:gd name="connsiteX2115" fmla="*/ 6686975 w 9126537"/>
              <a:gd name="connsiteY2115" fmla="*/ 466717 h 7419095"/>
              <a:gd name="connsiteX2116" fmla="*/ 6728887 w 9126537"/>
              <a:gd name="connsiteY2116" fmla="*/ 455666 h 7419095"/>
              <a:gd name="connsiteX2117" fmla="*/ 6733437 w 9126537"/>
              <a:gd name="connsiteY2117" fmla="*/ 448827 h 7419095"/>
              <a:gd name="connsiteX2118" fmla="*/ 6703864 w 9126537"/>
              <a:gd name="connsiteY2118" fmla="*/ 419196 h 7419095"/>
              <a:gd name="connsiteX2119" fmla="*/ 6665192 w 9126537"/>
              <a:gd name="connsiteY2119" fmla="*/ 455666 h 7419095"/>
              <a:gd name="connsiteX2120" fmla="*/ 6656094 w 9126537"/>
              <a:gd name="connsiteY2120" fmla="*/ 455666 h 7419095"/>
              <a:gd name="connsiteX2121" fmla="*/ 6631070 w 9126537"/>
              <a:gd name="connsiteY2121" fmla="*/ 439710 h 7419095"/>
              <a:gd name="connsiteX2122" fmla="*/ 6542353 w 9126537"/>
              <a:gd name="connsiteY2122" fmla="*/ 473901 h 7419095"/>
              <a:gd name="connsiteX2123" fmla="*/ 6562826 w 9126537"/>
              <a:gd name="connsiteY2123" fmla="*/ 494415 h 7419095"/>
              <a:gd name="connsiteX2124" fmla="*/ 6542353 w 9126537"/>
              <a:gd name="connsiteY2124" fmla="*/ 508091 h 7419095"/>
              <a:gd name="connsiteX2125" fmla="*/ 6535528 w 9126537"/>
              <a:gd name="connsiteY2125" fmla="*/ 524046 h 7419095"/>
              <a:gd name="connsiteX2126" fmla="*/ 6521880 w 9126537"/>
              <a:gd name="connsiteY2126" fmla="*/ 526326 h 7419095"/>
              <a:gd name="connsiteX2127" fmla="*/ 6494195 w 9126537"/>
              <a:gd name="connsiteY2127" fmla="*/ 515656 h 7419095"/>
              <a:gd name="connsiteX2128" fmla="*/ 6492307 w 9126537"/>
              <a:gd name="connsiteY2128" fmla="*/ 508091 h 7419095"/>
              <a:gd name="connsiteX2129" fmla="*/ 6449086 w 9126537"/>
              <a:gd name="connsiteY2129" fmla="*/ 508091 h 7419095"/>
              <a:gd name="connsiteX2130" fmla="*/ 6424062 w 9126537"/>
              <a:gd name="connsiteY2130" fmla="*/ 535443 h 7419095"/>
              <a:gd name="connsiteX2131" fmla="*/ 6462628 w 9126537"/>
              <a:gd name="connsiteY2131" fmla="*/ 549082 h 7419095"/>
              <a:gd name="connsiteX2132" fmla="*/ 6450791 w 9126537"/>
              <a:gd name="connsiteY2132" fmla="*/ 560231 h 7419095"/>
              <a:gd name="connsiteX2133" fmla="*/ 6433162 w 9126537"/>
              <a:gd name="connsiteY2133" fmla="*/ 565075 h 7419095"/>
              <a:gd name="connsiteX2134" fmla="*/ 6342170 w 9126537"/>
              <a:gd name="connsiteY2134" fmla="*/ 606103 h 7419095"/>
              <a:gd name="connsiteX2135" fmla="*/ 6317146 w 9126537"/>
              <a:gd name="connsiteY2135" fmla="*/ 622059 h 7419095"/>
              <a:gd name="connsiteX2136" fmla="*/ 6287574 w 9126537"/>
              <a:gd name="connsiteY2136" fmla="*/ 638014 h 7419095"/>
              <a:gd name="connsiteX2137" fmla="*/ 6230704 w 9126537"/>
              <a:gd name="connsiteY2137" fmla="*/ 644852 h 7419095"/>
              <a:gd name="connsiteX2138" fmla="*/ 6278475 w 9126537"/>
              <a:gd name="connsiteY2138" fmla="*/ 619779 h 7419095"/>
              <a:gd name="connsiteX2139" fmla="*/ 6399040 w 9126537"/>
              <a:gd name="connsiteY2139" fmla="*/ 555957 h 7419095"/>
              <a:gd name="connsiteX2140" fmla="*/ 6401314 w 9126537"/>
              <a:gd name="connsiteY2140" fmla="*/ 542281 h 7419095"/>
              <a:gd name="connsiteX2141" fmla="*/ 6394490 w 9126537"/>
              <a:gd name="connsiteY2141" fmla="*/ 537722 h 7419095"/>
              <a:gd name="connsiteX2142" fmla="*/ 6364918 w 9126537"/>
              <a:gd name="connsiteY2142" fmla="*/ 540002 h 7419095"/>
              <a:gd name="connsiteX2143" fmla="*/ 6303498 w 9126537"/>
              <a:gd name="connsiteY2143" fmla="*/ 574192 h 7419095"/>
              <a:gd name="connsiteX2144" fmla="*/ 6258002 w 9126537"/>
              <a:gd name="connsiteY2144" fmla="*/ 592427 h 7419095"/>
              <a:gd name="connsiteX2145" fmla="*/ 6139712 w 9126537"/>
              <a:gd name="connsiteY2145" fmla="*/ 619779 h 7419095"/>
              <a:gd name="connsiteX2146" fmla="*/ 6137436 w 9126537"/>
              <a:gd name="connsiteY2146" fmla="*/ 617500 h 7419095"/>
              <a:gd name="connsiteX2147" fmla="*/ 6160184 w 9126537"/>
              <a:gd name="connsiteY2147" fmla="*/ 599265 h 7419095"/>
              <a:gd name="connsiteX2148" fmla="*/ 6255726 w 9126537"/>
              <a:gd name="connsiteY2148" fmla="*/ 555957 h 7419095"/>
              <a:gd name="connsiteX2149" fmla="*/ 6319422 w 9126537"/>
              <a:gd name="connsiteY2149" fmla="*/ 528605 h 7419095"/>
              <a:gd name="connsiteX2150" fmla="*/ 6369467 w 9126537"/>
              <a:gd name="connsiteY2150" fmla="*/ 503532 h 7419095"/>
              <a:gd name="connsiteX2151" fmla="*/ 6380841 w 9126537"/>
              <a:gd name="connsiteY2151" fmla="*/ 496694 h 7419095"/>
              <a:gd name="connsiteX2152" fmla="*/ 6451360 w 9126537"/>
              <a:gd name="connsiteY2152" fmla="*/ 471621 h 7419095"/>
              <a:gd name="connsiteX2153" fmla="*/ 6508230 w 9126537"/>
              <a:gd name="connsiteY2153" fmla="*/ 435151 h 7419095"/>
              <a:gd name="connsiteX2154" fmla="*/ 6526429 w 9126537"/>
              <a:gd name="connsiteY2154" fmla="*/ 428313 h 7419095"/>
              <a:gd name="connsiteX2155" fmla="*/ 6556002 w 9126537"/>
              <a:gd name="connsiteY2155" fmla="*/ 426034 h 7419095"/>
              <a:gd name="connsiteX2156" fmla="*/ 6585574 w 9126537"/>
              <a:gd name="connsiteY2156" fmla="*/ 375888 h 7419095"/>
              <a:gd name="connsiteX2157" fmla="*/ 6594674 w 9126537"/>
              <a:gd name="connsiteY2157" fmla="*/ 375888 h 7419095"/>
              <a:gd name="connsiteX2158" fmla="*/ 6594674 w 9126537"/>
              <a:gd name="connsiteY2158" fmla="*/ 373609 h 7419095"/>
              <a:gd name="connsiteX2159" fmla="*/ 6610597 w 9126537"/>
              <a:gd name="connsiteY2159" fmla="*/ 382726 h 7419095"/>
              <a:gd name="connsiteX2160" fmla="*/ 6658368 w 9126537"/>
              <a:gd name="connsiteY2160" fmla="*/ 387285 h 7419095"/>
              <a:gd name="connsiteX2161" fmla="*/ 6685666 w 9126537"/>
              <a:gd name="connsiteY2161" fmla="*/ 382726 h 7419095"/>
              <a:gd name="connsiteX2162" fmla="*/ 6665192 w 9126537"/>
              <a:gd name="connsiteY2162" fmla="*/ 366771 h 7419095"/>
              <a:gd name="connsiteX2163" fmla="*/ 6772108 w 9126537"/>
              <a:gd name="connsiteY2163" fmla="*/ 337139 h 7419095"/>
              <a:gd name="connsiteX2164" fmla="*/ 6856276 w 9126537"/>
              <a:gd name="connsiteY2164" fmla="*/ 314346 h 7419095"/>
              <a:gd name="connsiteX2165" fmla="*/ 6919971 w 9126537"/>
              <a:gd name="connsiteY2165" fmla="*/ 286993 h 7419095"/>
              <a:gd name="connsiteX2166" fmla="*/ 6983666 w 9126537"/>
              <a:gd name="connsiteY2166" fmla="*/ 257362 h 7419095"/>
              <a:gd name="connsiteX2167" fmla="*/ 6951818 w 9126537"/>
              <a:gd name="connsiteY2167" fmla="*/ 241406 h 7419095"/>
              <a:gd name="connsiteX2168" fmla="*/ 6956368 w 9126537"/>
              <a:gd name="connsiteY2168" fmla="*/ 216333 h 7419095"/>
              <a:gd name="connsiteX2169" fmla="*/ 6949544 w 9126537"/>
              <a:gd name="connsiteY2169" fmla="*/ 211775 h 7419095"/>
              <a:gd name="connsiteX2170" fmla="*/ 6904048 w 9126537"/>
              <a:gd name="connsiteY2170" fmla="*/ 241406 h 7419095"/>
              <a:gd name="connsiteX2171" fmla="*/ 6872200 w 9126537"/>
              <a:gd name="connsiteY2171" fmla="*/ 252803 h 7419095"/>
              <a:gd name="connsiteX2172" fmla="*/ 6849452 w 9126537"/>
              <a:gd name="connsiteY2172" fmla="*/ 239127 h 7419095"/>
              <a:gd name="connsiteX2173" fmla="*/ 6874475 w 9126537"/>
              <a:gd name="connsiteY2173" fmla="*/ 218613 h 7419095"/>
              <a:gd name="connsiteX2174" fmla="*/ 6944994 w 9126537"/>
              <a:gd name="connsiteY2174" fmla="*/ 179864 h 7419095"/>
              <a:gd name="connsiteX2175" fmla="*/ 7047360 w 9126537"/>
              <a:gd name="connsiteY2175" fmla="*/ 143394 h 7419095"/>
              <a:gd name="connsiteX2176" fmla="*/ 7067834 w 9126537"/>
              <a:gd name="connsiteY2176" fmla="*/ 141114 h 7419095"/>
              <a:gd name="connsiteX2177" fmla="*/ 7106506 w 9126537"/>
              <a:gd name="connsiteY2177" fmla="*/ 125159 h 7419095"/>
              <a:gd name="connsiteX2178" fmla="*/ 7145178 w 9126537"/>
              <a:gd name="connsiteY2178" fmla="*/ 129718 h 7419095"/>
              <a:gd name="connsiteX2179" fmla="*/ 7186124 w 9126537"/>
              <a:gd name="connsiteY2179" fmla="*/ 136556 h 7419095"/>
              <a:gd name="connsiteX2180" fmla="*/ 7204322 w 9126537"/>
              <a:gd name="connsiteY2180" fmla="*/ 131997 h 7419095"/>
              <a:gd name="connsiteX2181" fmla="*/ 7163376 w 9126537"/>
              <a:gd name="connsiteY2181" fmla="*/ 88689 h 7419095"/>
              <a:gd name="connsiteX2182" fmla="*/ 7145178 w 9126537"/>
              <a:gd name="connsiteY2182" fmla="*/ 86410 h 7419095"/>
              <a:gd name="connsiteX2183" fmla="*/ 7079208 w 9126537"/>
              <a:gd name="connsiteY2183" fmla="*/ 93248 h 7419095"/>
              <a:gd name="connsiteX2184" fmla="*/ 7008689 w 9126537"/>
              <a:gd name="connsiteY2184" fmla="*/ 116042 h 7419095"/>
              <a:gd name="connsiteX2185" fmla="*/ 6967742 w 9126537"/>
              <a:gd name="connsiteY2185" fmla="*/ 129718 h 7419095"/>
              <a:gd name="connsiteX2186" fmla="*/ 6890398 w 9126537"/>
              <a:gd name="connsiteY2186" fmla="*/ 145673 h 7419095"/>
              <a:gd name="connsiteX2187" fmla="*/ 6765284 w 9126537"/>
              <a:gd name="connsiteY2187" fmla="*/ 186702 h 7419095"/>
              <a:gd name="connsiteX2188" fmla="*/ 6701590 w 9126537"/>
              <a:gd name="connsiteY2188" fmla="*/ 216333 h 7419095"/>
              <a:gd name="connsiteX2189" fmla="*/ 6656094 w 9126537"/>
              <a:gd name="connsiteY2189" fmla="*/ 236847 h 7419095"/>
              <a:gd name="connsiteX2190" fmla="*/ 6530978 w 9126537"/>
              <a:gd name="connsiteY2190" fmla="*/ 275596 h 7419095"/>
              <a:gd name="connsiteX2191" fmla="*/ 6489806 w 9126537"/>
              <a:gd name="connsiteY2191" fmla="*/ 279526 h 7419095"/>
              <a:gd name="connsiteX2192" fmla="*/ 6596948 w 9126537"/>
              <a:gd name="connsiteY2192" fmla="*/ 232289 h 7419095"/>
              <a:gd name="connsiteX2193" fmla="*/ 6646994 w 9126537"/>
              <a:gd name="connsiteY2193" fmla="*/ 207216 h 7419095"/>
              <a:gd name="connsiteX2194" fmla="*/ 6624246 w 9126537"/>
              <a:gd name="connsiteY2194" fmla="*/ 161629 h 7419095"/>
              <a:gd name="connsiteX2195" fmla="*/ 6571926 w 9126537"/>
              <a:gd name="connsiteY2195" fmla="*/ 191260 h 7419095"/>
              <a:gd name="connsiteX2196" fmla="*/ 6574200 w 9126537"/>
              <a:gd name="connsiteY2196" fmla="*/ 193540 h 7419095"/>
              <a:gd name="connsiteX2197" fmla="*/ 6540078 w 9126537"/>
              <a:gd name="connsiteY2197" fmla="*/ 195819 h 7419095"/>
              <a:gd name="connsiteX2198" fmla="*/ 6405864 w 9126537"/>
              <a:gd name="connsiteY2198" fmla="*/ 250524 h 7419095"/>
              <a:gd name="connsiteX2199" fmla="*/ 6376292 w 9126537"/>
              <a:gd name="connsiteY2199" fmla="*/ 264200 h 7419095"/>
              <a:gd name="connsiteX2200" fmla="*/ 6360368 w 9126537"/>
              <a:gd name="connsiteY2200" fmla="*/ 280155 h 7419095"/>
              <a:gd name="connsiteX2201" fmla="*/ 6364918 w 9126537"/>
              <a:gd name="connsiteY2201" fmla="*/ 252803 h 7419095"/>
              <a:gd name="connsiteX2202" fmla="*/ 6410414 w 9126537"/>
              <a:gd name="connsiteY2202" fmla="*/ 232289 h 7419095"/>
              <a:gd name="connsiteX2203" fmla="*/ 6637895 w 9126537"/>
              <a:gd name="connsiteY2203" fmla="*/ 134276 h 7419095"/>
              <a:gd name="connsiteX2204" fmla="*/ 6655154 w 9126537"/>
              <a:gd name="connsiteY2204" fmla="*/ 134276 h 7419095"/>
              <a:gd name="connsiteX2205" fmla="*/ 6650691 w 9126537"/>
              <a:gd name="connsiteY2205" fmla="*/ 145103 h 7419095"/>
              <a:gd name="connsiteX2206" fmla="*/ 6640170 w 9126537"/>
              <a:gd name="connsiteY2206" fmla="*/ 161629 h 7419095"/>
              <a:gd name="connsiteX2207" fmla="*/ 6669742 w 9126537"/>
              <a:gd name="connsiteY2207" fmla="*/ 157070 h 7419095"/>
              <a:gd name="connsiteX2208" fmla="*/ 6872200 w 9126537"/>
              <a:gd name="connsiteY2208" fmla="*/ 68175 h 7419095"/>
              <a:gd name="connsiteX2209" fmla="*/ 6924521 w 9126537"/>
              <a:gd name="connsiteY2209" fmla="*/ 47661 h 7419095"/>
              <a:gd name="connsiteX2210" fmla="*/ 6981391 w 9126537"/>
              <a:gd name="connsiteY2210" fmla="*/ 40823 h 7419095"/>
              <a:gd name="connsiteX2211" fmla="*/ 7024612 w 9126537"/>
              <a:gd name="connsiteY2211" fmla="*/ 27147 h 7419095"/>
              <a:gd name="connsiteX2212" fmla="*/ 7088307 w 9126537"/>
              <a:gd name="connsiteY2212" fmla="*/ 6633 h 7419095"/>
              <a:gd name="connsiteX2213" fmla="*/ 7199773 w 9126537"/>
              <a:gd name="connsiteY2213" fmla="*/ 2074 h 7419095"/>
              <a:gd name="connsiteX2214" fmla="*/ 7222237 w 9126537"/>
              <a:gd name="connsiteY2214" fmla="*/ 1219 h 741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</a:cxnLst>
            <a:rect l="l" t="t" r="r" b="b"/>
            <a:pathLst>
              <a:path w="9126537" h="7419095">
                <a:moveTo>
                  <a:pt x="2215664" y="7223071"/>
                </a:moveTo>
                <a:lnTo>
                  <a:pt x="2216586" y="7224785"/>
                </a:lnTo>
                <a:lnTo>
                  <a:pt x="2213389" y="7225350"/>
                </a:lnTo>
                <a:close/>
                <a:moveTo>
                  <a:pt x="4872326" y="7129399"/>
                </a:moveTo>
                <a:lnTo>
                  <a:pt x="4872642" y="7131897"/>
                </a:lnTo>
                <a:lnTo>
                  <a:pt x="4870368" y="7129617"/>
                </a:lnTo>
                <a:close/>
                <a:moveTo>
                  <a:pt x="2304703" y="6928551"/>
                </a:moveTo>
                <a:lnTo>
                  <a:pt x="2306657" y="6929034"/>
                </a:lnTo>
                <a:lnTo>
                  <a:pt x="2304382" y="6929034"/>
                </a:lnTo>
                <a:close/>
                <a:moveTo>
                  <a:pt x="2306657" y="6400224"/>
                </a:moveTo>
                <a:lnTo>
                  <a:pt x="2306657" y="6401674"/>
                </a:lnTo>
                <a:lnTo>
                  <a:pt x="2304382" y="6402503"/>
                </a:lnTo>
                <a:close/>
                <a:moveTo>
                  <a:pt x="7592862" y="6217620"/>
                </a:moveTo>
                <a:lnTo>
                  <a:pt x="7597864" y="6217875"/>
                </a:lnTo>
                <a:lnTo>
                  <a:pt x="7595590" y="6220155"/>
                </a:lnTo>
                <a:close/>
                <a:moveTo>
                  <a:pt x="7516179" y="6146755"/>
                </a:moveTo>
                <a:lnTo>
                  <a:pt x="7518246" y="6147215"/>
                </a:lnTo>
                <a:lnTo>
                  <a:pt x="7515972" y="6147215"/>
                </a:lnTo>
                <a:close/>
                <a:moveTo>
                  <a:pt x="7629712" y="6044644"/>
                </a:moveTo>
                <a:lnTo>
                  <a:pt x="7629712" y="6046924"/>
                </a:lnTo>
                <a:lnTo>
                  <a:pt x="7628743" y="6045398"/>
                </a:lnTo>
                <a:close/>
                <a:moveTo>
                  <a:pt x="1951355" y="6022714"/>
                </a:moveTo>
                <a:lnTo>
                  <a:pt x="1949512" y="6026409"/>
                </a:lnTo>
                <a:lnTo>
                  <a:pt x="1949512" y="6024130"/>
                </a:lnTo>
                <a:close/>
                <a:moveTo>
                  <a:pt x="1474077" y="5759725"/>
                </a:moveTo>
                <a:lnTo>
                  <a:pt x="1476803" y="5761546"/>
                </a:lnTo>
                <a:lnTo>
                  <a:pt x="1476352" y="5762004"/>
                </a:lnTo>
                <a:close/>
                <a:moveTo>
                  <a:pt x="1574168" y="5559142"/>
                </a:moveTo>
                <a:lnTo>
                  <a:pt x="1576443" y="5559142"/>
                </a:lnTo>
                <a:lnTo>
                  <a:pt x="1574043" y="5559342"/>
                </a:lnTo>
                <a:close/>
                <a:moveTo>
                  <a:pt x="823480" y="5230914"/>
                </a:moveTo>
                <a:lnTo>
                  <a:pt x="826341" y="5231631"/>
                </a:lnTo>
                <a:lnTo>
                  <a:pt x="825756" y="5233194"/>
                </a:lnTo>
                <a:close/>
                <a:moveTo>
                  <a:pt x="360515" y="3270049"/>
                </a:moveTo>
                <a:lnTo>
                  <a:pt x="359420" y="3272949"/>
                </a:lnTo>
                <a:lnTo>
                  <a:pt x="359420" y="3270669"/>
                </a:lnTo>
                <a:close/>
                <a:moveTo>
                  <a:pt x="420177" y="3137438"/>
                </a:moveTo>
                <a:lnTo>
                  <a:pt x="420839" y="3138466"/>
                </a:lnTo>
                <a:lnTo>
                  <a:pt x="418565" y="3138466"/>
                </a:lnTo>
                <a:close/>
                <a:moveTo>
                  <a:pt x="8378124" y="2741859"/>
                </a:moveTo>
                <a:lnTo>
                  <a:pt x="8378124" y="2744138"/>
                </a:lnTo>
                <a:lnTo>
                  <a:pt x="8376675" y="2742976"/>
                </a:lnTo>
                <a:close/>
                <a:moveTo>
                  <a:pt x="8469117" y="2477454"/>
                </a:moveTo>
                <a:lnTo>
                  <a:pt x="8469117" y="2479733"/>
                </a:lnTo>
                <a:lnTo>
                  <a:pt x="8467736" y="2478858"/>
                </a:lnTo>
                <a:close/>
                <a:moveTo>
                  <a:pt x="914473" y="2162903"/>
                </a:moveTo>
                <a:lnTo>
                  <a:pt x="916748" y="2162903"/>
                </a:lnTo>
                <a:lnTo>
                  <a:pt x="914395" y="2163214"/>
                </a:lnTo>
                <a:close/>
                <a:moveTo>
                  <a:pt x="8177941" y="2101360"/>
                </a:moveTo>
                <a:lnTo>
                  <a:pt x="8177941" y="2103639"/>
                </a:lnTo>
                <a:lnTo>
                  <a:pt x="8174609" y="2103447"/>
                </a:lnTo>
                <a:close/>
                <a:moveTo>
                  <a:pt x="1251145" y="1969157"/>
                </a:moveTo>
                <a:lnTo>
                  <a:pt x="1249558" y="1971401"/>
                </a:lnTo>
                <a:lnTo>
                  <a:pt x="1248870" y="1971437"/>
                </a:lnTo>
                <a:close/>
                <a:moveTo>
                  <a:pt x="1562794" y="1877983"/>
                </a:moveTo>
                <a:lnTo>
                  <a:pt x="1565069" y="1880262"/>
                </a:lnTo>
                <a:lnTo>
                  <a:pt x="1560916" y="1879090"/>
                </a:lnTo>
                <a:close/>
                <a:moveTo>
                  <a:pt x="1765252" y="1866586"/>
                </a:moveTo>
                <a:lnTo>
                  <a:pt x="1767527" y="1868866"/>
                </a:lnTo>
                <a:lnTo>
                  <a:pt x="1761595" y="1870251"/>
                </a:lnTo>
                <a:close/>
                <a:moveTo>
                  <a:pt x="8269427" y="1845990"/>
                </a:moveTo>
                <a:lnTo>
                  <a:pt x="8268934" y="1848352"/>
                </a:lnTo>
                <a:lnTo>
                  <a:pt x="8268934" y="1846072"/>
                </a:lnTo>
                <a:close/>
                <a:moveTo>
                  <a:pt x="4758902" y="1572550"/>
                </a:moveTo>
                <a:lnTo>
                  <a:pt x="4758902" y="1574829"/>
                </a:lnTo>
                <a:lnTo>
                  <a:pt x="4758211" y="1573736"/>
                </a:lnTo>
                <a:close/>
                <a:moveTo>
                  <a:pt x="6494582" y="1481375"/>
                </a:moveTo>
                <a:lnTo>
                  <a:pt x="6492307" y="1483655"/>
                </a:lnTo>
                <a:lnTo>
                  <a:pt x="6491749" y="1482258"/>
                </a:lnTo>
                <a:close/>
                <a:moveTo>
                  <a:pt x="4747528" y="1390201"/>
                </a:moveTo>
                <a:lnTo>
                  <a:pt x="4749802" y="1390201"/>
                </a:lnTo>
                <a:lnTo>
                  <a:pt x="4747955" y="1391232"/>
                </a:lnTo>
                <a:close/>
                <a:moveTo>
                  <a:pt x="3553252" y="1349173"/>
                </a:moveTo>
                <a:lnTo>
                  <a:pt x="3557386" y="1349361"/>
                </a:lnTo>
                <a:lnTo>
                  <a:pt x="3553252" y="1351452"/>
                </a:lnTo>
                <a:close/>
                <a:moveTo>
                  <a:pt x="5288952" y="1348921"/>
                </a:moveTo>
                <a:lnTo>
                  <a:pt x="5286658" y="1351452"/>
                </a:lnTo>
                <a:lnTo>
                  <a:pt x="5286658" y="1349173"/>
                </a:lnTo>
                <a:close/>
                <a:moveTo>
                  <a:pt x="4670184" y="1043739"/>
                </a:moveTo>
                <a:lnTo>
                  <a:pt x="4669850" y="1048093"/>
                </a:lnTo>
                <a:lnTo>
                  <a:pt x="4667910" y="1046018"/>
                </a:lnTo>
                <a:close/>
                <a:moveTo>
                  <a:pt x="4565543" y="1034622"/>
                </a:moveTo>
                <a:lnTo>
                  <a:pt x="4567818" y="1036901"/>
                </a:lnTo>
                <a:lnTo>
                  <a:pt x="4565785" y="1036901"/>
                </a:lnTo>
                <a:close/>
                <a:moveTo>
                  <a:pt x="6603772" y="993593"/>
                </a:moveTo>
                <a:lnTo>
                  <a:pt x="6606048" y="995873"/>
                </a:lnTo>
                <a:lnTo>
                  <a:pt x="6601083" y="997116"/>
                </a:lnTo>
                <a:close/>
                <a:moveTo>
                  <a:pt x="4679284" y="952565"/>
                </a:moveTo>
                <a:lnTo>
                  <a:pt x="4680568" y="955067"/>
                </a:lnTo>
                <a:lnTo>
                  <a:pt x="4677008" y="954844"/>
                </a:lnTo>
                <a:close/>
                <a:moveTo>
                  <a:pt x="3955894" y="911537"/>
                </a:moveTo>
                <a:lnTo>
                  <a:pt x="3958168" y="913816"/>
                </a:lnTo>
                <a:lnTo>
                  <a:pt x="3957449" y="913874"/>
                </a:lnTo>
                <a:close/>
                <a:moveTo>
                  <a:pt x="7061010" y="840877"/>
                </a:moveTo>
                <a:lnTo>
                  <a:pt x="7063284" y="843156"/>
                </a:lnTo>
                <a:lnTo>
                  <a:pt x="7057008" y="842786"/>
                </a:lnTo>
                <a:close/>
                <a:moveTo>
                  <a:pt x="6248902" y="840877"/>
                </a:moveTo>
                <a:lnTo>
                  <a:pt x="6251177" y="843156"/>
                </a:lnTo>
                <a:lnTo>
                  <a:pt x="6250290" y="843570"/>
                </a:lnTo>
                <a:close/>
                <a:moveTo>
                  <a:pt x="7475025" y="770217"/>
                </a:moveTo>
                <a:lnTo>
                  <a:pt x="7477300" y="772496"/>
                </a:lnTo>
                <a:lnTo>
                  <a:pt x="7474123" y="771497"/>
                </a:lnTo>
                <a:close/>
                <a:moveTo>
                  <a:pt x="7349724" y="763117"/>
                </a:moveTo>
                <a:lnTo>
                  <a:pt x="7349910" y="763378"/>
                </a:lnTo>
                <a:lnTo>
                  <a:pt x="7347636" y="763378"/>
                </a:lnTo>
                <a:close/>
                <a:moveTo>
                  <a:pt x="6465009" y="546840"/>
                </a:moveTo>
                <a:lnTo>
                  <a:pt x="6462734" y="549119"/>
                </a:lnTo>
                <a:lnTo>
                  <a:pt x="6462628" y="549082"/>
                </a:lnTo>
                <a:close/>
                <a:moveTo>
                  <a:pt x="6492307" y="514929"/>
                </a:moveTo>
                <a:lnTo>
                  <a:pt x="6494195" y="515656"/>
                </a:lnTo>
                <a:lnTo>
                  <a:pt x="6494582" y="517208"/>
                </a:lnTo>
                <a:close/>
                <a:moveTo>
                  <a:pt x="6687940" y="464783"/>
                </a:moveTo>
                <a:lnTo>
                  <a:pt x="6686975" y="466717"/>
                </a:lnTo>
                <a:lnTo>
                  <a:pt x="6685666" y="467062"/>
                </a:lnTo>
                <a:close/>
                <a:moveTo>
                  <a:pt x="6489806" y="279526"/>
                </a:moveTo>
                <a:lnTo>
                  <a:pt x="6483208" y="282435"/>
                </a:lnTo>
                <a:lnTo>
                  <a:pt x="6483208" y="280155"/>
                </a:lnTo>
                <a:close/>
                <a:moveTo>
                  <a:pt x="6656094" y="131997"/>
                </a:moveTo>
                <a:lnTo>
                  <a:pt x="6656094" y="134276"/>
                </a:lnTo>
                <a:lnTo>
                  <a:pt x="6655154" y="134276"/>
                </a:lnTo>
                <a:close/>
                <a:moveTo>
                  <a:pt x="7222237" y="1219"/>
                </a:moveTo>
                <a:cubicBezTo>
                  <a:pt x="7229345" y="3214"/>
                  <a:pt x="7236170" y="7772"/>
                  <a:pt x="7242994" y="15750"/>
                </a:cubicBezTo>
                <a:cubicBezTo>
                  <a:pt x="7229346" y="22588"/>
                  <a:pt x="7217972" y="27147"/>
                  <a:pt x="7204322" y="33985"/>
                </a:cubicBezTo>
                <a:cubicBezTo>
                  <a:pt x="7213422" y="47661"/>
                  <a:pt x="7224796" y="63617"/>
                  <a:pt x="7236170" y="77293"/>
                </a:cubicBezTo>
                <a:cubicBezTo>
                  <a:pt x="7233895" y="102366"/>
                  <a:pt x="7236170" y="127438"/>
                  <a:pt x="7231620" y="152511"/>
                </a:cubicBezTo>
                <a:cubicBezTo>
                  <a:pt x="7229346" y="173026"/>
                  <a:pt x="7217972" y="195819"/>
                  <a:pt x="7208872" y="216333"/>
                </a:cubicBezTo>
                <a:cubicBezTo>
                  <a:pt x="7199773" y="218613"/>
                  <a:pt x="7188399" y="218613"/>
                  <a:pt x="7177025" y="220892"/>
                </a:cubicBezTo>
                <a:cubicBezTo>
                  <a:pt x="7170200" y="223171"/>
                  <a:pt x="7165650" y="230009"/>
                  <a:pt x="7163376" y="234568"/>
                </a:cubicBezTo>
                <a:cubicBezTo>
                  <a:pt x="7158826" y="243686"/>
                  <a:pt x="7165650" y="250524"/>
                  <a:pt x="7174750" y="255082"/>
                </a:cubicBezTo>
                <a:cubicBezTo>
                  <a:pt x="7181574" y="259641"/>
                  <a:pt x="7190674" y="261921"/>
                  <a:pt x="7202048" y="266479"/>
                </a:cubicBezTo>
                <a:cubicBezTo>
                  <a:pt x="7195224" y="275596"/>
                  <a:pt x="7188399" y="284714"/>
                  <a:pt x="7192948" y="296111"/>
                </a:cubicBezTo>
                <a:cubicBezTo>
                  <a:pt x="7202048" y="318904"/>
                  <a:pt x="7204322" y="337139"/>
                  <a:pt x="7202048" y="355374"/>
                </a:cubicBezTo>
                <a:cubicBezTo>
                  <a:pt x="7202048" y="362212"/>
                  <a:pt x="7199773" y="369050"/>
                  <a:pt x="7199773" y="375888"/>
                </a:cubicBezTo>
                <a:cubicBezTo>
                  <a:pt x="7186124" y="382726"/>
                  <a:pt x="7174750" y="391844"/>
                  <a:pt x="7158826" y="400961"/>
                </a:cubicBezTo>
                <a:cubicBezTo>
                  <a:pt x="7165650" y="407799"/>
                  <a:pt x="7170200" y="412358"/>
                  <a:pt x="7177025" y="414637"/>
                </a:cubicBezTo>
                <a:cubicBezTo>
                  <a:pt x="7204322" y="421475"/>
                  <a:pt x="7233895" y="432872"/>
                  <a:pt x="7265742" y="423755"/>
                </a:cubicBezTo>
                <a:cubicBezTo>
                  <a:pt x="7272567" y="421475"/>
                  <a:pt x="7283941" y="419196"/>
                  <a:pt x="7286216" y="412358"/>
                </a:cubicBezTo>
                <a:cubicBezTo>
                  <a:pt x="7297590" y="394123"/>
                  <a:pt x="7313514" y="396402"/>
                  <a:pt x="7331712" y="398682"/>
                </a:cubicBezTo>
                <a:cubicBezTo>
                  <a:pt x="7333986" y="412358"/>
                  <a:pt x="7338536" y="428313"/>
                  <a:pt x="7340811" y="444269"/>
                </a:cubicBezTo>
                <a:cubicBezTo>
                  <a:pt x="7365834" y="453386"/>
                  <a:pt x="7386308" y="444269"/>
                  <a:pt x="7411330" y="437431"/>
                </a:cubicBezTo>
                <a:cubicBezTo>
                  <a:pt x="7413605" y="426034"/>
                  <a:pt x="7418154" y="412358"/>
                  <a:pt x="7420430" y="400961"/>
                </a:cubicBezTo>
                <a:cubicBezTo>
                  <a:pt x="7450002" y="414637"/>
                  <a:pt x="7452277" y="419196"/>
                  <a:pt x="7434078" y="451107"/>
                </a:cubicBezTo>
                <a:cubicBezTo>
                  <a:pt x="7447727" y="453386"/>
                  <a:pt x="7461376" y="453386"/>
                  <a:pt x="7475025" y="455666"/>
                </a:cubicBezTo>
                <a:cubicBezTo>
                  <a:pt x="7490948" y="457945"/>
                  <a:pt x="7500048" y="451107"/>
                  <a:pt x="7504598" y="432872"/>
                </a:cubicBezTo>
                <a:cubicBezTo>
                  <a:pt x="7515972" y="441989"/>
                  <a:pt x="7522796" y="448827"/>
                  <a:pt x="7529620" y="453386"/>
                </a:cubicBezTo>
                <a:cubicBezTo>
                  <a:pt x="7527346" y="457945"/>
                  <a:pt x="7529620" y="462504"/>
                  <a:pt x="7527346" y="464783"/>
                </a:cubicBezTo>
                <a:cubicBezTo>
                  <a:pt x="7509147" y="489856"/>
                  <a:pt x="7486399" y="508091"/>
                  <a:pt x="7452277" y="505811"/>
                </a:cubicBezTo>
                <a:cubicBezTo>
                  <a:pt x="7429528" y="505811"/>
                  <a:pt x="7411330" y="519487"/>
                  <a:pt x="7390857" y="533164"/>
                </a:cubicBezTo>
                <a:cubicBezTo>
                  <a:pt x="7397682" y="546840"/>
                  <a:pt x="7402231" y="560516"/>
                  <a:pt x="7409056" y="574192"/>
                </a:cubicBezTo>
                <a:cubicBezTo>
                  <a:pt x="7411330" y="578751"/>
                  <a:pt x="7413605" y="585589"/>
                  <a:pt x="7411330" y="587868"/>
                </a:cubicBezTo>
                <a:cubicBezTo>
                  <a:pt x="7395406" y="610662"/>
                  <a:pt x="7411330" y="628897"/>
                  <a:pt x="7418154" y="649411"/>
                </a:cubicBezTo>
                <a:cubicBezTo>
                  <a:pt x="7427254" y="653969"/>
                  <a:pt x="7436353" y="656249"/>
                  <a:pt x="7443178" y="663087"/>
                </a:cubicBezTo>
                <a:cubicBezTo>
                  <a:pt x="7450002" y="669925"/>
                  <a:pt x="7454552" y="679042"/>
                  <a:pt x="7459101" y="688160"/>
                </a:cubicBezTo>
                <a:cubicBezTo>
                  <a:pt x="7452277" y="704115"/>
                  <a:pt x="7445452" y="724630"/>
                  <a:pt x="7438628" y="745144"/>
                </a:cubicBezTo>
                <a:cubicBezTo>
                  <a:pt x="7443177" y="751982"/>
                  <a:pt x="7447158" y="759390"/>
                  <a:pt x="7452845" y="764803"/>
                </a:cubicBezTo>
                <a:lnTo>
                  <a:pt x="7474123" y="771497"/>
                </a:lnTo>
                <a:lnTo>
                  <a:pt x="7447727" y="808966"/>
                </a:lnTo>
                <a:cubicBezTo>
                  <a:pt x="7440902" y="808966"/>
                  <a:pt x="7429528" y="811245"/>
                  <a:pt x="7420430" y="811245"/>
                </a:cubicBezTo>
                <a:cubicBezTo>
                  <a:pt x="7409056" y="811245"/>
                  <a:pt x="7397682" y="811245"/>
                  <a:pt x="7388582" y="820362"/>
                </a:cubicBezTo>
                <a:cubicBezTo>
                  <a:pt x="7374933" y="829480"/>
                  <a:pt x="7361284" y="834038"/>
                  <a:pt x="7345360" y="831759"/>
                </a:cubicBezTo>
                <a:cubicBezTo>
                  <a:pt x="7347636" y="831759"/>
                  <a:pt x="7345360" y="829480"/>
                  <a:pt x="7347636" y="827201"/>
                </a:cubicBezTo>
                <a:cubicBezTo>
                  <a:pt x="7368109" y="799848"/>
                  <a:pt x="7368109" y="799848"/>
                  <a:pt x="7365834" y="761099"/>
                </a:cubicBezTo>
                <a:lnTo>
                  <a:pt x="7349724" y="763117"/>
                </a:lnTo>
                <a:lnTo>
                  <a:pt x="7339958" y="749417"/>
                </a:lnTo>
                <a:cubicBezTo>
                  <a:pt x="7336830" y="744574"/>
                  <a:pt x="7332850" y="740585"/>
                  <a:pt x="7324888" y="740585"/>
                </a:cubicBezTo>
                <a:cubicBezTo>
                  <a:pt x="7315788" y="740585"/>
                  <a:pt x="7306689" y="736026"/>
                  <a:pt x="7295315" y="733747"/>
                </a:cubicBezTo>
                <a:cubicBezTo>
                  <a:pt x="7274842" y="763378"/>
                  <a:pt x="7245269" y="770217"/>
                  <a:pt x="7211147" y="765658"/>
                </a:cubicBezTo>
                <a:cubicBezTo>
                  <a:pt x="7224796" y="749702"/>
                  <a:pt x="7224796" y="749702"/>
                  <a:pt x="7256643" y="736026"/>
                </a:cubicBezTo>
                <a:cubicBezTo>
                  <a:pt x="7261192" y="726909"/>
                  <a:pt x="7254368" y="724630"/>
                  <a:pt x="7247544" y="724630"/>
                </a:cubicBezTo>
                <a:cubicBezTo>
                  <a:pt x="7236170" y="726909"/>
                  <a:pt x="7224796" y="731467"/>
                  <a:pt x="7213422" y="736026"/>
                </a:cubicBezTo>
                <a:cubicBezTo>
                  <a:pt x="7163376" y="761099"/>
                  <a:pt x="7111056" y="786172"/>
                  <a:pt x="7058734" y="808966"/>
                </a:cubicBezTo>
                <a:cubicBezTo>
                  <a:pt x="7045086" y="815804"/>
                  <a:pt x="7033712" y="824921"/>
                  <a:pt x="7024612" y="840877"/>
                </a:cubicBezTo>
                <a:lnTo>
                  <a:pt x="7057008" y="842786"/>
                </a:lnTo>
                <a:lnTo>
                  <a:pt x="7013238" y="863670"/>
                </a:lnTo>
                <a:cubicBezTo>
                  <a:pt x="6992765" y="872788"/>
                  <a:pt x="6972292" y="879626"/>
                  <a:pt x="6960918" y="902419"/>
                </a:cubicBezTo>
                <a:cubicBezTo>
                  <a:pt x="6958643" y="904698"/>
                  <a:pt x="6956368" y="909257"/>
                  <a:pt x="6954094" y="909257"/>
                </a:cubicBezTo>
                <a:cubicBezTo>
                  <a:pt x="6913147" y="913816"/>
                  <a:pt x="6885849" y="948006"/>
                  <a:pt x="6847178" y="961682"/>
                </a:cubicBezTo>
                <a:cubicBezTo>
                  <a:pt x="6842628" y="961682"/>
                  <a:pt x="6838078" y="959403"/>
                  <a:pt x="6828979" y="959403"/>
                </a:cubicBezTo>
                <a:cubicBezTo>
                  <a:pt x="6847178" y="927492"/>
                  <a:pt x="6883574" y="929772"/>
                  <a:pt x="6906322" y="906978"/>
                </a:cubicBezTo>
                <a:cubicBezTo>
                  <a:pt x="6906322" y="897860"/>
                  <a:pt x="6904048" y="886464"/>
                  <a:pt x="6904048" y="872788"/>
                </a:cubicBezTo>
                <a:cubicBezTo>
                  <a:pt x="6874475" y="886464"/>
                  <a:pt x="6844902" y="895581"/>
                  <a:pt x="6819880" y="909257"/>
                </a:cubicBezTo>
                <a:cubicBezTo>
                  <a:pt x="6792582" y="920654"/>
                  <a:pt x="6767559" y="934330"/>
                  <a:pt x="6744811" y="950286"/>
                </a:cubicBezTo>
                <a:cubicBezTo>
                  <a:pt x="6710688" y="970800"/>
                  <a:pt x="6674292" y="982197"/>
                  <a:pt x="6635620" y="984476"/>
                </a:cubicBezTo>
                <a:cubicBezTo>
                  <a:pt x="6635620" y="977638"/>
                  <a:pt x="6635620" y="968520"/>
                  <a:pt x="6635620" y="961682"/>
                </a:cubicBezTo>
                <a:cubicBezTo>
                  <a:pt x="6592398" y="966241"/>
                  <a:pt x="6569650" y="977638"/>
                  <a:pt x="6535528" y="1014108"/>
                </a:cubicBezTo>
                <a:lnTo>
                  <a:pt x="6535465" y="1014171"/>
                </a:lnTo>
                <a:lnTo>
                  <a:pt x="6533254" y="1014108"/>
                </a:lnTo>
                <a:cubicBezTo>
                  <a:pt x="6533254" y="1016387"/>
                  <a:pt x="6533254" y="1016387"/>
                  <a:pt x="6530978" y="1018666"/>
                </a:cubicBezTo>
                <a:lnTo>
                  <a:pt x="6535465" y="1014171"/>
                </a:lnTo>
                <a:lnTo>
                  <a:pt x="6553158" y="1014677"/>
                </a:lnTo>
                <a:cubicBezTo>
                  <a:pt x="6559413" y="1012968"/>
                  <a:pt x="6565101" y="1009549"/>
                  <a:pt x="6569650" y="1004990"/>
                </a:cubicBezTo>
                <a:lnTo>
                  <a:pt x="6601083" y="997116"/>
                </a:lnTo>
                <a:lnTo>
                  <a:pt x="6588987" y="1012968"/>
                </a:lnTo>
                <a:cubicBezTo>
                  <a:pt x="6582731" y="1018096"/>
                  <a:pt x="6575338" y="1022085"/>
                  <a:pt x="6567376" y="1025504"/>
                </a:cubicBezTo>
                <a:cubicBezTo>
                  <a:pt x="6512780" y="1048298"/>
                  <a:pt x="6469559" y="1084768"/>
                  <a:pt x="6421788" y="1114399"/>
                </a:cubicBezTo>
                <a:cubicBezTo>
                  <a:pt x="6419513" y="1116679"/>
                  <a:pt x="6417238" y="1118958"/>
                  <a:pt x="6414964" y="1123517"/>
                </a:cubicBezTo>
                <a:cubicBezTo>
                  <a:pt x="6430887" y="1137193"/>
                  <a:pt x="6446810" y="1139472"/>
                  <a:pt x="6465009" y="1132634"/>
                </a:cubicBezTo>
                <a:cubicBezTo>
                  <a:pt x="6471834" y="1130355"/>
                  <a:pt x="6478658" y="1128075"/>
                  <a:pt x="6487758" y="1125796"/>
                </a:cubicBezTo>
                <a:cubicBezTo>
                  <a:pt x="6487758" y="1134913"/>
                  <a:pt x="6487758" y="1139472"/>
                  <a:pt x="6490032" y="1144031"/>
                </a:cubicBezTo>
                <a:cubicBezTo>
                  <a:pt x="6530978" y="1144031"/>
                  <a:pt x="6574200" y="1141752"/>
                  <a:pt x="6621971" y="1139472"/>
                </a:cubicBezTo>
                <a:cubicBezTo>
                  <a:pt x="6615146" y="1148589"/>
                  <a:pt x="6608322" y="1155428"/>
                  <a:pt x="6601498" y="1162266"/>
                </a:cubicBezTo>
                <a:cubicBezTo>
                  <a:pt x="6592398" y="1166824"/>
                  <a:pt x="6578750" y="1164545"/>
                  <a:pt x="6571926" y="1185059"/>
                </a:cubicBezTo>
                <a:cubicBezTo>
                  <a:pt x="6585574" y="1178221"/>
                  <a:pt x="6599223" y="1182780"/>
                  <a:pt x="6608322" y="1169104"/>
                </a:cubicBezTo>
                <a:cubicBezTo>
                  <a:pt x="6619696" y="1169104"/>
                  <a:pt x="6631070" y="1166824"/>
                  <a:pt x="6642444" y="1166824"/>
                </a:cubicBezTo>
                <a:cubicBezTo>
                  <a:pt x="6642444" y="1173662"/>
                  <a:pt x="6642444" y="1180500"/>
                  <a:pt x="6642444" y="1180500"/>
                </a:cubicBezTo>
                <a:cubicBezTo>
                  <a:pt x="6606048" y="1185059"/>
                  <a:pt x="6578750" y="1212411"/>
                  <a:pt x="6544628" y="1221529"/>
                </a:cubicBezTo>
                <a:cubicBezTo>
                  <a:pt x="6533254" y="1223808"/>
                  <a:pt x="6528704" y="1232926"/>
                  <a:pt x="6521880" y="1239764"/>
                </a:cubicBezTo>
                <a:cubicBezTo>
                  <a:pt x="6517330" y="1244323"/>
                  <a:pt x="6505956" y="1242043"/>
                  <a:pt x="6496856" y="1244323"/>
                </a:cubicBezTo>
                <a:cubicBezTo>
                  <a:pt x="6496856" y="1246602"/>
                  <a:pt x="6496856" y="1253440"/>
                  <a:pt x="6499132" y="1255719"/>
                </a:cubicBezTo>
                <a:cubicBezTo>
                  <a:pt x="6501406" y="1260278"/>
                  <a:pt x="6508230" y="1267116"/>
                  <a:pt x="6512780" y="1267116"/>
                </a:cubicBezTo>
                <a:cubicBezTo>
                  <a:pt x="6526429" y="1264837"/>
                  <a:pt x="6537803" y="1262557"/>
                  <a:pt x="6551452" y="1260278"/>
                </a:cubicBezTo>
                <a:cubicBezTo>
                  <a:pt x="6549177" y="1292189"/>
                  <a:pt x="6549177" y="1292189"/>
                  <a:pt x="6530978" y="1299027"/>
                </a:cubicBezTo>
                <a:cubicBezTo>
                  <a:pt x="6515055" y="1303586"/>
                  <a:pt x="6501406" y="1305865"/>
                  <a:pt x="6485482" y="1310424"/>
                </a:cubicBezTo>
                <a:cubicBezTo>
                  <a:pt x="6476384" y="1312703"/>
                  <a:pt x="6465009" y="1312703"/>
                  <a:pt x="6462734" y="1328659"/>
                </a:cubicBezTo>
                <a:cubicBezTo>
                  <a:pt x="6503681" y="1335497"/>
                  <a:pt x="6540078" y="1324100"/>
                  <a:pt x="6574200" y="1301306"/>
                </a:cubicBezTo>
                <a:cubicBezTo>
                  <a:pt x="6581024" y="1305865"/>
                  <a:pt x="6585574" y="1308144"/>
                  <a:pt x="6590124" y="1310424"/>
                </a:cubicBezTo>
                <a:cubicBezTo>
                  <a:pt x="6610597" y="1324100"/>
                  <a:pt x="6615146" y="1326379"/>
                  <a:pt x="6626520" y="1308144"/>
                </a:cubicBezTo>
                <a:cubicBezTo>
                  <a:pt x="6637895" y="1292189"/>
                  <a:pt x="6651544" y="1289910"/>
                  <a:pt x="6674292" y="1287630"/>
                </a:cubicBezTo>
                <a:cubicBezTo>
                  <a:pt x="6669742" y="1292189"/>
                  <a:pt x="6665192" y="1294468"/>
                  <a:pt x="6662918" y="1296748"/>
                </a:cubicBezTo>
                <a:cubicBezTo>
                  <a:pt x="6635620" y="1321821"/>
                  <a:pt x="6635620" y="1324100"/>
                  <a:pt x="6665192" y="1351452"/>
                </a:cubicBezTo>
                <a:cubicBezTo>
                  <a:pt x="6667468" y="1353732"/>
                  <a:pt x="6667468" y="1353732"/>
                  <a:pt x="6667468" y="1356011"/>
                </a:cubicBezTo>
                <a:cubicBezTo>
                  <a:pt x="6649269" y="1381084"/>
                  <a:pt x="6649269" y="1381084"/>
                  <a:pt x="6599223" y="1403877"/>
                </a:cubicBezTo>
                <a:cubicBezTo>
                  <a:pt x="6596948" y="1399319"/>
                  <a:pt x="6594674" y="1390201"/>
                  <a:pt x="6590124" y="1390201"/>
                </a:cubicBezTo>
                <a:cubicBezTo>
                  <a:pt x="6578750" y="1387922"/>
                  <a:pt x="6567376" y="1387922"/>
                  <a:pt x="6560551" y="1392481"/>
                </a:cubicBezTo>
                <a:cubicBezTo>
                  <a:pt x="6526429" y="1410715"/>
                  <a:pt x="6494582" y="1428950"/>
                  <a:pt x="6458185" y="1438068"/>
                </a:cubicBezTo>
                <a:cubicBezTo>
                  <a:pt x="6453635" y="1440347"/>
                  <a:pt x="6453635" y="1451744"/>
                  <a:pt x="6460460" y="1454023"/>
                </a:cubicBezTo>
                <a:cubicBezTo>
                  <a:pt x="6467284" y="1458582"/>
                  <a:pt x="6476384" y="1460861"/>
                  <a:pt x="6483208" y="1463140"/>
                </a:cubicBezTo>
                <a:lnTo>
                  <a:pt x="6483208" y="1460861"/>
                </a:lnTo>
                <a:lnTo>
                  <a:pt x="6491749" y="1482258"/>
                </a:lnTo>
                <a:lnTo>
                  <a:pt x="6473540" y="1487929"/>
                </a:lnTo>
                <a:cubicBezTo>
                  <a:pt x="6470697" y="1490493"/>
                  <a:pt x="6471834" y="1493912"/>
                  <a:pt x="6476384" y="1499610"/>
                </a:cubicBezTo>
                <a:cubicBezTo>
                  <a:pt x="6485482" y="1513286"/>
                  <a:pt x="6476384" y="1524683"/>
                  <a:pt x="6478658" y="1538359"/>
                </a:cubicBezTo>
                <a:cubicBezTo>
                  <a:pt x="6499132" y="1526962"/>
                  <a:pt x="6521880" y="1520124"/>
                  <a:pt x="6546902" y="1524683"/>
                </a:cubicBezTo>
                <a:cubicBezTo>
                  <a:pt x="6562826" y="1526962"/>
                  <a:pt x="6565101" y="1515566"/>
                  <a:pt x="6565101" y="1501890"/>
                </a:cubicBezTo>
                <a:lnTo>
                  <a:pt x="6565101" y="1504169"/>
                </a:lnTo>
                <a:cubicBezTo>
                  <a:pt x="6569650" y="1504169"/>
                  <a:pt x="6574200" y="1504169"/>
                  <a:pt x="6581024" y="1504169"/>
                </a:cubicBezTo>
                <a:cubicBezTo>
                  <a:pt x="6633345" y="1508728"/>
                  <a:pt x="6621971" y="1511007"/>
                  <a:pt x="6656094" y="1479096"/>
                </a:cubicBezTo>
                <a:cubicBezTo>
                  <a:pt x="6676566" y="1460861"/>
                  <a:pt x="6690216" y="1460861"/>
                  <a:pt x="6708414" y="1476817"/>
                </a:cubicBezTo>
                <a:cubicBezTo>
                  <a:pt x="6706139" y="1483655"/>
                  <a:pt x="6701590" y="1490493"/>
                  <a:pt x="6697040" y="1501890"/>
                </a:cubicBezTo>
                <a:cubicBezTo>
                  <a:pt x="6701590" y="1506448"/>
                  <a:pt x="6706139" y="1513286"/>
                  <a:pt x="6712964" y="1520124"/>
                </a:cubicBezTo>
                <a:cubicBezTo>
                  <a:pt x="6728887" y="1538359"/>
                  <a:pt x="6728887" y="1542918"/>
                  <a:pt x="6708414" y="1558874"/>
                </a:cubicBezTo>
                <a:cubicBezTo>
                  <a:pt x="6674292" y="1581667"/>
                  <a:pt x="6637895" y="1599902"/>
                  <a:pt x="6601498" y="1618137"/>
                </a:cubicBezTo>
                <a:cubicBezTo>
                  <a:pt x="6587849" y="1622695"/>
                  <a:pt x="6576475" y="1631813"/>
                  <a:pt x="6565101" y="1636372"/>
                </a:cubicBezTo>
                <a:cubicBezTo>
                  <a:pt x="6551452" y="1659165"/>
                  <a:pt x="6569650" y="1675120"/>
                  <a:pt x="6567376" y="1695635"/>
                </a:cubicBezTo>
                <a:cubicBezTo>
                  <a:pt x="6556002" y="1704752"/>
                  <a:pt x="6542353" y="1716149"/>
                  <a:pt x="6528704" y="1725266"/>
                </a:cubicBezTo>
                <a:cubicBezTo>
                  <a:pt x="6524154" y="1729825"/>
                  <a:pt x="6519604" y="1736663"/>
                  <a:pt x="6526429" y="1743501"/>
                </a:cubicBezTo>
                <a:cubicBezTo>
                  <a:pt x="6528704" y="1745781"/>
                  <a:pt x="6535528" y="1745781"/>
                  <a:pt x="6540078" y="1745781"/>
                </a:cubicBezTo>
                <a:cubicBezTo>
                  <a:pt x="6553727" y="1738943"/>
                  <a:pt x="6567376" y="1732104"/>
                  <a:pt x="6581024" y="1727546"/>
                </a:cubicBezTo>
                <a:cubicBezTo>
                  <a:pt x="6601498" y="1720708"/>
                  <a:pt x="6619696" y="1716149"/>
                  <a:pt x="6642444" y="1707032"/>
                </a:cubicBezTo>
                <a:cubicBezTo>
                  <a:pt x="6642444" y="1700194"/>
                  <a:pt x="6640170" y="1691076"/>
                  <a:pt x="6640170" y="1679679"/>
                </a:cubicBezTo>
                <a:cubicBezTo>
                  <a:pt x="6649269" y="1670562"/>
                  <a:pt x="6662918" y="1675120"/>
                  <a:pt x="6676566" y="1675120"/>
                </a:cubicBezTo>
                <a:lnTo>
                  <a:pt x="6677644" y="1675930"/>
                </a:lnTo>
                <a:lnTo>
                  <a:pt x="6674292" y="1677400"/>
                </a:lnTo>
                <a:lnTo>
                  <a:pt x="6679599" y="1677400"/>
                </a:lnTo>
                <a:lnTo>
                  <a:pt x="6685666" y="1681959"/>
                </a:lnTo>
                <a:cubicBezTo>
                  <a:pt x="6685666" y="1681959"/>
                  <a:pt x="6685666" y="1679679"/>
                  <a:pt x="6687940" y="1677400"/>
                </a:cubicBezTo>
                <a:lnTo>
                  <a:pt x="6679599" y="1677400"/>
                </a:lnTo>
                <a:lnTo>
                  <a:pt x="6677644" y="1675930"/>
                </a:lnTo>
                <a:lnTo>
                  <a:pt x="6710688" y="1661444"/>
                </a:lnTo>
                <a:cubicBezTo>
                  <a:pt x="6722063" y="1654606"/>
                  <a:pt x="6728887" y="1661444"/>
                  <a:pt x="6737986" y="1666003"/>
                </a:cubicBezTo>
                <a:lnTo>
                  <a:pt x="6735712" y="1666003"/>
                </a:lnTo>
                <a:cubicBezTo>
                  <a:pt x="6728887" y="1668283"/>
                  <a:pt x="6722063" y="1672841"/>
                  <a:pt x="6715238" y="1677400"/>
                </a:cubicBezTo>
                <a:cubicBezTo>
                  <a:pt x="6697040" y="1691076"/>
                  <a:pt x="6687940" y="1707032"/>
                  <a:pt x="6692490" y="1729825"/>
                </a:cubicBezTo>
                <a:cubicBezTo>
                  <a:pt x="6694765" y="1736663"/>
                  <a:pt x="6694765" y="1743501"/>
                  <a:pt x="6694765" y="1750339"/>
                </a:cubicBezTo>
                <a:cubicBezTo>
                  <a:pt x="6683391" y="1757177"/>
                  <a:pt x="6674292" y="1764015"/>
                  <a:pt x="6665192" y="1768574"/>
                </a:cubicBezTo>
                <a:cubicBezTo>
                  <a:pt x="6631070" y="1786809"/>
                  <a:pt x="6596948" y="1802765"/>
                  <a:pt x="6565101" y="1818720"/>
                </a:cubicBezTo>
                <a:cubicBezTo>
                  <a:pt x="6549177" y="1827837"/>
                  <a:pt x="6533254" y="1839234"/>
                  <a:pt x="6530978" y="1859748"/>
                </a:cubicBezTo>
                <a:cubicBezTo>
                  <a:pt x="6530978" y="1866586"/>
                  <a:pt x="6524154" y="1873425"/>
                  <a:pt x="6519604" y="1875704"/>
                </a:cubicBezTo>
                <a:cubicBezTo>
                  <a:pt x="6490032" y="1882542"/>
                  <a:pt x="6480933" y="1903056"/>
                  <a:pt x="6478658" y="1925850"/>
                </a:cubicBezTo>
                <a:cubicBezTo>
                  <a:pt x="6449086" y="1944084"/>
                  <a:pt x="6426338" y="1962319"/>
                  <a:pt x="6399040" y="1978275"/>
                </a:cubicBezTo>
                <a:cubicBezTo>
                  <a:pt x="6374017" y="1991951"/>
                  <a:pt x="6346719" y="2001068"/>
                  <a:pt x="6321696" y="2012465"/>
                </a:cubicBezTo>
                <a:cubicBezTo>
                  <a:pt x="6323971" y="2023862"/>
                  <a:pt x="6330796" y="2028421"/>
                  <a:pt x="6339894" y="2026141"/>
                </a:cubicBezTo>
                <a:cubicBezTo>
                  <a:pt x="6355818" y="2021583"/>
                  <a:pt x="6371742" y="2014745"/>
                  <a:pt x="6387666" y="2010186"/>
                </a:cubicBezTo>
                <a:cubicBezTo>
                  <a:pt x="6430887" y="1996510"/>
                  <a:pt x="6474108" y="1982834"/>
                  <a:pt x="6512780" y="1960040"/>
                </a:cubicBezTo>
                <a:cubicBezTo>
                  <a:pt x="6540078" y="1944084"/>
                  <a:pt x="6569650" y="1937246"/>
                  <a:pt x="6599223" y="1928129"/>
                </a:cubicBezTo>
                <a:cubicBezTo>
                  <a:pt x="6624246" y="1921291"/>
                  <a:pt x="6646994" y="1905335"/>
                  <a:pt x="6676566" y="1909894"/>
                </a:cubicBezTo>
                <a:cubicBezTo>
                  <a:pt x="6672017" y="1914453"/>
                  <a:pt x="6672017" y="1923570"/>
                  <a:pt x="6665192" y="1925850"/>
                </a:cubicBezTo>
                <a:cubicBezTo>
                  <a:pt x="6640170" y="1937246"/>
                  <a:pt x="6612872" y="1950923"/>
                  <a:pt x="6585574" y="1962319"/>
                </a:cubicBezTo>
                <a:cubicBezTo>
                  <a:pt x="6558276" y="1973716"/>
                  <a:pt x="6530978" y="1985113"/>
                  <a:pt x="6505956" y="1996510"/>
                </a:cubicBezTo>
                <a:cubicBezTo>
                  <a:pt x="6494582" y="2003348"/>
                  <a:pt x="6474108" y="2003348"/>
                  <a:pt x="6476384" y="2023862"/>
                </a:cubicBezTo>
                <a:cubicBezTo>
                  <a:pt x="6476384" y="2026141"/>
                  <a:pt x="6474108" y="2028421"/>
                  <a:pt x="6471834" y="2028421"/>
                </a:cubicBezTo>
                <a:cubicBezTo>
                  <a:pt x="6439986" y="2032979"/>
                  <a:pt x="6414964" y="2060332"/>
                  <a:pt x="6380841" y="2064890"/>
                </a:cubicBezTo>
                <a:cubicBezTo>
                  <a:pt x="6362643" y="2067170"/>
                  <a:pt x="6344444" y="2069449"/>
                  <a:pt x="6328520" y="2085405"/>
                </a:cubicBezTo>
                <a:cubicBezTo>
                  <a:pt x="6335345" y="2087684"/>
                  <a:pt x="6337620" y="2089963"/>
                  <a:pt x="6342170" y="2092242"/>
                </a:cubicBezTo>
                <a:cubicBezTo>
                  <a:pt x="6337620" y="2096801"/>
                  <a:pt x="6335345" y="2101360"/>
                  <a:pt x="6328520" y="2108198"/>
                </a:cubicBezTo>
                <a:cubicBezTo>
                  <a:pt x="6351268" y="2108198"/>
                  <a:pt x="6351268" y="2108198"/>
                  <a:pt x="6362643" y="2092242"/>
                </a:cubicBezTo>
                <a:lnTo>
                  <a:pt x="6435436" y="2092242"/>
                </a:lnTo>
                <a:cubicBezTo>
                  <a:pt x="6444536" y="2078566"/>
                  <a:pt x="6451360" y="2064890"/>
                  <a:pt x="6460460" y="2053494"/>
                </a:cubicBezTo>
                <a:cubicBezTo>
                  <a:pt x="6480933" y="2055773"/>
                  <a:pt x="6501406" y="2069449"/>
                  <a:pt x="6521880" y="2060332"/>
                </a:cubicBezTo>
                <a:cubicBezTo>
                  <a:pt x="6537803" y="2064890"/>
                  <a:pt x="6556002" y="2069449"/>
                  <a:pt x="6571926" y="2076287"/>
                </a:cubicBezTo>
                <a:cubicBezTo>
                  <a:pt x="6551452" y="2085405"/>
                  <a:pt x="6533254" y="2094522"/>
                  <a:pt x="6512780" y="2103639"/>
                </a:cubicBezTo>
                <a:cubicBezTo>
                  <a:pt x="6517330" y="2117316"/>
                  <a:pt x="6526429" y="2115036"/>
                  <a:pt x="6533254" y="2112757"/>
                </a:cubicBezTo>
                <a:cubicBezTo>
                  <a:pt x="6565101" y="2103639"/>
                  <a:pt x="6594674" y="2092242"/>
                  <a:pt x="6624246" y="2080846"/>
                </a:cubicBezTo>
                <a:cubicBezTo>
                  <a:pt x="6651544" y="2071728"/>
                  <a:pt x="6678842" y="2067170"/>
                  <a:pt x="6708414" y="2076287"/>
                </a:cubicBezTo>
                <a:cubicBezTo>
                  <a:pt x="6737986" y="2085405"/>
                  <a:pt x="6767559" y="2085405"/>
                  <a:pt x="6797132" y="2076287"/>
                </a:cubicBezTo>
                <a:cubicBezTo>
                  <a:pt x="6817605" y="2071728"/>
                  <a:pt x="6840353" y="2067170"/>
                  <a:pt x="6860826" y="2058052"/>
                </a:cubicBezTo>
                <a:cubicBezTo>
                  <a:pt x="6944994" y="2026141"/>
                  <a:pt x="7033712" y="2005627"/>
                  <a:pt x="7122430" y="1982834"/>
                </a:cubicBezTo>
                <a:cubicBezTo>
                  <a:pt x="7215696" y="1960040"/>
                  <a:pt x="7308964" y="1932688"/>
                  <a:pt x="7402231" y="1903056"/>
                </a:cubicBezTo>
                <a:cubicBezTo>
                  <a:pt x="7418154" y="1898497"/>
                  <a:pt x="7431804" y="1898497"/>
                  <a:pt x="7447727" y="1893939"/>
                </a:cubicBezTo>
                <a:cubicBezTo>
                  <a:pt x="7452277" y="1891659"/>
                  <a:pt x="7456826" y="1884821"/>
                  <a:pt x="7459101" y="1880262"/>
                </a:cubicBezTo>
                <a:cubicBezTo>
                  <a:pt x="7454552" y="1877983"/>
                  <a:pt x="7450002" y="1871145"/>
                  <a:pt x="7445452" y="1873425"/>
                </a:cubicBezTo>
                <a:cubicBezTo>
                  <a:pt x="7429528" y="1873425"/>
                  <a:pt x="7415880" y="1877983"/>
                  <a:pt x="7399956" y="1877983"/>
                </a:cubicBezTo>
                <a:cubicBezTo>
                  <a:pt x="7427254" y="1859748"/>
                  <a:pt x="7461376" y="1864307"/>
                  <a:pt x="7484124" y="1832396"/>
                </a:cubicBezTo>
                <a:cubicBezTo>
                  <a:pt x="7465926" y="1820999"/>
                  <a:pt x="7445452" y="1832396"/>
                  <a:pt x="7427254" y="1827837"/>
                </a:cubicBezTo>
                <a:cubicBezTo>
                  <a:pt x="7452277" y="1805044"/>
                  <a:pt x="7486399" y="1807323"/>
                  <a:pt x="7518246" y="1800485"/>
                </a:cubicBezTo>
                <a:cubicBezTo>
                  <a:pt x="7518246" y="1807323"/>
                  <a:pt x="7518246" y="1814161"/>
                  <a:pt x="7520521" y="1818720"/>
                </a:cubicBezTo>
                <a:cubicBezTo>
                  <a:pt x="7520521" y="1820999"/>
                  <a:pt x="7522796" y="1825558"/>
                  <a:pt x="7525070" y="1825558"/>
                </a:cubicBezTo>
                <a:cubicBezTo>
                  <a:pt x="7529620" y="1825558"/>
                  <a:pt x="7536445" y="1823279"/>
                  <a:pt x="7536445" y="1820999"/>
                </a:cubicBezTo>
                <a:cubicBezTo>
                  <a:pt x="7540994" y="1816441"/>
                  <a:pt x="7538720" y="1809603"/>
                  <a:pt x="7540994" y="1802765"/>
                </a:cubicBezTo>
                <a:cubicBezTo>
                  <a:pt x="7554643" y="1805044"/>
                  <a:pt x="7545544" y="1825558"/>
                  <a:pt x="7563742" y="1823279"/>
                </a:cubicBezTo>
                <a:cubicBezTo>
                  <a:pt x="7575116" y="1823279"/>
                  <a:pt x="7584216" y="1820999"/>
                  <a:pt x="7597864" y="1823279"/>
                </a:cubicBezTo>
                <a:cubicBezTo>
                  <a:pt x="7563742" y="1843793"/>
                  <a:pt x="7520521" y="1839234"/>
                  <a:pt x="7486399" y="1866586"/>
                </a:cubicBezTo>
                <a:cubicBezTo>
                  <a:pt x="7488674" y="1868866"/>
                  <a:pt x="7490948" y="1873425"/>
                  <a:pt x="7495498" y="1877983"/>
                </a:cubicBezTo>
                <a:cubicBezTo>
                  <a:pt x="7495498" y="1877983"/>
                  <a:pt x="7502322" y="1877983"/>
                  <a:pt x="7504598" y="1877983"/>
                </a:cubicBezTo>
                <a:cubicBezTo>
                  <a:pt x="7552368" y="1862028"/>
                  <a:pt x="7600140" y="1848352"/>
                  <a:pt x="7650186" y="1839234"/>
                </a:cubicBezTo>
                <a:cubicBezTo>
                  <a:pt x="7661560" y="1836955"/>
                  <a:pt x="7670658" y="1830117"/>
                  <a:pt x="7682032" y="1823279"/>
                </a:cubicBezTo>
                <a:cubicBezTo>
                  <a:pt x="7679758" y="1816441"/>
                  <a:pt x="7679758" y="1809603"/>
                  <a:pt x="7679758" y="1800485"/>
                </a:cubicBezTo>
                <a:cubicBezTo>
                  <a:pt x="7695682" y="1802765"/>
                  <a:pt x="7709330" y="1795926"/>
                  <a:pt x="7725254" y="1791368"/>
                </a:cubicBezTo>
                <a:cubicBezTo>
                  <a:pt x="7768476" y="1775412"/>
                  <a:pt x="7811697" y="1761736"/>
                  <a:pt x="7857193" y="1748060"/>
                </a:cubicBezTo>
                <a:cubicBezTo>
                  <a:pt x="7861742" y="1748060"/>
                  <a:pt x="7868567" y="1752619"/>
                  <a:pt x="7873116" y="1754898"/>
                </a:cubicBezTo>
                <a:cubicBezTo>
                  <a:pt x="7879941" y="1759457"/>
                  <a:pt x="7886766" y="1764015"/>
                  <a:pt x="7893590" y="1768574"/>
                </a:cubicBezTo>
                <a:cubicBezTo>
                  <a:pt x="7916338" y="1766295"/>
                  <a:pt x="7927712" y="1743501"/>
                  <a:pt x="7952735" y="1745781"/>
                </a:cubicBezTo>
                <a:cubicBezTo>
                  <a:pt x="7973208" y="1745781"/>
                  <a:pt x="7991407" y="1738943"/>
                  <a:pt x="8009606" y="1736663"/>
                </a:cubicBezTo>
                <a:cubicBezTo>
                  <a:pt x="8016430" y="1718428"/>
                  <a:pt x="8000506" y="1720708"/>
                  <a:pt x="7993682" y="1716149"/>
                </a:cubicBezTo>
                <a:lnTo>
                  <a:pt x="7995956" y="1716149"/>
                </a:lnTo>
                <a:cubicBezTo>
                  <a:pt x="8000506" y="1700194"/>
                  <a:pt x="8009606" y="1693355"/>
                  <a:pt x="8027804" y="1695635"/>
                </a:cubicBezTo>
                <a:cubicBezTo>
                  <a:pt x="8041452" y="1695635"/>
                  <a:pt x="8052826" y="1697914"/>
                  <a:pt x="8066476" y="1697914"/>
                </a:cubicBezTo>
                <a:lnTo>
                  <a:pt x="8066476" y="1695635"/>
                </a:lnTo>
                <a:cubicBezTo>
                  <a:pt x="8068750" y="1707032"/>
                  <a:pt x="8077850" y="1709311"/>
                  <a:pt x="8086949" y="1707032"/>
                </a:cubicBezTo>
                <a:cubicBezTo>
                  <a:pt x="8098323" y="1704752"/>
                  <a:pt x="8111972" y="1700194"/>
                  <a:pt x="8127896" y="1697914"/>
                </a:cubicBezTo>
                <a:cubicBezTo>
                  <a:pt x="8121071" y="1704752"/>
                  <a:pt x="8114246" y="1709311"/>
                  <a:pt x="8121071" y="1716149"/>
                </a:cubicBezTo>
                <a:cubicBezTo>
                  <a:pt x="8136994" y="1727546"/>
                  <a:pt x="8155193" y="1716149"/>
                  <a:pt x="8175666" y="1718428"/>
                </a:cubicBezTo>
                <a:cubicBezTo>
                  <a:pt x="8196140" y="1738943"/>
                  <a:pt x="8218888" y="1759457"/>
                  <a:pt x="8241636" y="1782250"/>
                </a:cubicBezTo>
                <a:cubicBezTo>
                  <a:pt x="8246186" y="1784530"/>
                  <a:pt x="8241636" y="1793647"/>
                  <a:pt x="8241636" y="1805044"/>
                </a:cubicBezTo>
                <a:cubicBezTo>
                  <a:pt x="8248460" y="1807323"/>
                  <a:pt x="8257560" y="1811882"/>
                  <a:pt x="8266659" y="1816441"/>
                </a:cubicBezTo>
                <a:cubicBezTo>
                  <a:pt x="8291682" y="1805044"/>
                  <a:pt x="8314430" y="1793647"/>
                  <a:pt x="8339452" y="1779971"/>
                </a:cubicBezTo>
                <a:cubicBezTo>
                  <a:pt x="8346277" y="1777691"/>
                  <a:pt x="8350827" y="1768574"/>
                  <a:pt x="8348552" y="1759457"/>
                </a:cubicBezTo>
                <a:cubicBezTo>
                  <a:pt x="8346277" y="1750339"/>
                  <a:pt x="8334903" y="1743501"/>
                  <a:pt x="8325804" y="1745781"/>
                </a:cubicBezTo>
                <a:cubicBezTo>
                  <a:pt x="8314430" y="1748060"/>
                  <a:pt x="8303056" y="1752619"/>
                  <a:pt x="8291682" y="1754898"/>
                </a:cubicBezTo>
                <a:cubicBezTo>
                  <a:pt x="8284858" y="1754898"/>
                  <a:pt x="8278033" y="1752619"/>
                  <a:pt x="8266659" y="1752619"/>
                </a:cubicBezTo>
                <a:cubicBezTo>
                  <a:pt x="8321254" y="1700194"/>
                  <a:pt x="8384949" y="1686517"/>
                  <a:pt x="8450918" y="1681959"/>
                </a:cubicBezTo>
                <a:cubicBezTo>
                  <a:pt x="8455468" y="1697914"/>
                  <a:pt x="8437270" y="1700194"/>
                  <a:pt x="8432720" y="1711590"/>
                </a:cubicBezTo>
                <a:cubicBezTo>
                  <a:pt x="8437270" y="1713870"/>
                  <a:pt x="8444094" y="1716149"/>
                  <a:pt x="8450918" y="1720708"/>
                </a:cubicBezTo>
                <a:cubicBezTo>
                  <a:pt x="8441819" y="1727546"/>
                  <a:pt x="8432720" y="1734384"/>
                  <a:pt x="8421346" y="1741222"/>
                </a:cubicBezTo>
                <a:cubicBezTo>
                  <a:pt x="8437270" y="1752619"/>
                  <a:pt x="8464567" y="1738943"/>
                  <a:pt x="8471392" y="1766295"/>
                </a:cubicBezTo>
                <a:cubicBezTo>
                  <a:pt x="8460018" y="1784530"/>
                  <a:pt x="8444094" y="1798206"/>
                  <a:pt x="8419071" y="1795926"/>
                </a:cubicBezTo>
                <a:cubicBezTo>
                  <a:pt x="8407697" y="1795926"/>
                  <a:pt x="8396323" y="1800485"/>
                  <a:pt x="8384949" y="1805044"/>
                </a:cubicBezTo>
                <a:cubicBezTo>
                  <a:pt x="8378124" y="1807323"/>
                  <a:pt x="8369025" y="1811882"/>
                  <a:pt x="8362201" y="1811882"/>
                </a:cubicBezTo>
                <a:cubicBezTo>
                  <a:pt x="8332628" y="1814161"/>
                  <a:pt x="8305330" y="1825558"/>
                  <a:pt x="8282582" y="1843793"/>
                </a:cubicBezTo>
                <a:lnTo>
                  <a:pt x="8269427" y="1845990"/>
                </a:lnTo>
                <a:lnTo>
                  <a:pt x="8271493" y="1836100"/>
                </a:lnTo>
                <a:cubicBezTo>
                  <a:pt x="8271777" y="1832396"/>
                  <a:pt x="8270071" y="1828977"/>
                  <a:pt x="8262109" y="1825558"/>
                </a:cubicBezTo>
                <a:cubicBezTo>
                  <a:pt x="8250735" y="1841513"/>
                  <a:pt x="8239361" y="1857469"/>
                  <a:pt x="8230262" y="1873425"/>
                </a:cubicBezTo>
                <a:cubicBezTo>
                  <a:pt x="8237086" y="1891659"/>
                  <a:pt x="8253010" y="1884821"/>
                  <a:pt x="8264384" y="1889380"/>
                </a:cubicBezTo>
                <a:cubicBezTo>
                  <a:pt x="8268934" y="1891659"/>
                  <a:pt x="8275758" y="1898497"/>
                  <a:pt x="8275758" y="1903056"/>
                </a:cubicBezTo>
                <a:cubicBezTo>
                  <a:pt x="8275758" y="1907615"/>
                  <a:pt x="8268934" y="1914453"/>
                  <a:pt x="8264384" y="1916732"/>
                </a:cubicBezTo>
                <a:cubicBezTo>
                  <a:pt x="8243910" y="1921291"/>
                  <a:pt x="8223438" y="1919012"/>
                  <a:pt x="8214338" y="1893939"/>
                </a:cubicBezTo>
                <a:cubicBezTo>
                  <a:pt x="8202964" y="1900777"/>
                  <a:pt x="8191590" y="1905335"/>
                  <a:pt x="8187040" y="1912174"/>
                </a:cubicBezTo>
                <a:cubicBezTo>
                  <a:pt x="8162018" y="1957761"/>
                  <a:pt x="8162018" y="1957761"/>
                  <a:pt x="8116522" y="1975995"/>
                </a:cubicBezTo>
                <a:cubicBezTo>
                  <a:pt x="8116522" y="1998789"/>
                  <a:pt x="8116522" y="2021583"/>
                  <a:pt x="8116522" y="2046655"/>
                </a:cubicBezTo>
                <a:cubicBezTo>
                  <a:pt x="8130170" y="2046655"/>
                  <a:pt x="8143819" y="2048935"/>
                  <a:pt x="8157468" y="2051214"/>
                </a:cubicBezTo>
                <a:cubicBezTo>
                  <a:pt x="8150644" y="2058052"/>
                  <a:pt x="8141544" y="2062611"/>
                  <a:pt x="8134720" y="2067170"/>
                </a:cubicBezTo>
                <a:cubicBezTo>
                  <a:pt x="8144956" y="2082555"/>
                  <a:pt x="8150074" y="2097941"/>
                  <a:pt x="8162550" y="2102749"/>
                </a:cubicBezTo>
                <a:lnTo>
                  <a:pt x="8174609" y="2103447"/>
                </a:lnTo>
                <a:lnTo>
                  <a:pt x="8159742" y="2112757"/>
                </a:lnTo>
                <a:cubicBezTo>
                  <a:pt x="8152918" y="2115036"/>
                  <a:pt x="8148368" y="2121874"/>
                  <a:pt x="8150644" y="2130992"/>
                </a:cubicBezTo>
                <a:cubicBezTo>
                  <a:pt x="8157468" y="2169741"/>
                  <a:pt x="8127896" y="2187976"/>
                  <a:pt x="8107422" y="2210769"/>
                </a:cubicBezTo>
                <a:cubicBezTo>
                  <a:pt x="8100598" y="2217607"/>
                  <a:pt x="8080124" y="2217607"/>
                  <a:pt x="8073300" y="2213048"/>
                </a:cubicBezTo>
                <a:cubicBezTo>
                  <a:pt x="8057376" y="2201652"/>
                  <a:pt x="8043728" y="2201652"/>
                  <a:pt x="8027804" y="2210769"/>
                </a:cubicBezTo>
                <a:cubicBezTo>
                  <a:pt x="8023254" y="2215328"/>
                  <a:pt x="8014155" y="2213048"/>
                  <a:pt x="8005056" y="2213048"/>
                </a:cubicBezTo>
                <a:cubicBezTo>
                  <a:pt x="8023254" y="2194813"/>
                  <a:pt x="8043728" y="2194813"/>
                  <a:pt x="8064200" y="2194813"/>
                </a:cubicBezTo>
                <a:cubicBezTo>
                  <a:pt x="8077850" y="2194813"/>
                  <a:pt x="8086949" y="2185696"/>
                  <a:pt x="8091498" y="2176579"/>
                </a:cubicBezTo>
                <a:cubicBezTo>
                  <a:pt x="8100598" y="2162903"/>
                  <a:pt x="8102872" y="2151506"/>
                  <a:pt x="8089224" y="2137830"/>
                </a:cubicBezTo>
                <a:cubicBezTo>
                  <a:pt x="8075574" y="2142388"/>
                  <a:pt x="8061926" y="2146947"/>
                  <a:pt x="8048277" y="2151506"/>
                </a:cubicBezTo>
                <a:cubicBezTo>
                  <a:pt x="8036903" y="2156064"/>
                  <a:pt x="8023254" y="2160623"/>
                  <a:pt x="8007330" y="2165182"/>
                </a:cubicBezTo>
                <a:cubicBezTo>
                  <a:pt x="8007330" y="2169741"/>
                  <a:pt x="8007330" y="2176579"/>
                  <a:pt x="8005056" y="2183417"/>
                </a:cubicBezTo>
                <a:cubicBezTo>
                  <a:pt x="8002781" y="2190255"/>
                  <a:pt x="7995956" y="2192534"/>
                  <a:pt x="7991407" y="2187976"/>
                </a:cubicBezTo>
                <a:cubicBezTo>
                  <a:pt x="7984582" y="2183417"/>
                  <a:pt x="7980032" y="2176579"/>
                  <a:pt x="7977758" y="2167461"/>
                </a:cubicBezTo>
                <a:cubicBezTo>
                  <a:pt x="7973208" y="2160623"/>
                  <a:pt x="7973208" y="2153785"/>
                  <a:pt x="7968658" y="2144668"/>
                </a:cubicBezTo>
                <a:cubicBezTo>
                  <a:pt x="8009606" y="2142388"/>
                  <a:pt x="8046002" y="2128712"/>
                  <a:pt x="8080124" y="2108198"/>
                </a:cubicBezTo>
                <a:cubicBezTo>
                  <a:pt x="8089224" y="2101360"/>
                  <a:pt x="8089224" y="2094522"/>
                  <a:pt x="8082399" y="2083125"/>
                </a:cubicBezTo>
                <a:cubicBezTo>
                  <a:pt x="8068750" y="2087684"/>
                  <a:pt x="8052826" y="2092242"/>
                  <a:pt x="8036903" y="2096801"/>
                </a:cubicBezTo>
                <a:cubicBezTo>
                  <a:pt x="8020980" y="2101360"/>
                  <a:pt x="8005056" y="2108198"/>
                  <a:pt x="7989132" y="2115036"/>
                </a:cubicBezTo>
                <a:cubicBezTo>
                  <a:pt x="7970934" y="2119595"/>
                  <a:pt x="7950460" y="2126433"/>
                  <a:pt x="7932262" y="2130992"/>
                </a:cubicBezTo>
                <a:cubicBezTo>
                  <a:pt x="7929987" y="2130992"/>
                  <a:pt x="7925438" y="2124154"/>
                  <a:pt x="7920888" y="2121874"/>
                </a:cubicBezTo>
                <a:lnTo>
                  <a:pt x="7922079" y="2121440"/>
                </a:lnTo>
                <a:lnTo>
                  <a:pt x="7923162" y="2121874"/>
                </a:lnTo>
                <a:cubicBezTo>
                  <a:pt x="7929987" y="2119595"/>
                  <a:pt x="7939086" y="2117316"/>
                  <a:pt x="7948186" y="2112757"/>
                </a:cubicBezTo>
                <a:lnTo>
                  <a:pt x="7948711" y="2112055"/>
                </a:lnTo>
                <a:lnTo>
                  <a:pt x="7955010" y="2110477"/>
                </a:lnTo>
                <a:cubicBezTo>
                  <a:pt x="7957284" y="2110477"/>
                  <a:pt x="7957284" y="2108198"/>
                  <a:pt x="7959560" y="2105919"/>
                </a:cubicBezTo>
                <a:cubicBezTo>
                  <a:pt x="7957284" y="2105919"/>
                  <a:pt x="7955010" y="2103639"/>
                  <a:pt x="7955010" y="2103639"/>
                </a:cubicBezTo>
                <a:lnTo>
                  <a:pt x="7948711" y="2112055"/>
                </a:lnTo>
                <a:lnTo>
                  <a:pt x="7945910" y="2112757"/>
                </a:lnTo>
                <a:lnTo>
                  <a:pt x="7922079" y="2121440"/>
                </a:lnTo>
                <a:lnTo>
                  <a:pt x="7900414" y="2112757"/>
                </a:lnTo>
                <a:cubicBezTo>
                  <a:pt x="7911788" y="2105919"/>
                  <a:pt x="7918613" y="2096801"/>
                  <a:pt x="7925438" y="2096801"/>
                </a:cubicBezTo>
                <a:cubicBezTo>
                  <a:pt x="7950460" y="2092242"/>
                  <a:pt x="7973208" y="2076287"/>
                  <a:pt x="8000506" y="2074008"/>
                </a:cubicBezTo>
                <a:cubicBezTo>
                  <a:pt x="8020980" y="2071728"/>
                  <a:pt x="8036903" y="2058052"/>
                  <a:pt x="8046002" y="2037538"/>
                </a:cubicBezTo>
                <a:cubicBezTo>
                  <a:pt x="8050552" y="2026141"/>
                  <a:pt x="8057376" y="2017024"/>
                  <a:pt x="8064200" y="2005627"/>
                </a:cubicBezTo>
                <a:cubicBezTo>
                  <a:pt x="8052826" y="1998789"/>
                  <a:pt x="8039178" y="1991951"/>
                  <a:pt x="8025529" y="1985113"/>
                </a:cubicBezTo>
                <a:cubicBezTo>
                  <a:pt x="8039178" y="1971437"/>
                  <a:pt x="8052826" y="1957761"/>
                  <a:pt x="8066476" y="1946364"/>
                </a:cubicBezTo>
                <a:cubicBezTo>
                  <a:pt x="8057376" y="1934967"/>
                  <a:pt x="8048277" y="1939526"/>
                  <a:pt x="8041452" y="1944084"/>
                </a:cubicBezTo>
                <a:cubicBezTo>
                  <a:pt x="8011880" y="1957761"/>
                  <a:pt x="7982308" y="1971437"/>
                  <a:pt x="7948186" y="1978275"/>
                </a:cubicBezTo>
                <a:cubicBezTo>
                  <a:pt x="7932262" y="1980554"/>
                  <a:pt x="7918613" y="1991951"/>
                  <a:pt x="7902689" y="2001068"/>
                </a:cubicBezTo>
                <a:lnTo>
                  <a:pt x="7902224" y="2000758"/>
                </a:lnTo>
                <a:lnTo>
                  <a:pt x="7904964" y="1998789"/>
                </a:lnTo>
                <a:lnTo>
                  <a:pt x="7899277" y="1998789"/>
                </a:lnTo>
                <a:lnTo>
                  <a:pt x="7887335" y="1990811"/>
                </a:lnTo>
                <a:lnTo>
                  <a:pt x="7878046" y="1998789"/>
                </a:lnTo>
                <a:lnTo>
                  <a:pt x="7873116" y="1998789"/>
                </a:lnTo>
                <a:cubicBezTo>
                  <a:pt x="7873116" y="2001068"/>
                  <a:pt x="7870842" y="2001068"/>
                  <a:pt x="7870842" y="2001068"/>
                </a:cubicBezTo>
                <a:cubicBezTo>
                  <a:pt x="7870842" y="2001068"/>
                  <a:pt x="7873116" y="2001068"/>
                  <a:pt x="7875392" y="2001068"/>
                </a:cubicBezTo>
                <a:lnTo>
                  <a:pt x="7878046" y="1998789"/>
                </a:lnTo>
                <a:lnTo>
                  <a:pt x="7899277" y="1998789"/>
                </a:lnTo>
                <a:lnTo>
                  <a:pt x="7902224" y="2000758"/>
                </a:lnTo>
                <a:lnTo>
                  <a:pt x="7874823" y="2020443"/>
                </a:lnTo>
                <a:cubicBezTo>
                  <a:pt x="7864018" y="2025002"/>
                  <a:pt x="7852644" y="2027281"/>
                  <a:pt x="7841270" y="2028421"/>
                </a:cubicBezTo>
                <a:cubicBezTo>
                  <a:pt x="7804872" y="2032979"/>
                  <a:pt x="7773025" y="2046655"/>
                  <a:pt x="7741178" y="2058052"/>
                </a:cubicBezTo>
                <a:cubicBezTo>
                  <a:pt x="7732078" y="2062611"/>
                  <a:pt x="7725254" y="2067170"/>
                  <a:pt x="7716155" y="2067170"/>
                </a:cubicBezTo>
                <a:cubicBezTo>
                  <a:pt x="7682032" y="2074008"/>
                  <a:pt x="7657010" y="2094522"/>
                  <a:pt x="7629712" y="2117316"/>
                </a:cubicBezTo>
                <a:lnTo>
                  <a:pt x="7640113" y="2142329"/>
                </a:lnTo>
                <a:lnTo>
                  <a:pt x="7638811" y="2142388"/>
                </a:lnTo>
                <a:lnTo>
                  <a:pt x="7638212" y="2143588"/>
                </a:lnTo>
                <a:lnTo>
                  <a:pt x="7622888" y="2137830"/>
                </a:lnTo>
                <a:cubicBezTo>
                  <a:pt x="7618338" y="2135550"/>
                  <a:pt x="7616063" y="2128712"/>
                  <a:pt x="7613788" y="2121874"/>
                </a:cubicBezTo>
                <a:cubicBezTo>
                  <a:pt x="7602414" y="2126433"/>
                  <a:pt x="7586490" y="2130992"/>
                  <a:pt x="7586490" y="2137830"/>
                </a:cubicBezTo>
                <a:cubicBezTo>
                  <a:pt x="7586490" y="2162903"/>
                  <a:pt x="7563742" y="2167461"/>
                  <a:pt x="7547819" y="2181138"/>
                </a:cubicBezTo>
                <a:cubicBezTo>
                  <a:pt x="7577392" y="2176579"/>
                  <a:pt x="7606964" y="2174299"/>
                  <a:pt x="7631987" y="2156064"/>
                </a:cubicBezTo>
                <a:lnTo>
                  <a:pt x="7638212" y="2143588"/>
                </a:lnTo>
                <a:lnTo>
                  <a:pt x="7641086" y="2144668"/>
                </a:lnTo>
                <a:lnTo>
                  <a:pt x="7640113" y="2142329"/>
                </a:lnTo>
                <a:lnTo>
                  <a:pt x="7688857" y="2140109"/>
                </a:lnTo>
                <a:cubicBezTo>
                  <a:pt x="7686582" y="2156064"/>
                  <a:pt x="7661560" y="2153785"/>
                  <a:pt x="7661560" y="2174299"/>
                </a:cubicBezTo>
                <a:cubicBezTo>
                  <a:pt x="7686582" y="2176579"/>
                  <a:pt x="7707056" y="2172020"/>
                  <a:pt x="7727529" y="2158344"/>
                </a:cubicBezTo>
                <a:cubicBezTo>
                  <a:pt x="7732078" y="2153785"/>
                  <a:pt x="7736628" y="2149226"/>
                  <a:pt x="7743452" y="2149226"/>
                </a:cubicBezTo>
                <a:cubicBezTo>
                  <a:pt x="7782124" y="2144668"/>
                  <a:pt x="7823071" y="2140109"/>
                  <a:pt x="7861742" y="2137830"/>
                </a:cubicBezTo>
                <a:cubicBezTo>
                  <a:pt x="7864018" y="2137830"/>
                  <a:pt x="7864018" y="2140109"/>
                  <a:pt x="7866292" y="2142388"/>
                </a:cubicBezTo>
                <a:cubicBezTo>
                  <a:pt x="7852644" y="2160623"/>
                  <a:pt x="7832170" y="2172020"/>
                  <a:pt x="7807147" y="2174299"/>
                </a:cubicBezTo>
                <a:cubicBezTo>
                  <a:pt x="7795773" y="2174299"/>
                  <a:pt x="7784399" y="2176579"/>
                  <a:pt x="7773025" y="2174299"/>
                </a:cubicBezTo>
                <a:cubicBezTo>
                  <a:pt x="7741178" y="2172020"/>
                  <a:pt x="7722979" y="2192534"/>
                  <a:pt x="7697956" y="2210769"/>
                </a:cubicBezTo>
                <a:cubicBezTo>
                  <a:pt x="7727529" y="2226725"/>
                  <a:pt x="7752552" y="2226725"/>
                  <a:pt x="7777574" y="2215328"/>
                </a:cubicBezTo>
                <a:cubicBezTo>
                  <a:pt x="7818521" y="2199372"/>
                  <a:pt x="7864018" y="2190255"/>
                  <a:pt x="7904964" y="2167461"/>
                </a:cubicBezTo>
                <a:cubicBezTo>
                  <a:pt x="7923162" y="2158344"/>
                  <a:pt x="7939086" y="2174299"/>
                  <a:pt x="7957284" y="2183417"/>
                </a:cubicBezTo>
                <a:cubicBezTo>
                  <a:pt x="7959560" y="2183417"/>
                  <a:pt x="7957284" y="2192534"/>
                  <a:pt x="7959560" y="2199372"/>
                </a:cubicBezTo>
                <a:cubicBezTo>
                  <a:pt x="7950460" y="2208490"/>
                  <a:pt x="7939086" y="2215328"/>
                  <a:pt x="7925438" y="2213048"/>
                </a:cubicBezTo>
                <a:cubicBezTo>
                  <a:pt x="7911788" y="2226725"/>
                  <a:pt x="7886766" y="2226725"/>
                  <a:pt x="7879941" y="2249518"/>
                </a:cubicBezTo>
                <a:cubicBezTo>
                  <a:pt x="7868567" y="2251798"/>
                  <a:pt x="7857193" y="2254077"/>
                  <a:pt x="7843544" y="2256356"/>
                </a:cubicBezTo>
                <a:cubicBezTo>
                  <a:pt x="7843544" y="2263194"/>
                  <a:pt x="7843544" y="2270032"/>
                  <a:pt x="7843544" y="2274591"/>
                </a:cubicBezTo>
                <a:cubicBezTo>
                  <a:pt x="7834445" y="2276870"/>
                  <a:pt x="7825346" y="2267753"/>
                  <a:pt x="7818521" y="2283708"/>
                </a:cubicBezTo>
                <a:cubicBezTo>
                  <a:pt x="7829896" y="2283708"/>
                  <a:pt x="7838994" y="2285988"/>
                  <a:pt x="7843544" y="2274591"/>
                </a:cubicBezTo>
                <a:cubicBezTo>
                  <a:pt x="7854918" y="2274591"/>
                  <a:pt x="7873116" y="2279150"/>
                  <a:pt x="7882216" y="2270032"/>
                </a:cubicBezTo>
                <a:cubicBezTo>
                  <a:pt x="7904964" y="2249518"/>
                  <a:pt x="7929987" y="2256356"/>
                  <a:pt x="7959560" y="2256356"/>
                </a:cubicBezTo>
                <a:cubicBezTo>
                  <a:pt x="7952735" y="2270032"/>
                  <a:pt x="7948186" y="2276870"/>
                  <a:pt x="7943636" y="2288267"/>
                </a:cubicBezTo>
                <a:cubicBezTo>
                  <a:pt x="7950460" y="2290547"/>
                  <a:pt x="7955010" y="2295105"/>
                  <a:pt x="7964109" y="2299664"/>
                </a:cubicBezTo>
                <a:cubicBezTo>
                  <a:pt x="7952735" y="2306502"/>
                  <a:pt x="7941361" y="2311061"/>
                  <a:pt x="7927712" y="2322458"/>
                </a:cubicBezTo>
                <a:cubicBezTo>
                  <a:pt x="7957284" y="2331575"/>
                  <a:pt x="7977758" y="2317899"/>
                  <a:pt x="8000506" y="2313340"/>
                </a:cubicBezTo>
                <a:cubicBezTo>
                  <a:pt x="7995956" y="2297384"/>
                  <a:pt x="7991407" y="2283708"/>
                  <a:pt x="7986857" y="2270032"/>
                </a:cubicBezTo>
                <a:cubicBezTo>
                  <a:pt x="8005056" y="2254077"/>
                  <a:pt x="8016430" y="2267753"/>
                  <a:pt x="8030078" y="2276870"/>
                </a:cubicBezTo>
                <a:cubicBezTo>
                  <a:pt x="8027804" y="2281429"/>
                  <a:pt x="8025529" y="2288267"/>
                  <a:pt x="8025529" y="2295105"/>
                </a:cubicBezTo>
                <a:cubicBezTo>
                  <a:pt x="8020980" y="2311061"/>
                  <a:pt x="8027804" y="2322458"/>
                  <a:pt x="8046002" y="2320178"/>
                </a:cubicBezTo>
                <a:cubicBezTo>
                  <a:pt x="8064200" y="2317899"/>
                  <a:pt x="8082399" y="2315619"/>
                  <a:pt x="8102872" y="2313340"/>
                </a:cubicBezTo>
                <a:cubicBezTo>
                  <a:pt x="8102872" y="2304222"/>
                  <a:pt x="8102872" y="2297384"/>
                  <a:pt x="8105148" y="2288267"/>
                </a:cubicBezTo>
                <a:cubicBezTo>
                  <a:pt x="8111972" y="2288267"/>
                  <a:pt x="8121071" y="2290547"/>
                  <a:pt x="8127896" y="2290547"/>
                </a:cubicBezTo>
                <a:cubicBezTo>
                  <a:pt x="8155193" y="2297384"/>
                  <a:pt x="8177941" y="2292826"/>
                  <a:pt x="8202964" y="2281429"/>
                </a:cubicBezTo>
                <a:cubicBezTo>
                  <a:pt x="8227987" y="2267753"/>
                  <a:pt x="8253010" y="2256356"/>
                  <a:pt x="8282582" y="2251798"/>
                </a:cubicBezTo>
                <a:cubicBezTo>
                  <a:pt x="8296232" y="2249518"/>
                  <a:pt x="8309880" y="2240400"/>
                  <a:pt x="8321254" y="2231283"/>
                </a:cubicBezTo>
                <a:cubicBezTo>
                  <a:pt x="8334903" y="2219887"/>
                  <a:pt x="8348552" y="2213048"/>
                  <a:pt x="8366750" y="2213048"/>
                </a:cubicBezTo>
                <a:cubicBezTo>
                  <a:pt x="8373575" y="2213048"/>
                  <a:pt x="8382674" y="2206210"/>
                  <a:pt x="8387224" y="2201652"/>
                </a:cubicBezTo>
                <a:cubicBezTo>
                  <a:pt x="8394048" y="2192534"/>
                  <a:pt x="8387224" y="2185696"/>
                  <a:pt x="8382674" y="2178858"/>
                </a:cubicBezTo>
                <a:cubicBezTo>
                  <a:pt x="8380400" y="2176579"/>
                  <a:pt x="8382674" y="2172020"/>
                  <a:pt x="8382674" y="2167461"/>
                </a:cubicBezTo>
                <a:cubicBezTo>
                  <a:pt x="8403147" y="2174299"/>
                  <a:pt x="8405422" y="2194813"/>
                  <a:pt x="8412247" y="2210769"/>
                </a:cubicBezTo>
                <a:cubicBezTo>
                  <a:pt x="8412247" y="2224445"/>
                  <a:pt x="8387224" y="2224445"/>
                  <a:pt x="8396323" y="2244959"/>
                </a:cubicBezTo>
                <a:cubicBezTo>
                  <a:pt x="8428170" y="2238121"/>
                  <a:pt x="8460018" y="2233563"/>
                  <a:pt x="8491865" y="2219887"/>
                </a:cubicBezTo>
                <a:cubicBezTo>
                  <a:pt x="8539636" y="2201652"/>
                  <a:pt x="8587407" y="2181138"/>
                  <a:pt x="8635178" y="2160623"/>
                </a:cubicBezTo>
                <a:cubicBezTo>
                  <a:pt x="8648827" y="2153785"/>
                  <a:pt x="8660201" y="2146947"/>
                  <a:pt x="8678399" y="2137830"/>
                </a:cubicBezTo>
                <a:cubicBezTo>
                  <a:pt x="8671575" y="2130992"/>
                  <a:pt x="8667025" y="2126433"/>
                  <a:pt x="8662476" y="2121874"/>
                </a:cubicBezTo>
                <a:cubicBezTo>
                  <a:pt x="8660201" y="2119595"/>
                  <a:pt x="8662476" y="2115036"/>
                  <a:pt x="8662476" y="2112757"/>
                </a:cubicBezTo>
                <a:cubicBezTo>
                  <a:pt x="8664751" y="2110477"/>
                  <a:pt x="8669300" y="2108198"/>
                  <a:pt x="8671575" y="2108198"/>
                </a:cubicBezTo>
                <a:cubicBezTo>
                  <a:pt x="8685224" y="2119595"/>
                  <a:pt x="8698873" y="2128712"/>
                  <a:pt x="8710247" y="2140109"/>
                </a:cubicBezTo>
                <a:cubicBezTo>
                  <a:pt x="8714796" y="2144668"/>
                  <a:pt x="8714796" y="2156064"/>
                  <a:pt x="8712522" y="2162903"/>
                </a:cubicBezTo>
                <a:cubicBezTo>
                  <a:pt x="8707972" y="2176579"/>
                  <a:pt x="8701148" y="2187976"/>
                  <a:pt x="8696598" y="2203931"/>
                </a:cubicBezTo>
                <a:cubicBezTo>
                  <a:pt x="8664751" y="2213048"/>
                  <a:pt x="8630628" y="2222166"/>
                  <a:pt x="8598781" y="2233563"/>
                </a:cubicBezTo>
                <a:cubicBezTo>
                  <a:pt x="8571483" y="2242680"/>
                  <a:pt x="8548735" y="2256356"/>
                  <a:pt x="8523712" y="2265474"/>
                </a:cubicBezTo>
                <a:cubicBezTo>
                  <a:pt x="8507789" y="2272312"/>
                  <a:pt x="8491865" y="2279150"/>
                  <a:pt x="8475941" y="2283708"/>
                </a:cubicBezTo>
                <a:cubicBezTo>
                  <a:pt x="8460018" y="2288267"/>
                  <a:pt x="8450918" y="2295105"/>
                  <a:pt x="8446369" y="2311061"/>
                </a:cubicBezTo>
                <a:cubicBezTo>
                  <a:pt x="8441819" y="2333854"/>
                  <a:pt x="8421346" y="2340692"/>
                  <a:pt x="8400873" y="2345251"/>
                </a:cubicBezTo>
                <a:cubicBezTo>
                  <a:pt x="8403147" y="2336134"/>
                  <a:pt x="8400873" y="2324737"/>
                  <a:pt x="8387224" y="2324737"/>
                </a:cubicBezTo>
                <a:cubicBezTo>
                  <a:pt x="8348552" y="2322458"/>
                  <a:pt x="8312155" y="2338413"/>
                  <a:pt x="8275758" y="2349810"/>
                </a:cubicBezTo>
                <a:cubicBezTo>
                  <a:pt x="8257560" y="2356648"/>
                  <a:pt x="8239361" y="2368045"/>
                  <a:pt x="8221162" y="2374883"/>
                </a:cubicBezTo>
                <a:cubicBezTo>
                  <a:pt x="8212064" y="2379441"/>
                  <a:pt x="8202964" y="2384000"/>
                  <a:pt x="8207514" y="2399956"/>
                </a:cubicBezTo>
                <a:cubicBezTo>
                  <a:pt x="8232536" y="2402235"/>
                  <a:pt x="8257560" y="2399956"/>
                  <a:pt x="8282582" y="2386279"/>
                </a:cubicBezTo>
                <a:cubicBezTo>
                  <a:pt x="8293956" y="2381721"/>
                  <a:pt x="8305330" y="2374883"/>
                  <a:pt x="8321254" y="2381721"/>
                </a:cubicBezTo>
                <a:cubicBezTo>
                  <a:pt x="8284858" y="2397676"/>
                  <a:pt x="8250735" y="2415911"/>
                  <a:pt x="8218888" y="2429587"/>
                </a:cubicBezTo>
                <a:cubicBezTo>
                  <a:pt x="8218888" y="2438705"/>
                  <a:pt x="8216613" y="2443263"/>
                  <a:pt x="8216613" y="2447822"/>
                </a:cubicBezTo>
                <a:cubicBezTo>
                  <a:pt x="8191590" y="2450101"/>
                  <a:pt x="8166567" y="2454660"/>
                  <a:pt x="8152918" y="2479733"/>
                </a:cubicBezTo>
                <a:cubicBezTo>
                  <a:pt x="8127896" y="2470616"/>
                  <a:pt x="8109697" y="2470616"/>
                  <a:pt x="8086949" y="2482012"/>
                </a:cubicBezTo>
                <a:cubicBezTo>
                  <a:pt x="8071025" y="2488850"/>
                  <a:pt x="8050552" y="2488850"/>
                  <a:pt x="8030078" y="2491130"/>
                </a:cubicBezTo>
                <a:cubicBezTo>
                  <a:pt x="8016430" y="2504806"/>
                  <a:pt x="8000506" y="2518482"/>
                  <a:pt x="7984582" y="2534438"/>
                </a:cubicBezTo>
                <a:cubicBezTo>
                  <a:pt x="8009606" y="2548114"/>
                  <a:pt x="8032354" y="2550393"/>
                  <a:pt x="8057376" y="2541276"/>
                </a:cubicBezTo>
                <a:cubicBezTo>
                  <a:pt x="8073300" y="2534438"/>
                  <a:pt x="8091498" y="2529879"/>
                  <a:pt x="8116522" y="2525320"/>
                </a:cubicBezTo>
                <a:cubicBezTo>
                  <a:pt x="8109697" y="2541276"/>
                  <a:pt x="8084674" y="2538996"/>
                  <a:pt x="8096048" y="2559510"/>
                </a:cubicBezTo>
                <a:cubicBezTo>
                  <a:pt x="8105148" y="2559510"/>
                  <a:pt x="8116522" y="2559510"/>
                  <a:pt x="8127896" y="2561790"/>
                </a:cubicBezTo>
                <a:cubicBezTo>
                  <a:pt x="8146094" y="2561790"/>
                  <a:pt x="8164292" y="2561790"/>
                  <a:pt x="8182491" y="2568628"/>
                </a:cubicBezTo>
                <a:cubicBezTo>
                  <a:pt x="8196140" y="2573186"/>
                  <a:pt x="8214338" y="2573186"/>
                  <a:pt x="8227987" y="2568628"/>
                </a:cubicBezTo>
                <a:cubicBezTo>
                  <a:pt x="8289407" y="2545834"/>
                  <a:pt x="8350827" y="2520761"/>
                  <a:pt x="8412247" y="2497968"/>
                </a:cubicBezTo>
                <a:cubicBezTo>
                  <a:pt x="8423621" y="2495688"/>
                  <a:pt x="8430445" y="2486571"/>
                  <a:pt x="8437270" y="2477454"/>
                </a:cubicBezTo>
                <a:cubicBezTo>
                  <a:pt x="8441819" y="2470616"/>
                  <a:pt x="8445231" y="2467196"/>
                  <a:pt x="8449781" y="2467481"/>
                </a:cubicBezTo>
                <a:lnTo>
                  <a:pt x="8467736" y="2478858"/>
                </a:lnTo>
                <a:lnTo>
                  <a:pt x="8450066" y="2496828"/>
                </a:lnTo>
                <a:cubicBezTo>
                  <a:pt x="8442956" y="2501957"/>
                  <a:pt x="8434994" y="2505946"/>
                  <a:pt x="8425895" y="2509364"/>
                </a:cubicBezTo>
                <a:cubicBezTo>
                  <a:pt x="8373575" y="2527599"/>
                  <a:pt x="8318980" y="2548114"/>
                  <a:pt x="8266659" y="2568628"/>
                </a:cubicBezTo>
                <a:cubicBezTo>
                  <a:pt x="8255284" y="2573186"/>
                  <a:pt x="8250735" y="2582304"/>
                  <a:pt x="8253010" y="2595980"/>
                </a:cubicBezTo>
                <a:cubicBezTo>
                  <a:pt x="8239361" y="2600539"/>
                  <a:pt x="8223438" y="2607377"/>
                  <a:pt x="8207514" y="2614215"/>
                </a:cubicBezTo>
                <a:cubicBezTo>
                  <a:pt x="8193865" y="2616494"/>
                  <a:pt x="8187040" y="2621053"/>
                  <a:pt x="8196140" y="2637009"/>
                </a:cubicBezTo>
                <a:cubicBezTo>
                  <a:pt x="8198414" y="2639288"/>
                  <a:pt x="8182491" y="2646126"/>
                  <a:pt x="8187040" y="2659802"/>
                </a:cubicBezTo>
                <a:cubicBezTo>
                  <a:pt x="8221162" y="2659802"/>
                  <a:pt x="8255284" y="2659802"/>
                  <a:pt x="8298506" y="2659802"/>
                </a:cubicBezTo>
                <a:cubicBezTo>
                  <a:pt x="8284858" y="2668919"/>
                  <a:pt x="8278033" y="2673478"/>
                  <a:pt x="8268934" y="2675757"/>
                </a:cubicBezTo>
                <a:cubicBezTo>
                  <a:pt x="8275758" y="2696272"/>
                  <a:pt x="8298506" y="2691713"/>
                  <a:pt x="8309880" y="2705389"/>
                </a:cubicBezTo>
                <a:cubicBezTo>
                  <a:pt x="8314430" y="2712227"/>
                  <a:pt x="8303056" y="2728183"/>
                  <a:pt x="8325804" y="2725903"/>
                </a:cubicBezTo>
                <a:cubicBezTo>
                  <a:pt x="8330354" y="2719065"/>
                  <a:pt x="8334903" y="2712227"/>
                  <a:pt x="8337178" y="2705389"/>
                </a:cubicBezTo>
                <a:cubicBezTo>
                  <a:pt x="8353102" y="2707669"/>
                  <a:pt x="8366750" y="2709948"/>
                  <a:pt x="8364476" y="2730462"/>
                </a:cubicBezTo>
                <a:cubicBezTo>
                  <a:pt x="8364476" y="2732741"/>
                  <a:pt x="8366751" y="2735021"/>
                  <a:pt x="8369594" y="2737300"/>
                </a:cubicBezTo>
                <a:lnTo>
                  <a:pt x="8376675" y="2742976"/>
                </a:lnTo>
                <a:lnTo>
                  <a:pt x="8348552" y="2764652"/>
                </a:lnTo>
                <a:cubicBezTo>
                  <a:pt x="8355376" y="2796563"/>
                  <a:pt x="8391773" y="2785167"/>
                  <a:pt x="8403147" y="2814798"/>
                </a:cubicBezTo>
                <a:cubicBezTo>
                  <a:pt x="8389499" y="2812519"/>
                  <a:pt x="8380400" y="2812519"/>
                  <a:pt x="8371300" y="2807960"/>
                </a:cubicBezTo>
                <a:cubicBezTo>
                  <a:pt x="8355376" y="2803401"/>
                  <a:pt x="8355376" y="2817078"/>
                  <a:pt x="8348552" y="2819357"/>
                </a:cubicBezTo>
                <a:cubicBezTo>
                  <a:pt x="8350827" y="2835312"/>
                  <a:pt x="8366750" y="2830754"/>
                  <a:pt x="8371300" y="2837592"/>
                </a:cubicBezTo>
                <a:cubicBezTo>
                  <a:pt x="8375850" y="2848989"/>
                  <a:pt x="8380400" y="2862665"/>
                  <a:pt x="8387224" y="2874061"/>
                </a:cubicBezTo>
                <a:cubicBezTo>
                  <a:pt x="8398598" y="2892296"/>
                  <a:pt x="8398598" y="2908252"/>
                  <a:pt x="8387224" y="2926486"/>
                </a:cubicBezTo>
                <a:cubicBezTo>
                  <a:pt x="8380400" y="2935604"/>
                  <a:pt x="8375850" y="2944721"/>
                  <a:pt x="8369025" y="2953839"/>
                </a:cubicBezTo>
                <a:cubicBezTo>
                  <a:pt x="8353102" y="2958398"/>
                  <a:pt x="8346277" y="2949280"/>
                  <a:pt x="8339452" y="2940163"/>
                </a:cubicBezTo>
                <a:cubicBezTo>
                  <a:pt x="8334903" y="2926486"/>
                  <a:pt x="8325804" y="2921928"/>
                  <a:pt x="8312155" y="2919649"/>
                </a:cubicBezTo>
                <a:cubicBezTo>
                  <a:pt x="8271208" y="2910531"/>
                  <a:pt x="8227987" y="2903693"/>
                  <a:pt x="8184766" y="2896855"/>
                </a:cubicBezTo>
                <a:cubicBezTo>
                  <a:pt x="8171117" y="2894576"/>
                  <a:pt x="8155193" y="2892296"/>
                  <a:pt x="8141544" y="2896855"/>
                </a:cubicBezTo>
                <a:cubicBezTo>
                  <a:pt x="8139270" y="2919649"/>
                  <a:pt x="8164292" y="2912810"/>
                  <a:pt x="8166567" y="2924207"/>
                </a:cubicBezTo>
                <a:lnTo>
                  <a:pt x="8168842" y="2924207"/>
                </a:lnTo>
                <a:cubicBezTo>
                  <a:pt x="8136994" y="2926486"/>
                  <a:pt x="8107422" y="2931045"/>
                  <a:pt x="8080124" y="2912810"/>
                </a:cubicBezTo>
                <a:cubicBezTo>
                  <a:pt x="8075574" y="2910531"/>
                  <a:pt x="8071025" y="2908252"/>
                  <a:pt x="8066476" y="2908252"/>
                </a:cubicBezTo>
                <a:cubicBezTo>
                  <a:pt x="8036903" y="2903693"/>
                  <a:pt x="8009606" y="2899134"/>
                  <a:pt x="7982308" y="2894576"/>
                </a:cubicBezTo>
                <a:cubicBezTo>
                  <a:pt x="7966384" y="2892296"/>
                  <a:pt x="7964109" y="2894576"/>
                  <a:pt x="7945910" y="2912810"/>
                </a:cubicBezTo>
                <a:cubicBezTo>
                  <a:pt x="7957284" y="2917369"/>
                  <a:pt x="7966384" y="2924207"/>
                  <a:pt x="7977758" y="2926486"/>
                </a:cubicBezTo>
                <a:cubicBezTo>
                  <a:pt x="8014155" y="2933325"/>
                  <a:pt x="8052826" y="2935604"/>
                  <a:pt x="8084674" y="2953839"/>
                </a:cubicBezTo>
                <a:cubicBezTo>
                  <a:pt x="8116522" y="2951560"/>
                  <a:pt x="8146094" y="2972073"/>
                  <a:pt x="8177941" y="2965236"/>
                </a:cubicBezTo>
                <a:cubicBezTo>
                  <a:pt x="8187040" y="2962956"/>
                  <a:pt x="8198414" y="2967515"/>
                  <a:pt x="8209788" y="2967515"/>
                </a:cubicBezTo>
                <a:cubicBezTo>
                  <a:pt x="8232536" y="2974353"/>
                  <a:pt x="8257560" y="2983470"/>
                  <a:pt x="8282582" y="2983470"/>
                </a:cubicBezTo>
                <a:cubicBezTo>
                  <a:pt x="8307606" y="2983470"/>
                  <a:pt x="8330354" y="2997147"/>
                  <a:pt x="8357651" y="2990308"/>
                </a:cubicBezTo>
                <a:cubicBezTo>
                  <a:pt x="8378124" y="2985750"/>
                  <a:pt x="8394048" y="3017661"/>
                  <a:pt x="8416796" y="3010823"/>
                </a:cubicBezTo>
                <a:cubicBezTo>
                  <a:pt x="8439544" y="3003985"/>
                  <a:pt x="8457743" y="3015381"/>
                  <a:pt x="8478216" y="3026778"/>
                </a:cubicBezTo>
                <a:cubicBezTo>
                  <a:pt x="8460018" y="3026778"/>
                  <a:pt x="8441819" y="3024499"/>
                  <a:pt x="8423621" y="3026778"/>
                </a:cubicBezTo>
                <a:cubicBezTo>
                  <a:pt x="8421346" y="3026778"/>
                  <a:pt x="8414521" y="3033616"/>
                  <a:pt x="8414521" y="3035895"/>
                </a:cubicBezTo>
                <a:cubicBezTo>
                  <a:pt x="8414521" y="3040454"/>
                  <a:pt x="8419071" y="3045013"/>
                  <a:pt x="8421346" y="3049572"/>
                </a:cubicBezTo>
                <a:cubicBezTo>
                  <a:pt x="8423621" y="3051851"/>
                  <a:pt x="8425895" y="3054130"/>
                  <a:pt x="8430445" y="3054130"/>
                </a:cubicBezTo>
                <a:cubicBezTo>
                  <a:pt x="8466842" y="3051851"/>
                  <a:pt x="8487315" y="3076924"/>
                  <a:pt x="8510063" y="3099718"/>
                </a:cubicBezTo>
                <a:cubicBezTo>
                  <a:pt x="8512338" y="3104276"/>
                  <a:pt x="8514613" y="3108835"/>
                  <a:pt x="8519163" y="3113394"/>
                </a:cubicBezTo>
                <a:cubicBezTo>
                  <a:pt x="8496415" y="3124790"/>
                  <a:pt x="8478216" y="3122511"/>
                  <a:pt x="8462292" y="3106556"/>
                </a:cubicBezTo>
                <a:cubicBezTo>
                  <a:pt x="8448644" y="3115673"/>
                  <a:pt x="8434995" y="3122511"/>
                  <a:pt x="8423621" y="3129349"/>
                </a:cubicBezTo>
                <a:cubicBezTo>
                  <a:pt x="8391773" y="3104276"/>
                  <a:pt x="8391773" y="3106556"/>
                  <a:pt x="8364476" y="3099718"/>
                </a:cubicBezTo>
                <a:cubicBezTo>
                  <a:pt x="8330354" y="3092879"/>
                  <a:pt x="8300781" y="3095159"/>
                  <a:pt x="8280308" y="3127070"/>
                </a:cubicBezTo>
                <a:cubicBezTo>
                  <a:pt x="8275758" y="3136187"/>
                  <a:pt x="8264384" y="3138466"/>
                  <a:pt x="8253010" y="3147584"/>
                </a:cubicBezTo>
                <a:cubicBezTo>
                  <a:pt x="8253010" y="3138466"/>
                  <a:pt x="8253010" y="3133908"/>
                  <a:pt x="8253010" y="3129349"/>
                </a:cubicBezTo>
                <a:cubicBezTo>
                  <a:pt x="8255284" y="3106556"/>
                  <a:pt x="8253010" y="3104276"/>
                  <a:pt x="8234812" y="3097438"/>
                </a:cubicBezTo>
                <a:cubicBezTo>
                  <a:pt x="8173392" y="3074644"/>
                  <a:pt x="8111972" y="3063248"/>
                  <a:pt x="8048277" y="3054130"/>
                </a:cubicBezTo>
                <a:cubicBezTo>
                  <a:pt x="7998231" y="3047292"/>
                  <a:pt x="7948186" y="3042734"/>
                  <a:pt x="7900414" y="3022220"/>
                </a:cubicBezTo>
                <a:cubicBezTo>
                  <a:pt x="7893590" y="3019940"/>
                  <a:pt x="7884490" y="3017661"/>
                  <a:pt x="7877666" y="3017661"/>
                </a:cubicBezTo>
                <a:cubicBezTo>
                  <a:pt x="7843544" y="3017661"/>
                  <a:pt x="7813972" y="3010823"/>
                  <a:pt x="7782124" y="3003985"/>
                </a:cubicBezTo>
                <a:cubicBezTo>
                  <a:pt x="7773025" y="3003985"/>
                  <a:pt x="7763926" y="3001705"/>
                  <a:pt x="7757102" y="3006264"/>
                </a:cubicBezTo>
                <a:cubicBezTo>
                  <a:pt x="7727529" y="3022220"/>
                  <a:pt x="7697956" y="3015381"/>
                  <a:pt x="7668384" y="3008543"/>
                </a:cubicBezTo>
                <a:cubicBezTo>
                  <a:pt x="7659284" y="3008543"/>
                  <a:pt x="7650186" y="3008543"/>
                  <a:pt x="7641086" y="3008543"/>
                </a:cubicBezTo>
                <a:cubicBezTo>
                  <a:pt x="7641086" y="3015381"/>
                  <a:pt x="7638811" y="3019940"/>
                  <a:pt x="7641086" y="3019940"/>
                </a:cubicBezTo>
                <a:cubicBezTo>
                  <a:pt x="7659284" y="3038175"/>
                  <a:pt x="7679758" y="3056410"/>
                  <a:pt x="7704780" y="3054130"/>
                </a:cubicBezTo>
                <a:cubicBezTo>
                  <a:pt x="7750277" y="3054130"/>
                  <a:pt x="7786674" y="3076924"/>
                  <a:pt x="7825346" y="3090600"/>
                </a:cubicBezTo>
                <a:cubicBezTo>
                  <a:pt x="7829896" y="3092879"/>
                  <a:pt x="7836720" y="3097438"/>
                  <a:pt x="7836720" y="3099718"/>
                </a:cubicBezTo>
                <a:cubicBezTo>
                  <a:pt x="7841270" y="3129349"/>
                  <a:pt x="7864018" y="3131629"/>
                  <a:pt x="7886766" y="3131629"/>
                </a:cubicBezTo>
                <a:cubicBezTo>
                  <a:pt x="7891315" y="3140746"/>
                  <a:pt x="7893590" y="3152143"/>
                  <a:pt x="7900414" y="3158981"/>
                </a:cubicBezTo>
                <a:cubicBezTo>
                  <a:pt x="7907239" y="3165819"/>
                  <a:pt x="7916338" y="3168098"/>
                  <a:pt x="7927712" y="3170378"/>
                </a:cubicBezTo>
                <a:cubicBezTo>
                  <a:pt x="7959560" y="3174936"/>
                  <a:pt x="7993682" y="3186333"/>
                  <a:pt x="8027804" y="3179495"/>
                </a:cubicBezTo>
                <a:cubicBezTo>
                  <a:pt x="8034628" y="3177216"/>
                  <a:pt x="8043728" y="3179495"/>
                  <a:pt x="8052826" y="3184053"/>
                </a:cubicBezTo>
                <a:cubicBezTo>
                  <a:pt x="8093773" y="3204568"/>
                  <a:pt x="8139270" y="3206847"/>
                  <a:pt x="8182491" y="3218244"/>
                </a:cubicBezTo>
                <a:cubicBezTo>
                  <a:pt x="8212064" y="3227361"/>
                  <a:pt x="8246186" y="3225082"/>
                  <a:pt x="8278033" y="3231920"/>
                </a:cubicBezTo>
                <a:cubicBezTo>
                  <a:pt x="8318980" y="3241037"/>
                  <a:pt x="8359926" y="3245596"/>
                  <a:pt x="8400873" y="3252434"/>
                </a:cubicBezTo>
                <a:cubicBezTo>
                  <a:pt x="8407697" y="3254714"/>
                  <a:pt x="8414521" y="3256993"/>
                  <a:pt x="8421346" y="3254714"/>
                </a:cubicBezTo>
                <a:cubicBezTo>
                  <a:pt x="8441819" y="3252434"/>
                  <a:pt x="8462292" y="3250155"/>
                  <a:pt x="8480491" y="3261552"/>
                </a:cubicBezTo>
                <a:cubicBezTo>
                  <a:pt x="8525987" y="3256993"/>
                  <a:pt x="8566934" y="3279787"/>
                  <a:pt x="8614705" y="3282066"/>
                </a:cubicBezTo>
                <a:cubicBezTo>
                  <a:pt x="8644277" y="3282066"/>
                  <a:pt x="8676125" y="3286624"/>
                  <a:pt x="8705697" y="3304859"/>
                </a:cubicBezTo>
                <a:cubicBezTo>
                  <a:pt x="8712522" y="3309418"/>
                  <a:pt x="8721621" y="3311697"/>
                  <a:pt x="8728445" y="3313977"/>
                </a:cubicBezTo>
                <a:cubicBezTo>
                  <a:pt x="8778491" y="3325373"/>
                  <a:pt x="8826262" y="3339050"/>
                  <a:pt x="8876308" y="3350446"/>
                </a:cubicBezTo>
                <a:cubicBezTo>
                  <a:pt x="8899056" y="3357284"/>
                  <a:pt x="8924079" y="3361843"/>
                  <a:pt x="8946827" y="3343608"/>
                </a:cubicBezTo>
                <a:cubicBezTo>
                  <a:pt x="8951377" y="3348167"/>
                  <a:pt x="8953651" y="3350446"/>
                  <a:pt x="8953651" y="3352726"/>
                </a:cubicBezTo>
                <a:cubicBezTo>
                  <a:pt x="8955926" y="3359564"/>
                  <a:pt x="8955926" y="3368681"/>
                  <a:pt x="8958201" y="3380078"/>
                </a:cubicBezTo>
                <a:cubicBezTo>
                  <a:pt x="8935453" y="3380078"/>
                  <a:pt x="8917254" y="3380078"/>
                  <a:pt x="8899056" y="3380078"/>
                </a:cubicBezTo>
                <a:cubicBezTo>
                  <a:pt x="8899056" y="3386916"/>
                  <a:pt x="8899056" y="3391475"/>
                  <a:pt x="8901331" y="3391475"/>
                </a:cubicBezTo>
                <a:cubicBezTo>
                  <a:pt x="8910430" y="3405151"/>
                  <a:pt x="8928629" y="3409710"/>
                  <a:pt x="8942277" y="3418827"/>
                </a:cubicBezTo>
                <a:cubicBezTo>
                  <a:pt x="8955926" y="3427944"/>
                  <a:pt x="8962751" y="3443900"/>
                  <a:pt x="8974125" y="3455297"/>
                </a:cubicBezTo>
                <a:cubicBezTo>
                  <a:pt x="8985499" y="3466693"/>
                  <a:pt x="8999148" y="3473532"/>
                  <a:pt x="9015071" y="3475811"/>
                </a:cubicBezTo>
                <a:cubicBezTo>
                  <a:pt x="9049193" y="3482649"/>
                  <a:pt x="9083316" y="3491766"/>
                  <a:pt x="9119713" y="3498604"/>
                </a:cubicBezTo>
                <a:cubicBezTo>
                  <a:pt x="9119713" y="3507722"/>
                  <a:pt x="9119713" y="3514560"/>
                  <a:pt x="9119713" y="3521398"/>
                </a:cubicBezTo>
                <a:cubicBezTo>
                  <a:pt x="9119713" y="3528236"/>
                  <a:pt x="9115163" y="3532795"/>
                  <a:pt x="9106064" y="3532795"/>
                </a:cubicBezTo>
                <a:cubicBezTo>
                  <a:pt x="9096964" y="3530515"/>
                  <a:pt x="9099239" y="3521398"/>
                  <a:pt x="9099239" y="3516839"/>
                </a:cubicBezTo>
                <a:cubicBezTo>
                  <a:pt x="9096964" y="3514560"/>
                  <a:pt x="9096964" y="3514560"/>
                  <a:pt x="9094690" y="3510001"/>
                </a:cubicBezTo>
                <a:cubicBezTo>
                  <a:pt x="9030995" y="3494046"/>
                  <a:pt x="8967300" y="3480370"/>
                  <a:pt x="8896781" y="3464414"/>
                </a:cubicBezTo>
                <a:cubicBezTo>
                  <a:pt x="8896781" y="3468973"/>
                  <a:pt x="8894506" y="3475811"/>
                  <a:pt x="8892232" y="3480370"/>
                </a:cubicBezTo>
                <a:cubicBezTo>
                  <a:pt x="8889957" y="3482649"/>
                  <a:pt x="8885407" y="3482649"/>
                  <a:pt x="8883132" y="3482649"/>
                </a:cubicBezTo>
                <a:cubicBezTo>
                  <a:pt x="8878583" y="3482649"/>
                  <a:pt x="8871758" y="3480370"/>
                  <a:pt x="8874033" y="3473532"/>
                </a:cubicBezTo>
                <a:cubicBezTo>
                  <a:pt x="8880858" y="3462135"/>
                  <a:pt x="8876308" y="3453017"/>
                  <a:pt x="8864934" y="3450738"/>
                </a:cubicBezTo>
                <a:cubicBezTo>
                  <a:pt x="8837636" y="3448459"/>
                  <a:pt x="8810338" y="3432503"/>
                  <a:pt x="8780766" y="3441621"/>
                </a:cubicBezTo>
                <a:cubicBezTo>
                  <a:pt x="8773941" y="3443900"/>
                  <a:pt x="8762567" y="3443900"/>
                  <a:pt x="8755743" y="3441621"/>
                </a:cubicBezTo>
                <a:cubicBezTo>
                  <a:pt x="8721621" y="3421106"/>
                  <a:pt x="8682949" y="3427944"/>
                  <a:pt x="8648827" y="3414268"/>
                </a:cubicBezTo>
                <a:cubicBezTo>
                  <a:pt x="8637453" y="3407430"/>
                  <a:pt x="8621529" y="3409710"/>
                  <a:pt x="8607880" y="3409710"/>
                </a:cubicBezTo>
                <a:cubicBezTo>
                  <a:pt x="8603331" y="3409710"/>
                  <a:pt x="8596506" y="3409710"/>
                  <a:pt x="8594231" y="3411989"/>
                </a:cubicBezTo>
                <a:cubicBezTo>
                  <a:pt x="8582857" y="3441621"/>
                  <a:pt x="8562384" y="3427944"/>
                  <a:pt x="8541911" y="3425665"/>
                </a:cubicBezTo>
                <a:cubicBezTo>
                  <a:pt x="8521438" y="3425665"/>
                  <a:pt x="8498689" y="3425665"/>
                  <a:pt x="8478216" y="3423386"/>
                </a:cubicBezTo>
                <a:cubicBezTo>
                  <a:pt x="8462292" y="3423386"/>
                  <a:pt x="8446369" y="3421106"/>
                  <a:pt x="8432720" y="3421106"/>
                </a:cubicBezTo>
                <a:cubicBezTo>
                  <a:pt x="8414521" y="3418827"/>
                  <a:pt x="8398598" y="3416548"/>
                  <a:pt x="8382674" y="3416548"/>
                </a:cubicBezTo>
                <a:cubicBezTo>
                  <a:pt x="8371300" y="3418827"/>
                  <a:pt x="8362201" y="3418827"/>
                  <a:pt x="8353102" y="3414268"/>
                </a:cubicBezTo>
                <a:cubicBezTo>
                  <a:pt x="8330354" y="3398313"/>
                  <a:pt x="8303056" y="3396033"/>
                  <a:pt x="8275758" y="3400592"/>
                </a:cubicBezTo>
                <a:cubicBezTo>
                  <a:pt x="8262109" y="3400592"/>
                  <a:pt x="8255284" y="3398313"/>
                  <a:pt x="8243910" y="3389195"/>
                </a:cubicBezTo>
                <a:cubicBezTo>
                  <a:pt x="8223438" y="3368681"/>
                  <a:pt x="8191590" y="3368681"/>
                  <a:pt x="8164292" y="3361843"/>
                </a:cubicBezTo>
                <a:cubicBezTo>
                  <a:pt x="8116522" y="3352726"/>
                  <a:pt x="8066476" y="3348167"/>
                  <a:pt x="8018704" y="3343608"/>
                </a:cubicBezTo>
                <a:cubicBezTo>
                  <a:pt x="8007330" y="3341329"/>
                  <a:pt x="7995956" y="3341329"/>
                  <a:pt x="7986857" y="3352726"/>
                </a:cubicBezTo>
                <a:cubicBezTo>
                  <a:pt x="7984582" y="3357284"/>
                  <a:pt x="7973208" y="3359564"/>
                  <a:pt x="7966384" y="3359564"/>
                </a:cubicBezTo>
                <a:cubicBezTo>
                  <a:pt x="7955010" y="3357284"/>
                  <a:pt x="7941361" y="3350446"/>
                  <a:pt x="7932262" y="3352726"/>
                </a:cubicBezTo>
                <a:cubicBezTo>
                  <a:pt x="7895865" y="3366402"/>
                  <a:pt x="7859468" y="3361843"/>
                  <a:pt x="7823071" y="3361843"/>
                </a:cubicBezTo>
                <a:cubicBezTo>
                  <a:pt x="7804872" y="3361843"/>
                  <a:pt x="7804872" y="3361843"/>
                  <a:pt x="7788948" y="3386916"/>
                </a:cubicBezTo>
                <a:cubicBezTo>
                  <a:pt x="7809422" y="3402872"/>
                  <a:pt x="7827620" y="3411989"/>
                  <a:pt x="7852644" y="3396033"/>
                </a:cubicBezTo>
                <a:cubicBezTo>
                  <a:pt x="7857193" y="3391475"/>
                  <a:pt x="7866292" y="3393754"/>
                  <a:pt x="7873116" y="3393754"/>
                </a:cubicBezTo>
                <a:cubicBezTo>
                  <a:pt x="7891315" y="3393754"/>
                  <a:pt x="7911788" y="3398313"/>
                  <a:pt x="7918613" y="3373240"/>
                </a:cubicBezTo>
                <a:cubicBezTo>
                  <a:pt x="7929987" y="3370961"/>
                  <a:pt x="7943636" y="3359564"/>
                  <a:pt x="7955010" y="3375519"/>
                </a:cubicBezTo>
                <a:cubicBezTo>
                  <a:pt x="7916338" y="3400592"/>
                  <a:pt x="7916338" y="3400592"/>
                  <a:pt x="7925438" y="3450738"/>
                </a:cubicBezTo>
                <a:cubicBezTo>
                  <a:pt x="7966384" y="3457576"/>
                  <a:pt x="8007330" y="3475811"/>
                  <a:pt x="8050552" y="3473532"/>
                </a:cubicBezTo>
                <a:cubicBezTo>
                  <a:pt x="8073300" y="3473532"/>
                  <a:pt x="8098323" y="3480370"/>
                  <a:pt x="8121071" y="3484928"/>
                </a:cubicBezTo>
                <a:cubicBezTo>
                  <a:pt x="8159742" y="3494046"/>
                  <a:pt x="8200690" y="3500884"/>
                  <a:pt x="8239361" y="3510001"/>
                </a:cubicBezTo>
                <a:cubicBezTo>
                  <a:pt x="8275758" y="3519119"/>
                  <a:pt x="8312155" y="3532795"/>
                  <a:pt x="8350827" y="3537353"/>
                </a:cubicBezTo>
                <a:cubicBezTo>
                  <a:pt x="8362201" y="3537353"/>
                  <a:pt x="8371300" y="3539633"/>
                  <a:pt x="8380400" y="3544192"/>
                </a:cubicBezTo>
                <a:cubicBezTo>
                  <a:pt x="8430445" y="3557868"/>
                  <a:pt x="8480491" y="3571544"/>
                  <a:pt x="8530537" y="3580661"/>
                </a:cubicBezTo>
                <a:cubicBezTo>
                  <a:pt x="8562384" y="3585220"/>
                  <a:pt x="8591957" y="3596617"/>
                  <a:pt x="8621529" y="3603455"/>
                </a:cubicBezTo>
                <a:cubicBezTo>
                  <a:pt x="8632903" y="3608014"/>
                  <a:pt x="8642002" y="3614852"/>
                  <a:pt x="8648827" y="3619410"/>
                </a:cubicBezTo>
                <a:cubicBezTo>
                  <a:pt x="8651102" y="3630807"/>
                  <a:pt x="8653377" y="3639924"/>
                  <a:pt x="8655651" y="3649042"/>
                </a:cubicBezTo>
                <a:cubicBezTo>
                  <a:pt x="8676125" y="3649042"/>
                  <a:pt x="8692048" y="3649042"/>
                  <a:pt x="8707972" y="3649042"/>
                </a:cubicBezTo>
                <a:cubicBezTo>
                  <a:pt x="8721621" y="3649042"/>
                  <a:pt x="8728445" y="3664997"/>
                  <a:pt x="8744369" y="3660439"/>
                </a:cubicBezTo>
                <a:cubicBezTo>
                  <a:pt x="8758018" y="3655880"/>
                  <a:pt x="8776216" y="3658159"/>
                  <a:pt x="8789865" y="3660439"/>
                </a:cubicBezTo>
                <a:cubicBezTo>
                  <a:pt x="8803514" y="3660439"/>
                  <a:pt x="8817163" y="3667277"/>
                  <a:pt x="8830812" y="3664997"/>
                </a:cubicBezTo>
                <a:cubicBezTo>
                  <a:pt x="8853560" y="3660439"/>
                  <a:pt x="8871758" y="3674115"/>
                  <a:pt x="8894506" y="3676394"/>
                </a:cubicBezTo>
                <a:cubicBezTo>
                  <a:pt x="8908155" y="3678674"/>
                  <a:pt x="8917254" y="3694629"/>
                  <a:pt x="8910430" y="3708305"/>
                </a:cubicBezTo>
                <a:cubicBezTo>
                  <a:pt x="8901331" y="3721981"/>
                  <a:pt x="8905880" y="3737937"/>
                  <a:pt x="8903606" y="3751613"/>
                </a:cubicBezTo>
                <a:cubicBezTo>
                  <a:pt x="8894506" y="3744775"/>
                  <a:pt x="8887682" y="3737937"/>
                  <a:pt x="8878583" y="3733378"/>
                </a:cubicBezTo>
                <a:cubicBezTo>
                  <a:pt x="8869483" y="3728819"/>
                  <a:pt x="8855835" y="3735657"/>
                  <a:pt x="8855835" y="3744775"/>
                </a:cubicBezTo>
                <a:cubicBezTo>
                  <a:pt x="8855835" y="3756172"/>
                  <a:pt x="8855835" y="3767568"/>
                  <a:pt x="8855835" y="3776686"/>
                </a:cubicBezTo>
                <a:cubicBezTo>
                  <a:pt x="8837636" y="3792641"/>
                  <a:pt x="8823987" y="3776686"/>
                  <a:pt x="8810338" y="3776686"/>
                </a:cubicBezTo>
                <a:cubicBezTo>
                  <a:pt x="8796690" y="3778965"/>
                  <a:pt x="8783041" y="3776686"/>
                  <a:pt x="8769392" y="3776686"/>
                </a:cubicBezTo>
                <a:cubicBezTo>
                  <a:pt x="8760293" y="3774406"/>
                  <a:pt x="8751193" y="3769848"/>
                  <a:pt x="8744369" y="3772127"/>
                </a:cubicBezTo>
                <a:cubicBezTo>
                  <a:pt x="8714796" y="3781244"/>
                  <a:pt x="8687499" y="3772127"/>
                  <a:pt x="8660201" y="3769848"/>
                </a:cubicBezTo>
                <a:cubicBezTo>
                  <a:pt x="8637453" y="3767568"/>
                  <a:pt x="8614705" y="3769848"/>
                  <a:pt x="8598781" y="3751613"/>
                </a:cubicBezTo>
                <a:cubicBezTo>
                  <a:pt x="8564659" y="3747054"/>
                  <a:pt x="8532812" y="3737937"/>
                  <a:pt x="8498689" y="3737937"/>
                </a:cubicBezTo>
                <a:cubicBezTo>
                  <a:pt x="8464567" y="3737937"/>
                  <a:pt x="8432720" y="3731099"/>
                  <a:pt x="8398598" y="3731099"/>
                </a:cubicBezTo>
                <a:cubicBezTo>
                  <a:pt x="8394048" y="3731099"/>
                  <a:pt x="8387224" y="3728819"/>
                  <a:pt x="8384949" y="3726540"/>
                </a:cubicBezTo>
                <a:cubicBezTo>
                  <a:pt x="8366750" y="3703746"/>
                  <a:pt x="8344002" y="3708305"/>
                  <a:pt x="8321254" y="3703746"/>
                </a:cubicBezTo>
                <a:cubicBezTo>
                  <a:pt x="8273483" y="3694629"/>
                  <a:pt x="8225712" y="3680953"/>
                  <a:pt x="8177941" y="3671835"/>
                </a:cubicBezTo>
                <a:cubicBezTo>
                  <a:pt x="8125620" y="3662718"/>
                  <a:pt x="8073300" y="3655880"/>
                  <a:pt x="8018704" y="3651321"/>
                </a:cubicBezTo>
                <a:cubicBezTo>
                  <a:pt x="7982308" y="3646763"/>
                  <a:pt x="7943636" y="3646763"/>
                  <a:pt x="7907239" y="3637645"/>
                </a:cubicBezTo>
                <a:cubicBezTo>
                  <a:pt x="7898140" y="3635366"/>
                  <a:pt x="7884490" y="3637645"/>
                  <a:pt x="7873116" y="3637645"/>
                </a:cubicBezTo>
                <a:cubicBezTo>
                  <a:pt x="7870842" y="3651321"/>
                  <a:pt x="7882216" y="3651321"/>
                  <a:pt x="7886766" y="3653601"/>
                </a:cubicBezTo>
                <a:cubicBezTo>
                  <a:pt x="7961834" y="3671835"/>
                  <a:pt x="8034628" y="3685512"/>
                  <a:pt x="8109697" y="3696908"/>
                </a:cubicBezTo>
                <a:cubicBezTo>
                  <a:pt x="8143819" y="3701467"/>
                  <a:pt x="8175666" y="3708305"/>
                  <a:pt x="8207514" y="3717423"/>
                </a:cubicBezTo>
                <a:cubicBezTo>
                  <a:pt x="8239361" y="3726540"/>
                  <a:pt x="8271208" y="3733378"/>
                  <a:pt x="8303056" y="3735657"/>
                </a:cubicBezTo>
                <a:cubicBezTo>
                  <a:pt x="8321254" y="3735657"/>
                  <a:pt x="8334903" y="3747054"/>
                  <a:pt x="8348552" y="3760730"/>
                </a:cubicBezTo>
                <a:cubicBezTo>
                  <a:pt x="8357651" y="3769848"/>
                  <a:pt x="8348552" y="3783524"/>
                  <a:pt x="8355376" y="3797200"/>
                </a:cubicBezTo>
                <a:cubicBezTo>
                  <a:pt x="8378124" y="3804038"/>
                  <a:pt x="8403147" y="3815435"/>
                  <a:pt x="8428170" y="3817714"/>
                </a:cubicBezTo>
                <a:cubicBezTo>
                  <a:pt x="8457743" y="3822273"/>
                  <a:pt x="8485041" y="3831390"/>
                  <a:pt x="8512338" y="3835949"/>
                </a:cubicBezTo>
                <a:cubicBezTo>
                  <a:pt x="8537361" y="3842787"/>
                  <a:pt x="8564659" y="3847346"/>
                  <a:pt x="8591957" y="3851904"/>
                </a:cubicBezTo>
                <a:cubicBezTo>
                  <a:pt x="8632903" y="3858743"/>
                  <a:pt x="8673850" y="3865581"/>
                  <a:pt x="8714796" y="3874698"/>
                </a:cubicBezTo>
                <a:cubicBezTo>
                  <a:pt x="8742094" y="3881536"/>
                  <a:pt x="8758018" y="3870139"/>
                  <a:pt x="8767117" y="3849625"/>
                </a:cubicBezTo>
                <a:cubicBezTo>
                  <a:pt x="8789865" y="3856463"/>
                  <a:pt x="8780766" y="3872419"/>
                  <a:pt x="8776216" y="3888374"/>
                </a:cubicBezTo>
                <a:cubicBezTo>
                  <a:pt x="8814888" y="3899771"/>
                  <a:pt x="8853560" y="3911168"/>
                  <a:pt x="8894506" y="3922564"/>
                </a:cubicBezTo>
                <a:cubicBezTo>
                  <a:pt x="8889957" y="3933961"/>
                  <a:pt x="8880858" y="3945358"/>
                  <a:pt x="8878583" y="3956755"/>
                </a:cubicBezTo>
                <a:cubicBezTo>
                  <a:pt x="8876308" y="3968152"/>
                  <a:pt x="8878583" y="3981828"/>
                  <a:pt x="8878583" y="3995504"/>
                </a:cubicBezTo>
                <a:cubicBezTo>
                  <a:pt x="8883132" y="3997783"/>
                  <a:pt x="8885407" y="4004621"/>
                  <a:pt x="8889957" y="4004621"/>
                </a:cubicBezTo>
                <a:cubicBezTo>
                  <a:pt x="8924079" y="4013739"/>
                  <a:pt x="8958201" y="4025135"/>
                  <a:pt x="8992323" y="4022856"/>
                </a:cubicBezTo>
                <a:cubicBezTo>
                  <a:pt x="8999148" y="4022856"/>
                  <a:pt x="9005972" y="4016018"/>
                  <a:pt x="9008247" y="4011459"/>
                </a:cubicBezTo>
                <a:cubicBezTo>
                  <a:pt x="9010522" y="4006901"/>
                  <a:pt x="9008247" y="3997783"/>
                  <a:pt x="9005972" y="3993225"/>
                </a:cubicBezTo>
                <a:cubicBezTo>
                  <a:pt x="8994598" y="3981828"/>
                  <a:pt x="8983224" y="3972710"/>
                  <a:pt x="8969575" y="3961314"/>
                </a:cubicBezTo>
                <a:cubicBezTo>
                  <a:pt x="8949102" y="3974990"/>
                  <a:pt x="8930903" y="3963593"/>
                  <a:pt x="8910430" y="3956755"/>
                </a:cubicBezTo>
                <a:cubicBezTo>
                  <a:pt x="8921804" y="3943079"/>
                  <a:pt x="8933178" y="3929403"/>
                  <a:pt x="8944552" y="3913447"/>
                </a:cubicBezTo>
                <a:cubicBezTo>
                  <a:pt x="8960476" y="3913447"/>
                  <a:pt x="8949102" y="3931682"/>
                  <a:pt x="8960476" y="3940799"/>
                </a:cubicBezTo>
                <a:cubicBezTo>
                  <a:pt x="8994598" y="3940799"/>
                  <a:pt x="9010522" y="3965872"/>
                  <a:pt x="9017346" y="3997783"/>
                </a:cubicBezTo>
                <a:cubicBezTo>
                  <a:pt x="9021896" y="4018297"/>
                  <a:pt x="9030995" y="4029694"/>
                  <a:pt x="9051468" y="4034253"/>
                </a:cubicBezTo>
                <a:cubicBezTo>
                  <a:pt x="9071942" y="4038812"/>
                  <a:pt x="9094690" y="4043370"/>
                  <a:pt x="9126537" y="4050208"/>
                </a:cubicBezTo>
                <a:cubicBezTo>
                  <a:pt x="9106064" y="4050208"/>
                  <a:pt x="9094690" y="4052488"/>
                  <a:pt x="9085590" y="4052488"/>
                </a:cubicBezTo>
                <a:cubicBezTo>
                  <a:pt x="9040094" y="4043370"/>
                  <a:pt x="8992323" y="4050208"/>
                  <a:pt x="8944552" y="4031974"/>
                </a:cubicBezTo>
                <a:cubicBezTo>
                  <a:pt x="8926354" y="4054767"/>
                  <a:pt x="8901331" y="4068443"/>
                  <a:pt x="8871758" y="4061605"/>
                </a:cubicBezTo>
                <a:cubicBezTo>
                  <a:pt x="8864934" y="4073002"/>
                  <a:pt x="8862659" y="4082119"/>
                  <a:pt x="8855835" y="4093516"/>
                </a:cubicBezTo>
                <a:cubicBezTo>
                  <a:pt x="8841048" y="4084399"/>
                  <a:pt x="8825694" y="4078701"/>
                  <a:pt x="8810338" y="4073002"/>
                </a:cubicBezTo>
                <a:lnTo>
                  <a:pt x="8767480" y="4053677"/>
                </a:lnTo>
                <a:lnTo>
                  <a:pt x="8767707" y="4052995"/>
                </a:lnTo>
                <a:lnTo>
                  <a:pt x="8803514" y="4059326"/>
                </a:lnTo>
                <a:cubicBezTo>
                  <a:pt x="8808064" y="4061605"/>
                  <a:pt x="8812613" y="4063885"/>
                  <a:pt x="8817163" y="4061605"/>
                </a:cubicBezTo>
                <a:cubicBezTo>
                  <a:pt x="8819438" y="4061605"/>
                  <a:pt x="8823987" y="4057046"/>
                  <a:pt x="8826262" y="4052488"/>
                </a:cubicBezTo>
                <a:cubicBezTo>
                  <a:pt x="8826262" y="4050208"/>
                  <a:pt x="8823987" y="4045650"/>
                  <a:pt x="8821712" y="4043370"/>
                </a:cubicBezTo>
                <a:cubicBezTo>
                  <a:pt x="8805789" y="4034253"/>
                  <a:pt x="8787590" y="4031974"/>
                  <a:pt x="8771667" y="4041091"/>
                </a:cubicBezTo>
                <a:lnTo>
                  <a:pt x="8767707" y="4052995"/>
                </a:lnTo>
                <a:lnTo>
                  <a:pt x="8764842" y="4052488"/>
                </a:lnTo>
                <a:lnTo>
                  <a:pt x="8767480" y="4053677"/>
                </a:lnTo>
                <a:lnTo>
                  <a:pt x="8767117" y="4054767"/>
                </a:lnTo>
                <a:cubicBezTo>
                  <a:pt x="8726170" y="4073002"/>
                  <a:pt x="8714796" y="4075281"/>
                  <a:pt x="8671575" y="4057046"/>
                </a:cubicBezTo>
                <a:cubicBezTo>
                  <a:pt x="8653377" y="4050208"/>
                  <a:pt x="8635178" y="4047929"/>
                  <a:pt x="8616980" y="4045650"/>
                </a:cubicBezTo>
                <a:cubicBezTo>
                  <a:pt x="8589682" y="4043370"/>
                  <a:pt x="8560109" y="4036532"/>
                  <a:pt x="8532812" y="4034253"/>
                </a:cubicBezTo>
                <a:cubicBezTo>
                  <a:pt x="8489590" y="4027415"/>
                  <a:pt x="8446369" y="4020577"/>
                  <a:pt x="8403147" y="4016018"/>
                </a:cubicBezTo>
                <a:cubicBezTo>
                  <a:pt x="8380400" y="4013739"/>
                  <a:pt x="8357651" y="4011459"/>
                  <a:pt x="8341728" y="4029694"/>
                </a:cubicBezTo>
                <a:cubicBezTo>
                  <a:pt x="8339452" y="4034253"/>
                  <a:pt x="8332628" y="4034253"/>
                  <a:pt x="8325804" y="4034253"/>
                </a:cubicBezTo>
                <a:cubicBezTo>
                  <a:pt x="8298506" y="4031974"/>
                  <a:pt x="8268934" y="4031974"/>
                  <a:pt x="8241636" y="4027415"/>
                </a:cubicBezTo>
                <a:cubicBezTo>
                  <a:pt x="8225712" y="4025135"/>
                  <a:pt x="8212064" y="4022856"/>
                  <a:pt x="8196140" y="4025135"/>
                </a:cubicBezTo>
                <a:cubicBezTo>
                  <a:pt x="8180216" y="4027415"/>
                  <a:pt x="8164292" y="4027415"/>
                  <a:pt x="8146094" y="4025135"/>
                </a:cubicBezTo>
                <a:cubicBezTo>
                  <a:pt x="8091498" y="4022856"/>
                  <a:pt x="8036903" y="4018297"/>
                  <a:pt x="7980032" y="4016018"/>
                </a:cubicBezTo>
                <a:cubicBezTo>
                  <a:pt x="7932262" y="4011459"/>
                  <a:pt x="7882216" y="4009180"/>
                  <a:pt x="7834445" y="4006901"/>
                </a:cubicBezTo>
                <a:cubicBezTo>
                  <a:pt x="7825346" y="4006901"/>
                  <a:pt x="7818521" y="4011459"/>
                  <a:pt x="7811697" y="4016018"/>
                </a:cubicBezTo>
                <a:cubicBezTo>
                  <a:pt x="7807147" y="4018297"/>
                  <a:pt x="7804872" y="4025135"/>
                  <a:pt x="7802598" y="4031974"/>
                </a:cubicBezTo>
                <a:cubicBezTo>
                  <a:pt x="7807147" y="4034253"/>
                  <a:pt x="7809422" y="4038812"/>
                  <a:pt x="7811697" y="4038812"/>
                </a:cubicBezTo>
                <a:cubicBezTo>
                  <a:pt x="7834445" y="4038812"/>
                  <a:pt x="7854918" y="4041091"/>
                  <a:pt x="7877666" y="4038812"/>
                </a:cubicBezTo>
                <a:cubicBezTo>
                  <a:pt x="7895865" y="4038812"/>
                  <a:pt x="7914063" y="4034253"/>
                  <a:pt x="7932262" y="4031974"/>
                </a:cubicBezTo>
                <a:cubicBezTo>
                  <a:pt x="7941361" y="4031974"/>
                  <a:pt x="7955010" y="4031974"/>
                  <a:pt x="7961834" y="4038812"/>
                </a:cubicBezTo>
                <a:cubicBezTo>
                  <a:pt x="7975483" y="4052488"/>
                  <a:pt x="7991407" y="4050208"/>
                  <a:pt x="8007330" y="4052488"/>
                </a:cubicBezTo>
                <a:cubicBezTo>
                  <a:pt x="8066476" y="4059326"/>
                  <a:pt x="8125620" y="4068443"/>
                  <a:pt x="8182491" y="4075281"/>
                </a:cubicBezTo>
                <a:cubicBezTo>
                  <a:pt x="8196140" y="4077561"/>
                  <a:pt x="8209788" y="4084399"/>
                  <a:pt x="8234812" y="4091237"/>
                </a:cubicBezTo>
                <a:cubicBezTo>
                  <a:pt x="8200690" y="4095795"/>
                  <a:pt x="8180216" y="4100354"/>
                  <a:pt x="8157468" y="4102634"/>
                </a:cubicBezTo>
                <a:cubicBezTo>
                  <a:pt x="8150644" y="4102634"/>
                  <a:pt x="8139270" y="4102634"/>
                  <a:pt x="8134720" y="4100354"/>
                </a:cubicBezTo>
                <a:cubicBezTo>
                  <a:pt x="8105148" y="4084399"/>
                  <a:pt x="8075574" y="4088957"/>
                  <a:pt x="8046002" y="4091237"/>
                </a:cubicBezTo>
                <a:cubicBezTo>
                  <a:pt x="8027804" y="4091237"/>
                  <a:pt x="8009606" y="4088957"/>
                  <a:pt x="7991407" y="4086678"/>
                </a:cubicBezTo>
                <a:cubicBezTo>
                  <a:pt x="7959560" y="4084399"/>
                  <a:pt x="7927712" y="4077561"/>
                  <a:pt x="7895865" y="4077561"/>
                </a:cubicBezTo>
                <a:cubicBezTo>
                  <a:pt x="7866292" y="4075281"/>
                  <a:pt x="7834445" y="4075281"/>
                  <a:pt x="7804872" y="4075281"/>
                </a:cubicBezTo>
                <a:cubicBezTo>
                  <a:pt x="7793498" y="4095795"/>
                  <a:pt x="7811697" y="4100354"/>
                  <a:pt x="7820796" y="4111751"/>
                </a:cubicBezTo>
                <a:cubicBezTo>
                  <a:pt x="7795773" y="4111751"/>
                  <a:pt x="7773025" y="4111751"/>
                  <a:pt x="7745728" y="4111751"/>
                </a:cubicBezTo>
                <a:cubicBezTo>
                  <a:pt x="7795773" y="4148221"/>
                  <a:pt x="7795773" y="4148221"/>
                  <a:pt x="7939086" y="4171014"/>
                </a:cubicBezTo>
                <a:cubicBezTo>
                  <a:pt x="7920888" y="4175573"/>
                  <a:pt x="7911788" y="4177852"/>
                  <a:pt x="7904964" y="4177852"/>
                </a:cubicBezTo>
                <a:cubicBezTo>
                  <a:pt x="7889040" y="4175573"/>
                  <a:pt x="7875392" y="4171014"/>
                  <a:pt x="7859468" y="4168735"/>
                </a:cubicBezTo>
                <a:cubicBezTo>
                  <a:pt x="7843544" y="4164176"/>
                  <a:pt x="7827620" y="4161897"/>
                  <a:pt x="7807147" y="4168735"/>
                </a:cubicBezTo>
                <a:cubicBezTo>
                  <a:pt x="7813972" y="4189249"/>
                  <a:pt x="7823071" y="4205205"/>
                  <a:pt x="7841270" y="4216601"/>
                </a:cubicBezTo>
                <a:cubicBezTo>
                  <a:pt x="7857193" y="4227998"/>
                  <a:pt x="7873116" y="4239395"/>
                  <a:pt x="7891315" y="4250792"/>
                </a:cubicBezTo>
                <a:cubicBezTo>
                  <a:pt x="7882216" y="4255350"/>
                  <a:pt x="7857193" y="4264468"/>
                  <a:pt x="7845819" y="4264468"/>
                </a:cubicBezTo>
                <a:cubicBezTo>
                  <a:pt x="7838994" y="4298658"/>
                  <a:pt x="7836720" y="4332849"/>
                  <a:pt x="7845819" y="4364760"/>
                </a:cubicBezTo>
                <a:cubicBezTo>
                  <a:pt x="7834445" y="4387553"/>
                  <a:pt x="7823071" y="4408067"/>
                  <a:pt x="7811697" y="4428581"/>
                </a:cubicBezTo>
                <a:cubicBezTo>
                  <a:pt x="7825346" y="4444537"/>
                  <a:pt x="7843544" y="4446816"/>
                  <a:pt x="7859468" y="4449096"/>
                </a:cubicBezTo>
                <a:cubicBezTo>
                  <a:pt x="7907239" y="4453654"/>
                  <a:pt x="7936812" y="4485565"/>
                  <a:pt x="7959560" y="4524314"/>
                </a:cubicBezTo>
                <a:cubicBezTo>
                  <a:pt x="7970934" y="4549387"/>
                  <a:pt x="7984582" y="4572181"/>
                  <a:pt x="8005056" y="4590416"/>
                </a:cubicBezTo>
                <a:cubicBezTo>
                  <a:pt x="8011880" y="4594974"/>
                  <a:pt x="8016430" y="4604092"/>
                  <a:pt x="8023254" y="4604092"/>
                </a:cubicBezTo>
                <a:cubicBezTo>
                  <a:pt x="8055102" y="4610930"/>
                  <a:pt x="8055102" y="4633723"/>
                  <a:pt x="8061926" y="4658796"/>
                </a:cubicBezTo>
                <a:cubicBezTo>
                  <a:pt x="8036903" y="4661076"/>
                  <a:pt x="8018704" y="4661076"/>
                  <a:pt x="8000506" y="4649679"/>
                </a:cubicBezTo>
                <a:cubicBezTo>
                  <a:pt x="7980032" y="4638282"/>
                  <a:pt x="7957284" y="4631444"/>
                  <a:pt x="7936812" y="4622327"/>
                </a:cubicBezTo>
                <a:cubicBezTo>
                  <a:pt x="7920888" y="4615489"/>
                  <a:pt x="7907239" y="4613209"/>
                  <a:pt x="7889040" y="4615489"/>
                </a:cubicBezTo>
                <a:cubicBezTo>
                  <a:pt x="7886766" y="4633723"/>
                  <a:pt x="7891315" y="4651958"/>
                  <a:pt x="7891315" y="4672472"/>
                </a:cubicBezTo>
                <a:cubicBezTo>
                  <a:pt x="7898140" y="4677031"/>
                  <a:pt x="7904964" y="4681590"/>
                  <a:pt x="7911788" y="4683869"/>
                </a:cubicBezTo>
                <a:cubicBezTo>
                  <a:pt x="7923162" y="4690707"/>
                  <a:pt x="7932262" y="4697545"/>
                  <a:pt x="7932262" y="4711221"/>
                </a:cubicBezTo>
                <a:cubicBezTo>
                  <a:pt x="7932262" y="4722618"/>
                  <a:pt x="7939086" y="4729456"/>
                  <a:pt x="7948186" y="4736294"/>
                </a:cubicBezTo>
                <a:cubicBezTo>
                  <a:pt x="7957284" y="4740853"/>
                  <a:pt x="7973208" y="4745412"/>
                  <a:pt x="7975483" y="4754529"/>
                </a:cubicBezTo>
                <a:cubicBezTo>
                  <a:pt x="7984582" y="4788720"/>
                  <a:pt x="8014155" y="4813792"/>
                  <a:pt x="8023254" y="4847983"/>
                </a:cubicBezTo>
                <a:cubicBezTo>
                  <a:pt x="8023254" y="4850262"/>
                  <a:pt x="8020980" y="4850262"/>
                  <a:pt x="8020980" y="4852541"/>
                </a:cubicBezTo>
                <a:cubicBezTo>
                  <a:pt x="8009606" y="4861659"/>
                  <a:pt x="8005056" y="4845703"/>
                  <a:pt x="7995956" y="4843424"/>
                </a:cubicBezTo>
                <a:cubicBezTo>
                  <a:pt x="7977758" y="4836586"/>
                  <a:pt x="7957284" y="4845703"/>
                  <a:pt x="7955010" y="4866218"/>
                </a:cubicBezTo>
                <a:cubicBezTo>
                  <a:pt x="7952735" y="4884452"/>
                  <a:pt x="7952735" y="4902687"/>
                  <a:pt x="7966384" y="4918643"/>
                </a:cubicBezTo>
                <a:cubicBezTo>
                  <a:pt x="7977758" y="4930040"/>
                  <a:pt x="7986857" y="4943716"/>
                  <a:pt x="7993682" y="4955112"/>
                </a:cubicBezTo>
                <a:cubicBezTo>
                  <a:pt x="8005056" y="4973347"/>
                  <a:pt x="8016430" y="4993861"/>
                  <a:pt x="8027804" y="5012096"/>
                </a:cubicBezTo>
                <a:cubicBezTo>
                  <a:pt x="8027804" y="5041728"/>
                  <a:pt x="8023254" y="5069080"/>
                  <a:pt x="8009606" y="5094153"/>
                </a:cubicBezTo>
                <a:cubicBezTo>
                  <a:pt x="8000506" y="5091874"/>
                  <a:pt x="7991407" y="5089594"/>
                  <a:pt x="7980032" y="5087315"/>
                </a:cubicBezTo>
                <a:cubicBezTo>
                  <a:pt x="7955010" y="5112388"/>
                  <a:pt x="7957284" y="5146578"/>
                  <a:pt x="7943636" y="5171651"/>
                </a:cubicBezTo>
                <a:cubicBezTo>
                  <a:pt x="7959560" y="5212680"/>
                  <a:pt x="7998231" y="5212680"/>
                  <a:pt x="8025529" y="5224076"/>
                </a:cubicBezTo>
                <a:cubicBezTo>
                  <a:pt x="8027804" y="5226356"/>
                  <a:pt x="8030078" y="5228635"/>
                  <a:pt x="8032354" y="5228635"/>
                </a:cubicBezTo>
                <a:cubicBezTo>
                  <a:pt x="8034628" y="5237752"/>
                  <a:pt x="8036903" y="5244591"/>
                  <a:pt x="8039178" y="5253708"/>
                </a:cubicBezTo>
                <a:cubicBezTo>
                  <a:pt x="8030078" y="5267384"/>
                  <a:pt x="8014155" y="5276502"/>
                  <a:pt x="8011880" y="5294736"/>
                </a:cubicBezTo>
                <a:cubicBezTo>
                  <a:pt x="8009606" y="5308412"/>
                  <a:pt x="7998231" y="5322089"/>
                  <a:pt x="7986857" y="5331206"/>
                </a:cubicBezTo>
                <a:cubicBezTo>
                  <a:pt x="7970934" y="5344882"/>
                  <a:pt x="7961834" y="5360838"/>
                  <a:pt x="7959560" y="5383631"/>
                </a:cubicBezTo>
                <a:cubicBezTo>
                  <a:pt x="7945910" y="5379072"/>
                  <a:pt x="7936812" y="5376793"/>
                  <a:pt x="7929987" y="5372234"/>
                </a:cubicBezTo>
                <a:cubicBezTo>
                  <a:pt x="7902689" y="5379072"/>
                  <a:pt x="7898140" y="5399587"/>
                  <a:pt x="7893590" y="5422380"/>
                </a:cubicBezTo>
                <a:cubicBezTo>
                  <a:pt x="7909514" y="5440615"/>
                  <a:pt x="7925438" y="5458850"/>
                  <a:pt x="7943636" y="5477085"/>
                </a:cubicBezTo>
                <a:cubicBezTo>
                  <a:pt x="7952735" y="5488482"/>
                  <a:pt x="7966384" y="5497599"/>
                  <a:pt x="7982308" y="5499878"/>
                </a:cubicBezTo>
                <a:cubicBezTo>
                  <a:pt x="8009606" y="5506716"/>
                  <a:pt x="8036903" y="5520393"/>
                  <a:pt x="8068750" y="5520393"/>
                </a:cubicBezTo>
                <a:cubicBezTo>
                  <a:pt x="8073300" y="5520393"/>
                  <a:pt x="8080124" y="5531789"/>
                  <a:pt x="8084674" y="5536348"/>
                </a:cubicBezTo>
                <a:cubicBezTo>
                  <a:pt x="8080124" y="5540907"/>
                  <a:pt x="8077850" y="5545465"/>
                  <a:pt x="8075574" y="5543186"/>
                </a:cubicBezTo>
                <a:cubicBezTo>
                  <a:pt x="8043728" y="5538627"/>
                  <a:pt x="8039178" y="5538627"/>
                  <a:pt x="8025529" y="5561421"/>
                </a:cubicBezTo>
                <a:cubicBezTo>
                  <a:pt x="8023254" y="5568259"/>
                  <a:pt x="8023254" y="5575097"/>
                  <a:pt x="8020980" y="5584214"/>
                </a:cubicBezTo>
                <a:cubicBezTo>
                  <a:pt x="8032354" y="5586494"/>
                  <a:pt x="8043728" y="5588773"/>
                  <a:pt x="8055102" y="5591053"/>
                </a:cubicBezTo>
                <a:cubicBezTo>
                  <a:pt x="8055102" y="5593332"/>
                  <a:pt x="8057376" y="5593332"/>
                  <a:pt x="8057376" y="5595611"/>
                </a:cubicBezTo>
                <a:cubicBezTo>
                  <a:pt x="8041452" y="5611567"/>
                  <a:pt x="8055102" y="5643478"/>
                  <a:pt x="8023254" y="5654874"/>
                </a:cubicBezTo>
                <a:cubicBezTo>
                  <a:pt x="8014155" y="5648036"/>
                  <a:pt x="8020980" y="5634360"/>
                  <a:pt x="8016430" y="5625243"/>
                </a:cubicBezTo>
                <a:cubicBezTo>
                  <a:pt x="8011880" y="5616125"/>
                  <a:pt x="8007330" y="5607008"/>
                  <a:pt x="8000506" y="5600170"/>
                </a:cubicBezTo>
                <a:cubicBezTo>
                  <a:pt x="7995956" y="5595611"/>
                  <a:pt x="7989132" y="5591053"/>
                  <a:pt x="7982308" y="5591053"/>
                </a:cubicBezTo>
                <a:cubicBezTo>
                  <a:pt x="7973208" y="5591053"/>
                  <a:pt x="7966384" y="5597891"/>
                  <a:pt x="7966384" y="5607008"/>
                </a:cubicBezTo>
                <a:cubicBezTo>
                  <a:pt x="7964109" y="5625243"/>
                  <a:pt x="7961834" y="5643478"/>
                  <a:pt x="7943636" y="5657154"/>
                </a:cubicBezTo>
                <a:cubicBezTo>
                  <a:pt x="7929987" y="5654874"/>
                  <a:pt x="7929987" y="5632081"/>
                  <a:pt x="7909514" y="5636640"/>
                </a:cubicBezTo>
                <a:cubicBezTo>
                  <a:pt x="7895865" y="5638919"/>
                  <a:pt x="7879941" y="5636640"/>
                  <a:pt x="7866292" y="5652595"/>
                </a:cubicBezTo>
                <a:cubicBezTo>
                  <a:pt x="7861742" y="5648036"/>
                  <a:pt x="7857193" y="5643478"/>
                  <a:pt x="7852644" y="5638919"/>
                </a:cubicBezTo>
                <a:cubicBezTo>
                  <a:pt x="7829896" y="5620684"/>
                  <a:pt x="7825346" y="5622963"/>
                  <a:pt x="7802598" y="5648036"/>
                </a:cubicBezTo>
                <a:cubicBezTo>
                  <a:pt x="7795773" y="5645757"/>
                  <a:pt x="7786674" y="5645757"/>
                  <a:pt x="7779850" y="5643478"/>
                </a:cubicBezTo>
                <a:cubicBezTo>
                  <a:pt x="7734353" y="5622963"/>
                  <a:pt x="7686582" y="5632081"/>
                  <a:pt x="7641086" y="5622963"/>
                </a:cubicBezTo>
                <a:cubicBezTo>
                  <a:pt x="7627437" y="5620684"/>
                  <a:pt x="7613788" y="5627522"/>
                  <a:pt x="7600140" y="5632081"/>
                </a:cubicBezTo>
                <a:cubicBezTo>
                  <a:pt x="7584216" y="5634360"/>
                  <a:pt x="7568292" y="5641198"/>
                  <a:pt x="7552368" y="5645757"/>
                </a:cubicBezTo>
                <a:cubicBezTo>
                  <a:pt x="7547819" y="5643478"/>
                  <a:pt x="7545544" y="5643478"/>
                  <a:pt x="7540994" y="5641198"/>
                </a:cubicBezTo>
                <a:cubicBezTo>
                  <a:pt x="7543269" y="5645757"/>
                  <a:pt x="7543269" y="5648036"/>
                  <a:pt x="7545544" y="5652595"/>
                </a:cubicBezTo>
                <a:cubicBezTo>
                  <a:pt x="7550094" y="5657154"/>
                  <a:pt x="7554643" y="5666271"/>
                  <a:pt x="7559193" y="5663992"/>
                </a:cubicBezTo>
                <a:cubicBezTo>
                  <a:pt x="7577392" y="5663992"/>
                  <a:pt x="7593315" y="5668551"/>
                  <a:pt x="7611514" y="5675389"/>
                </a:cubicBezTo>
                <a:cubicBezTo>
                  <a:pt x="7627437" y="5679947"/>
                  <a:pt x="7643361" y="5682227"/>
                  <a:pt x="7659284" y="5673109"/>
                </a:cubicBezTo>
                <a:cubicBezTo>
                  <a:pt x="7688857" y="5659433"/>
                  <a:pt x="7711605" y="5679947"/>
                  <a:pt x="7736628" y="5684506"/>
                </a:cubicBezTo>
                <a:cubicBezTo>
                  <a:pt x="7738903" y="5684506"/>
                  <a:pt x="7738903" y="5686785"/>
                  <a:pt x="7741178" y="5689065"/>
                </a:cubicBezTo>
                <a:cubicBezTo>
                  <a:pt x="7745728" y="5716417"/>
                  <a:pt x="7768476" y="5714138"/>
                  <a:pt x="7791224" y="5718696"/>
                </a:cubicBezTo>
                <a:cubicBezTo>
                  <a:pt x="7845819" y="5725534"/>
                  <a:pt x="7898140" y="5736931"/>
                  <a:pt x="7950460" y="5759725"/>
                </a:cubicBezTo>
                <a:cubicBezTo>
                  <a:pt x="7966384" y="5768842"/>
                  <a:pt x="7982308" y="5777960"/>
                  <a:pt x="7991407" y="5798474"/>
                </a:cubicBezTo>
                <a:cubicBezTo>
                  <a:pt x="7989132" y="5807591"/>
                  <a:pt x="7984582" y="5818988"/>
                  <a:pt x="7977758" y="5828105"/>
                </a:cubicBezTo>
                <a:cubicBezTo>
                  <a:pt x="7970934" y="5837223"/>
                  <a:pt x="7973208" y="5848620"/>
                  <a:pt x="7975483" y="5860016"/>
                </a:cubicBezTo>
                <a:cubicBezTo>
                  <a:pt x="7955010" y="5891927"/>
                  <a:pt x="7957284" y="5912442"/>
                  <a:pt x="7980032" y="5935235"/>
                </a:cubicBezTo>
                <a:cubicBezTo>
                  <a:pt x="7991407" y="5948911"/>
                  <a:pt x="8007330" y="5960308"/>
                  <a:pt x="8020980" y="5973984"/>
                </a:cubicBezTo>
                <a:cubicBezTo>
                  <a:pt x="8027804" y="5980822"/>
                  <a:pt x="8032354" y="5987660"/>
                  <a:pt x="8041452" y="6001336"/>
                </a:cubicBezTo>
                <a:cubicBezTo>
                  <a:pt x="8002781" y="5994498"/>
                  <a:pt x="7970934" y="6001336"/>
                  <a:pt x="7941361" y="5985381"/>
                </a:cubicBezTo>
                <a:cubicBezTo>
                  <a:pt x="7939086" y="5983102"/>
                  <a:pt x="7932262" y="5985381"/>
                  <a:pt x="7927712" y="5987660"/>
                </a:cubicBezTo>
                <a:cubicBezTo>
                  <a:pt x="7925438" y="5987660"/>
                  <a:pt x="7923162" y="5992219"/>
                  <a:pt x="7920888" y="5994498"/>
                </a:cubicBezTo>
                <a:cubicBezTo>
                  <a:pt x="7920888" y="5996778"/>
                  <a:pt x="7920888" y="6001336"/>
                  <a:pt x="7923162" y="6003616"/>
                </a:cubicBezTo>
                <a:cubicBezTo>
                  <a:pt x="7925438" y="6005895"/>
                  <a:pt x="7927712" y="6010454"/>
                  <a:pt x="7929987" y="6010454"/>
                </a:cubicBezTo>
                <a:cubicBezTo>
                  <a:pt x="7968658" y="6012733"/>
                  <a:pt x="7993682" y="6035527"/>
                  <a:pt x="8020980" y="6060600"/>
                </a:cubicBezTo>
                <a:cubicBezTo>
                  <a:pt x="8025529" y="6081114"/>
                  <a:pt x="8027804" y="6103907"/>
                  <a:pt x="8032354" y="6124422"/>
                </a:cubicBezTo>
                <a:cubicBezTo>
                  <a:pt x="7995956" y="6163171"/>
                  <a:pt x="7995956" y="6163171"/>
                  <a:pt x="7991407" y="6206478"/>
                </a:cubicBezTo>
                <a:cubicBezTo>
                  <a:pt x="7986857" y="6204199"/>
                  <a:pt x="7980032" y="6201920"/>
                  <a:pt x="7980032" y="6199640"/>
                </a:cubicBezTo>
                <a:cubicBezTo>
                  <a:pt x="7964109" y="6149494"/>
                  <a:pt x="7927712" y="6124422"/>
                  <a:pt x="7879941" y="6110745"/>
                </a:cubicBezTo>
                <a:cubicBezTo>
                  <a:pt x="7866292" y="6106187"/>
                  <a:pt x="7854918" y="6103907"/>
                  <a:pt x="7836720" y="6097069"/>
                </a:cubicBezTo>
                <a:cubicBezTo>
                  <a:pt x="7868567" y="6078834"/>
                  <a:pt x="7895865" y="6090231"/>
                  <a:pt x="7916338" y="6097069"/>
                </a:cubicBezTo>
                <a:cubicBezTo>
                  <a:pt x="7941361" y="6106187"/>
                  <a:pt x="7959560" y="6126701"/>
                  <a:pt x="7982308" y="6142656"/>
                </a:cubicBezTo>
                <a:cubicBezTo>
                  <a:pt x="7995956" y="6131260"/>
                  <a:pt x="7998231" y="6117584"/>
                  <a:pt x="7986857" y="6108466"/>
                </a:cubicBezTo>
                <a:cubicBezTo>
                  <a:pt x="7966384" y="6090231"/>
                  <a:pt x="7945910" y="6071996"/>
                  <a:pt x="7918613" y="6067438"/>
                </a:cubicBezTo>
                <a:cubicBezTo>
                  <a:pt x="7879941" y="6065158"/>
                  <a:pt x="7843544" y="6049203"/>
                  <a:pt x="7807147" y="6033247"/>
                </a:cubicBezTo>
                <a:cubicBezTo>
                  <a:pt x="7782124" y="6024130"/>
                  <a:pt x="7754826" y="6015013"/>
                  <a:pt x="7725254" y="6012733"/>
                </a:cubicBezTo>
                <a:cubicBezTo>
                  <a:pt x="7693406" y="6010454"/>
                  <a:pt x="7663834" y="6001336"/>
                  <a:pt x="7631987" y="5996778"/>
                </a:cubicBezTo>
                <a:cubicBezTo>
                  <a:pt x="7625162" y="5996778"/>
                  <a:pt x="7616063" y="5999057"/>
                  <a:pt x="7613788" y="6003616"/>
                </a:cubicBezTo>
                <a:cubicBezTo>
                  <a:pt x="7611514" y="6005895"/>
                  <a:pt x="7611514" y="6015013"/>
                  <a:pt x="7613788" y="6021851"/>
                </a:cubicBezTo>
                <a:lnTo>
                  <a:pt x="7628743" y="6045398"/>
                </a:lnTo>
                <a:lnTo>
                  <a:pt x="7613219" y="6057466"/>
                </a:lnTo>
                <a:cubicBezTo>
                  <a:pt x="7606964" y="6058890"/>
                  <a:pt x="7600140" y="6058320"/>
                  <a:pt x="7593315" y="6058320"/>
                </a:cubicBezTo>
                <a:cubicBezTo>
                  <a:pt x="7575116" y="6056041"/>
                  <a:pt x="7554643" y="6051482"/>
                  <a:pt x="7534170" y="6049203"/>
                </a:cubicBezTo>
                <a:cubicBezTo>
                  <a:pt x="7522796" y="6049203"/>
                  <a:pt x="7511422" y="6053762"/>
                  <a:pt x="7500048" y="6056041"/>
                </a:cubicBezTo>
                <a:cubicBezTo>
                  <a:pt x="7502322" y="6065158"/>
                  <a:pt x="7506872" y="6071996"/>
                  <a:pt x="7509147" y="6078834"/>
                </a:cubicBezTo>
                <a:cubicBezTo>
                  <a:pt x="7509147" y="6085673"/>
                  <a:pt x="7506872" y="6092511"/>
                  <a:pt x="7506872" y="6097069"/>
                </a:cubicBezTo>
                <a:cubicBezTo>
                  <a:pt x="7518246" y="6101628"/>
                  <a:pt x="7529620" y="6103907"/>
                  <a:pt x="7540994" y="6108466"/>
                </a:cubicBezTo>
                <a:cubicBezTo>
                  <a:pt x="7537582" y="6116444"/>
                  <a:pt x="7530757" y="6121572"/>
                  <a:pt x="7525071" y="6126986"/>
                </a:cubicBezTo>
                <a:lnTo>
                  <a:pt x="7516179" y="6146755"/>
                </a:lnTo>
                <a:lnTo>
                  <a:pt x="7497773" y="6142656"/>
                </a:lnTo>
                <a:cubicBezTo>
                  <a:pt x="7490948" y="6142087"/>
                  <a:pt x="7484124" y="6142657"/>
                  <a:pt x="7477300" y="6144936"/>
                </a:cubicBezTo>
                <a:cubicBezTo>
                  <a:pt x="7463651" y="6151774"/>
                  <a:pt x="7447727" y="6156333"/>
                  <a:pt x="7431804" y="6160891"/>
                </a:cubicBezTo>
                <a:cubicBezTo>
                  <a:pt x="7429528" y="6172288"/>
                  <a:pt x="7436353" y="6176847"/>
                  <a:pt x="7445452" y="6179126"/>
                </a:cubicBezTo>
                <a:cubicBezTo>
                  <a:pt x="7484124" y="6185964"/>
                  <a:pt x="7520521" y="6192802"/>
                  <a:pt x="7559193" y="6199640"/>
                </a:cubicBezTo>
                <a:cubicBezTo>
                  <a:pt x="7567155" y="6200780"/>
                  <a:pt x="7573979" y="6202490"/>
                  <a:pt x="7579950" y="6205624"/>
                </a:cubicBezTo>
                <a:lnTo>
                  <a:pt x="7592862" y="6217620"/>
                </a:lnTo>
                <a:lnTo>
                  <a:pt x="7581088" y="6217020"/>
                </a:lnTo>
                <a:cubicBezTo>
                  <a:pt x="7575685" y="6218445"/>
                  <a:pt x="7570567" y="6221294"/>
                  <a:pt x="7566018" y="6224713"/>
                </a:cubicBezTo>
                <a:cubicBezTo>
                  <a:pt x="7554643" y="6236110"/>
                  <a:pt x="7543269" y="6242948"/>
                  <a:pt x="7529620" y="6252065"/>
                </a:cubicBezTo>
                <a:cubicBezTo>
                  <a:pt x="7527346" y="6254345"/>
                  <a:pt x="7520521" y="6254345"/>
                  <a:pt x="7515972" y="6254345"/>
                </a:cubicBezTo>
                <a:cubicBezTo>
                  <a:pt x="7506872" y="6252065"/>
                  <a:pt x="7495498" y="6245227"/>
                  <a:pt x="7493224" y="6258904"/>
                </a:cubicBezTo>
                <a:cubicBezTo>
                  <a:pt x="7490948" y="6265742"/>
                  <a:pt x="7502322" y="6277138"/>
                  <a:pt x="7509147" y="6281697"/>
                </a:cubicBezTo>
                <a:cubicBezTo>
                  <a:pt x="7540994" y="6293094"/>
                  <a:pt x="7570567" y="6306770"/>
                  <a:pt x="7604689" y="6309049"/>
                </a:cubicBezTo>
                <a:cubicBezTo>
                  <a:pt x="7613788" y="6309049"/>
                  <a:pt x="7622888" y="6311329"/>
                  <a:pt x="7629712" y="6315887"/>
                </a:cubicBezTo>
                <a:cubicBezTo>
                  <a:pt x="7606964" y="6318167"/>
                  <a:pt x="7581941" y="6320446"/>
                  <a:pt x="7559193" y="6320446"/>
                </a:cubicBezTo>
                <a:cubicBezTo>
                  <a:pt x="7543269" y="6320446"/>
                  <a:pt x="7529620" y="6313608"/>
                  <a:pt x="7515972" y="6309049"/>
                </a:cubicBezTo>
                <a:cubicBezTo>
                  <a:pt x="7481850" y="6297653"/>
                  <a:pt x="7450002" y="6281697"/>
                  <a:pt x="7413605" y="6281697"/>
                </a:cubicBezTo>
                <a:cubicBezTo>
                  <a:pt x="7402231" y="6279418"/>
                  <a:pt x="7393132" y="6281697"/>
                  <a:pt x="7386308" y="6288535"/>
                </a:cubicBezTo>
                <a:cubicBezTo>
                  <a:pt x="7377208" y="6290815"/>
                  <a:pt x="7368109" y="6293094"/>
                  <a:pt x="7354460" y="6295373"/>
                </a:cubicBezTo>
                <a:cubicBezTo>
                  <a:pt x="7356735" y="6304491"/>
                  <a:pt x="7359010" y="6315887"/>
                  <a:pt x="7361284" y="6327284"/>
                </a:cubicBezTo>
                <a:cubicBezTo>
                  <a:pt x="7359010" y="6327284"/>
                  <a:pt x="7354460" y="6329564"/>
                  <a:pt x="7349910" y="6331843"/>
                </a:cubicBezTo>
                <a:cubicBezTo>
                  <a:pt x="7345360" y="6338681"/>
                  <a:pt x="7336262" y="6343240"/>
                  <a:pt x="7333986" y="6350078"/>
                </a:cubicBezTo>
                <a:cubicBezTo>
                  <a:pt x="7331712" y="6359195"/>
                  <a:pt x="7343086" y="6363754"/>
                  <a:pt x="7349910" y="6366033"/>
                </a:cubicBezTo>
                <a:cubicBezTo>
                  <a:pt x="7361284" y="6368313"/>
                  <a:pt x="7370384" y="6368313"/>
                  <a:pt x="7379483" y="6370592"/>
                </a:cubicBezTo>
                <a:cubicBezTo>
                  <a:pt x="7399956" y="6372871"/>
                  <a:pt x="7420430" y="6377430"/>
                  <a:pt x="7438628" y="6381989"/>
                </a:cubicBezTo>
                <a:cubicBezTo>
                  <a:pt x="7465926" y="6388827"/>
                  <a:pt x="7490948" y="6395665"/>
                  <a:pt x="7518246" y="6400224"/>
                </a:cubicBezTo>
                <a:cubicBezTo>
                  <a:pt x="7536445" y="6402503"/>
                  <a:pt x="7556918" y="6402503"/>
                  <a:pt x="7577392" y="6404782"/>
                </a:cubicBezTo>
                <a:cubicBezTo>
                  <a:pt x="7581941" y="6397944"/>
                  <a:pt x="7584216" y="6391106"/>
                  <a:pt x="7588766" y="6386547"/>
                </a:cubicBezTo>
                <a:cubicBezTo>
                  <a:pt x="7591040" y="6386547"/>
                  <a:pt x="7595590" y="6386547"/>
                  <a:pt x="7595590" y="6388827"/>
                </a:cubicBezTo>
                <a:cubicBezTo>
                  <a:pt x="7602414" y="6402503"/>
                  <a:pt x="7613788" y="6409341"/>
                  <a:pt x="7627437" y="6411620"/>
                </a:cubicBezTo>
                <a:cubicBezTo>
                  <a:pt x="7659284" y="6416179"/>
                  <a:pt x="7691132" y="6418458"/>
                  <a:pt x="7720704" y="6427576"/>
                </a:cubicBezTo>
                <a:cubicBezTo>
                  <a:pt x="7750277" y="6434414"/>
                  <a:pt x="7779850" y="6445811"/>
                  <a:pt x="7809422" y="6443531"/>
                </a:cubicBezTo>
                <a:cubicBezTo>
                  <a:pt x="7820796" y="6443531"/>
                  <a:pt x="7829896" y="6445811"/>
                  <a:pt x="7838994" y="6448090"/>
                </a:cubicBezTo>
                <a:cubicBezTo>
                  <a:pt x="7873116" y="6454928"/>
                  <a:pt x="7907239" y="6459487"/>
                  <a:pt x="7939086" y="6464045"/>
                </a:cubicBezTo>
                <a:cubicBezTo>
                  <a:pt x="7943636" y="6464045"/>
                  <a:pt x="7950460" y="6464045"/>
                  <a:pt x="7955010" y="6466325"/>
                </a:cubicBezTo>
                <a:cubicBezTo>
                  <a:pt x="7998231" y="6477722"/>
                  <a:pt x="8043728" y="6484560"/>
                  <a:pt x="8089224" y="6491398"/>
                </a:cubicBezTo>
                <a:cubicBezTo>
                  <a:pt x="8098323" y="6493677"/>
                  <a:pt x="8107422" y="6500515"/>
                  <a:pt x="8114246" y="6509633"/>
                </a:cubicBezTo>
                <a:cubicBezTo>
                  <a:pt x="8105148" y="6509633"/>
                  <a:pt x="8096048" y="6511912"/>
                  <a:pt x="8089224" y="6509633"/>
                </a:cubicBezTo>
                <a:cubicBezTo>
                  <a:pt x="7980032" y="6489118"/>
                  <a:pt x="7873116" y="6470884"/>
                  <a:pt x="7766200" y="6450369"/>
                </a:cubicBezTo>
                <a:cubicBezTo>
                  <a:pt x="7722979" y="6443531"/>
                  <a:pt x="7682032" y="6436693"/>
                  <a:pt x="7641086" y="6429855"/>
                </a:cubicBezTo>
                <a:cubicBezTo>
                  <a:pt x="7625162" y="6425296"/>
                  <a:pt x="7613788" y="6429855"/>
                  <a:pt x="7604689" y="6445811"/>
                </a:cubicBezTo>
                <a:cubicBezTo>
                  <a:pt x="7597864" y="6438973"/>
                  <a:pt x="7591040" y="6432135"/>
                  <a:pt x="7584216" y="6423017"/>
                </a:cubicBezTo>
                <a:cubicBezTo>
                  <a:pt x="7536445" y="6413900"/>
                  <a:pt x="7486399" y="6407062"/>
                  <a:pt x="7436353" y="6395665"/>
                </a:cubicBezTo>
                <a:cubicBezTo>
                  <a:pt x="7420430" y="6393385"/>
                  <a:pt x="7404506" y="6391106"/>
                  <a:pt x="7386308" y="6402503"/>
                </a:cubicBezTo>
                <a:cubicBezTo>
                  <a:pt x="7386308" y="6409341"/>
                  <a:pt x="7388582" y="6418458"/>
                  <a:pt x="7388582" y="6425296"/>
                </a:cubicBezTo>
                <a:cubicBezTo>
                  <a:pt x="7431804" y="6452649"/>
                  <a:pt x="7475025" y="6477722"/>
                  <a:pt x="7518246" y="6502795"/>
                </a:cubicBezTo>
                <a:cubicBezTo>
                  <a:pt x="7525070" y="6500515"/>
                  <a:pt x="7534170" y="6498236"/>
                  <a:pt x="7540994" y="6495956"/>
                </a:cubicBezTo>
                <a:cubicBezTo>
                  <a:pt x="7545544" y="6507353"/>
                  <a:pt x="7547819" y="6516471"/>
                  <a:pt x="7550094" y="6527867"/>
                </a:cubicBezTo>
                <a:cubicBezTo>
                  <a:pt x="7577392" y="6536985"/>
                  <a:pt x="7606964" y="6546102"/>
                  <a:pt x="7636536" y="6557499"/>
                </a:cubicBezTo>
                <a:cubicBezTo>
                  <a:pt x="7631987" y="6568896"/>
                  <a:pt x="7622888" y="6564337"/>
                  <a:pt x="7616063" y="6566616"/>
                </a:cubicBezTo>
                <a:cubicBezTo>
                  <a:pt x="7606964" y="6571175"/>
                  <a:pt x="7602414" y="6584851"/>
                  <a:pt x="7609238" y="6591689"/>
                </a:cubicBezTo>
                <a:cubicBezTo>
                  <a:pt x="7622888" y="6605366"/>
                  <a:pt x="7638811" y="6619042"/>
                  <a:pt x="7659284" y="6623600"/>
                </a:cubicBezTo>
                <a:cubicBezTo>
                  <a:pt x="7668384" y="6623600"/>
                  <a:pt x="7672934" y="6630438"/>
                  <a:pt x="7679758" y="6634997"/>
                </a:cubicBezTo>
                <a:cubicBezTo>
                  <a:pt x="7682032" y="6634997"/>
                  <a:pt x="7682032" y="6637276"/>
                  <a:pt x="7682032" y="6641835"/>
                </a:cubicBezTo>
                <a:cubicBezTo>
                  <a:pt x="7663834" y="6639556"/>
                  <a:pt x="7647910" y="6634997"/>
                  <a:pt x="7631987" y="6634997"/>
                </a:cubicBezTo>
                <a:cubicBezTo>
                  <a:pt x="7616063" y="6632718"/>
                  <a:pt x="7600140" y="6637276"/>
                  <a:pt x="7584216" y="6637276"/>
                </a:cubicBezTo>
                <a:cubicBezTo>
                  <a:pt x="7570567" y="6650953"/>
                  <a:pt x="7577392" y="6666908"/>
                  <a:pt x="7577392" y="6680584"/>
                </a:cubicBezTo>
                <a:cubicBezTo>
                  <a:pt x="7604689" y="6696540"/>
                  <a:pt x="7634262" y="6691981"/>
                  <a:pt x="7659284" y="6705657"/>
                </a:cubicBezTo>
                <a:cubicBezTo>
                  <a:pt x="7620612" y="6703378"/>
                  <a:pt x="7579666" y="6703378"/>
                  <a:pt x="7540994" y="6719333"/>
                </a:cubicBezTo>
                <a:cubicBezTo>
                  <a:pt x="7538720" y="6735289"/>
                  <a:pt x="7559193" y="6733009"/>
                  <a:pt x="7563742" y="6746686"/>
                </a:cubicBezTo>
                <a:cubicBezTo>
                  <a:pt x="7559193" y="6748965"/>
                  <a:pt x="7554643" y="6753524"/>
                  <a:pt x="7550094" y="6753524"/>
                </a:cubicBezTo>
                <a:cubicBezTo>
                  <a:pt x="7538720" y="6755803"/>
                  <a:pt x="7529620" y="6755803"/>
                  <a:pt x="7518246" y="6755803"/>
                </a:cubicBezTo>
                <a:cubicBezTo>
                  <a:pt x="7520521" y="6767200"/>
                  <a:pt x="7522796" y="6776317"/>
                  <a:pt x="7522796" y="6789993"/>
                </a:cubicBezTo>
                <a:cubicBezTo>
                  <a:pt x="7504598" y="6789993"/>
                  <a:pt x="7486399" y="6792273"/>
                  <a:pt x="7468200" y="6789993"/>
                </a:cubicBezTo>
                <a:cubicBezTo>
                  <a:pt x="7445452" y="6789993"/>
                  <a:pt x="7422704" y="6780876"/>
                  <a:pt x="7399956" y="6783155"/>
                </a:cubicBezTo>
                <a:cubicBezTo>
                  <a:pt x="7374933" y="6785435"/>
                  <a:pt x="7349910" y="6785435"/>
                  <a:pt x="7324888" y="6780876"/>
                </a:cubicBezTo>
                <a:cubicBezTo>
                  <a:pt x="7308964" y="6778596"/>
                  <a:pt x="7297590" y="6794552"/>
                  <a:pt x="7306689" y="6812787"/>
                </a:cubicBezTo>
                <a:cubicBezTo>
                  <a:pt x="7313514" y="6831022"/>
                  <a:pt x="7329437" y="6844698"/>
                  <a:pt x="7320338" y="6872050"/>
                </a:cubicBezTo>
                <a:cubicBezTo>
                  <a:pt x="7336262" y="6865212"/>
                  <a:pt x="7345360" y="6860653"/>
                  <a:pt x="7356735" y="6856095"/>
                </a:cubicBezTo>
                <a:cubicBezTo>
                  <a:pt x="7386308" y="6894844"/>
                  <a:pt x="7429528" y="6910799"/>
                  <a:pt x="7472750" y="6931313"/>
                </a:cubicBezTo>
                <a:cubicBezTo>
                  <a:pt x="7470476" y="6933593"/>
                  <a:pt x="7470476" y="6938151"/>
                  <a:pt x="7470476" y="6940431"/>
                </a:cubicBezTo>
                <a:cubicBezTo>
                  <a:pt x="7463651" y="6947269"/>
                  <a:pt x="7450002" y="6949548"/>
                  <a:pt x="7452277" y="6960945"/>
                </a:cubicBezTo>
                <a:cubicBezTo>
                  <a:pt x="7454552" y="6981459"/>
                  <a:pt x="7472750" y="6970062"/>
                  <a:pt x="7484124" y="6972342"/>
                </a:cubicBezTo>
                <a:cubicBezTo>
                  <a:pt x="7484124" y="6986018"/>
                  <a:pt x="7475025" y="6988297"/>
                  <a:pt x="7468200" y="6988297"/>
                </a:cubicBezTo>
                <a:cubicBezTo>
                  <a:pt x="7456826" y="6988297"/>
                  <a:pt x="7445452" y="6986018"/>
                  <a:pt x="7431804" y="6986018"/>
                </a:cubicBezTo>
                <a:cubicBezTo>
                  <a:pt x="7429528" y="6986018"/>
                  <a:pt x="7424979" y="6990577"/>
                  <a:pt x="7420430" y="6992856"/>
                </a:cubicBezTo>
                <a:cubicBezTo>
                  <a:pt x="7438628" y="7011091"/>
                  <a:pt x="7461376" y="6992856"/>
                  <a:pt x="7477300" y="7008811"/>
                </a:cubicBezTo>
                <a:cubicBezTo>
                  <a:pt x="7479574" y="7017929"/>
                  <a:pt x="7470476" y="7020208"/>
                  <a:pt x="7465926" y="7020208"/>
                </a:cubicBezTo>
                <a:cubicBezTo>
                  <a:pt x="7447727" y="7020208"/>
                  <a:pt x="7427254" y="7020208"/>
                  <a:pt x="7409056" y="7017929"/>
                </a:cubicBezTo>
                <a:cubicBezTo>
                  <a:pt x="7368109" y="7013370"/>
                  <a:pt x="7327162" y="7013370"/>
                  <a:pt x="7286216" y="7027046"/>
                </a:cubicBezTo>
                <a:cubicBezTo>
                  <a:pt x="7281666" y="7029326"/>
                  <a:pt x="7274842" y="7029326"/>
                  <a:pt x="7270292" y="7029326"/>
                </a:cubicBezTo>
                <a:cubicBezTo>
                  <a:pt x="7240720" y="7024767"/>
                  <a:pt x="7208872" y="7020208"/>
                  <a:pt x="7177025" y="7015649"/>
                </a:cubicBezTo>
                <a:cubicBezTo>
                  <a:pt x="7163376" y="7013370"/>
                  <a:pt x="7152002" y="7013370"/>
                  <a:pt x="7138353" y="7022487"/>
                </a:cubicBezTo>
                <a:cubicBezTo>
                  <a:pt x="7124704" y="7031605"/>
                  <a:pt x="7106506" y="7036164"/>
                  <a:pt x="7076933" y="7047560"/>
                </a:cubicBezTo>
                <a:cubicBezTo>
                  <a:pt x="7095132" y="7049840"/>
                  <a:pt x="7099681" y="7049840"/>
                  <a:pt x="7104231" y="7049840"/>
                </a:cubicBezTo>
                <a:cubicBezTo>
                  <a:pt x="7111056" y="7052119"/>
                  <a:pt x="7117880" y="7052119"/>
                  <a:pt x="7126979" y="7052119"/>
                </a:cubicBezTo>
                <a:cubicBezTo>
                  <a:pt x="7122430" y="7058957"/>
                  <a:pt x="7122430" y="7061237"/>
                  <a:pt x="7120154" y="7065795"/>
                </a:cubicBezTo>
                <a:cubicBezTo>
                  <a:pt x="7120154" y="7068075"/>
                  <a:pt x="7120154" y="7072633"/>
                  <a:pt x="7122430" y="7074913"/>
                </a:cubicBezTo>
                <a:cubicBezTo>
                  <a:pt x="7131528" y="7084030"/>
                  <a:pt x="7145178" y="7084030"/>
                  <a:pt x="7156552" y="7084030"/>
                </a:cubicBezTo>
                <a:cubicBezTo>
                  <a:pt x="7186124" y="7077192"/>
                  <a:pt x="7217972" y="7084030"/>
                  <a:pt x="7249818" y="7079471"/>
                </a:cubicBezTo>
                <a:cubicBezTo>
                  <a:pt x="7261192" y="7079471"/>
                  <a:pt x="7272567" y="7081751"/>
                  <a:pt x="7283941" y="7084030"/>
                </a:cubicBezTo>
                <a:cubicBezTo>
                  <a:pt x="7295315" y="7088589"/>
                  <a:pt x="7306689" y="7102265"/>
                  <a:pt x="7318063" y="7102265"/>
                </a:cubicBezTo>
                <a:cubicBezTo>
                  <a:pt x="7356735" y="7104544"/>
                  <a:pt x="7395406" y="7118220"/>
                  <a:pt x="7434078" y="7111382"/>
                </a:cubicBezTo>
                <a:cubicBezTo>
                  <a:pt x="7456826" y="7109103"/>
                  <a:pt x="7481850" y="7111382"/>
                  <a:pt x="7504598" y="7115941"/>
                </a:cubicBezTo>
                <a:cubicBezTo>
                  <a:pt x="7515972" y="7120500"/>
                  <a:pt x="7527346" y="7122779"/>
                  <a:pt x="7536445" y="7129617"/>
                </a:cubicBezTo>
                <a:cubicBezTo>
                  <a:pt x="7561468" y="7147852"/>
                  <a:pt x="7586490" y="7152411"/>
                  <a:pt x="7613788" y="7136455"/>
                </a:cubicBezTo>
                <a:cubicBezTo>
                  <a:pt x="7616063" y="7150131"/>
                  <a:pt x="7616063" y="7159249"/>
                  <a:pt x="7616063" y="7172925"/>
                </a:cubicBezTo>
                <a:cubicBezTo>
                  <a:pt x="7638811" y="7172925"/>
                  <a:pt x="7661560" y="7175204"/>
                  <a:pt x="7682032" y="7175204"/>
                </a:cubicBezTo>
                <a:lnTo>
                  <a:pt x="7679758" y="7175204"/>
                </a:lnTo>
                <a:cubicBezTo>
                  <a:pt x="7666109" y="7182042"/>
                  <a:pt x="7650186" y="7188880"/>
                  <a:pt x="7634262" y="7193439"/>
                </a:cubicBezTo>
                <a:cubicBezTo>
                  <a:pt x="7627437" y="7197998"/>
                  <a:pt x="7618338" y="7200277"/>
                  <a:pt x="7611514" y="7202557"/>
                </a:cubicBezTo>
                <a:cubicBezTo>
                  <a:pt x="7602414" y="7207115"/>
                  <a:pt x="7591040" y="7191160"/>
                  <a:pt x="7584216" y="7202557"/>
                </a:cubicBezTo>
                <a:cubicBezTo>
                  <a:pt x="7577392" y="7218512"/>
                  <a:pt x="7568292" y="7209395"/>
                  <a:pt x="7559193" y="7211674"/>
                </a:cubicBezTo>
                <a:cubicBezTo>
                  <a:pt x="7550094" y="7213953"/>
                  <a:pt x="7538720" y="7211674"/>
                  <a:pt x="7529620" y="7211674"/>
                </a:cubicBezTo>
                <a:cubicBezTo>
                  <a:pt x="7518246" y="7211674"/>
                  <a:pt x="7509147" y="7209395"/>
                  <a:pt x="7500048" y="7209395"/>
                </a:cubicBezTo>
                <a:cubicBezTo>
                  <a:pt x="7486399" y="7209395"/>
                  <a:pt x="7472750" y="7209395"/>
                  <a:pt x="7459101" y="7209395"/>
                </a:cubicBezTo>
                <a:cubicBezTo>
                  <a:pt x="7452277" y="7209395"/>
                  <a:pt x="7445452" y="7211674"/>
                  <a:pt x="7438628" y="7209395"/>
                </a:cubicBezTo>
                <a:cubicBezTo>
                  <a:pt x="7404506" y="7197998"/>
                  <a:pt x="7372658" y="7204836"/>
                  <a:pt x="7338536" y="7211674"/>
                </a:cubicBezTo>
                <a:cubicBezTo>
                  <a:pt x="7318063" y="7216233"/>
                  <a:pt x="7295315" y="7213953"/>
                  <a:pt x="7263468" y="7216233"/>
                </a:cubicBezTo>
                <a:cubicBezTo>
                  <a:pt x="7290766" y="7220791"/>
                  <a:pt x="7308964" y="7223071"/>
                  <a:pt x="7327162" y="7225350"/>
                </a:cubicBezTo>
                <a:cubicBezTo>
                  <a:pt x="7327162" y="7227629"/>
                  <a:pt x="7327162" y="7229909"/>
                  <a:pt x="7327162" y="7232188"/>
                </a:cubicBezTo>
                <a:cubicBezTo>
                  <a:pt x="7308964" y="7234467"/>
                  <a:pt x="7290766" y="7232188"/>
                  <a:pt x="7272567" y="7236747"/>
                </a:cubicBezTo>
                <a:cubicBezTo>
                  <a:pt x="7252094" y="7241306"/>
                  <a:pt x="7233895" y="7239026"/>
                  <a:pt x="7213422" y="7234467"/>
                </a:cubicBezTo>
                <a:cubicBezTo>
                  <a:pt x="7186124" y="7227629"/>
                  <a:pt x="7154276" y="7227629"/>
                  <a:pt x="7122430" y="7227629"/>
                </a:cubicBezTo>
                <a:cubicBezTo>
                  <a:pt x="7133804" y="7234467"/>
                  <a:pt x="7142902" y="7241306"/>
                  <a:pt x="7154276" y="7248144"/>
                </a:cubicBezTo>
                <a:cubicBezTo>
                  <a:pt x="7149727" y="7248144"/>
                  <a:pt x="7147452" y="7250423"/>
                  <a:pt x="7145178" y="7250423"/>
                </a:cubicBezTo>
                <a:cubicBezTo>
                  <a:pt x="7108780" y="7243585"/>
                  <a:pt x="7074658" y="7250423"/>
                  <a:pt x="7040536" y="7259540"/>
                </a:cubicBezTo>
                <a:cubicBezTo>
                  <a:pt x="7022338" y="7266378"/>
                  <a:pt x="7006414" y="7264099"/>
                  <a:pt x="6995040" y="7248144"/>
                </a:cubicBezTo>
                <a:cubicBezTo>
                  <a:pt x="6979116" y="7227629"/>
                  <a:pt x="6954094" y="7223071"/>
                  <a:pt x="6931346" y="7223071"/>
                </a:cubicBezTo>
                <a:cubicBezTo>
                  <a:pt x="6876750" y="7218512"/>
                  <a:pt x="6819880" y="7216233"/>
                  <a:pt x="6765284" y="7213953"/>
                </a:cubicBezTo>
                <a:cubicBezTo>
                  <a:pt x="6756185" y="7213953"/>
                  <a:pt x="6747086" y="7213953"/>
                  <a:pt x="6740261" y="7209395"/>
                </a:cubicBezTo>
                <a:cubicBezTo>
                  <a:pt x="6706139" y="7193439"/>
                  <a:pt x="6667468" y="7195718"/>
                  <a:pt x="6631070" y="7191160"/>
                </a:cubicBezTo>
                <a:cubicBezTo>
                  <a:pt x="6592398" y="7186601"/>
                  <a:pt x="6553727" y="7186601"/>
                  <a:pt x="6515055" y="7179763"/>
                </a:cubicBezTo>
                <a:cubicBezTo>
                  <a:pt x="6494582" y="7175204"/>
                  <a:pt x="6474108" y="7172925"/>
                  <a:pt x="6451360" y="7170646"/>
                </a:cubicBezTo>
                <a:cubicBezTo>
                  <a:pt x="6424062" y="7170646"/>
                  <a:pt x="6396765" y="7166087"/>
                  <a:pt x="6371742" y="7166087"/>
                </a:cubicBezTo>
                <a:cubicBezTo>
                  <a:pt x="6312597" y="7161528"/>
                  <a:pt x="6255726" y="7159249"/>
                  <a:pt x="6198856" y="7156969"/>
                </a:cubicBezTo>
                <a:cubicBezTo>
                  <a:pt x="6192032" y="7154690"/>
                  <a:pt x="6185208" y="7154690"/>
                  <a:pt x="6178383" y="7154690"/>
                </a:cubicBezTo>
                <a:cubicBezTo>
                  <a:pt x="6119238" y="7163807"/>
                  <a:pt x="6062368" y="7150131"/>
                  <a:pt x="6003223" y="7152411"/>
                </a:cubicBezTo>
                <a:cubicBezTo>
                  <a:pt x="6000948" y="7152411"/>
                  <a:pt x="5998673" y="7150131"/>
                  <a:pt x="5994124" y="7145573"/>
                </a:cubicBezTo>
                <a:cubicBezTo>
                  <a:pt x="6003223" y="7143293"/>
                  <a:pt x="6010047" y="7141014"/>
                  <a:pt x="6016872" y="7136455"/>
                </a:cubicBezTo>
                <a:cubicBezTo>
                  <a:pt x="6014597" y="7134176"/>
                  <a:pt x="6014597" y="7129617"/>
                  <a:pt x="6012322" y="7129617"/>
                </a:cubicBezTo>
                <a:cubicBezTo>
                  <a:pt x="5998673" y="7129617"/>
                  <a:pt x="5982750" y="7131897"/>
                  <a:pt x="5966826" y="7131897"/>
                </a:cubicBezTo>
                <a:cubicBezTo>
                  <a:pt x="5969100" y="7138735"/>
                  <a:pt x="5969100" y="7143293"/>
                  <a:pt x="5969100" y="7152411"/>
                </a:cubicBezTo>
                <a:cubicBezTo>
                  <a:pt x="5955452" y="7154690"/>
                  <a:pt x="5944078" y="7156969"/>
                  <a:pt x="5928154" y="7161528"/>
                </a:cubicBezTo>
                <a:cubicBezTo>
                  <a:pt x="5930429" y="7147852"/>
                  <a:pt x="5932704" y="7138735"/>
                  <a:pt x="5934978" y="7129617"/>
                </a:cubicBezTo>
                <a:cubicBezTo>
                  <a:pt x="5930429" y="7127338"/>
                  <a:pt x="5925879" y="7125058"/>
                  <a:pt x="5921330" y="7125058"/>
                </a:cubicBezTo>
                <a:cubicBezTo>
                  <a:pt x="5878108" y="7118220"/>
                  <a:pt x="5875834" y="7120500"/>
                  <a:pt x="5873558" y="7166087"/>
                </a:cubicBezTo>
                <a:cubicBezTo>
                  <a:pt x="5880383" y="7170646"/>
                  <a:pt x="5889482" y="7175204"/>
                  <a:pt x="5898582" y="7182042"/>
                </a:cubicBezTo>
                <a:cubicBezTo>
                  <a:pt x="5869009" y="7182042"/>
                  <a:pt x="5841712" y="7184322"/>
                  <a:pt x="5814414" y="7184322"/>
                </a:cubicBezTo>
                <a:cubicBezTo>
                  <a:pt x="5814414" y="7175204"/>
                  <a:pt x="5821238" y="7175204"/>
                  <a:pt x="5828062" y="7172925"/>
                </a:cubicBezTo>
                <a:cubicBezTo>
                  <a:pt x="5832612" y="7172925"/>
                  <a:pt x="5837162" y="7170646"/>
                  <a:pt x="5843986" y="7166087"/>
                </a:cubicBezTo>
                <a:cubicBezTo>
                  <a:pt x="5828062" y="7159249"/>
                  <a:pt x="5814414" y="7154690"/>
                  <a:pt x="5796215" y="7145573"/>
                </a:cubicBezTo>
                <a:cubicBezTo>
                  <a:pt x="5807589" y="7138735"/>
                  <a:pt x="5816688" y="7131897"/>
                  <a:pt x="5825788" y="7127338"/>
                </a:cubicBezTo>
                <a:cubicBezTo>
                  <a:pt x="5727971" y="7109103"/>
                  <a:pt x="5727971" y="7109103"/>
                  <a:pt x="5696124" y="7127338"/>
                </a:cubicBezTo>
                <a:cubicBezTo>
                  <a:pt x="5700673" y="7141014"/>
                  <a:pt x="5705222" y="7154690"/>
                  <a:pt x="5709772" y="7170646"/>
                </a:cubicBezTo>
                <a:cubicBezTo>
                  <a:pt x="5698398" y="7170646"/>
                  <a:pt x="5687024" y="7168366"/>
                  <a:pt x="5677925" y="7168366"/>
                </a:cubicBezTo>
                <a:cubicBezTo>
                  <a:pt x="5657452" y="7168366"/>
                  <a:pt x="5634704" y="7166087"/>
                  <a:pt x="5614230" y="7168366"/>
                </a:cubicBezTo>
                <a:cubicBezTo>
                  <a:pt x="5593757" y="7172925"/>
                  <a:pt x="5582383" y="7163807"/>
                  <a:pt x="5568734" y="7156969"/>
                </a:cubicBezTo>
                <a:cubicBezTo>
                  <a:pt x="5564184" y="7143293"/>
                  <a:pt x="5561910" y="7129617"/>
                  <a:pt x="5559635" y="7118220"/>
                </a:cubicBezTo>
                <a:cubicBezTo>
                  <a:pt x="5545986" y="7109103"/>
                  <a:pt x="5520963" y="7113662"/>
                  <a:pt x="5518688" y="7127338"/>
                </a:cubicBezTo>
                <a:cubicBezTo>
                  <a:pt x="5518688" y="7129617"/>
                  <a:pt x="5520963" y="7136455"/>
                  <a:pt x="5523238" y="7138735"/>
                </a:cubicBezTo>
                <a:cubicBezTo>
                  <a:pt x="5530062" y="7143293"/>
                  <a:pt x="5536886" y="7145573"/>
                  <a:pt x="5548261" y="7150131"/>
                </a:cubicBezTo>
                <a:cubicBezTo>
                  <a:pt x="5543711" y="7154690"/>
                  <a:pt x="5539162" y="7163807"/>
                  <a:pt x="5534612" y="7163807"/>
                </a:cubicBezTo>
                <a:cubicBezTo>
                  <a:pt x="5493666" y="7166087"/>
                  <a:pt x="5452718" y="7163807"/>
                  <a:pt x="5416322" y="7147852"/>
                </a:cubicBezTo>
                <a:cubicBezTo>
                  <a:pt x="5411772" y="7147852"/>
                  <a:pt x="5407222" y="7143293"/>
                  <a:pt x="5400398" y="7136455"/>
                </a:cubicBezTo>
                <a:cubicBezTo>
                  <a:pt x="5414047" y="7134176"/>
                  <a:pt x="5423146" y="7134176"/>
                  <a:pt x="5432246" y="7131897"/>
                </a:cubicBezTo>
                <a:cubicBezTo>
                  <a:pt x="5448169" y="7131897"/>
                  <a:pt x="5450444" y="7120500"/>
                  <a:pt x="5452718" y="7104544"/>
                </a:cubicBezTo>
                <a:cubicBezTo>
                  <a:pt x="5445894" y="7104544"/>
                  <a:pt x="5441344" y="7102265"/>
                  <a:pt x="5434520" y="7102265"/>
                </a:cubicBezTo>
                <a:cubicBezTo>
                  <a:pt x="5416322" y="7104544"/>
                  <a:pt x="5398124" y="7113662"/>
                  <a:pt x="5382200" y="7097706"/>
                </a:cubicBezTo>
                <a:cubicBezTo>
                  <a:pt x="5379925" y="7093147"/>
                  <a:pt x="5370826" y="7093147"/>
                  <a:pt x="5364001" y="7095427"/>
                </a:cubicBezTo>
                <a:cubicBezTo>
                  <a:pt x="5343528" y="7102265"/>
                  <a:pt x="5323054" y="7106824"/>
                  <a:pt x="5300306" y="7099986"/>
                </a:cubicBezTo>
                <a:cubicBezTo>
                  <a:pt x="5293482" y="7097706"/>
                  <a:pt x="5279833" y="7109103"/>
                  <a:pt x="5282108" y="7113662"/>
                </a:cubicBezTo>
                <a:cubicBezTo>
                  <a:pt x="5286658" y="7120500"/>
                  <a:pt x="5293482" y="7127338"/>
                  <a:pt x="5300306" y="7129617"/>
                </a:cubicBezTo>
                <a:cubicBezTo>
                  <a:pt x="5304856" y="7131897"/>
                  <a:pt x="5311680" y="7129617"/>
                  <a:pt x="5318505" y="7127338"/>
                </a:cubicBezTo>
                <a:cubicBezTo>
                  <a:pt x="5332154" y="7122779"/>
                  <a:pt x="5343528" y="7127338"/>
                  <a:pt x="5357176" y="7136455"/>
                </a:cubicBezTo>
                <a:cubicBezTo>
                  <a:pt x="5320780" y="7166087"/>
                  <a:pt x="5284383" y="7147852"/>
                  <a:pt x="5247986" y="7138735"/>
                </a:cubicBezTo>
                <a:cubicBezTo>
                  <a:pt x="5250260" y="7131897"/>
                  <a:pt x="5254810" y="7125058"/>
                  <a:pt x="5259360" y="7115941"/>
                </a:cubicBezTo>
                <a:cubicBezTo>
                  <a:pt x="5218414" y="7097706"/>
                  <a:pt x="5172917" y="7102265"/>
                  <a:pt x="5136520" y="7081751"/>
                </a:cubicBezTo>
                <a:lnTo>
                  <a:pt x="5096151" y="7100911"/>
                </a:lnTo>
                <a:lnTo>
                  <a:pt x="5095574" y="7099986"/>
                </a:lnTo>
                <a:lnTo>
                  <a:pt x="5093379" y="7100437"/>
                </a:lnTo>
                <a:lnTo>
                  <a:pt x="5093868" y="7089444"/>
                </a:lnTo>
                <a:cubicBezTo>
                  <a:pt x="5092730" y="7085740"/>
                  <a:pt x="5089887" y="7082891"/>
                  <a:pt x="5084200" y="7081751"/>
                </a:cubicBezTo>
                <a:cubicBezTo>
                  <a:pt x="5072826" y="7079471"/>
                  <a:pt x="5061452" y="7077192"/>
                  <a:pt x="5050078" y="7079471"/>
                </a:cubicBezTo>
                <a:cubicBezTo>
                  <a:pt x="5027330" y="7081751"/>
                  <a:pt x="5006856" y="7077192"/>
                  <a:pt x="4986382" y="7088589"/>
                </a:cubicBezTo>
                <a:cubicBezTo>
                  <a:pt x="4975008" y="7097706"/>
                  <a:pt x="4972734" y="7106824"/>
                  <a:pt x="4972734" y="7118220"/>
                </a:cubicBezTo>
                <a:lnTo>
                  <a:pt x="4872326" y="7129399"/>
                </a:lnTo>
                <a:lnTo>
                  <a:pt x="4870083" y="7111667"/>
                </a:lnTo>
                <a:cubicBezTo>
                  <a:pt x="4867524" y="7105114"/>
                  <a:pt x="4863543" y="7098846"/>
                  <a:pt x="4858994" y="7093147"/>
                </a:cubicBezTo>
                <a:cubicBezTo>
                  <a:pt x="4831696" y="7081751"/>
                  <a:pt x="4811222" y="7102265"/>
                  <a:pt x="4786200" y="7104544"/>
                </a:cubicBezTo>
                <a:cubicBezTo>
                  <a:pt x="4788474" y="7127338"/>
                  <a:pt x="4824871" y="7115941"/>
                  <a:pt x="4815772" y="7147852"/>
                </a:cubicBezTo>
                <a:cubicBezTo>
                  <a:pt x="4799848" y="7150131"/>
                  <a:pt x="4783924" y="7150131"/>
                  <a:pt x="4770276" y="7152411"/>
                </a:cubicBezTo>
                <a:cubicBezTo>
                  <a:pt x="4763452" y="7141014"/>
                  <a:pt x="4758902" y="7131897"/>
                  <a:pt x="4752077" y="7125058"/>
                </a:cubicBezTo>
                <a:cubicBezTo>
                  <a:pt x="4740703" y="7118220"/>
                  <a:pt x="4729329" y="7118220"/>
                  <a:pt x="4720230" y="7127338"/>
                </a:cubicBezTo>
                <a:cubicBezTo>
                  <a:pt x="4720230" y="7145573"/>
                  <a:pt x="4722504" y="7163807"/>
                  <a:pt x="4722504" y="7182042"/>
                </a:cubicBezTo>
                <a:cubicBezTo>
                  <a:pt x="4747528" y="7191160"/>
                  <a:pt x="4772550" y="7195718"/>
                  <a:pt x="4802123" y="7195718"/>
                </a:cubicBezTo>
                <a:cubicBezTo>
                  <a:pt x="4838520" y="7193439"/>
                  <a:pt x="4874917" y="7193439"/>
                  <a:pt x="4911314" y="7200277"/>
                </a:cubicBezTo>
                <a:cubicBezTo>
                  <a:pt x="4929512" y="7202557"/>
                  <a:pt x="4947711" y="7193439"/>
                  <a:pt x="4965910" y="7195718"/>
                </a:cubicBezTo>
                <a:cubicBezTo>
                  <a:pt x="4984108" y="7197998"/>
                  <a:pt x="5000032" y="7202557"/>
                  <a:pt x="5018230" y="7202557"/>
                </a:cubicBezTo>
                <a:cubicBezTo>
                  <a:pt x="5031879" y="7204836"/>
                  <a:pt x="5036428" y="7191160"/>
                  <a:pt x="5027330" y="7177484"/>
                </a:cubicBezTo>
                <a:cubicBezTo>
                  <a:pt x="5025054" y="7175204"/>
                  <a:pt x="5022780" y="7170646"/>
                  <a:pt x="5020505" y="7166087"/>
                </a:cubicBezTo>
                <a:cubicBezTo>
                  <a:pt x="5038704" y="7159249"/>
                  <a:pt x="5054627" y="7154690"/>
                  <a:pt x="5045528" y="7129617"/>
                </a:cubicBezTo>
                <a:cubicBezTo>
                  <a:pt x="5038704" y="7129617"/>
                  <a:pt x="5029604" y="7129617"/>
                  <a:pt x="5022780" y="7129617"/>
                </a:cubicBezTo>
                <a:cubicBezTo>
                  <a:pt x="5013680" y="7129617"/>
                  <a:pt x="5006856" y="7127338"/>
                  <a:pt x="5006856" y="7118220"/>
                </a:cubicBezTo>
                <a:lnTo>
                  <a:pt x="5093379" y="7100437"/>
                </a:lnTo>
                <a:lnTo>
                  <a:pt x="5093298" y="7102265"/>
                </a:lnTo>
                <a:lnTo>
                  <a:pt x="5096151" y="7100911"/>
                </a:lnTo>
                <a:lnTo>
                  <a:pt x="5106948" y="7118220"/>
                </a:lnTo>
                <a:cubicBezTo>
                  <a:pt x="5093298" y="7125058"/>
                  <a:pt x="5079650" y="7129617"/>
                  <a:pt x="5063726" y="7134176"/>
                </a:cubicBezTo>
                <a:cubicBezTo>
                  <a:pt x="5066001" y="7159249"/>
                  <a:pt x="5086474" y="7179763"/>
                  <a:pt x="5059176" y="7202557"/>
                </a:cubicBezTo>
                <a:cubicBezTo>
                  <a:pt x="5075100" y="7207115"/>
                  <a:pt x="5081924" y="7211674"/>
                  <a:pt x="5086474" y="7209395"/>
                </a:cubicBezTo>
                <a:cubicBezTo>
                  <a:pt x="5120596" y="7207115"/>
                  <a:pt x="5152444" y="7202557"/>
                  <a:pt x="5184291" y="7216233"/>
                </a:cubicBezTo>
                <a:cubicBezTo>
                  <a:pt x="5202490" y="7220791"/>
                  <a:pt x="5220688" y="7220791"/>
                  <a:pt x="5238886" y="7220791"/>
                </a:cubicBezTo>
                <a:cubicBezTo>
                  <a:pt x="5293482" y="7218512"/>
                  <a:pt x="5345802" y="7229909"/>
                  <a:pt x="5400398" y="7225350"/>
                </a:cubicBezTo>
                <a:cubicBezTo>
                  <a:pt x="5425421" y="7223071"/>
                  <a:pt x="5452718" y="7225350"/>
                  <a:pt x="5480016" y="7232188"/>
                </a:cubicBezTo>
                <a:cubicBezTo>
                  <a:pt x="5502764" y="7236747"/>
                  <a:pt x="5525512" y="7234467"/>
                  <a:pt x="5550536" y="7234467"/>
                </a:cubicBezTo>
                <a:cubicBezTo>
                  <a:pt x="5548261" y="7225350"/>
                  <a:pt x="5548261" y="7216233"/>
                  <a:pt x="5545986" y="7207115"/>
                </a:cubicBezTo>
                <a:cubicBezTo>
                  <a:pt x="5561910" y="7207115"/>
                  <a:pt x="5575558" y="7204836"/>
                  <a:pt x="5589208" y="7207115"/>
                </a:cubicBezTo>
                <a:cubicBezTo>
                  <a:pt x="5636978" y="7216233"/>
                  <a:pt x="5666551" y="7218512"/>
                  <a:pt x="5709772" y="7209395"/>
                </a:cubicBezTo>
                <a:cubicBezTo>
                  <a:pt x="5723421" y="7207115"/>
                  <a:pt x="5732520" y="7213953"/>
                  <a:pt x="5739345" y="7223071"/>
                </a:cubicBezTo>
                <a:cubicBezTo>
                  <a:pt x="5743894" y="7229909"/>
                  <a:pt x="5743894" y="7239026"/>
                  <a:pt x="5748444" y="7248144"/>
                </a:cubicBezTo>
                <a:cubicBezTo>
                  <a:pt x="5793940" y="7257261"/>
                  <a:pt x="5841712" y="7257261"/>
                  <a:pt x="5887208" y="7259540"/>
                </a:cubicBezTo>
                <a:cubicBezTo>
                  <a:pt x="5914505" y="7259540"/>
                  <a:pt x="5944078" y="7261820"/>
                  <a:pt x="5971376" y="7261820"/>
                </a:cubicBezTo>
                <a:cubicBezTo>
                  <a:pt x="5998673" y="7284613"/>
                  <a:pt x="6030520" y="7275496"/>
                  <a:pt x="6060093" y="7277775"/>
                </a:cubicBezTo>
                <a:cubicBezTo>
                  <a:pt x="6073742" y="7277775"/>
                  <a:pt x="6085116" y="7275496"/>
                  <a:pt x="6096490" y="7286893"/>
                </a:cubicBezTo>
                <a:cubicBezTo>
                  <a:pt x="6101040" y="7289172"/>
                  <a:pt x="6107864" y="7291451"/>
                  <a:pt x="6110139" y="7291451"/>
                </a:cubicBezTo>
                <a:cubicBezTo>
                  <a:pt x="6155635" y="7282334"/>
                  <a:pt x="6201132" y="7296010"/>
                  <a:pt x="6246628" y="7291451"/>
                </a:cubicBezTo>
                <a:cubicBezTo>
                  <a:pt x="6251177" y="7289172"/>
                  <a:pt x="6255726" y="7289172"/>
                  <a:pt x="6260276" y="7291451"/>
                </a:cubicBezTo>
                <a:cubicBezTo>
                  <a:pt x="6289849" y="7307407"/>
                  <a:pt x="6319422" y="7302848"/>
                  <a:pt x="6353544" y="7300569"/>
                </a:cubicBezTo>
                <a:cubicBezTo>
                  <a:pt x="6396765" y="7296010"/>
                  <a:pt x="6439986" y="7300569"/>
                  <a:pt x="6480933" y="7334759"/>
                </a:cubicBezTo>
                <a:cubicBezTo>
                  <a:pt x="6467284" y="7334759"/>
                  <a:pt x="6458185" y="7337038"/>
                  <a:pt x="6449086" y="7337038"/>
                </a:cubicBezTo>
                <a:cubicBezTo>
                  <a:pt x="6417238" y="7334759"/>
                  <a:pt x="6385391" y="7332480"/>
                  <a:pt x="6353544" y="7330200"/>
                </a:cubicBezTo>
                <a:cubicBezTo>
                  <a:pt x="6298948" y="7325642"/>
                  <a:pt x="6242078" y="7321083"/>
                  <a:pt x="6187482" y="7314245"/>
                </a:cubicBezTo>
                <a:cubicBezTo>
                  <a:pt x="6182933" y="7314245"/>
                  <a:pt x="6178383" y="7314245"/>
                  <a:pt x="6171558" y="7314245"/>
                </a:cubicBezTo>
                <a:cubicBezTo>
                  <a:pt x="6141986" y="7314245"/>
                  <a:pt x="6141986" y="7314245"/>
                  <a:pt x="6112414" y="7334759"/>
                </a:cubicBezTo>
                <a:cubicBezTo>
                  <a:pt x="6105589" y="7330200"/>
                  <a:pt x="6101040" y="7323362"/>
                  <a:pt x="6094215" y="7318804"/>
                </a:cubicBezTo>
                <a:cubicBezTo>
                  <a:pt x="6082841" y="7311966"/>
                  <a:pt x="6071467" y="7311966"/>
                  <a:pt x="6060093" y="7321083"/>
                </a:cubicBezTo>
                <a:cubicBezTo>
                  <a:pt x="6050994" y="7327921"/>
                  <a:pt x="6044170" y="7334759"/>
                  <a:pt x="6035070" y="7341597"/>
                </a:cubicBezTo>
                <a:cubicBezTo>
                  <a:pt x="6069192" y="7371229"/>
                  <a:pt x="6110139" y="7352994"/>
                  <a:pt x="6144261" y="7357553"/>
                </a:cubicBezTo>
                <a:cubicBezTo>
                  <a:pt x="6151086" y="7348435"/>
                  <a:pt x="6155635" y="7341597"/>
                  <a:pt x="6162460" y="7339318"/>
                </a:cubicBezTo>
                <a:cubicBezTo>
                  <a:pt x="6167009" y="7337038"/>
                  <a:pt x="6173834" y="7341597"/>
                  <a:pt x="6178383" y="7346156"/>
                </a:cubicBezTo>
                <a:cubicBezTo>
                  <a:pt x="6189757" y="7352994"/>
                  <a:pt x="6196582" y="7364391"/>
                  <a:pt x="6207956" y="7375788"/>
                </a:cubicBezTo>
                <a:cubicBezTo>
                  <a:pt x="6228429" y="7371229"/>
                  <a:pt x="6248902" y="7364391"/>
                  <a:pt x="6271650" y="7355273"/>
                </a:cubicBezTo>
                <a:cubicBezTo>
                  <a:pt x="6294398" y="7373508"/>
                  <a:pt x="6326246" y="7375788"/>
                  <a:pt x="6348994" y="7398581"/>
                </a:cubicBezTo>
                <a:cubicBezTo>
                  <a:pt x="6355818" y="7405419"/>
                  <a:pt x="6367192" y="7403140"/>
                  <a:pt x="6378566" y="7405419"/>
                </a:cubicBezTo>
                <a:cubicBezTo>
                  <a:pt x="6392216" y="7407698"/>
                  <a:pt x="6408139" y="7407698"/>
                  <a:pt x="6421788" y="7414537"/>
                </a:cubicBezTo>
                <a:cubicBezTo>
                  <a:pt x="6417238" y="7416816"/>
                  <a:pt x="6412688" y="7419095"/>
                  <a:pt x="6405864" y="7419095"/>
                </a:cubicBezTo>
                <a:cubicBezTo>
                  <a:pt x="6337620" y="7414537"/>
                  <a:pt x="6269376" y="7409978"/>
                  <a:pt x="6201132" y="7405419"/>
                </a:cubicBezTo>
                <a:cubicBezTo>
                  <a:pt x="6144261" y="7400860"/>
                  <a:pt x="6089666" y="7394022"/>
                  <a:pt x="6035070" y="7389464"/>
                </a:cubicBezTo>
                <a:cubicBezTo>
                  <a:pt x="6014597" y="7387184"/>
                  <a:pt x="5996398" y="7384905"/>
                  <a:pt x="5978200" y="7384905"/>
                </a:cubicBezTo>
                <a:cubicBezTo>
                  <a:pt x="5971376" y="7382626"/>
                  <a:pt x="5964551" y="7380346"/>
                  <a:pt x="5960002" y="7380346"/>
                </a:cubicBezTo>
                <a:cubicBezTo>
                  <a:pt x="5925879" y="7389464"/>
                  <a:pt x="5891757" y="7378067"/>
                  <a:pt x="5857635" y="7375788"/>
                </a:cubicBezTo>
                <a:cubicBezTo>
                  <a:pt x="5848536" y="7375788"/>
                  <a:pt x="5839436" y="7375788"/>
                  <a:pt x="5828062" y="7375788"/>
                </a:cubicBezTo>
                <a:cubicBezTo>
                  <a:pt x="5780292" y="7375788"/>
                  <a:pt x="5734795" y="7378067"/>
                  <a:pt x="5687024" y="7366670"/>
                </a:cubicBezTo>
                <a:cubicBezTo>
                  <a:pt x="5680200" y="7364391"/>
                  <a:pt x="5671100" y="7364391"/>
                  <a:pt x="5662002" y="7364391"/>
                </a:cubicBezTo>
                <a:cubicBezTo>
                  <a:pt x="5607406" y="7362111"/>
                  <a:pt x="5555085" y="7359832"/>
                  <a:pt x="5500490" y="7357553"/>
                </a:cubicBezTo>
                <a:cubicBezTo>
                  <a:pt x="5484566" y="7357553"/>
                  <a:pt x="5470917" y="7355273"/>
                  <a:pt x="5457268" y="7362111"/>
                </a:cubicBezTo>
                <a:cubicBezTo>
                  <a:pt x="5448169" y="7366670"/>
                  <a:pt x="5436795" y="7366670"/>
                  <a:pt x="5432246" y="7352994"/>
                </a:cubicBezTo>
                <a:cubicBezTo>
                  <a:pt x="5429970" y="7348435"/>
                  <a:pt x="5420872" y="7346156"/>
                  <a:pt x="5414047" y="7343877"/>
                </a:cubicBezTo>
                <a:cubicBezTo>
                  <a:pt x="5329879" y="7339318"/>
                  <a:pt x="5245711" y="7339318"/>
                  <a:pt x="5163818" y="7330200"/>
                </a:cubicBezTo>
                <a:cubicBezTo>
                  <a:pt x="5084200" y="7321083"/>
                  <a:pt x="5004581" y="7327921"/>
                  <a:pt x="4927238" y="7316524"/>
                </a:cubicBezTo>
                <a:cubicBezTo>
                  <a:pt x="4904490" y="7311966"/>
                  <a:pt x="4881742" y="7314245"/>
                  <a:pt x="4861268" y="7314245"/>
                </a:cubicBezTo>
                <a:cubicBezTo>
                  <a:pt x="4829421" y="7311966"/>
                  <a:pt x="4799848" y="7309686"/>
                  <a:pt x="4770276" y="7307407"/>
                </a:cubicBezTo>
                <a:cubicBezTo>
                  <a:pt x="4733879" y="7305127"/>
                  <a:pt x="4699756" y="7305127"/>
                  <a:pt x="4663360" y="7305127"/>
                </a:cubicBezTo>
                <a:cubicBezTo>
                  <a:pt x="4620138" y="7305127"/>
                  <a:pt x="4576917" y="7302848"/>
                  <a:pt x="4533696" y="7302848"/>
                </a:cubicBezTo>
                <a:cubicBezTo>
                  <a:pt x="4483650" y="7300569"/>
                  <a:pt x="4431329" y="7298289"/>
                  <a:pt x="4381283" y="7298289"/>
                </a:cubicBezTo>
                <a:cubicBezTo>
                  <a:pt x="4367634" y="7298289"/>
                  <a:pt x="4353986" y="7298289"/>
                  <a:pt x="4342612" y="7305127"/>
                </a:cubicBezTo>
                <a:cubicBezTo>
                  <a:pt x="4317588" y="7314245"/>
                  <a:pt x="4303940" y="7302848"/>
                  <a:pt x="4294840" y="7284613"/>
                </a:cubicBezTo>
                <a:cubicBezTo>
                  <a:pt x="4240245" y="7282334"/>
                  <a:pt x="4192474" y="7280055"/>
                  <a:pt x="4144703" y="7280055"/>
                </a:cubicBezTo>
                <a:cubicBezTo>
                  <a:pt x="4110581" y="7280055"/>
                  <a:pt x="4076459" y="7282334"/>
                  <a:pt x="4044611" y="7286893"/>
                </a:cubicBezTo>
                <a:cubicBezTo>
                  <a:pt x="4035512" y="7286893"/>
                  <a:pt x="4028688" y="7291451"/>
                  <a:pt x="4019588" y="7296010"/>
                </a:cubicBezTo>
                <a:cubicBezTo>
                  <a:pt x="3992291" y="7273217"/>
                  <a:pt x="3962718" y="7273217"/>
                  <a:pt x="3928596" y="7280055"/>
                </a:cubicBezTo>
                <a:cubicBezTo>
                  <a:pt x="3901298" y="7284613"/>
                  <a:pt x="3871726" y="7284613"/>
                  <a:pt x="3839878" y="7286893"/>
                </a:cubicBezTo>
                <a:cubicBezTo>
                  <a:pt x="3842153" y="7293731"/>
                  <a:pt x="3844428" y="7302848"/>
                  <a:pt x="3846703" y="7311966"/>
                </a:cubicBezTo>
                <a:cubicBezTo>
                  <a:pt x="3837604" y="7311966"/>
                  <a:pt x="3826230" y="7311966"/>
                  <a:pt x="3821680" y="7307407"/>
                </a:cubicBezTo>
                <a:cubicBezTo>
                  <a:pt x="3798932" y="7282334"/>
                  <a:pt x="3773910" y="7286893"/>
                  <a:pt x="3748886" y="7298289"/>
                </a:cubicBezTo>
                <a:cubicBezTo>
                  <a:pt x="3723863" y="7307407"/>
                  <a:pt x="3701116" y="7314245"/>
                  <a:pt x="3676093" y="7323362"/>
                </a:cubicBezTo>
                <a:cubicBezTo>
                  <a:pt x="3664718" y="7327921"/>
                  <a:pt x="3657894" y="7334759"/>
                  <a:pt x="3653345" y="7346156"/>
                </a:cubicBezTo>
                <a:cubicBezTo>
                  <a:pt x="3651069" y="7350715"/>
                  <a:pt x="3646520" y="7352994"/>
                  <a:pt x="3641971" y="7355273"/>
                </a:cubicBezTo>
                <a:cubicBezTo>
                  <a:pt x="3639696" y="7348435"/>
                  <a:pt x="3637421" y="7343877"/>
                  <a:pt x="3632872" y="7334759"/>
                </a:cubicBezTo>
                <a:cubicBezTo>
                  <a:pt x="3619223" y="7343877"/>
                  <a:pt x="3607848" y="7350715"/>
                  <a:pt x="3596475" y="7357553"/>
                </a:cubicBezTo>
                <a:cubicBezTo>
                  <a:pt x="3580551" y="7352994"/>
                  <a:pt x="3566902" y="7346156"/>
                  <a:pt x="3550978" y="7346156"/>
                </a:cubicBezTo>
                <a:cubicBezTo>
                  <a:pt x="3532779" y="7343877"/>
                  <a:pt x="3525955" y="7350715"/>
                  <a:pt x="3519131" y="7368949"/>
                </a:cubicBezTo>
                <a:cubicBezTo>
                  <a:pt x="3516855" y="7375788"/>
                  <a:pt x="3512307" y="7384905"/>
                  <a:pt x="3507757" y="7391743"/>
                </a:cubicBezTo>
                <a:cubicBezTo>
                  <a:pt x="3507757" y="7394022"/>
                  <a:pt x="3500933" y="7391743"/>
                  <a:pt x="3498658" y="7394022"/>
                </a:cubicBezTo>
                <a:cubicBezTo>
                  <a:pt x="3496383" y="7389464"/>
                  <a:pt x="3494107" y="7384905"/>
                  <a:pt x="3491833" y="7380346"/>
                </a:cubicBezTo>
                <a:cubicBezTo>
                  <a:pt x="3489558" y="7378067"/>
                  <a:pt x="3489558" y="7373508"/>
                  <a:pt x="3487283" y="7368949"/>
                </a:cubicBezTo>
                <a:cubicBezTo>
                  <a:pt x="3469085" y="7378067"/>
                  <a:pt x="3462261" y="7405419"/>
                  <a:pt x="3437238" y="7396302"/>
                </a:cubicBezTo>
                <a:cubicBezTo>
                  <a:pt x="3448611" y="7371229"/>
                  <a:pt x="3459986" y="7346156"/>
                  <a:pt x="3487283" y="7334759"/>
                </a:cubicBezTo>
                <a:cubicBezTo>
                  <a:pt x="3482734" y="7321083"/>
                  <a:pt x="3473634" y="7325642"/>
                  <a:pt x="3466810" y="7325642"/>
                </a:cubicBezTo>
                <a:cubicBezTo>
                  <a:pt x="3457710" y="7325642"/>
                  <a:pt x="3448611" y="7327921"/>
                  <a:pt x="3441788" y="7327921"/>
                </a:cubicBezTo>
                <a:cubicBezTo>
                  <a:pt x="3430413" y="7325642"/>
                  <a:pt x="3421314" y="7325642"/>
                  <a:pt x="3412214" y="7323362"/>
                </a:cubicBezTo>
                <a:cubicBezTo>
                  <a:pt x="3403116" y="7323362"/>
                  <a:pt x="3394016" y="7325642"/>
                  <a:pt x="3384917" y="7323362"/>
                </a:cubicBezTo>
                <a:cubicBezTo>
                  <a:pt x="3378093" y="7323362"/>
                  <a:pt x="3368993" y="7321083"/>
                  <a:pt x="3357620" y="7321083"/>
                </a:cubicBezTo>
                <a:cubicBezTo>
                  <a:pt x="3355344" y="7323362"/>
                  <a:pt x="3348520" y="7327921"/>
                  <a:pt x="3343971" y="7334759"/>
                </a:cubicBezTo>
                <a:cubicBezTo>
                  <a:pt x="3337145" y="7327921"/>
                  <a:pt x="3325772" y="7321083"/>
                  <a:pt x="3312123" y="7327921"/>
                </a:cubicBezTo>
                <a:cubicBezTo>
                  <a:pt x="3300749" y="7334759"/>
                  <a:pt x="3287100" y="7339318"/>
                  <a:pt x="3271176" y="7327921"/>
                </a:cubicBezTo>
                <a:cubicBezTo>
                  <a:pt x="3275726" y="7323362"/>
                  <a:pt x="3280276" y="7316524"/>
                  <a:pt x="3284826" y="7316524"/>
                </a:cubicBezTo>
                <a:cubicBezTo>
                  <a:pt x="3312123" y="7309686"/>
                  <a:pt x="3339420" y="7305127"/>
                  <a:pt x="3366719" y="7298289"/>
                </a:cubicBezTo>
                <a:cubicBezTo>
                  <a:pt x="3368993" y="7298289"/>
                  <a:pt x="3371268" y="7291451"/>
                  <a:pt x="3373542" y="7286893"/>
                </a:cubicBezTo>
                <a:cubicBezTo>
                  <a:pt x="3373542" y="7284613"/>
                  <a:pt x="3371268" y="7280055"/>
                  <a:pt x="3368993" y="7280055"/>
                </a:cubicBezTo>
                <a:cubicBezTo>
                  <a:pt x="3343971" y="7275496"/>
                  <a:pt x="3318948" y="7270937"/>
                  <a:pt x="3293924" y="7266378"/>
                </a:cubicBezTo>
                <a:cubicBezTo>
                  <a:pt x="3278000" y="7282334"/>
                  <a:pt x="3252978" y="7275496"/>
                  <a:pt x="3232505" y="7284613"/>
                </a:cubicBezTo>
                <a:cubicBezTo>
                  <a:pt x="3230230" y="7286893"/>
                  <a:pt x="3225681" y="7284613"/>
                  <a:pt x="3218855" y="7284613"/>
                </a:cubicBezTo>
                <a:cubicBezTo>
                  <a:pt x="3200658" y="7273217"/>
                  <a:pt x="3193833" y="7252702"/>
                  <a:pt x="3189283" y="7227629"/>
                </a:cubicBezTo>
                <a:cubicBezTo>
                  <a:pt x="3218855" y="7223071"/>
                  <a:pt x="3246154" y="7216233"/>
                  <a:pt x="3273451" y="7220791"/>
                </a:cubicBezTo>
                <a:cubicBezTo>
                  <a:pt x="3296200" y="7225350"/>
                  <a:pt x="3318948" y="7225350"/>
                  <a:pt x="3337145" y="7213953"/>
                </a:cubicBezTo>
                <a:cubicBezTo>
                  <a:pt x="3341696" y="7211674"/>
                  <a:pt x="3346245" y="7204836"/>
                  <a:pt x="3346245" y="7200277"/>
                </a:cubicBezTo>
                <a:cubicBezTo>
                  <a:pt x="3343971" y="7197998"/>
                  <a:pt x="3339420" y="7193439"/>
                  <a:pt x="3334871" y="7193439"/>
                </a:cubicBezTo>
                <a:cubicBezTo>
                  <a:pt x="3325772" y="7193439"/>
                  <a:pt x="3318948" y="7197998"/>
                  <a:pt x="3309848" y="7197998"/>
                </a:cubicBezTo>
                <a:cubicBezTo>
                  <a:pt x="3300749" y="7197998"/>
                  <a:pt x="3291650" y="7197998"/>
                  <a:pt x="3280276" y="7195718"/>
                </a:cubicBezTo>
                <a:cubicBezTo>
                  <a:pt x="3248428" y="7188880"/>
                  <a:pt x="3191558" y="7188880"/>
                  <a:pt x="3157436" y="7200277"/>
                </a:cubicBezTo>
                <a:cubicBezTo>
                  <a:pt x="3155161" y="7200277"/>
                  <a:pt x="3155161" y="7202557"/>
                  <a:pt x="3152886" y="7204836"/>
                </a:cubicBezTo>
                <a:cubicBezTo>
                  <a:pt x="3157436" y="7216233"/>
                  <a:pt x="3164261" y="7227629"/>
                  <a:pt x="3171085" y="7239026"/>
                </a:cubicBezTo>
                <a:cubicBezTo>
                  <a:pt x="3157436" y="7239026"/>
                  <a:pt x="3146062" y="7239026"/>
                  <a:pt x="3132413" y="7239026"/>
                </a:cubicBezTo>
                <a:cubicBezTo>
                  <a:pt x="3134688" y="7227629"/>
                  <a:pt x="3134688" y="7218512"/>
                  <a:pt x="3134688" y="7207115"/>
                </a:cubicBezTo>
                <a:cubicBezTo>
                  <a:pt x="3125589" y="7209395"/>
                  <a:pt x="3118764" y="7211674"/>
                  <a:pt x="3109665" y="7211674"/>
                </a:cubicBezTo>
                <a:cubicBezTo>
                  <a:pt x="3102841" y="7211674"/>
                  <a:pt x="3093741" y="7211674"/>
                  <a:pt x="3084642" y="7213953"/>
                </a:cubicBezTo>
                <a:cubicBezTo>
                  <a:pt x="3073268" y="7213953"/>
                  <a:pt x="3064168" y="7213953"/>
                  <a:pt x="3052795" y="7225350"/>
                </a:cubicBezTo>
                <a:cubicBezTo>
                  <a:pt x="3045971" y="7234467"/>
                  <a:pt x="3025497" y="7229909"/>
                  <a:pt x="3018672" y="7239026"/>
                </a:cubicBezTo>
                <a:cubicBezTo>
                  <a:pt x="3007299" y="7254982"/>
                  <a:pt x="2993650" y="7245864"/>
                  <a:pt x="2982275" y="7245864"/>
                </a:cubicBezTo>
                <a:cubicBezTo>
                  <a:pt x="2936779" y="7245864"/>
                  <a:pt x="2891283" y="7245864"/>
                  <a:pt x="2845787" y="7245864"/>
                </a:cubicBezTo>
                <a:cubicBezTo>
                  <a:pt x="2834413" y="7252702"/>
                  <a:pt x="2848061" y="7261820"/>
                  <a:pt x="2845787" y="7270937"/>
                </a:cubicBezTo>
                <a:cubicBezTo>
                  <a:pt x="2836688" y="7270937"/>
                  <a:pt x="2827589" y="7273217"/>
                  <a:pt x="2818489" y="7268658"/>
                </a:cubicBezTo>
                <a:cubicBezTo>
                  <a:pt x="2779817" y="7252702"/>
                  <a:pt x="2738871" y="7254982"/>
                  <a:pt x="2700199" y="7264099"/>
                </a:cubicBezTo>
                <a:cubicBezTo>
                  <a:pt x="2677451" y="7266378"/>
                  <a:pt x="2661527" y="7275496"/>
                  <a:pt x="2654703" y="7298289"/>
                </a:cubicBezTo>
                <a:cubicBezTo>
                  <a:pt x="2636505" y="7296010"/>
                  <a:pt x="2625130" y="7280055"/>
                  <a:pt x="2606931" y="7282334"/>
                </a:cubicBezTo>
                <a:cubicBezTo>
                  <a:pt x="2593283" y="7284613"/>
                  <a:pt x="2577360" y="7282334"/>
                  <a:pt x="2561436" y="7282334"/>
                </a:cubicBezTo>
                <a:cubicBezTo>
                  <a:pt x="2550061" y="7289172"/>
                  <a:pt x="2536413" y="7300569"/>
                  <a:pt x="2522764" y="7307407"/>
                </a:cubicBezTo>
                <a:cubicBezTo>
                  <a:pt x="2504565" y="7314245"/>
                  <a:pt x="2484092" y="7316524"/>
                  <a:pt x="2465893" y="7325642"/>
                </a:cubicBezTo>
                <a:cubicBezTo>
                  <a:pt x="2440871" y="7339318"/>
                  <a:pt x="2418123" y="7348435"/>
                  <a:pt x="2388550" y="7348435"/>
                </a:cubicBezTo>
                <a:cubicBezTo>
                  <a:pt x="2386275" y="7348435"/>
                  <a:pt x="2381726" y="7352994"/>
                  <a:pt x="2377176" y="7357553"/>
                </a:cubicBezTo>
                <a:cubicBezTo>
                  <a:pt x="2372626" y="7339318"/>
                  <a:pt x="2390825" y="7332480"/>
                  <a:pt x="2397650" y="7316524"/>
                </a:cubicBezTo>
                <a:cubicBezTo>
                  <a:pt x="2377176" y="7307407"/>
                  <a:pt x="2356702" y="7298289"/>
                  <a:pt x="2333954" y="7289172"/>
                </a:cubicBezTo>
                <a:cubicBezTo>
                  <a:pt x="2333954" y="7289172"/>
                  <a:pt x="2331679" y="7291451"/>
                  <a:pt x="2331679" y="7291451"/>
                </a:cubicBezTo>
                <a:cubicBezTo>
                  <a:pt x="2320306" y="7309686"/>
                  <a:pt x="2297557" y="7291451"/>
                  <a:pt x="2286184" y="7307407"/>
                </a:cubicBezTo>
                <a:cubicBezTo>
                  <a:pt x="2283909" y="7311966"/>
                  <a:pt x="2274809" y="7311966"/>
                  <a:pt x="2272534" y="7309686"/>
                </a:cubicBezTo>
                <a:cubicBezTo>
                  <a:pt x="2252061" y="7293731"/>
                  <a:pt x="2229313" y="7305127"/>
                  <a:pt x="2206565" y="7302848"/>
                </a:cubicBezTo>
                <a:cubicBezTo>
                  <a:pt x="2195192" y="7302848"/>
                  <a:pt x="2183818" y="7302848"/>
                  <a:pt x="2179268" y="7289172"/>
                </a:cubicBezTo>
                <a:cubicBezTo>
                  <a:pt x="2192916" y="7284613"/>
                  <a:pt x="2206565" y="7280055"/>
                  <a:pt x="2220215" y="7275496"/>
                </a:cubicBezTo>
                <a:cubicBezTo>
                  <a:pt x="2236137" y="7270937"/>
                  <a:pt x="2249787" y="7266378"/>
                  <a:pt x="2265710" y="7261820"/>
                </a:cubicBezTo>
                <a:cubicBezTo>
                  <a:pt x="2265710" y="7254982"/>
                  <a:pt x="2263436" y="7248144"/>
                  <a:pt x="2263436" y="7239026"/>
                </a:cubicBezTo>
                <a:cubicBezTo>
                  <a:pt x="2252061" y="7245864"/>
                  <a:pt x="2242963" y="7248144"/>
                  <a:pt x="2231588" y="7252702"/>
                </a:cubicBezTo>
                <a:lnTo>
                  <a:pt x="2216586" y="7224785"/>
                </a:lnTo>
                <a:lnTo>
                  <a:pt x="2252061" y="7218512"/>
                </a:lnTo>
                <a:cubicBezTo>
                  <a:pt x="2267985" y="7216233"/>
                  <a:pt x="2272534" y="7207115"/>
                  <a:pt x="2274809" y="7191160"/>
                </a:cubicBezTo>
                <a:cubicBezTo>
                  <a:pt x="2267985" y="7191160"/>
                  <a:pt x="2261161" y="7193439"/>
                  <a:pt x="2258886" y="7191160"/>
                </a:cubicBezTo>
                <a:cubicBezTo>
                  <a:pt x="2245237" y="7182042"/>
                  <a:pt x="2233863" y="7184322"/>
                  <a:pt x="2224764" y="7197998"/>
                </a:cubicBezTo>
                <a:cubicBezTo>
                  <a:pt x="2224764" y="7202557"/>
                  <a:pt x="2213389" y="7197998"/>
                  <a:pt x="2206565" y="7202557"/>
                </a:cubicBezTo>
                <a:cubicBezTo>
                  <a:pt x="2204291" y="7202557"/>
                  <a:pt x="2204291" y="7209395"/>
                  <a:pt x="2204291" y="7213953"/>
                </a:cubicBezTo>
                <a:lnTo>
                  <a:pt x="2204291" y="7211674"/>
                </a:lnTo>
                <a:cubicBezTo>
                  <a:pt x="2192916" y="7216233"/>
                  <a:pt x="2181543" y="7218512"/>
                  <a:pt x="2170168" y="7220791"/>
                </a:cubicBezTo>
                <a:cubicBezTo>
                  <a:pt x="2163344" y="7220791"/>
                  <a:pt x="2158795" y="7216233"/>
                  <a:pt x="2147420" y="7211674"/>
                </a:cubicBezTo>
                <a:cubicBezTo>
                  <a:pt x="2174718" y="7188880"/>
                  <a:pt x="2199740" y="7170646"/>
                  <a:pt x="2222489" y="7150131"/>
                </a:cubicBezTo>
                <a:cubicBezTo>
                  <a:pt x="2206565" y="7138735"/>
                  <a:pt x="2195192" y="7127338"/>
                  <a:pt x="2213389" y="7106824"/>
                </a:cubicBezTo>
                <a:cubicBezTo>
                  <a:pt x="2217940" y="7113662"/>
                  <a:pt x="2224764" y="7120500"/>
                  <a:pt x="2231588" y="7129617"/>
                </a:cubicBezTo>
                <a:cubicBezTo>
                  <a:pt x="2238413" y="7125058"/>
                  <a:pt x="2245237" y="7120500"/>
                  <a:pt x="2249787" y="7113662"/>
                </a:cubicBezTo>
                <a:cubicBezTo>
                  <a:pt x="2258886" y="7093147"/>
                  <a:pt x="2267985" y="7070354"/>
                  <a:pt x="2277085" y="7047560"/>
                </a:cubicBezTo>
                <a:cubicBezTo>
                  <a:pt x="2299833" y="7056678"/>
                  <a:pt x="2313482" y="7040722"/>
                  <a:pt x="2329405" y="7031605"/>
                </a:cubicBezTo>
                <a:cubicBezTo>
                  <a:pt x="2333954" y="7029326"/>
                  <a:pt x="2336230" y="7022487"/>
                  <a:pt x="2333954" y="7017929"/>
                </a:cubicBezTo>
                <a:cubicBezTo>
                  <a:pt x="2331679" y="7008811"/>
                  <a:pt x="2324856" y="6999694"/>
                  <a:pt x="2320306" y="6990577"/>
                </a:cubicBezTo>
                <a:cubicBezTo>
                  <a:pt x="2265710" y="6988297"/>
                  <a:pt x="2217940" y="7015649"/>
                  <a:pt x="2165619" y="7020208"/>
                </a:cubicBezTo>
                <a:cubicBezTo>
                  <a:pt x="2161069" y="7006532"/>
                  <a:pt x="2170168" y="7001973"/>
                  <a:pt x="2176992" y="6999694"/>
                </a:cubicBezTo>
                <a:cubicBezTo>
                  <a:pt x="2229313" y="6986018"/>
                  <a:pt x="2279360" y="6972342"/>
                  <a:pt x="2331679" y="6958666"/>
                </a:cubicBezTo>
                <a:cubicBezTo>
                  <a:pt x="2356702" y="6951827"/>
                  <a:pt x="2379451" y="6944989"/>
                  <a:pt x="2404474" y="6938151"/>
                </a:cubicBezTo>
                <a:cubicBezTo>
                  <a:pt x="2413573" y="6933593"/>
                  <a:pt x="2422672" y="6926755"/>
                  <a:pt x="2413573" y="6913078"/>
                </a:cubicBezTo>
                <a:cubicBezTo>
                  <a:pt x="2411299" y="6913078"/>
                  <a:pt x="2406748" y="6910799"/>
                  <a:pt x="2404474" y="6913078"/>
                </a:cubicBezTo>
                <a:cubicBezTo>
                  <a:pt x="2388550" y="6926755"/>
                  <a:pt x="2370351" y="6931313"/>
                  <a:pt x="2349878" y="6917637"/>
                </a:cubicBezTo>
                <a:cubicBezTo>
                  <a:pt x="2347603" y="6913078"/>
                  <a:pt x="2343054" y="6910799"/>
                  <a:pt x="2338505" y="6908520"/>
                </a:cubicBezTo>
                <a:cubicBezTo>
                  <a:pt x="2331679" y="6908520"/>
                  <a:pt x="2322581" y="6906240"/>
                  <a:pt x="2318031" y="6908520"/>
                </a:cubicBezTo>
                <a:lnTo>
                  <a:pt x="2304703" y="6928551"/>
                </a:lnTo>
                <a:lnTo>
                  <a:pt x="2283625" y="6923336"/>
                </a:lnTo>
                <a:cubicBezTo>
                  <a:pt x="2275947" y="6921626"/>
                  <a:pt x="2267985" y="6921056"/>
                  <a:pt x="2258886" y="6924475"/>
                </a:cubicBezTo>
                <a:cubicBezTo>
                  <a:pt x="2236137" y="6933593"/>
                  <a:pt x="2208840" y="6931313"/>
                  <a:pt x="2188367" y="6944989"/>
                </a:cubicBezTo>
                <a:cubicBezTo>
                  <a:pt x="2188367" y="6944989"/>
                  <a:pt x="2183818" y="6940431"/>
                  <a:pt x="2181543" y="6935872"/>
                </a:cubicBezTo>
                <a:cubicBezTo>
                  <a:pt x="2202016" y="6917637"/>
                  <a:pt x="2231588" y="6922196"/>
                  <a:pt x="2254337" y="6908520"/>
                </a:cubicBezTo>
                <a:cubicBezTo>
                  <a:pt x="2274809" y="6897123"/>
                  <a:pt x="2299833" y="6892564"/>
                  <a:pt x="2322581" y="6883447"/>
                </a:cubicBezTo>
                <a:cubicBezTo>
                  <a:pt x="2306657" y="6860653"/>
                  <a:pt x="2297557" y="6856095"/>
                  <a:pt x="2283909" y="6860653"/>
                </a:cubicBezTo>
                <a:cubicBezTo>
                  <a:pt x="2267985" y="6867491"/>
                  <a:pt x="2252061" y="6869771"/>
                  <a:pt x="2233863" y="6869771"/>
                </a:cubicBezTo>
                <a:cubicBezTo>
                  <a:pt x="2229313" y="6860653"/>
                  <a:pt x="2227039" y="6849256"/>
                  <a:pt x="2222489" y="6842418"/>
                </a:cubicBezTo>
                <a:cubicBezTo>
                  <a:pt x="2217940" y="6835580"/>
                  <a:pt x="2213389" y="6828742"/>
                  <a:pt x="2206565" y="6819625"/>
                </a:cubicBezTo>
                <a:cubicBezTo>
                  <a:pt x="2220215" y="6808228"/>
                  <a:pt x="2233863" y="6799111"/>
                  <a:pt x="2245237" y="6787714"/>
                </a:cubicBezTo>
                <a:cubicBezTo>
                  <a:pt x="2247512" y="6785435"/>
                  <a:pt x="2249787" y="6783155"/>
                  <a:pt x="2252061" y="6780876"/>
                </a:cubicBezTo>
                <a:cubicBezTo>
                  <a:pt x="2247512" y="6780876"/>
                  <a:pt x="2245237" y="6783155"/>
                  <a:pt x="2240688" y="6785435"/>
                </a:cubicBezTo>
                <a:cubicBezTo>
                  <a:pt x="2233863" y="6783155"/>
                  <a:pt x="2227039" y="6780876"/>
                  <a:pt x="2215664" y="6776317"/>
                </a:cubicBezTo>
                <a:cubicBezTo>
                  <a:pt x="2220215" y="6764920"/>
                  <a:pt x="2224764" y="6753524"/>
                  <a:pt x="2229313" y="6742127"/>
                </a:cubicBezTo>
                <a:cubicBezTo>
                  <a:pt x="2220215" y="6728451"/>
                  <a:pt x="2213389" y="6717054"/>
                  <a:pt x="2204291" y="6705657"/>
                </a:cubicBezTo>
                <a:cubicBezTo>
                  <a:pt x="2222489" y="6703378"/>
                  <a:pt x="2245237" y="6703378"/>
                  <a:pt x="2247512" y="6676026"/>
                </a:cubicBezTo>
                <a:cubicBezTo>
                  <a:pt x="2238413" y="6662349"/>
                  <a:pt x="2231588" y="6648673"/>
                  <a:pt x="2222489" y="6632718"/>
                </a:cubicBezTo>
                <a:cubicBezTo>
                  <a:pt x="2236137" y="6623600"/>
                  <a:pt x="2254337" y="6616762"/>
                  <a:pt x="2261161" y="6603086"/>
                </a:cubicBezTo>
                <a:cubicBezTo>
                  <a:pt x="2274809" y="6584851"/>
                  <a:pt x="2288458" y="6582572"/>
                  <a:pt x="2304382" y="6591689"/>
                </a:cubicBezTo>
                <a:cubicBezTo>
                  <a:pt x="2320306" y="6598527"/>
                  <a:pt x="2333954" y="6596248"/>
                  <a:pt x="2347603" y="6593969"/>
                </a:cubicBezTo>
                <a:cubicBezTo>
                  <a:pt x="2352153" y="6591689"/>
                  <a:pt x="2358978" y="6584851"/>
                  <a:pt x="2358978" y="6578013"/>
                </a:cubicBezTo>
                <a:cubicBezTo>
                  <a:pt x="2356702" y="6571175"/>
                  <a:pt x="2352153" y="6571175"/>
                  <a:pt x="2345329" y="6575734"/>
                </a:cubicBezTo>
                <a:cubicBezTo>
                  <a:pt x="2331679" y="6587131"/>
                  <a:pt x="2320306" y="6578013"/>
                  <a:pt x="2308932" y="6566616"/>
                </a:cubicBezTo>
                <a:cubicBezTo>
                  <a:pt x="2315757" y="6562058"/>
                  <a:pt x="2320306" y="6557499"/>
                  <a:pt x="2324856" y="6555220"/>
                </a:cubicBezTo>
                <a:cubicBezTo>
                  <a:pt x="2349878" y="6548382"/>
                  <a:pt x="2374902" y="6546102"/>
                  <a:pt x="2395375" y="6532426"/>
                </a:cubicBezTo>
                <a:lnTo>
                  <a:pt x="2397650" y="6532426"/>
                </a:lnTo>
                <a:cubicBezTo>
                  <a:pt x="2418123" y="6532426"/>
                  <a:pt x="2434047" y="6525588"/>
                  <a:pt x="2447695" y="6507353"/>
                </a:cubicBezTo>
                <a:cubicBezTo>
                  <a:pt x="2436321" y="6500515"/>
                  <a:pt x="2427222" y="6493677"/>
                  <a:pt x="2413573" y="6484560"/>
                </a:cubicBezTo>
                <a:cubicBezTo>
                  <a:pt x="2397650" y="6489118"/>
                  <a:pt x="2384001" y="6493677"/>
                  <a:pt x="2368077" y="6500515"/>
                </a:cubicBezTo>
                <a:cubicBezTo>
                  <a:pt x="2354428" y="6493677"/>
                  <a:pt x="2345329" y="6470884"/>
                  <a:pt x="2322581" y="6484560"/>
                </a:cubicBezTo>
                <a:cubicBezTo>
                  <a:pt x="2320306" y="6502795"/>
                  <a:pt x="2345329" y="6511912"/>
                  <a:pt x="2340779" y="6532426"/>
                </a:cubicBezTo>
                <a:cubicBezTo>
                  <a:pt x="2331679" y="6539264"/>
                  <a:pt x="2322581" y="6539264"/>
                  <a:pt x="2315757" y="6527867"/>
                </a:cubicBezTo>
                <a:cubicBezTo>
                  <a:pt x="2311206" y="6518750"/>
                  <a:pt x="2308932" y="6507353"/>
                  <a:pt x="2304382" y="6498236"/>
                </a:cubicBezTo>
                <a:cubicBezTo>
                  <a:pt x="2295282" y="6498236"/>
                  <a:pt x="2288458" y="6498236"/>
                  <a:pt x="2279360" y="6500515"/>
                </a:cubicBezTo>
                <a:cubicBezTo>
                  <a:pt x="2277085" y="6486839"/>
                  <a:pt x="2272534" y="6473163"/>
                  <a:pt x="2270260" y="6459487"/>
                </a:cubicBezTo>
                <a:cubicBezTo>
                  <a:pt x="2283909" y="6457207"/>
                  <a:pt x="2299833" y="6457207"/>
                  <a:pt x="2306657" y="6443531"/>
                </a:cubicBezTo>
                <a:lnTo>
                  <a:pt x="2306657" y="6401674"/>
                </a:lnTo>
                <a:lnTo>
                  <a:pt x="2329405" y="6393385"/>
                </a:lnTo>
                <a:cubicBezTo>
                  <a:pt x="2336230" y="6393385"/>
                  <a:pt x="2345329" y="6395665"/>
                  <a:pt x="2352153" y="6397944"/>
                </a:cubicBezTo>
                <a:cubicBezTo>
                  <a:pt x="2354428" y="6400224"/>
                  <a:pt x="2354428" y="6409341"/>
                  <a:pt x="2356702" y="6416179"/>
                </a:cubicBezTo>
                <a:cubicBezTo>
                  <a:pt x="2365802" y="6416179"/>
                  <a:pt x="2368077" y="6409341"/>
                  <a:pt x="2368077" y="6402503"/>
                </a:cubicBezTo>
                <a:cubicBezTo>
                  <a:pt x="2365802" y="6379709"/>
                  <a:pt x="2358978" y="6359195"/>
                  <a:pt x="2340779" y="6345519"/>
                </a:cubicBezTo>
                <a:cubicBezTo>
                  <a:pt x="2333954" y="6347798"/>
                  <a:pt x="2329405" y="6352357"/>
                  <a:pt x="2324856" y="6354636"/>
                </a:cubicBezTo>
                <a:cubicBezTo>
                  <a:pt x="2320306" y="6340960"/>
                  <a:pt x="2320306" y="6327284"/>
                  <a:pt x="2299833" y="6336402"/>
                </a:cubicBezTo>
                <a:cubicBezTo>
                  <a:pt x="2288458" y="6340960"/>
                  <a:pt x="2288458" y="6329564"/>
                  <a:pt x="2286184" y="6320446"/>
                </a:cubicBezTo>
                <a:cubicBezTo>
                  <a:pt x="2306657" y="6322725"/>
                  <a:pt x="2322581" y="6315887"/>
                  <a:pt x="2336230" y="6302211"/>
                </a:cubicBezTo>
                <a:cubicBezTo>
                  <a:pt x="2338505" y="6299932"/>
                  <a:pt x="2340779" y="6302211"/>
                  <a:pt x="2340779" y="6302211"/>
                </a:cubicBezTo>
                <a:cubicBezTo>
                  <a:pt x="2349878" y="6309049"/>
                  <a:pt x="2336230" y="6325005"/>
                  <a:pt x="2354428" y="6325005"/>
                </a:cubicBezTo>
                <a:cubicBezTo>
                  <a:pt x="2356702" y="6299932"/>
                  <a:pt x="2356702" y="6299932"/>
                  <a:pt x="2345329" y="6272580"/>
                </a:cubicBezTo>
                <a:cubicBezTo>
                  <a:pt x="2333954" y="6274859"/>
                  <a:pt x="2322581" y="6277138"/>
                  <a:pt x="2313482" y="6283976"/>
                </a:cubicBezTo>
                <a:cubicBezTo>
                  <a:pt x="2302108" y="6293094"/>
                  <a:pt x="2293008" y="6306770"/>
                  <a:pt x="2281634" y="6318167"/>
                </a:cubicBezTo>
                <a:cubicBezTo>
                  <a:pt x="2277085" y="6309049"/>
                  <a:pt x="2270260" y="6302211"/>
                  <a:pt x="2263436" y="6293094"/>
                </a:cubicBezTo>
                <a:cubicBezTo>
                  <a:pt x="2261161" y="6288535"/>
                  <a:pt x="2258886" y="6281697"/>
                  <a:pt x="2258886" y="6274859"/>
                </a:cubicBezTo>
                <a:cubicBezTo>
                  <a:pt x="2256611" y="6254345"/>
                  <a:pt x="2258886" y="6231551"/>
                  <a:pt x="2258886" y="6208758"/>
                </a:cubicBezTo>
                <a:cubicBezTo>
                  <a:pt x="2238413" y="6204199"/>
                  <a:pt x="2227039" y="6195082"/>
                  <a:pt x="2217940" y="6181405"/>
                </a:cubicBezTo>
                <a:cubicBezTo>
                  <a:pt x="2213389" y="6174567"/>
                  <a:pt x="2199740" y="6167729"/>
                  <a:pt x="2197466" y="6167729"/>
                </a:cubicBezTo>
                <a:cubicBezTo>
                  <a:pt x="2174718" y="6183685"/>
                  <a:pt x="2161069" y="6170009"/>
                  <a:pt x="2145146" y="6158612"/>
                </a:cubicBezTo>
                <a:cubicBezTo>
                  <a:pt x="2140595" y="6154053"/>
                  <a:pt x="2129222" y="6170009"/>
                  <a:pt x="2126947" y="6154053"/>
                </a:cubicBezTo>
                <a:cubicBezTo>
                  <a:pt x="2138321" y="6138098"/>
                  <a:pt x="2158795" y="6154053"/>
                  <a:pt x="2172443" y="6142656"/>
                </a:cubicBezTo>
                <a:cubicBezTo>
                  <a:pt x="2174718" y="6108466"/>
                  <a:pt x="2136047" y="6119863"/>
                  <a:pt x="2126947" y="6101628"/>
                </a:cubicBezTo>
                <a:cubicBezTo>
                  <a:pt x="2126947" y="6087952"/>
                  <a:pt x="2129222" y="6076555"/>
                  <a:pt x="2124672" y="6065158"/>
                </a:cubicBezTo>
                <a:cubicBezTo>
                  <a:pt x="2122398" y="6053762"/>
                  <a:pt x="2122398" y="6042365"/>
                  <a:pt x="2122398" y="6030968"/>
                </a:cubicBezTo>
                <a:cubicBezTo>
                  <a:pt x="2120123" y="6021851"/>
                  <a:pt x="2120123" y="6012733"/>
                  <a:pt x="2117847" y="6001336"/>
                </a:cubicBezTo>
                <a:cubicBezTo>
                  <a:pt x="2115572" y="5992219"/>
                  <a:pt x="2106474" y="5987660"/>
                  <a:pt x="2097374" y="5989940"/>
                </a:cubicBezTo>
                <a:cubicBezTo>
                  <a:pt x="2086001" y="5989940"/>
                  <a:pt x="2086001" y="5999057"/>
                  <a:pt x="2086001" y="6008174"/>
                </a:cubicBezTo>
                <a:cubicBezTo>
                  <a:pt x="2088275" y="6010454"/>
                  <a:pt x="2086001" y="6015013"/>
                  <a:pt x="2086001" y="6019571"/>
                </a:cubicBezTo>
                <a:cubicBezTo>
                  <a:pt x="2070077" y="6017292"/>
                  <a:pt x="2054153" y="6012733"/>
                  <a:pt x="2038230" y="6021851"/>
                </a:cubicBezTo>
                <a:cubicBezTo>
                  <a:pt x="2038230" y="6024130"/>
                  <a:pt x="2031405" y="6019571"/>
                  <a:pt x="2031405" y="6019571"/>
                </a:cubicBezTo>
                <a:cubicBezTo>
                  <a:pt x="2031405" y="6015013"/>
                  <a:pt x="2033680" y="6008174"/>
                  <a:pt x="2035954" y="6008174"/>
                </a:cubicBezTo>
                <a:cubicBezTo>
                  <a:pt x="2054153" y="6005895"/>
                  <a:pt x="2067802" y="6001336"/>
                  <a:pt x="2067802" y="5976264"/>
                </a:cubicBezTo>
                <a:cubicBezTo>
                  <a:pt x="2054153" y="5962587"/>
                  <a:pt x="2035954" y="5955749"/>
                  <a:pt x="2020031" y="5971705"/>
                </a:cubicBezTo>
                <a:cubicBezTo>
                  <a:pt x="2009794" y="5981962"/>
                  <a:pt x="1997283" y="5989370"/>
                  <a:pt x="1984771" y="5997062"/>
                </a:cubicBezTo>
                <a:lnTo>
                  <a:pt x="1951355" y="6022714"/>
                </a:lnTo>
                <a:lnTo>
                  <a:pt x="1963161" y="5999057"/>
                </a:lnTo>
                <a:cubicBezTo>
                  <a:pt x="1969985" y="5992219"/>
                  <a:pt x="1974535" y="5983102"/>
                  <a:pt x="1981359" y="5976264"/>
                </a:cubicBezTo>
                <a:lnTo>
                  <a:pt x="1979085" y="5976264"/>
                </a:lnTo>
                <a:cubicBezTo>
                  <a:pt x="1983634" y="5973984"/>
                  <a:pt x="1990458" y="5973984"/>
                  <a:pt x="1995008" y="5971705"/>
                </a:cubicBezTo>
                <a:cubicBezTo>
                  <a:pt x="2001833" y="5967146"/>
                  <a:pt x="2006382" y="5962587"/>
                  <a:pt x="2015481" y="5955749"/>
                </a:cubicBezTo>
                <a:cubicBezTo>
                  <a:pt x="2013206" y="5948911"/>
                  <a:pt x="2013206" y="5942073"/>
                  <a:pt x="2010932" y="5937514"/>
                </a:cubicBezTo>
                <a:cubicBezTo>
                  <a:pt x="2004107" y="5921559"/>
                  <a:pt x="2004107" y="5921559"/>
                  <a:pt x="2010932" y="5898765"/>
                </a:cubicBezTo>
                <a:cubicBezTo>
                  <a:pt x="2002970" y="5890788"/>
                  <a:pt x="1995577" y="5882810"/>
                  <a:pt x="1987046" y="5876257"/>
                </a:cubicBezTo>
                <a:lnTo>
                  <a:pt x="1958190" y="5863139"/>
                </a:lnTo>
                <a:lnTo>
                  <a:pt x="1958611" y="5862296"/>
                </a:lnTo>
                <a:lnTo>
                  <a:pt x="1956336" y="5862296"/>
                </a:lnTo>
                <a:cubicBezTo>
                  <a:pt x="1965436" y="5857737"/>
                  <a:pt x="1974535" y="5855458"/>
                  <a:pt x="1983634" y="5850899"/>
                </a:cubicBezTo>
                <a:cubicBezTo>
                  <a:pt x="2004107" y="5839502"/>
                  <a:pt x="2020031" y="5825826"/>
                  <a:pt x="2020031" y="5803033"/>
                </a:cubicBezTo>
                <a:cubicBezTo>
                  <a:pt x="2010932" y="5787077"/>
                  <a:pt x="1997282" y="5784798"/>
                  <a:pt x="1983634" y="5784798"/>
                </a:cubicBezTo>
                <a:cubicBezTo>
                  <a:pt x="1947237" y="5787077"/>
                  <a:pt x="1908565" y="5784798"/>
                  <a:pt x="1867619" y="5791636"/>
                </a:cubicBezTo>
                <a:cubicBezTo>
                  <a:pt x="1867619" y="5805312"/>
                  <a:pt x="1865343" y="5816709"/>
                  <a:pt x="1865343" y="5830385"/>
                </a:cubicBezTo>
                <a:cubicBezTo>
                  <a:pt x="1885817" y="5834943"/>
                  <a:pt x="1904016" y="5839502"/>
                  <a:pt x="1924489" y="5841782"/>
                </a:cubicBezTo>
                <a:cubicBezTo>
                  <a:pt x="1924489" y="5846340"/>
                  <a:pt x="1924489" y="5853178"/>
                  <a:pt x="1924489" y="5862296"/>
                </a:cubicBezTo>
                <a:lnTo>
                  <a:pt x="1956336" y="5862296"/>
                </a:lnTo>
                <a:lnTo>
                  <a:pt x="1958190" y="5863139"/>
                </a:lnTo>
                <a:lnTo>
                  <a:pt x="1942688" y="5894207"/>
                </a:lnTo>
                <a:cubicBezTo>
                  <a:pt x="1951787" y="5901045"/>
                  <a:pt x="1963161" y="5907883"/>
                  <a:pt x="1979085" y="5921559"/>
                </a:cubicBezTo>
                <a:cubicBezTo>
                  <a:pt x="1949512" y="5917000"/>
                  <a:pt x="1926764" y="5914721"/>
                  <a:pt x="1901740" y="5912442"/>
                </a:cubicBezTo>
                <a:cubicBezTo>
                  <a:pt x="1890367" y="5932956"/>
                  <a:pt x="1860794" y="5932956"/>
                  <a:pt x="1851695" y="5958029"/>
                </a:cubicBezTo>
                <a:cubicBezTo>
                  <a:pt x="1851695" y="5960308"/>
                  <a:pt x="1844871" y="5960308"/>
                  <a:pt x="1842595" y="5960308"/>
                </a:cubicBezTo>
                <a:cubicBezTo>
                  <a:pt x="1840321" y="5955749"/>
                  <a:pt x="1838046" y="5951191"/>
                  <a:pt x="1840321" y="5946632"/>
                </a:cubicBezTo>
                <a:cubicBezTo>
                  <a:pt x="1842595" y="5942073"/>
                  <a:pt x="1847146" y="5935235"/>
                  <a:pt x="1851695" y="5928397"/>
                </a:cubicBezTo>
                <a:cubicBezTo>
                  <a:pt x="1842595" y="5914721"/>
                  <a:pt x="1835771" y="5898765"/>
                  <a:pt x="1828947" y="5885089"/>
                </a:cubicBezTo>
                <a:cubicBezTo>
                  <a:pt x="1822123" y="5873693"/>
                  <a:pt x="1813023" y="5864575"/>
                  <a:pt x="1813023" y="5853178"/>
                </a:cubicBezTo>
                <a:cubicBezTo>
                  <a:pt x="1813023" y="5834943"/>
                  <a:pt x="1803924" y="5825826"/>
                  <a:pt x="1792550" y="5816709"/>
                </a:cubicBezTo>
                <a:cubicBezTo>
                  <a:pt x="1776626" y="5807591"/>
                  <a:pt x="1785726" y="5796194"/>
                  <a:pt x="1797099" y="5787077"/>
                </a:cubicBezTo>
                <a:cubicBezTo>
                  <a:pt x="1785726" y="5780239"/>
                  <a:pt x="1774351" y="5775680"/>
                  <a:pt x="1762978" y="5768842"/>
                </a:cubicBezTo>
                <a:cubicBezTo>
                  <a:pt x="1740229" y="5777960"/>
                  <a:pt x="1715206" y="5787077"/>
                  <a:pt x="1692459" y="5798474"/>
                </a:cubicBezTo>
                <a:cubicBezTo>
                  <a:pt x="1683359" y="5800753"/>
                  <a:pt x="1674260" y="5807591"/>
                  <a:pt x="1676535" y="5821267"/>
                </a:cubicBezTo>
                <a:lnTo>
                  <a:pt x="1676535" y="5818988"/>
                </a:lnTo>
                <a:cubicBezTo>
                  <a:pt x="1635588" y="5832664"/>
                  <a:pt x="1599191" y="5860016"/>
                  <a:pt x="1560519" y="5882810"/>
                </a:cubicBezTo>
                <a:cubicBezTo>
                  <a:pt x="1551420" y="5871413"/>
                  <a:pt x="1544595" y="5862296"/>
                  <a:pt x="1537771" y="5853178"/>
                </a:cubicBezTo>
                <a:cubicBezTo>
                  <a:pt x="1533222" y="5853178"/>
                  <a:pt x="1528672" y="5853178"/>
                  <a:pt x="1524122" y="5855458"/>
                </a:cubicBezTo>
                <a:cubicBezTo>
                  <a:pt x="1512749" y="5864575"/>
                  <a:pt x="1501374" y="5873693"/>
                  <a:pt x="1485450" y="5882810"/>
                </a:cubicBezTo>
                <a:cubicBezTo>
                  <a:pt x="1492275" y="5896486"/>
                  <a:pt x="1496825" y="5910162"/>
                  <a:pt x="1503649" y="5921559"/>
                </a:cubicBezTo>
                <a:cubicBezTo>
                  <a:pt x="1462702" y="5905604"/>
                  <a:pt x="1421756" y="5919280"/>
                  <a:pt x="1380809" y="5926118"/>
                </a:cubicBezTo>
                <a:cubicBezTo>
                  <a:pt x="1364885" y="5928397"/>
                  <a:pt x="1351236" y="5928397"/>
                  <a:pt x="1335313" y="5930676"/>
                </a:cubicBezTo>
                <a:cubicBezTo>
                  <a:pt x="1303466" y="5930676"/>
                  <a:pt x="1269343" y="5937514"/>
                  <a:pt x="1237496" y="5942073"/>
                </a:cubicBezTo>
                <a:cubicBezTo>
                  <a:pt x="1217023" y="5944353"/>
                  <a:pt x="1214748" y="5948911"/>
                  <a:pt x="1212474" y="5978543"/>
                </a:cubicBezTo>
                <a:cubicBezTo>
                  <a:pt x="1207924" y="5978543"/>
                  <a:pt x="1203374" y="5983102"/>
                  <a:pt x="1198825" y="5983102"/>
                </a:cubicBezTo>
                <a:cubicBezTo>
                  <a:pt x="1178351" y="5987660"/>
                  <a:pt x="1171526" y="6010454"/>
                  <a:pt x="1148778" y="6012733"/>
                </a:cubicBezTo>
                <a:cubicBezTo>
                  <a:pt x="1128305" y="6012733"/>
                  <a:pt x="1110107" y="6024130"/>
                  <a:pt x="1089633" y="6028689"/>
                </a:cubicBezTo>
                <a:cubicBezTo>
                  <a:pt x="1073710" y="6033247"/>
                  <a:pt x="1057786" y="6040085"/>
                  <a:pt x="1048687" y="6056041"/>
                </a:cubicBezTo>
                <a:cubicBezTo>
                  <a:pt x="1044138" y="6067438"/>
                  <a:pt x="1032763" y="6071996"/>
                  <a:pt x="1023664" y="6078834"/>
                </a:cubicBezTo>
                <a:cubicBezTo>
                  <a:pt x="996367" y="6092511"/>
                  <a:pt x="978168" y="6115304"/>
                  <a:pt x="969069" y="6142656"/>
                </a:cubicBezTo>
                <a:cubicBezTo>
                  <a:pt x="964519" y="6160891"/>
                  <a:pt x="953145" y="6174567"/>
                  <a:pt x="937222" y="6188244"/>
                </a:cubicBezTo>
                <a:cubicBezTo>
                  <a:pt x="923573" y="6199640"/>
                  <a:pt x="909924" y="6211037"/>
                  <a:pt x="898549" y="6226993"/>
                </a:cubicBezTo>
                <a:cubicBezTo>
                  <a:pt x="884901" y="6249786"/>
                  <a:pt x="857603" y="6252065"/>
                  <a:pt x="839404" y="6268021"/>
                </a:cubicBezTo>
                <a:cubicBezTo>
                  <a:pt x="832580" y="6272580"/>
                  <a:pt x="821206" y="6268021"/>
                  <a:pt x="814381" y="6268021"/>
                </a:cubicBezTo>
                <a:cubicBezTo>
                  <a:pt x="814381" y="6252065"/>
                  <a:pt x="825756" y="6242948"/>
                  <a:pt x="839404" y="6233831"/>
                </a:cubicBezTo>
                <a:cubicBezTo>
                  <a:pt x="868977" y="6215596"/>
                  <a:pt x="898549" y="6195082"/>
                  <a:pt x="925847" y="6174567"/>
                </a:cubicBezTo>
                <a:cubicBezTo>
                  <a:pt x="932671" y="6170009"/>
                  <a:pt x="939496" y="6165450"/>
                  <a:pt x="944046" y="6158612"/>
                </a:cubicBezTo>
                <a:cubicBezTo>
                  <a:pt x="946321" y="6154053"/>
                  <a:pt x="944046" y="6147215"/>
                  <a:pt x="941771" y="6144936"/>
                </a:cubicBezTo>
                <a:cubicBezTo>
                  <a:pt x="937222" y="6140377"/>
                  <a:pt x="930397" y="6138098"/>
                  <a:pt x="928122" y="6140377"/>
                </a:cubicBezTo>
                <a:cubicBezTo>
                  <a:pt x="919022" y="6144936"/>
                  <a:pt x="912198" y="6151774"/>
                  <a:pt x="905374" y="6158612"/>
                </a:cubicBezTo>
                <a:cubicBezTo>
                  <a:pt x="887176" y="6174567"/>
                  <a:pt x="868977" y="6188244"/>
                  <a:pt x="843954" y="6188244"/>
                </a:cubicBezTo>
                <a:cubicBezTo>
                  <a:pt x="848504" y="6154053"/>
                  <a:pt x="853053" y="6147215"/>
                  <a:pt x="875801" y="6124422"/>
                </a:cubicBezTo>
                <a:cubicBezTo>
                  <a:pt x="884901" y="6110745"/>
                  <a:pt x="896274" y="6099349"/>
                  <a:pt x="905374" y="6085673"/>
                </a:cubicBezTo>
                <a:lnTo>
                  <a:pt x="905374" y="6087952"/>
                </a:lnTo>
                <a:cubicBezTo>
                  <a:pt x="914473" y="6087952"/>
                  <a:pt x="925847" y="6085673"/>
                  <a:pt x="934946" y="6085673"/>
                </a:cubicBezTo>
                <a:cubicBezTo>
                  <a:pt x="934946" y="6090231"/>
                  <a:pt x="932671" y="6097069"/>
                  <a:pt x="930397" y="6103907"/>
                </a:cubicBezTo>
                <a:cubicBezTo>
                  <a:pt x="946321" y="6106187"/>
                  <a:pt x="944046" y="6094790"/>
                  <a:pt x="946321" y="6085673"/>
                </a:cubicBezTo>
                <a:lnTo>
                  <a:pt x="946321" y="6074276"/>
                </a:lnTo>
                <a:cubicBezTo>
                  <a:pt x="991817" y="6042365"/>
                  <a:pt x="1039587" y="6017292"/>
                  <a:pt x="1082809" y="5980822"/>
                </a:cubicBezTo>
                <a:cubicBezTo>
                  <a:pt x="1087359" y="5976264"/>
                  <a:pt x="1096458" y="5971705"/>
                  <a:pt x="1101008" y="5964867"/>
                </a:cubicBezTo>
                <a:cubicBezTo>
                  <a:pt x="1116932" y="5948911"/>
                  <a:pt x="1135129" y="5937514"/>
                  <a:pt x="1155603" y="5930676"/>
                </a:cubicBezTo>
                <a:cubicBezTo>
                  <a:pt x="1171526" y="5926118"/>
                  <a:pt x="1185176" y="5917000"/>
                  <a:pt x="1201100" y="5907883"/>
                </a:cubicBezTo>
                <a:cubicBezTo>
                  <a:pt x="1207924" y="5912442"/>
                  <a:pt x="1214748" y="5917000"/>
                  <a:pt x="1221573" y="5923838"/>
                </a:cubicBezTo>
                <a:cubicBezTo>
                  <a:pt x="1244321" y="5914721"/>
                  <a:pt x="1267069" y="5910162"/>
                  <a:pt x="1289816" y="5894207"/>
                </a:cubicBezTo>
                <a:cubicBezTo>
                  <a:pt x="1308015" y="5880531"/>
                  <a:pt x="1330764" y="5873693"/>
                  <a:pt x="1351236" y="5862296"/>
                </a:cubicBezTo>
                <a:cubicBezTo>
                  <a:pt x="1358061" y="5873693"/>
                  <a:pt x="1378535" y="5875972"/>
                  <a:pt x="1373984" y="5894207"/>
                </a:cubicBezTo>
                <a:lnTo>
                  <a:pt x="1344618" y="5892105"/>
                </a:lnTo>
                <a:lnTo>
                  <a:pt x="1344412" y="5891927"/>
                </a:lnTo>
                <a:lnTo>
                  <a:pt x="1343730" y="5892041"/>
                </a:lnTo>
                <a:lnTo>
                  <a:pt x="1342138" y="5891927"/>
                </a:lnTo>
                <a:cubicBezTo>
                  <a:pt x="1338725" y="5890218"/>
                  <a:pt x="1335313" y="5884662"/>
                  <a:pt x="1333820" y="5887761"/>
                </a:cubicBezTo>
                <a:lnTo>
                  <a:pt x="1333086" y="5893819"/>
                </a:lnTo>
                <a:lnTo>
                  <a:pt x="1330764" y="5894207"/>
                </a:lnTo>
                <a:lnTo>
                  <a:pt x="1319390" y="5894207"/>
                </a:lnTo>
                <a:cubicBezTo>
                  <a:pt x="1314839" y="5896486"/>
                  <a:pt x="1312565" y="5901045"/>
                  <a:pt x="1310290" y="5905604"/>
                </a:cubicBezTo>
                <a:cubicBezTo>
                  <a:pt x="1310290" y="5905604"/>
                  <a:pt x="1312565" y="5910162"/>
                  <a:pt x="1312565" y="5910162"/>
                </a:cubicBezTo>
                <a:cubicBezTo>
                  <a:pt x="1317115" y="5907883"/>
                  <a:pt x="1323939" y="5910162"/>
                  <a:pt x="1326214" y="5905604"/>
                </a:cubicBezTo>
                <a:cubicBezTo>
                  <a:pt x="1328488" y="5903324"/>
                  <a:pt x="1330764" y="5898765"/>
                  <a:pt x="1330764" y="5894207"/>
                </a:cubicBezTo>
                <a:lnTo>
                  <a:pt x="1333039" y="5894207"/>
                </a:lnTo>
                <a:lnTo>
                  <a:pt x="1333086" y="5893819"/>
                </a:lnTo>
                <a:lnTo>
                  <a:pt x="1343730" y="5892041"/>
                </a:lnTo>
                <a:lnTo>
                  <a:pt x="1344618" y="5892105"/>
                </a:lnTo>
                <a:lnTo>
                  <a:pt x="1356640" y="5902470"/>
                </a:lnTo>
                <a:cubicBezTo>
                  <a:pt x="1360336" y="5902755"/>
                  <a:pt x="1364885" y="5899905"/>
                  <a:pt x="1373984" y="5894207"/>
                </a:cubicBezTo>
                <a:cubicBezTo>
                  <a:pt x="1378535" y="5894207"/>
                  <a:pt x="1383084" y="5891927"/>
                  <a:pt x="1387633" y="5894207"/>
                </a:cubicBezTo>
                <a:cubicBezTo>
                  <a:pt x="1417206" y="5898765"/>
                  <a:pt x="1417206" y="5896486"/>
                  <a:pt x="1433130" y="5871413"/>
                </a:cubicBezTo>
                <a:cubicBezTo>
                  <a:pt x="1439954" y="5873693"/>
                  <a:pt x="1446778" y="5875972"/>
                  <a:pt x="1453603" y="5878251"/>
                </a:cubicBezTo>
                <a:cubicBezTo>
                  <a:pt x="1462702" y="5860016"/>
                  <a:pt x="1469526" y="5841782"/>
                  <a:pt x="1455878" y="5818988"/>
                </a:cubicBezTo>
                <a:cubicBezTo>
                  <a:pt x="1442229" y="5823547"/>
                  <a:pt x="1426305" y="5828105"/>
                  <a:pt x="1412657" y="5832664"/>
                </a:cubicBezTo>
                <a:lnTo>
                  <a:pt x="1412657" y="5830385"/>
                </a:lnTo>
                <a:cubicBezTo>
                  <a:pt x="1417206" y="5825826"/>
                  <a:pt x="1424030" y="5818988"/>
                  <a:pt x="1430855" y="5816709"/>
                </a:cubicBezTo>
                <a:cubicBezTo>
                  <a:pt x="1443366" y="5812150"/>
                  <a:pt x="1454172" y="5805312"/>
                  <a:pt x="1464409" y="5797334"/>
                </a:cubicBezTo>
                <a:lnTo>
                  <a:pt x="1493067" y="5772411"/>
                </a:lnTo>
                <a:lnTo>
                  <a:pt x="1494550" y="5773401"/>
                </a:lnTo>
                <a:lnTo>
                  <a:pt x="1496618" y="5770006"/>
                </a:lnTo>
                <a:lnTo>
                  <a:pt x="1524122" y="5755166"/>
                </a:lnTo>
                <a:cubicBezTo>
                  <a:pt x="1528672" y="5750607"/>
                  <a:pt x="1535497" y="5746049"/>
                  <a:pt x="1526397" y="5734652"/>
                </a:cubicBezTo>
                <a:cubicBezTo>
                  <a:pt x="1521848" y="5741490"/>
                  <a:pt x="1514454" y="5746049"/>
                  <a:pt x="1507914" y="5751462"/>
                </a:cubicBezTo>
                <a:lnTo>
                  <a:pt x="1496618" y="5770006"/>
                </a:lnTo>
                <a:lnTo>
                  <a:pt x="1494550" y="5771122"/>
                </a:lnTo>
                <a:lnTo>
                  <a:pt x="1493067" y="5772411"/>
                </a:lnTo>
                <a:lnTo>
                  <a:pt x="1476803" y="5761546"/>
                </a:lnTo>
                <a:lnTo>
                  <a:pt x="1496825" y="5741205"/>
                </a:lnTo>
                <a:cubicBezTo>
                  <a:pt x="1502512" y="5732942"/>
                  <a:pt x="1508199" y="5724395"/>
                  <a:pt x="1517298" y="5718696"/>
                </a:cubicBezTo>
                <a:cubicBezTo>
                  <a:pt x="1530946" y="5711858"/>
                  <a:pt x="1535497" y="5689065"/>
                  <a:pt x="1549145" y="5677668"/>
                </a:cubicBezTo>
                <a:cubicBezTo>
                  <a:pt x="1553695" y="5675389"/>
                  <a:pt x="1551420" y="5663992"/>
                  <a:pt x="1551420" y="5654874"/>
                </a:cubicBezTo>
                <a:cubicBezTo>
                  <a:pt x="1560519" y="5641198"/>
                  <a:pt x="1571894" y="5627522"/>
                  <a:pt x="1587817" y="5609287"/>
                </a:cubicBezTo>
                <a:cubicBezTo>
                  <a:pt x="1571894" y="5609287"/>
                  <a:pt x="1562794" y="5609287"/>
                  <a:pt x="1558245" y="5611567"/>
                </a:cubicBezTo>
                <a:cubicBezTo>
                  <a:pt x="1524122" y="5629802"/>
                  <a:pt x="1487726" y="5636640"/>
                  <a:pt x="1460428" y="5663992"/>
                </a:cubicBezTo>
                <a:cubicBezTo>
                  <a:pt x="1455878" y="5668551"/>
                  <a:pt x="1444504" y="5666271"/>
                  <a:pt x="1435405" y="5661713"/>
                </a:cubicBezTo>
                <a:cubicBezTo>
                  <a:pt x="1444504" y="5654874"/>
                  <a:pt x="1453603" y="5648036"/>
                  <a:pt x="1462702" y="5641198"/>
                </a:cubicBezTo>
                <a:cubicBezTo>
                  <a:pt x="1474077" y="5636640"/>
                  <a:pt x="1487726" y="5632081"/>
                  <a:pt x="1499099" y="5627522"/>
                </a:cubicBezTo>
                <a:cubicBezTo>
                  <a:pt x="1526397" y="5613846"/>
                  <a:pt x="1551420" y="5597891"/>
                  <a:pt x="1549145" y="5561421"/>
                </a:cubicBezTo>
                <a:lnTo>
                  <a:pt x="1574043" y="5559342"/>
                </a:lnTo>
                <a:lnTo>
                  <a:pt x="1562794" y="5577376"/>
                </a:lnTo>
                <a:cubicBezTo>
                  <a:pt x="1590091" y="5577376"/>
                  <a:pt x="1608291" y="5563700"/>
                  <a:pt x="1612840" y="5545465"/>
                </a:cubicBezTo>
                <a:cubicBezTo>
                  <a:pt x="1615115" y="5531789"/>
                  <a:pt x="1621939" y="5527231"/>
                  <a:pt x="1633313" y="5520393"/>
                </a:cubicBezTo>
                <a:cubicBezTo>
                  <a:pt x="1640137" y="5515834"/>
                  <a:pt x="1646962" y="5511275"/>
                  <a:pt x="1653787" y="5506716"/>
                </a:cubicBezTo>
                <a:cubicBezTo>
                  <a:pt x="1656061" y="5504437"/>
                  <a:pt x="1656061" y="5495320"/>
                  <a:pt x="1653787" y="5493040"/>
                </a:cubicBezTo>
                <a:cubicBezTo>
                  <a:pt x="1653787" y="5488482"/>
                  <a:pt x="1646962" y="5486202"/>
                  <a:pt x="1642412" y="5483923"/>
                </a:cubicBezTo>
                <a:cubicBezTo>
                  <a:pt x="1637863" y="5483923"/>
                  <a:pt x="1633313" y="5486202"/>
                  <a:pt x="1628764" y="5488482"/>
                </a:cubicBezTo>
                <a:cubicBezTo>
                  <a:pt x="1621939" y="5490761"/>
                  <a:pt x="1615115" y="5495320"/>
                  <a:pt x="1606015" y="5499878"/>
                </a:cubicBezTo>
                <a:cubicBezTo>
                  <a:pt x="1576443" y="5515834"/>
                  <a:pt x="1574168" y="5513554"/>
                  <a:pt x="1555970" y="5477085"/>
                </a:cubicBezTo>
                <a:cubicBezTo>
                  <a:pt x="1558245" y="5472526"/>
                  <a:pt x="1560519" y="5467967"/>
                  <a:pt x="1565069" y="5465688"/>
                </a:cubicBezTo>
                <a:cubicBezTo>
                  <a:pt x="1567343" y="5465688"/>
                  <a:pt x="1569619" y="5465688"/>
                  <a:pt x="1574168" y="5465688"/>
                </a:cubicBezTo>
                <a:cubicBezTo>
                  <a:pt x="1574168" y="5463409"/>
                  <a:pt x="1576443" y="5461129"/>
                  <a:pt x="1578718" y="5461129"/>
                </a:cubicBezTo>
                <a:cubicBezTo>
                  <a:pt x="1576443" y="5461129"/>
                  <a:pt x="1571894" y="5458850"/>
                  <a:pt x="1569619" y="5458850"/>
                </a:cubicBezTo>
                <a:cubicBezTo>
                  <a:pt x="1567343" y="5461129"/>
                  <a:pt x="1567343" y="5463409"/>
                  <a:pt x="1565069" y="5465688"/>
                </a:cubicBezTo>
                <a:cubicBezTo>
                  <a:pt x="1560519" y="5467967"/>
                  <a:pt x="1555970" y="5470247"/>
                  <a:pt x="1551420" y="5472526"/>
                </a:cubicBezTo>
                <a:cubicBezTo>
                  <a:pt x="1530946" y="5474805"/>
                  <a:pt x="1505923" y="5470247"/>
                  <a:pt x="1494550" y="5497599"/>
                </a:cubicBezTo>
                <a:cubicBezTo>
                  <a:pt x="1494550" y="5499878"/>
                  <a:pt x="1487726" y="5502158"/>
                  <a:pt x="1483176" y="5499878"/>
                </a:cubicBezTo>
                <a:cubicBezTo>
                  <a:pt x="1467252" y="5493040"/>
                  <a:pt x="1449053" y="5502158"/>
                  <a:pt x="1442229" y="5511275"/>
                </a:cubicBezTo>
                <a:cubicBezTo>
                  <a:pt x="1414932" y="5534069"/>
                  <a:pt x="1383084" y="5540907"/>
                  <a:pt x="1353512" y="5556862"/>
                </a:cubicBezTo>
                <a:cubicBezTo>
                  <a:pt x="1335313" y="5565980"/>
                  <a:pt x="1314839" y="5570538"/>
                  <a:pt x="1301191" y="5586494"/>
                </a:cubicBezTo>
                <a:cubicBezTo>
                  <a:pt x="1296642" y="5591053"/>
                  <a:pt x="1289816" y="5595611"/>
                  <a:pt x="1285267" y="5595611"/>
                </a:cubicBezTo>
                <a:cubicBezTo>
                  <a:pt x="1246595" y="5604729"/>
                  <a:pt x="1219298" y="5629802"/>
                  <a:pt x="1187450" y="5650316"/>
                </a:cubicBezTo>
                <a:cubicBezTo>
                  <a:pt x="1182901" y="5652595"/>
                  <a:pt x="1178351" y="5659433"/>
                  <a:pt x="1173801" y="5663992"/>
                </a:cubicBezTo>
                <a:cubicBezTo>
                  <a:pt x="1166977" y="5677668"/>
                  <a:pt x="1153329" y="5682227"/>
                  <a:pt x="1141954" y="5689065"/>
                </a:cubicBezTo>
                <a:cubicBezTo>
                  <a:pt x="1112381" y="5705020"/>
                  <a:pt x="1080535" y="5723255"/>
                  <a:pt x="1050962" y="5741490"/>
                </a:cubicBezTo>
                <a:cubicBezTo>
                  <a:pt x="1062336" y="5757445"/>
                  <a:pt x="1060061" y="5768842"/>
                  <a:pt x="1048687" y="5766563"/>
                </a:cubicBezTo>
                <a:cubicBezTo>
                  <a:pt x="1021390" y="5766563"/>
                  <a:pt x="998641" y="5775680"/>
                  <a:pt x="980443" y="5793915"/>
                </a:cubicBezTo>
                <a:cubicBezTo>
                  <a:pt x="946321" y="5828105"/>
                  <a:pt x="946321" y="5828105"/>
                  <a:pt x="914473" y="5837223"/>
                </a:cubicBezTo>
                <a:cubicBezTo>
                  <a:pt x="916748" y="5860016"/>
                  <a:pt x="941771" y="5846340"/>
                  <a:pt x="955419" y="5862296"/>
                </a:cubicBezTo>
                <a:cubicBezTo>
                  <a:pt x="912198" y="5862296"/>
                  <a:pt x="871252" y="5862296"/>
                  <a:pt x="834855" y="5891927"/>
                </a:cubicBezTo>
                <a:cubicBezTo>
                  <a:pt x="839404" y="5901045"/>
                  <a:pt x="843954" y="5910162"/>
                  <a:pt x="848504" y="5921559"/>
                </a:cubicBezTo>
                <a:cubicBezTo>
                  <a:pt x="843954" y="5932956"/>
                  <a:pt x="830305" y="5944353"/>
                  <a:pt x="818931" y="5942073"/>
                </a:cubicBezTo>
                <a:cubicBezTo>
                  <a:pt x="814381" y="5942073"/>
                  <a:pt x="809832" y="5935235"/>
                  <a:pt x="809832" y="5932956"/>
                </a:cubicBezTo>
                <a:cubicBezTo>
                  <a:pt x="807557" y="5928397"/>
                  <a:pt x="807557" y="5921559"/>
                  <a:pt x="809832" y="5917000"/>
                </a:cubicBezTo>
                <a:cubicBezTo>
                  <a:pt x="816656" y="5898765"/>
                  <a:pt x="814381" y="5880531"/>
                  <a:pt x="814381" y="5864575"/>
                </a:cubicBezTo>
                <a:cubicBezTo>
                  <a:pt x="796183" y="5841782"/>
                  <a:pt x="771160" y="5857737"/>
                  <a:pt x="750687" y="5848620"/>
                </a:cubicBezTo>
                <a:cubicBezTo>
                  <a:pt x="755236" y="5828105"/>
                  <a:pt x="766611" y="5818988"/>
                  <a:pt x="780260" y="5814429"/>
                </a:cubicBezTo>
                <a:cubicBezTo>
                  <a:pt x="791634" y="5807591"/>
                  <a:pt x="800732" y="5798474"/>
                  <a:pt x="803008" y="5787077"/>
                </a:cubicBezTo>
                <a:cubicBezTo>
                  <a:pt x="807557" y="5764283"/>
                  <a:pt x="828031" y="5748328"/>
                  <a:pt x="834855" y="5725534"/>
                </a:cubicBezTo>
                <a:cubicBezTo>
                  <a:pt x="850779" y="5727814"/>
                  <a:pt x="848504" y="5734652"/>
                  <a:pt x="843954" y="5743769"/>
                </a:cubicBezTo>
                <a:lnTo>
                  <a:pt x="835987" y="5759737"/>
                </a:lnTo>
                <a:lnTo>
                  <a:pt x="834855" y="5759725"/>
                </a:lnTo>
                <a:cubicBezTo>
                  <a:pt x="830305" y="5762004"/>
                  <a:pt x="828031" y="5764283"/>
                  <a:pt x="823480" y="5766563"/>
                </a:cubicBezTo>
                <a:lnTo>
                  <a:pt x="823480" y="5768842"/>
                </a:lnTo>
                <a:cubicBezTo>
                  <a:pt x="828031" y="5766563"/>
                  <a:pt x="832580" y="5764283"/>
                  <a:pt x="834855" y="5762004"/>
                </a:cubicBezTo>
                <a:lnTo>
                  <a:pt x="835987" y="5759737"/>
                </a:lnTo>
                <a:lnTo>
                  <a:pt x="861584" y="5760010"/>
                </a:lnTo>
                <a:cubicBezTo>
                  <a:pt x="870114" y="5758015"/>
                  <a:pt x="878076" y="5754026"/>
                  <a:pt x="884901" y="5748328"/>
                </a:cubicBezTo>
                <a:cubicBezTo>
                  <a:pt x="891725" y="5741490"/>
                  <a:pt x="898549" y="5736931"/>
                  <a:pt x="905374" y="5734652"/>
                </a:cubicBezTo>
                <a:cubicBezTo>
                  <a:pt x="914473" y="5727814"/>
                  <a:pt x="921298" y="5734652"/>
                  <a:pt x="925847" y="5750607"/>
                </a:cubicBezTo>
                <a:cubicBezTo>
                  <a:pt x="921298" y="5750607"/>
                  <a:pt x="916748" y="5750607"/>
                  <a:pt x="912198" y="5750607"/>
                </a:cubicBezTo>
                <a:cubicBezTo>
                  <a:pt x="909924" y="5752887"/>
                  <a:pt x="909924" y="5759725"/>
                  <a:pt x="907649" y="5762004"/>
                </a:cubicBezTo>
                <a:cubicBezTo>
                  <a:pt x="912198" y="5762004"/>
                  <a:pt x="916748" y="5764283"/>
                  <a:pt x="919022" y="5762004"/>
                </a:cubicBezTo>
                <a:cubicBezTo>
                  <a:pt x="923573" y="5759725"/>
                  <a:pt x="923573" y="5752887"/>
                  <a:pt x="925847" y="5750607"/>
                </a:cubicBezTo>
                <a:cubicBezTo>
                  <a:pt x="950870" y="5746049"/>
                  <a:pt x="950870" y="5746049"/>
                  <a:pt x="939496" y="5714138"/>
                </a:cubicBezTo>
                <a:cubicBezTo>
                  <a:pt x="953145" y="5693623"/>
                  <a:pt x="982718" y="5686785"/>
                  <a:pt x="998641" y="5661713"/>
                </a:cubicBezTo>
                <a:cubicBezTo>
                  <a:pt x="955419" y="5666271"/>
                  <a:pt x="948595" y="5668551"/>
                  <a:pt x="866702" y="5716417"/>
                </a:cubicBezTo>
                <a:cubicBezTo>
                  <a:pt x="862153" y="5714138"/>
                  <a:pt x="855328" y="5709579"/>
                  <a:pt x="848504" y="5709579"/>
                </a:cubicBezTo>
                <a:cubicBezTo>
                  <a:pt x="832580" y="5709579"/>
                  <a:pt x="818931" y="5709579"/>
                  <a:pt x="800732" y="5709579"/>
                </a:cubicBezTo>
                <a:cubicBezTo>
                  <a:pt x="793908" y="5718696"/>
                  <a:pt x="784809" y="5730093"/>
                  <a:pt x="777984" y="5739211"/>
                </a:cubicBezTo>
                <a:cubicBezTo>
                  <a:pt x="762061" y="5741490"/>
                  <a:pt x="748412" y="5746049"/>
                  <a:pt x="732488" y="5750607"/>
                </a:cubicBezTo>
                <a:lnTo>
                  <a:pt x="734763" y="5748328"/>
                </a:lnTo>
                <a:cubicBezTo>
                  <a:pt x="730214" y="5748328"/>
                  <a:pt x="727939" y="5746049"/>
                  <a:pt x="725664" y="5746049"/>
                </a:cubicBezTo>
                <a:cubicBezTo>
                  <a:pt x="686992" y="5743769"/>
                  <a:pt x="661970" y="5716417"/>
                  <a:pt x="636946" y="5693623"/>
                </a:cubicBezTo>
                <a:cubicBezTo>
                  <a:pt x="632397" y="5689065"/>
                  <a:pt x="625573" y="5684506"/>
                  <a:pt x="625573" y="5682227"/>
                </a:cubicBezTo>
                <a:cubicBezTo>
                  <a:pt x="623297" y="5654874"/>
                  <a:pt x="605099" y="5641198"/>
                  <a:pt x="589176" y="5622963"/>
                </a:cubicBezTo>
                <a:cubicBezTo>
                  <a:pt x="589176" y="5622963"/>
                  <a:pt x="589176" y="5618405"/>
                  <a:pt x="589176" y="5613846"/>
                </a:cubicBezTo>
                <a:cubicBezTo>
                  <a:pt x="602824" y="5618405"/>
                  <a:pt x="614198" y="5620684"/>
                  <a:pt x="625573" y="5634360"/>
                </a:cubicBezTo>
                <a:cubicBezTo>
                  <a:pt x="643770" y="5657154"/>
                  <a:pt x="659694" y="5682227"/>
                  <a:pt x="698366" y="5684506"/>
                </a:cubicBezTo>
                <a:cubicBezTo>
                  <a:pt x="705191" y="5677668"/>
                  <a:pt x="714290" y="5666271"/>
                  <a:pt x="725664" y="5659433"/>
                </a:cubicBezTo>
                <a:cubicBezTo>
                  <a:pt x="734763" y="5652595"/>
                  <a:pt x="748412" y="5648036"/>
                  <a:pt x="759786" y="5643478"/>
                </a:cubicBezTo>
                <a:cubicBezTo>
                  <a:pt x="750687" y="5613846"/>
                  <a:pt x="752962" y="5584214"/>
                  <a:pt x="727939" y="5559142"/>
                </a:cubicBezTo>
                <a:cubicBezTo>
                  <a:pt x="741587" y="5552303"/>
                  <a:pt x="750687" y="5547745"/>
                  <a:pt x="759786" y="5543186"/>
                </a:cubicBezTo>
                <a:cubicBezTo>
                  <a:pt x="766611" y="5481643"/>
                  <a:pt x="766611" y="5481643"/>
                  <a:pt x="737038" y="5442894"/>
                </a:cubicBezTo>
                <a:cubicBezTo>
                  <a:pt x="743863" y="5426939"/>
                  <a:pt x="755236" y="5420101"/>
                  <a:pt x="773435" y="5415542"/>
                </a:cubicBezTo>
                <a:cubicBezTo>
                  <a:pt x="777984" y="5415542"/>
                  <a:pt x="780260" y="5410983"/>
                  <a:pt x="782534" y="5406425"/>
                </a:cubicBezTo>
                <a:cubicBezTo>
                  <a:pt x="780260" y="5401866"/>
                  <a:pt x="775710" y="5395028"/>
                  <a:pt x="771160" y="5395028"/>
                </a:cubicBezTo>
                <a:cubicBezTo>
                  <a:pt x="755236" y="5392749"/>
                  <a:pt x="741587" y="5388190"/>
                  <a:pt x="727939" y="5379072"/>
                </a:cubicBezTo>
                <a:cubicBezTo>
                  <a:pt x="725664" y="5376793"/>
                  <a:pt x="725664" y="5372234"/>
                  <a:pt x="725664" y="5367676"/>
                </a:cubicBezTo>
                <a:cubicBezTo>
                  <a:pt x="759786" y="5349441"/>
                  <a:pt x="793908" y="5388190"/>
                  <a:pt x="828031" y="5365396"/>
                </a:cubicBezTo>
                <a:cubicBezTo>
                  <a:pt x="832580" y="5374514"/>
                  <a:pt x="837129" y="5383631"/>
                  <a:pt x="841680" y="5388190"/>
                </a:cubicBezTo>
                <a:cubicBezTo>
                  <a:pt x="848504" y="5397307"/>
                  <a:pt x="862153" y="5399587"/>
                  <a:pt x="868977" y="5392749"/>
                </a:cubicBezTo>
                <a:cubicBezTo>
                  <a:pt x="880351" y="5385911"/>
                  <a:pt x="891725" y="5374514"/>
                  <a:pt x="907649" y="5374514"/>
                </a:cubicBezTo>
                <a:cubicBezTo>
                  <a:pt x="909924" y="5374514"/>
                  <a:pt x="912198" y="5367676"/>
                  <a:pt x="912198" y="5367676"/>
                </a:cubicBezTo>
                <a:cubicBezTo>
                  <a:pt x="909924" y="5354000"/>
                  <a:pt x="923573" y="5344882"/>
                  <a:pt x="923573" y="5335765"/>
                </a:cubicBezTo>
                <a:cubicBezTo>
                  <a:pt x="925847" y="5328927"/>
                  <a:pt x="921298" y="5322089"/>
                  <a:pt x="919022" y="5312971"/>
                </a:cubicBezTo>
                <a:cubicBezTo>
                  <a:pt x="903099" y="5319809"/>
                  <a:pt x="891725" y="5326647"/>
                  <a:pt x="873526" y="5335765"/>
                </a:cubicBezTo>
                <a:cubicBezTo>
                  <a:pt x="875801" y="5324368"/>
                  <a:pt x="875801" y="5317530"/>
                  <a:pt x="878076" y="5312971"/>
                </a:cubicBezTo>
                <a:lnTo>
                  <a:pt x="875801" y="5312971"/>
                </a:lnTo>
                <a:cubicBezTo>
                  <a:pt x="887176" y="5308412"/>
                  <a:pt x="896274" y="5303854"/>
                  <a:pt x="909924" y="5299295"/>
                </a:cubicBezTo>
                <a:cubicBezTo>
                  <a:pt x="905374" y="5285619"/>
                  <a:pt x="898549" y="5276502"/>
                  <a:pt x="898549" y="5265105"/>
                </a:cubicBezTo>
                <a:cubicBezTo>
                  <a:pt x="896274" y="5255987"/>
                  <a:pt x="898549" y="5246870"/>
                  <a:pt x="896274" y="5237752"/>
                </a:cubicBezTo>
                <a:cubicBezTo>
                  <a:pt x="894000" y="5226356"/>
                  <a:pt x="884901" y="5217238"/>
                  <a:pt x="871252" y="5214959"/>
                </a:cubicBezTo>
                <a:cubicBezTo>
                  <a:pt x="868977" y="5221797"/>
                  <a:pt x="864428" y="5228635"/>
                  <a:pt x="859877" y="5240032"/>
                </a:cubicBezTo>
                <a:lnTo>
                  <a:pt x="826341" y="5231631"/>
                </a:lnTo>
                <a:lnTo>
                  <a:pt x="832580" y="5214959"/>
                </a:lnTo>
                <a:cubicBezTo>
                  <a:pt x="821206" y="5205842"/>
                  <a:pt x="809832" y="5192165"/>
                  <a:pt x="796183" y="5180769"/>
                </a:cubicBezTo>
                <a:lnTo>
                  <a:pt x="755236" y="5180769"/>
                </a:lnTo>
                <a:cubicBezTo>
                  <a:pt x="766611" y="5173931"/>
                  <a:pt x="780260" y="5169372"/>
                  <a:pt x="793908" y="5160254"/>
                </a:cubicBezTo>
                <a:cubicBezTo>
                  <a:pt x="803008" y="5155696"/>
                  <a:pt x="809832" y="5151137"/>
                  <a:pt x="818931" y="5144299"/>
                </a:cubicBezTo>
                <a:cubicBezTo>
                  <a:pt x="809832" y="5119226"/>
                  <a:pt x="784809" y="5105550"/>
                  <a:pt x="784809" y="5078198"/>
                </a:cubicBezTo>
                <a:cubicBezTo>
                  <a:pt x="784809" y="5078198"/>
                  <a:pt x="784809" y="5073639"/>
                  <a:pt x="782534" y="5073639"/>
                </a:cubicBezTo>
                <a:cubicBezTo>
                  <a:pt x="743863" y="5066801"/>
                  <a:pt x="750687" y="5032611"/>
                  <a:pt x="741587" y="5009817"/>
                </a:cubicBezTo>
                <a:cubicBezTo>
                  <a:pt x="739312" y="5005258"/>
                  <a:pt x="739312" y="5002979"/>
                  <a:pt x="737038" y="4998420"/>
                </a:cubicBezTo>
                <a:cubicBezTo>
                  <a:pt x="741587" y="4993861"/>
                  <a:pt x="746137" y="4987023"/>
                  <a:pt x="752962" y="4980185"/>
                </a:cubicBezTo>
                <a:cubicBezTo>
                  <a:pt x="750687" y="4975627"/>
                  <a:pt x="748412" y="4971068"/>
                  <a:pt x="746137" y="4968789"/>
                </a:cubicBezTo>
                <a:cubicBezTo>
                  <a:pt x="743863" y="4964230"/>
                  <a:pt x="739312" y="4964230"/>
                  <a:pt x="739312" y="4961951"/>
                </a:cubicBezTo>
                <a:cubicBezTo>
                  <a:pt x="734763" y="4934598"/>
                  <a:pt x="723389" y="4907246"/>
                  <a:pt x="723389" y="4879894"/>
                </a:cubicBezTo>
                <a:cubicBezTo>
                  <a:pt x="721115" y="4868497"/>
                  <a:pt x="725664" y="4857100"/>
                  <a:pt x="725664" y="4845703"/>
                </a:cubicBezTo>
                <a:cubicBezTo>
                  <a:pt x="724526" y="4836586"/>
                  <a:pt x="726801" y="4830318"/>
                  <a:pt x="730782" y="4825474"/>
                </a:cubicBezTo>
                <a:lnTo>
                  <a:pt x="744844" y="4814776"/>
                </a:lnTo>
                <a:lnTo>
                  <a:pt x="745682" y="4815616"/>
                </a:lnTo>
                <a:lnTo>
                  <a:pt x="743863" y="4822910"/>
                </a:lnTo>
                <a:cubicBezTo>
                  <a:pt x="743863" y="4822910"/>
                  <a:pt x="748412" y="4822910"/>
                  <a:pt x="750687" y="4825189"/>
                </a:cubicBezTo>
                <a:cubicBezTo>
                  <a:pt x="750687" y="4822910"/>
                  <a:pt x="752962" y="4820631"/>
                  <a:pt x="750687" y="4820631"/>
                </a:cubicBezTo>
                <a:lnTo>
                  <a:pt x="745682" y="4815616"/>
                </a:lnTo>
                <a:lnTo>
                  <a:pt x="746137" y="4813792"/>
                </a:lnTo>
                <a:lnTo>
                  <a:pt x="744844" y="4814776"/>
                </a:lnTo>
                <a:lnTo>
                  <a:pt x="743863" y="4813792"/>
                </a:lnTo>
                <a:cubicBezTo>
                  <a:pt x="771160" y="4800116"/>
                  <a:pt x="803008" y="4809234"/>
                  <a:pt x="830305" y="4790999"/>
                </a:cubicBezTo>
                <a:cubicBezTo>
                  <a:pt x="841680" y="4813792"/>
                  <a:pt x="850779" y="4834307"/>
                  <a:pt x="859877" y="4852541"/>
                </a:cubicBezTo>
                <a:cubicBezTo>
                  <a:pt x="882626" y="4857100"/>
                  <a:pt x="882626" y="4857100"/>
                  <a:pt x="887176" y="4838865"/>
                </a:cubicBezTo>
                <a:cubicBezTo>
                  <a:pt x="887176" y="4836586"/>
                  <a:pt x="887176" y="4832027"/>
                  <a:pt x="887176" y="4829748"/>
                </a:cubicBezTo>
                <a:cubicBezTo>
                  <a:pt x="889450" y="4825189"/>
                  <a:pt x="891725" y="4822910"/>
                  <a:pt x="894000" y="4820631"/>
                </a:cubicBezTo>
                <a:cubicBezTo>
                  <a:pt x="898549" y="4818351"/>
                  <a:pt x="905374" y="4816072"/>
                  <a:pt x="914473" y="4813792"/>
                </a:cubicBezTo>
                <a:cubicBezTo>
                  <a:pt x="916748" y="4804675"/>
                  <a:pt x="921298" y="4793278"/>
                  <a:pt x="925847" y="4781881"/>
                </a:cubicBezTo>
                <a:cubicBezTo>
                  <a:pt x="964519" y="4775043"/>
                  <a:pt x="1005466" y="4788720"/>
                  <a:pt x="1041863" y="4768205"/>
                </a:cubicBezTo>
                <a:cubicBezTo>
                  <a:pt x="1053236" y="4775043"/>
                  <a:pt x="1060061" y="4781881"/>
                  <a:pt x="1071435" y="4788720"/>
                </a:cubicBezTo>
                <a:cubicBezTo>
                  <a:pt x="1075984" y="4781881"/>
                  <a:pt x="1080535" y="4775043"/>
                  <a:pt x="1087359" y="4770485"/>
                </a:cubicBezTo>
                <a:cubicBezTo>
                  <a:pt x="1096458" y="4759088"/>
                  <a:pt x="1107832" y="4752250"/>
                  <a:pt x="1123756" y="4756809"/>
                </a:cubicBezTo>
                <a:cubicBezTo>
                  <a:pt x="1128305" y="4756809"/>
                  <a:pt x="1139680" y="4752250"/>
                  <a:pt x="1139680" y="4749971"/>
                </a:cubicBezTo>
                <a:cubicBezTo>
                  <a:pt x="1141954" y="4722618"/>
                  <a:pt x="1176077" y="4727177"/>
                  <a:pt x="1187450" y="4704383"/>
                </a:cubicBezTo>
                <a:cubicBezTo>
                  <a:pt x="1187450" y="4672472"/>
                  <a:pt x="1162428" y="4636003"/>
                  <a:pt x="1180626" y="4599533"/>
                </a:cubicBezTo>
                <a:cubicBezTo>
                  <a:pt x="1176077" y="4558505"/>
                  <a:pt x="1210198" y="4535711"/>
                  <a:pt x="1228397" y="4503800"/>
                </a:cubicBezTo>
                <a:cubicBezTo>
                  <a:pt x="1221573" y="4492403"/>
                  <a:pt x="1212474" y="4499241"/>
                  <a:pt x="1207924" y="4503800"/>
                </a:cubicBezTo>
                <a:cubicBezTo>
                  <a:pt x="1192000" y="4517476"/>
                  <a:pt x="1180626" y="4533432"/>
                  <a:pt x="1166977" y="4549387"/>
                </a:cubicBezTo>
                <a:cubicBezTo>
                  <a:pt x="1162428" y="4553946"/>
                  <a:pt x="1155603" y="4556225"/>
                  <a:pt x="1148778" y="4563063"/>
                </a:cubicBezTo>
                <a:cubicBezTo>
                  <a:pt x="1146504" y="4551667"/>
                  <a:pt x="1144229" y="4542549"/>
                  <a:pt x="1144229" y="4537990"/>
                </a:cubicBezTo>
                <a:cubicBezTo>
                  <a:pt x="1160153" y="4522035"/>
                  <a:pt x="1176077" y="4506080"/>
                  <a:pt x="1189725" y="4490124"/>
                </a:cubicBezTo>
                <a:cubicBezTo>
                  <a:pt x="1189725" y="4490124"/>
                  <a:pt x="1189725" y="4492403"/>
                  <a:pt x="1189725" y="4492403"/>
                </a:cubicBezTo>
                <a:cubicBezTo>
                  <a:pt x="1212474" y="4490124"/>
                  <a:pt x="1232946" y="4471889"/>
                  <a:pt x="1255695" y="4487845"/>
                </a:cubicBezTo>
                <a:cubicBezTo>
                  <a:pt x="1237496" y="4462772"/>
                  <a:pt x="1214748" y="4471889"/>
                  <a:pt x="1192000" y="4469610"/>
                </a:cubicBezTo>
                <a:cubicBezTo>
                  <a:pt x="1169252" y="4467330"/>
                  <a:pt x="1155603" y="4492403"/>
                  <a:pt x="1126031" y="4487845"/>
                </a:cubicBezTo>
                <a:cubicBezTo>
                  <a:pt x="1135129" y="4478727"/>
                  <a:pt x="1139680" y="4471889"/>
                  <a:pt x="1146504" y="4467330"/>
                </a:cubicBezTo>
                <a:cubicBezTo>
                  <a:pt x="1151053" y="4458213"/>
                  <a:pt x="1157878" y="4451375"/>
                  <a:pt x="1164702" y="4442258"/>
                </a:cubicBezTo>
                <a:cubicBezTo>
                  <a:pt x="1148778" y="4394391"/>
                  <a:pt x="1128305" y="4346525"/>
                  <a:pt x="1137405" y="4287261"/>
                </a:cubicBezTo>
                <a:cubicBezTo>
                  <a:pt x="1144229" y="4294099"/>
                  <a:pt x="1146504" y="4294099"/>
                  <a:pt x="1148778" y="4298658"/>
                </a:cubicBezTo>
                <a:cubicBezTo>
                  <a:pt x="1153329" y="4307776"/>
                  <a:pt x="1162428" y="4310055"/>
                  <a:pt x="1169252" y="4305496"/>
                </a:cubicBezTo>
                <a:cubicBezTo>
                  <a:pt x="1196550" y="4282703"/>
                  <a:pt x="1223847" y="4257630"/>
                  <a:pt x="1251145" y="4234836"/>
                </a:cubicBezTo>
                <a:cubicBezTo>
                  <a:pt x="1251145" y="4218881"/>
                  <a:pt x="1253420" y="4198367"/>
                  <a:pt x="1251145" y="4180132"/>
                </a:cubicBezTo>
                <a:cubicBezTo>
                  <a:pt x="1248870" y="4155059"/>
                  <a:pt x="1257970" y="4134545"/>
                  <a:pt x="1273893" y="4116310"/>
                </a:cubicBezTo>
                <a:cubicBezTo>
                  <a:pt x="1282993" y="4107192"/>
                  <a:pt x="1287542" y="4095795"/>
                  <a:pt x="1296642" y="4084399"/>
                </a:cubicBezTo>
                <a:cubicBezTo>
                  <a:pt x="1298916" y="4082119"/>
                  <a:pt x="1305740" y="4079840"/>
                  <a:pt x="1308015" y="4082119"/>
                </a:cubicBezTo>
                <a:cubicBezTo>
                  <a:pt x="1312565" y="4084399"/>
                  <a:pt x="1314839" y="4091237"/>
                  <a:pt x="1314839" y="4095795"/>
                </a:cubicBezTo>
                <a:cubicBezTo>
                  <a:pt x="1308015" y="4111751"/>
                  <a:pt x="1301191" y="4127706"/>
                  <a:pt x="1292091" y="4143662"/>
                </a:cubicBezTo>
                <a:cubicBezTo>
                  <a:pt x="1282993" y="4164176"/>
                  <a:pt x="1287542" y="4180132"/>
                  <a:pt x="1305740" y="4189249"/>
                </a:cubicBezTo>
                <a:cubicBezTo>
                  <a:pt x="1323939" y="4198367"/>
                  <a:pt x="1344412" y="4200646"/>
                  <a:pt x="1362611" y="4189249"/>
                </a:cubicBezTo>
                <a:cubicBezTo>
                  <a:pt x="1373984" y="4184690"/>
                  <a:pt x="1383084" y="4177852"/>
                  <a:pt x="1392184" y="4173294"/>
                </a:cubicBezTo>
                <a:cubicBezTo>
                  <a:pt x="1389908" y="4155059"/>
                  <a:pt x="1383084" y="4141383"/>
                  <a:pt x="1383084" y="4127706"/>
                </a:cubicBezTo>
                <a:cubicBezTo>
                  <a:pt x="1383084" y="4095795"/>
                  <a:pt x="1367160" y="4077561"/>
                  <a:pt x="1335313" y="4073002"/>
                </a:cubicBezTo>
                <a:cubicBezTo>
                  <a:pt x="1344412" y="4038812"/>
                  <a:pt x="1346687" y="4009180"/>
                  <a:pt x="1321664" y="3984107"/>
                </a:cubicBezTo>
                <a:cubicBezTo>
                  <a:pt x="1301191" y="3997783"/>
                  <a:pt x="1312565" y="4020577"/>
                  <a:pt x="1303466" y="4041091"/>
                </a:cubicBezTo>
                <a:cubicBezTo>
                  <a:pt x="1296642" y="4036532"/>
                  <a:pt x="1289816" y="4029694"/>
                  <a:pt x="1280718" y="4025135"/>
                </a:cubicBezTo>
                <a:cubicBezTo>
                  <a:pt x="1273893" y="4020577"/>
                  <a:pt x="1267069" y="4016018"/>
                  <a:pt x="1260245" y="4013739"/>
                </a:cubicBezTo>
                <a:cubicBezTo>
                  <a:pt x="1262519" y="4011459"/>
                  <a:pt x="1267069" y="4011459"/>
                  <a:pt x="1269343" y="4009180"/>
                </a:cubicBezTo>
                <a:cubicBezTo>
                  <a:pt x="1271619" y="4009180"/>
                  <a:pt x="1271619" y="4006901"/>
                  <a:pt x="1271619" y="4006901"/>
                </a:cubicBezTo>
                <a:cubicBezTo>
                  <a:pt x="1271619" y="4004621"/>
                  <a:pt x="1271619" y="4002342"/>
                  <a:pt x="1271619" y="4002342"/>
                </a:cubicBezTo>
                <a:cubicBezTo>
                  <a:pt x="1267069" y="4002342"/>
                  <a:pt x="1264794" y="4002342"/>
                  <a:pt x="1262519" y="4004621"/>
                </a:cubicBezTo>
                <a:cubicBezTo>
                  <a:pt x="1262519" y="4006901"/>
                  <a:pt x="1262519" y="4011459"/>
                  <a:pt x="1260245" y="4013739"/>
                </a:cubicBezTo>
                <a:cubicBezTo>
                  <a:pt x="1248870" y="3995504"/>
                  <a:pt x="1246595" y="3988666"/>
                  <a:pt x="1260245" y="3970431"/>
                </a:cubicBezTo>
                <a:lnTo>
                  <a:pt x="1261336" y="3971708"/>
                </a:lnTo>
                <a:lnTo>
                  <a:pt x="1260245" y="3972710"/>
                </a:lnTo>
                <a:cubicBezTo>
                  <a:pt x="1262519" y="3973850"/>
                  <a:pt x="1262519" y="3973280"/>
                  <a:pt x="1261951" y="3972426"/>
                </a:cubicBezTo>
                <a:lnTo>
                  <a:pt x="1261336" y="3971708"/>
                </a:lnTo>
                <a:lnTo>
                  <a:pt x="1287542" y="3947638"/>
                </a:lnTo>
                <a:cubicBezTo>
                  <a:pt x="1297779" y="3940230"/>
                  <a:pt x="1309153" y="3933962"/>
                  <a:pt x="1321664" y="3929403"/>
                </a:cubicBezTo>
                <a:cubicBezTo>
                  <a:pt x="1328488" y="3929403"/>
                  <a:pt x="1333039" y="3920285"/>
                  <a:pt x="1342138" y="3913447"/>
                </a:cubicBezTo>
                <a:cubicBezTo>
                  <a:pt x="1335313" y="3908888"/>
                  <a:pt x="1330764" y="3902050"/>
                  <a:pt x="1326214" y="3902050"/>
                </a:cubicBezTo>
                <a:cubicBezTo>
                  <a:pt x="1308015" y="3895212"/>
                  <a:pt x="1289816" y="3890654"/>
                  <a:pt x="1271619" y="3886095"/>
                </a:cubicBezTo>
                <a:cubicBezTo>
                  <a:pt x="1271619" y="3865581"/>
                  <a:pt x="1271619" y="3847346"/>
                  <a:pt x="1271619" y="3824552"/>
                </a:cubicBezTo>
                <a:cubicBezTo>
                  <a:pt x="1310290" y="3808597"/>
                  <a:pt x="1317115" y="3776686"/>
                  <a:pt x="1310290" y="3733378"/>
                </a:cubicBezTo>
                <a:cubicBezTo>
                  <a:pt x="1301191" y="3735657"/>
                  <a:pt x="1294367" y="3737937"/>
                  <a:pt x="1287542" y="3740216"/>
                </a:cubicBezTo>
                <a:cubicBezTo>
                  <a:pt x="1282993" y="3724261"/>
                  <a:pt x="1287542" y="3712864"/>
                  <a:pt x="1301191" y="3712864"/>
                </a:cubicBezTo>
                <a:cubicBezTo>
                  <a:pt x="1308015" y="3712864"/>
                  <a:pt x="1314839" y="3717423"/>
                  <a:pt x="1319390" y="3715143"/>
                </a:cubicBezTo>
                <a:cubicBezTo>
                  <a:pt x="1326214" y="3715143"/>
                  <a:pt x="1337588" y="3710584"/>
                  <a:pt x="1339863" y="3706026"/>
                </a:cubicBezTo>
                <a:cubicBezTo>
                  <a:pt x="1344412" y="3699188"/>
                  <a:pt x="1342138" y="3690070"/>
                  <a:pt x="1339863" y="3683232"/>
                </a:cubicBezTo>
                <a:cubicBezTo>
                  <a:pt x="1337588" y="3676394"/>
                  <a:pt x="1330764" y="3671835"/>
                  <a:pt x="1326214" y="3667277"/>
                </a:cubicBezTo>
                <a:cubicBezTo>
                  <a:pt x="1323939" y="3662718"/>
                  <a:pt x="1317115" y="3662718"/>
                  <a:pt x="1314839" y="3658159"/>
                </a:cubicBezTo>
                <a:cubicBezTo>
                  <a:pt x="1301191" y="3639924"/>
                  <a:pt x="1289816" y="3619410"/>
                  <a:pt x="1276168" y="3601175"/>
                </a:cubicBezTo>
                <a:cubicBezTo>
                  <a:pt x="1285267" y="3585220"/>
                  <a:pt x="1294367" y="3601175"/>
                  <a:pt x="1303466" y="3596617"/>
                </a:cubicBezTo>
                <a:cubicBezTo>
                  <a:pt x="1310290" y="3592058"/>
                  <a:pt x="1317115" y="3589779"/>
                  <a:pt x="1326214" y="3587499"/>
                </a:cubicBezTo>
                <a:cubicBezTo>
                  <a:pt x="1333039" y="3605734"/>
                  <a:pt x="1339863" y="3619410"/>
                  <a:pt x="1358061" y="3623969"/>
                </a:cubicBezTo>
                <a:cubicBezTo>
                  <a:pt x="1371710" y="3617131"/>
                  <a:pt x="1383084" y="3605734"/>
                  <a:pt x="1385359" y="3589779"/>
                </a:cubicBezTo>
                <a:cubicBezTo>
                  <a:pt x="1387633" y="3580661"/>
                  <a:pt x="1394458" y="3578382"/>
                  <a:pt x="1403557" y="3576103"/>
                </a:cubicBezTo>
                <a:cubicBezTo>
                  <a:pt x="1401283" y="3585220"/>
                  <a:pt x="1383084" y="3592058"/>
                  <a:pt x="1399008" y="3608014"/>
                </a:cubicBezTo>
                <a:cubicBezTo>
                  <a:pt x="1405832" y="3601175"/>
                  <a:pt x="1417206" y="3596617"/>
                  <a:pt x="1419481" y="3589779"/>
                </a:cubicBezTo>
                <a:cubicBezTo>
                  <a:pt x="1421756" y="3580661"/>
                  <a:pt x="1410381" y="3576103"/>
                  <a:pt x="1403557" y="3576103"/>
                </a:cubicBezTo>
                <a:cubicBezTo>
                  <a:pt x="1405832" y="3564706"/>
                  <a:pt x="1419481" y="3557868"/>
                  <a:pt x="1408107" y="3541912"/>
                </a:cubicBezTo>
                <a:cubicBezTo>
                  <a:pt x="1401283" y="3541912"/>
                  <a:pt x="1392184" y="3544192"/>
                  <a:pt x="1385359" y="3546471"/>
                </a:cubicBezTo>
                <a:cubicBezTo>
                  <a:pt x="1378535" y="3548750"/>
                  <a:pt x="1371710" y="3555588"/>
                  <a:pt x="1362611" y="3562426"/>
                </a:cubicBezTo>
                <a:cubicBezTo>
                  <a:pt x="1364885" y="3551030"/>
                  <a:pt x="1367160" y="3544192"/>
                  <a:pt x="1367160" y="3532795"/>
                </a:cubicBezTo>
                <a:cubicBezTo>
                  <a:pt x="1355787" y="3535074"/>
                  <a:pt x="1344412" y="3537353"/>
                  <a:pt x="1333039" y="3539633"/>
                </a:cubicBezTo>
                <a:cubicBezTo>
                  <a:pt x="1326214" y="3539633"/>
                  <a:pt x="1317115" y="3539633"/>
                  <a:pt x="1314839" y="3535074"/>
                </a:cubicBezTo>
                <a:cubicBezTo>
                  <a:pt x="1303466" y="3516839"/>
                  <a:pt x="1289816" y="3500884"/>
                  <a:pt x="1296642" y="3475811"/>
                </a:cubicBezTo>
                <a:cubicBezTo>
                  <a:pt x="1298916" y="3466693"/>
                  <a:pt x="1301191" y="3457576"/>
                  <a:pt x="1301191" y="3448459"/>
                </a:cubicBezTo>
                <a:cubicBezTo>
                  <a:pt x="1305740" y="3418827"/>
                  <a:pt x="1310290" y="3391475"/>
                  <a:pt x="1328488" y="3368681"/>
                </a:cubicBezTo>
                <a:cubicBezTo>
                  <a:pt x="1330764" y="3364123"/>
                  <a:pt x="1328488" y="3357284"/>
                  <a:pt x="1330764" y="3352726"/>
                </a:cubicBezTo>
                <a:lnTo>
                  <a:pt x="1333039" y="3350446"/>
                </a:lnTo>
                <a:cubicBezTo>
                  <a:pt x="1339863" y="3350446"/>
                  <a:pt x="1346687" y="3352726"/>
                  <a:pt x="1353512" y="3352726"/>
                </a:cubicBezTo>
                <a:lnTo>
                  <a:pt x="1351236" y="3352726"/>
                </a:lnTo>
                <a:cubicBezTo>
                  <a:pt x="1355787" y="3361843"/>
                  <a:pt x="1360336" y="3368681"/>
                  <a:pt x="1364885" y="3380078"/>
                </a:cubicBezTo>
                <a:cubicBezTo>
                  <a:pt x="1355787" y="3389195"/>
                  <a:pt x="1346687" y="3396033"/>
                  <a:pt x="1337588" y="3407430"/>
                </a:cubicBezTo>
                <a:cubicBezTo>
                  <a:pt x="1335313" y="3411989"/>
                  <a:pt x="1333039" y="3421106"/>
                  <a:pt x="1335313" y="3425665"/>
                </a:cubicBezTo>
                <a:cubicBezTo>
                  <a:pt x="1339863" y="3430224"/>
                  <a:pt x="1346687" y="3432503"/>
                  <a:pt x="1351236" y="3434783"/>
                </a:cubicBezTo>
                <a:cubicBezTo>
                  <a:pt x="1358061" y="3434783"/>
                  <a:pt x="1364885" y="3430224"/>
                  <a:pt x="1369435" y="3427944"/>
                </a:cubicBezTo>
                <a:cubicBezTo>
                  <a:pt x="1373984" y="3425665"/>
                  <a:pt x="1376260" y="3421106"/>
                  <a:pt x="1378535" y="3416548"/>
                </a:cubicBezTo>
                <a:cubicBezTo>
                  <a:pt x="1383084" y="3400592"/>
                  <a:pt x="1383084" y="3382357"/>
                  <a:pt x="1389908" y="3368681"/>
                </a:cubicBezTo>
                <a:cubicBezTo>
                  <a:pt x="1396733" y="3352726"/>
                  <a:pt x="1408107" y="3341329"/>
                  <a:pt x="1405832" y="3323094"/>
                </a:cubicBezTo>
                <a:cubicBezTo>
                  <a:pt x="1405832" y="3307139"/>
                  <a:pt x="1410381" y="3293463"/>
                  <a:pt x="1421756" y="3282066"/>
                </a:cubicBezTo>
                <a:cubicBezTo>
                  <a:pt x="1426305" y="3284345"/>
                  <a:pt x="1430855" y="3286624"/>
                  <a:pt x="1437680" y="3291183"/>
                </a:cubicBezTo>
                <a:cubicBezTo>
                  <a:pt x="1437680" y="3291183"/>
                  <a:pt x="1439954" y="3288904"/>
                  <a:pt x="1442229" y="3288904"/>
                </a:cubicBezTo>
                <a:cubicBezTo>
                  <a:pt x="1451329" y="3282066"/>
                  <a:pt x="1460428" y="3272949"/>
                  <a:pt x="1469526" y="3268390"/>
                </a:cubicBezTo>
                <a:cubicBezTo>
                  <a:pt x="1478626" y="3263831"/>
                  <a:pt x="1490000" y="3261552"/>
                  <a:pt x="1503649" y="3256993"/>
                </a:cubicBezTo>
                <a:cubicBezTo>
                  <a:pt x="1496825" y="3252434"/>
                  <a:pt x="1492275" y="3250155"/>
                  <a:pt x="1487726" y="3245596"/>
                </a:cubicBezTo>
                <a:cubicBezTo>
                  <a:pt x="1487726" y="3245596"/>
                  <a:pt x="1487726" y="3243317"/>
                  <a:pt x="1487726" y="3241037"/>
                </a:cubicBezTo>
                <a:cubicBezTo>
                  <a:pt x="1494550" y="3218244"/>
                  <a:pt x="1496825" y="3195450"/>
                  <a:pt x="1499099" y="3172657"/>
                </a:cubicBezTo>
                <a:cubicBezTo>
                  <a:pt x="1499099" y="3163540"/>
                  <a:pt x="1510474" y="3154422"/>
                  <a:pt x="1519573" y="3143025"/>
                </a:cubicBezTo>
                <a:cubicBezTo>
                  <a:pt x="1517298" y="3133908"/>
                  <a:pt x="1496825" y="3127070"/>
                  <a:pt x="1508198" y="3111114"/>
                </a:cubicBezTo>
                <a:cubicBezTo>
                  <a:pt x="1515023" y="3101997"/>
                  <a:pt x="1517298" y="3090600"/>
                  <a:pt x="1524122" y="3076924"/>
                </a:cubicBezTo>
                <a:cubicBezTo>
                  <a:pt x="1512749" y="3076924"/>
                  <a:pt x="1505923" y="3074644"/>
                  <a:pt x="1501374" y="3076924"/>
                </a:cubicBezTo>
                <a:cubicBezTo>
                  <a:pt x="1483176" y="3083762"/>
                  <a:pt x="1467252" y="3090600"/>
                  <a:pt x="1446778" y="3097438"/>
                </a:cubicBezTo>
                <a:cubicBezTo>
                  <a:pt x="1442229" y="3108835"/>
                  <a:pt x="1437680" y="3120232"/>
                  <a:pt x="1433130" y="3131629"/>
                </a:cubicBezTo>
                <a:cubicBezTo>
                  <a:pt x="1437680" y="3156701"/>
                  <a:pt x="1458153" y="3163540"/>
                  <a:pt x="1471802" y="3177216"/>
                </a:cubicBezTo>
                <a:cubicBezTo>
                  <a:pt x="1471802" y="3186333"/>
                  <a:pt x="1464977" y="3190892"/>
                  <a:pt x="1458153" y="3190892"/>
                </a:cubicBezTo>
                <a:cubicBezTo>
                  <a:pt x="1433130" y="3190892"/>
                  <a:pt x="1408107" y="3190892"/>
                  <a:pt x="1383084" y="3190892"/>
                </a:cubicBezTo>
                <a:cubicBezTo>
                  <a:pt x="1383084" y="3174936"/>
                  <a:pt x="1383084" y="3165819"/>
                  <a:pt x="1396733" y="3168098"/>
                </a:cubicBezTo>
                <a:cubicBezTo>
                  <a:pt x="1408107" y="3170378"/>
                  <a:pt x="1419481" y="3165819"/>
                  <a:pt x="1417206" y="3158981"/>
                </a:cubicBezTo>
                <a:cubicBezTo>
                  <a:pt x="1414932" y="3133908"/>
                  <a:pt x="1428581" y="3113394"/>
                  <a:pt x="1433130" y="3095159"/>
                </a:cubicBezTo>
                <a:cubicBezTo>
                  <a:pt x="1426305" y="3086041"/>
                  <a:pt x="1419481" y="3090600"/>
                  <a:pt x="1414932" y="3092879"/>
                </a:cubicBezTo>
                <a:cubicBezTo>
                  <a:pt x="1394458" y="3099718"/>
                  <a:pt x="1376260" y="3106556"/>
                  <a:pt x="1355787" y="3111114"/>
                </a:cubicBezTo>
                <a:cubicBezTo>
                  <a:pt x="1326214" y="3117952"/>
                  <a:pt x="1326214" y="3120232"/>
                  <a:pt x="1319390" y="3154422"/>
                </a:cubicBezTo>
                <a:cubicBezTo>
                  <a:pt x="1292091" y="3136187"/>
                  <a:pt x="1282993" y="3133908"/>
                  <a:pt x="1271619" y="3143025"/>
                </a:cubicBezTo>
                <a:cubicBezTo>
                  <a:pt x="1257970" y="3152143"/>
                  <a:pt x="1257970" y="3163540"/>
                  <a:pt x="1267069" y="3184053"/>
                </a:cubicBezTo>
                <a:cubicBezTo>
                  <a:pt x="1253420" y="3188612"/>
                  <a:pt x="1237496" y="3190892"/>
                  <a:pt x="1223847" y="3193171"/>
                </a:cubicBezTo>
                <a:cubicBezTo>
                  <a:pt x="1210198" y="3197730"/>
                  <a:pt x="1201100" y="3213685"/>
                  <a:pt x="1180626" y="3202289"/>
                </a:cubicBezTo>
                <a:cubicBezTo>
                  <a:pt x="1185176" y="3197730"/>
                  <a:pt x="1189725" y="3190892"/>
                  <a:pt x="1194274" y="3186333"/>
                </a:cubicBezTo>
                <a:cubicBezTo>
                  <a:pt x="1198825" y="3181774"/>
                  <a:pt x="1207924" y="3177216"/>
                  <a:pt x="1212474" y="3170378"/>
                </a:cubicBezTo>
                <a:cubicBezTo>
                  <a:pt x="1223847" y="3154422"/>
                  <a:pt x="1223847" y="3129349"/>
                  <a:pt x="1251145" y="3127070"/>
                </a:cubicBezTo>
                <a:cubicBezTo>
                  <a:pt x="1271619" y="3127070"/>
                  <a:pt x="1282993" y="3104276"/>
                  <a:pt x="1308015" y="3108835"/>
                </a:cubicBezTo>
                <a:cubicBezTo>
                  <a:pt x="1312565" y="3108835"/>
                  <a:pt x="1319390" y="3104276"/>
                  <a:pt x="1326214" y="3101997"/>
                </a:cubicBezTo>
                <a:cubicBezTo>
                  <a:pt x="1335313" y="3090600"/>
                  <a:pt x="1348962" y="3088321"/>
                  <a:pt x="1362611" y="3088321"/>
                </a:cubicBezTo>
                <a:cubicBezTo>
                  <a:pt x="1367160" y="3090600"/>
                  <a:pt x="1373984" y="3090600"/>
                  <a:pt x="1376260" y="3088321"/>
                </a:cubicBezTo>
                <a:cubicBezTo>
                  <a:pt x="1399008" y="3063248"/>
                  <a:pt x="1426305" y="3070086"/>
                  <a:pt x="1451329" y="3070086"/>
                </a:cubicBezTo>
                <a:cubicBezTo>
                  <a:pt x="1464977" y="3067807"/>
                  <a:pt x="1474077" y="3065527"/>
                  <a:pt x="1485450" y="3056410"/>
                </a:cubicBezTo>
                <a:cubicBezTo>
                  <a:pt x="1496825" y="3047292"/>
                  <a:pt x="1508198" y="3040454"/>
                  <a:pt x="1519573" y="3031337"/>
                </a:cubicBezTo>
                <a:cubicBezTo>
                  <a:pt x="1512749" y="3008543"/>
                  <a:pt x="1546871" y="2992588"/>
                  <a:pt x="1528672" y="2962956"/>
                </a:cubicBezTo>
                <a:cubicBezTo>
                  <a:pt x="1519573" y="2962956"/>
                  <a:pt x="1508198" y="2958398"/>
                  <a:pt x="1499099" y="2962956"/>
                </a:cubicBezTo>
                <a:cubicBezTo>
                  <a:pt x="1483176" y="2967515"/>
                  <a:pt x="1471802" y="2983470"/>
                  <a:pt x="1453603" y="2983470"/>
                </a:cubicBezTo>
                <a:cubicBezTo>
                  <a:pt x="1437680" y="2981191"/>
                  <a:pt x="1424030" y="2981191"/>
                  <a:pt x="1405832" y="2981191"/>
                </a:cubicBezTo>
                <a:cubicBezTo>
                  <a:pt x="1369435" y="2942442"/>
                  <a:pt x="1319390" y="2951560"/>
                  <a:pt x="1271619" y="2958398"/>
                </a:cubicBezTo>
                <a:cubicBezTo>
                  <a:pt x="1260245" y="2960677"/>
                  <a:pt x="1248870" y="2965236"/>
                  <a:pt x="1237496" y="2965236"/>
                </a:cubicBezTo>
                <a:cubicBezTo>
                  <a:pt x="1189725" y="2967515"/>
                  <a:pt x="1144229" y="2974353"/>
                  <a:pt x="1101008" y="2992588"/>
                </a:cubicBezTo>
                <a:cubicBezTo>
                  <a:pt x="1094183" y="2994867"/>
                  <a:pt x="1091908" y="3001705"/>
                  <a:pt x="1087359" y="3006264"/>
                </a:cubicBezTo>
                <a:cubicBezTo>
                  <a:pt x="1075984" y="3010823"/>
                  <a:pt x="1066886" y="3015381"/>
                  <a:pt x="1055512" y="3019940"/>
                </a:cubicBezTo>
                <a:cubicBezTo>
                  <a:pt x="1035038" y="3029057"/>
                  <a:pt x="1014565" y="3035895"/>
                  <a:pt x="996367" y="3054130"/>
                </a:cubicBezTo>
                <a:cubicBezTo>
                  <a:pt x="982718" y="3070086"/>
                  <a:pt x="959970" y="3079203"/>
                  <a:pt x="937222" y="3074644"/>
                </a:cubicBezTo>
                <a:cubicBezTo>
                  <a:pt x="944046" y="3045013"/>
                  <a:pt x="978168" y="3035895"/>
                  <a:pt x="991817" y="3010823"/>
                </a:cubicBezTo>
                <a:cubicBezTo>
                  <a:pt x="984993" y="2992588"/>
                  <a:pt x="971343" y="2994867"/>
                  <a:pt x="957694" y="2997147"/>
                </a:cubicBezTo>
                <a:cubicBezTo>
                  <a:pt x="923573" y="3006264"/>
                  <a:pt x="889450" y="3015381"/>
                  <a:pt x="855328" y="3022220"/>
                </a:cubicBezTo>
                <a:cubicBezTo>
                  <a:pt x="846229" y="3024499"/>
                  <a:pt x="834855" y="3029057"/>
                  <a:pt x="825756" y="3026778"/>
                </a:cubicBezTo>
                <a:cubicBezTo>
                  <a:pt x="807557" y="3026778"/>
                  <a:pt x="791634" y="3031337"/>
                  <a:pt x="777984" y="3040454"/>
                </a:cubicBezTo>
                <a:cubicBezTo>
                  <a:pt x="766611" y="3049572"/>
                  <a:pt x="752962" y="3054130"/>
                  <a:pt x="739312" y="3047292"/>
                </a:cubicBezTo>
                <a:cubicBezTo>
                  <a:pt x="730214" y="3058689"/>
                  <a:pt x="721115" y="3067807"/>
                  <a:pt x="714290" y="3079203"/>
                </a:cubicBezTo>
                <a:lnTo>
                  <a:pt x="713049" y="3077960"/>
                </a:lnTo>
                <a:lnTo>
                  <a:pt x="714290" y="3076924"/>
                </a:lnTo>
                <a:lnTo>
                  <a:pt x="712015" y="3076924"/>
                </a:lnTo>
                <a:lnTo>
                  <a:pt x="713049" y="3077960"/>
                </a:lnTo>
                <a:lnTo>
                  <a:pt x="695523" y="3092595"/>
                </a:lnTo>
                <a:cubicBezTo>
                  <a:pt x="688698" y="3096298"/>
                  <a:pt x="681305" y="3098578"/>
                  <a:pt x="673343" y="3099718"/>
                </a:cubicBezTo>
                <a:cubicBezTo>
                  <a:pt x="655145" y="3104276"/>
                  <a:pt x="639221" y="3111114"/>
                  <a:pt x="621022" y="3115673"/>
                </a:cubicBezTo>
                <a:lnTo>
                  <a:pt x="623297" y="3117952"/>
                </a:lnTo>
                <a:cubicBezTo>
                  <a:pt x="618748" y="3111114"/>
                  <a:pt x="611924" y="3108835"/>
                  <a:pt x="607374" y="3111114"/>
                </a:cubicBezTo>
                <a:cubicBezTo>
                  <a:pt x="598274" y="3115673"/>
                  <a:pt x="589176" y="3122511"/>
                  <a:pt x="582351" y="3127070"/>
                </a:cubicBezTo>
                <a:cubicBezTo>
                  <a:pt x="568702" y="3122511"/>
                  <a:pt x="580076" y="3115673"/>
                  <a:pt x="575527" y="3108835"/>
                </a:cubicBezTo>
                <a:cubicBezTo>
                  <a:pt x="561877" y="3099718"/>
                  <a:pt x="548228" y="3108835"/>
                  <a:pt x="536855" y="3117952"/>
                </a:cubicBezTo>
                <a:cubicBezTo>
                  <a:pt x="505008" y="3140746"/>
                  <a:pt x="475435" y="3165819"/>
                  <a:pt x="445863" y="3190892"/>
                </a:cubicBezTo>
                <a:cubicBezTo>
                  <a:pt x="443587" y="3195450"/>
                  <a:pt x="441312" y="3202289"/>
                  <a:pt x="439038" y="3209127"/>
                </a:cubicBezTo>
                <a:cubicBezTo>
                  <a:pt x="439038" y="3211406"/>
                  <a:pt x="439038" y="3215965"/>
                  <a:pt x="439038" y="3215965"/>
                </a:cubicBezTo>
                <a:cubicBezTo>
                  <a:pt x="411740" y="3219384"/>
                  <a:pt x="398518" y="3243317"/>
                  <a:pt x="380177" y="3258916"/>
                </a:cubicBezTo>
                <a:lnTo>
                  <a:pt x="360515" y="3270049"/>
                </a:lnTo>
                <a:lnTo>
                  <a:pt x="374490" y="3233060"/>
                </a:lnTo>
                <a:cubicBezTo>
                  <a:pt x="381030" y="3221093"/>
                  <a:pt x="388992" y="3210266"/>
                  <a:pt x="398091" y="3200009"/>
                </a:cubicBezTo>
                <a:cubicBezTo>
                  <a:pt x="414015" y="3184053"/>
                  <a:pt x="429939" y="3168098"/>
                  <a:pt x="443587" y="3152143"/>
                </a:cubicBezTo>
                <a:cubicBezTo>
                  <a:pt x="452687" y="3143025"/>
                  <a:pt x="459511" y="3133908"/>
                  <a:pt x="466335" y="3124790"/>
                </a:cubicBezTo>
                <a:cubicBezTo>
                  <a:pt x="457236" y="3115673"/>
                  <a:pt x="450412" y="3117952"/>
                  <a:pt x="443587" y="3122511"/>
                </a:cubicBezTo>
                <a:lnTo>
                  <a:pt x="420177" y="3137438"/>
                </a:lnTo>
                <a:lnTo>
                  <a:pt x="409465" y="3120802"/>
                </a:lnTo>
                <a:cubicBezTo>
                  <a:pt x="406053" y="3117952"/>
                  <a:pt x="402641" y="3117952"/>
                  <a:pt x="398091" y="3120232"/>
                </a:cubicBezTo>
                <a:cubicBezTo>
                  <a:pt x="377618" y="3127070"/>
                  <a:pt x="343496" y="3163540"/>
                  <a:pt x="338946" y="3184053"/>
                </a:cubicBezTo>
                <a:cubicBezTo>
                  <a:pt x="336672" y="3188612"/>
                  <a:pt x="341221" y="3193171"/>
                  <a:pt x="341221" y="3197730"/>
                </a:cubicBezTo>
                <a:cubicBezTo>
                  <a:pt x="352595" y="3200009"/>
                  <a:pt x="361694" y="3200009"/>
                  <a:pt x="375343" y="3202289"/>
                </a:cubicBezTo>
                <a:cubicBezTo>
                  <a:pt x="370794" y="3206847"/>
                  <a:pt x="368518" y="3215965"/>
                  <a:pt x="363969" y="3215965"/>
                </a:cubicBezTo>
                <a:cubicBezTo>
                  <a:pt x="354870" y="3218244"/>
                  <a:pt x="345770" y="3215965"/>
                  <a:pt x="334397" y="3215965"/>
                </a:cubicBezTo>
                <a:cubicBezTo>
                  <a:pt x="311649" y="3213685"/>
                  <a:pt x="298000" y="3225082"/>
                  <a:pt x="295725" y="3247876"/>
                </a:cubicBezTo>
                <a:cubicBezTo>
                  <a:pt x="291175" y="3263831"/>
                  <a:pt x="288901" y="3277507"/>
                  <a:pt x="284351" y="3291183"/>
                </a:cubicBezTo>
                <a:cubicBezTo>
                  <a:pt x="272976" y="3291183"/>
                  <a:pt x="270702" y="3284345"/>
                  <a:pt x="272976" y="3277507"/>
                </a:cubicBezTo>
                <a:cubicBezTo>
                  <a:pt x="282076" y="3256993"/>
                  <a:pt x="282076" y="3234200"/>
                  <a:pt x="277527" y="3213685"/>
                </a:cubicBezTo>
                <a:cubicBezTo>
                  <a:pt x="250228" y="3209127"/>
                  <a:pt x="241129" y="3234200"/>
                  <a:pt x="222931" y="3247876"/>
                </a:cubicBezTo>
                <a:cubicBezTo>
                  <a:pt x="216107" y="3231920"/>
                  <a:pt x="218382" y="3218244"/>
                  <a:pt x="218382" y="3206847"/>
                </a:cubicBezTo>
                <a:lnTo>
                  <a:pt x="226343" y="3190892"/>
                </a:lnTo>
                <a:lnTo>
                  <a:pt x="229756" y="3190892"/>
                </a:lnTo>
                <a:cubicBezTo>
                  <a:pt x="227480" y="3190892"/>
                  <a:pt x="227480" y="3188612"/>
                  <a:pt x="227480" y="3188612"/>
                </a:cubicBezTo>
                <a:lnTo>
                  <a:pt x="226343" y="3190892"/>
                </a:lnTo>
                <a:lnTo>
                  <a:pt x="225206" y="3190892"/>
                </a:lnTo>
                <a:cubicBezTo>
                  <a:pt x="227481" y="3179495"/>
                  <a:pt x="232030" y="3170377"/>
                  <a:pt x="237717" y="3162115"/>
                </a:cubicBezTo>
                <a:lnTo>
                  <a:pt x="256392" y="3139275"/>
                </a:lnTo>
                <a:lnTo>
                  <a:pt x="258190" y="3140176"/>
                </a:lnTo>
                <a:lnTo>
                  <a:pt x="261603" y="3145305"/>
                </a:lnTo>
                <a:cubicBezTo>
                  <a:pt x="261603" y="3145305"/>
                  <a:pt x="263877" y="3143025"/>
                  <a:pt x="263877" y="3143025"/>
                </a:cubicBezTo>
                <a:lnTo>
                  <a:pt x="258190" y="3140176"/>
                </a:lnTo>
                <a:lnTo>
                  <a:pt x="257053" y="3138466"/>
                </a:lnTo>
                <a:lnTo>
                  <a:pt x="256392" y="3139275"/>
                </a:lnTo>
                <a:lnTo>
                  <a:pt x="254778" y="3138466"/>
                </a:lnTo>
                <a:cubicBezTo>
                  <a:pt x="259328" y="3131629"/>
                  <a:pt x="261603" y="3124790"/>
                  <a:pt x="268427" y="3111114"/>
                </a:cubicBezTo>
                <a:cubicBezTo>
                  <a:pt x="259328" y="3106556"/>
                  <a:pt x="252504" y="3099718"/>
                  <a:pt x="245679" y="3095159"/>
                </a:cubicBezTo>
                <a:cubicBezTo>
                  <a:pt x="241129" y="3076924"/>
                  <a:pt x="263877" y="3081482"/>
                  <a:pt x="266152" y="3070086"/>
                </a:cubicBezTo>
                <a:cubicBezTo>
                  <a:pt x="266152" y="3067807"/>
                  <a:pt x="268427" y="3063248"/>
                  <a:pt x="266152" y="3060969"/>
                </a:cubicBezTo>
                <a:cubicBezTo>
                  <a:pt x="257053" y="3042734"/>
                  <a:pt x="254778" y="3026778"/>
                  <a:pt x="268427" y="3010823"/>
                </a:cubicBezTo>
                <a:cubicBezTo>
                  <a:pt x="275252" y="3003985"/>
                  <a:pt x="275252" y="2992588"/>
                  <a:pt x="277527" y="2978912"/>
                </a:cubicBezTo>
                <a:cubicBezTo>
                  <a:pt x="252504" y="2972073"/>
                  <a:pt x="229756" y="2960677"/>
                  <a:pt x="211557" y="2942442"/>
                </a:cubicBezTo>
                <a:cubicBezTo>
                  <a:pt x="197908" y="2928766"/>
                  <a:pt x="177435" y="2919649"/>
                  <a:pt x="156962" y="2917369"/>
                </a:cubicBezTo>
                <a:cubicBezTo>
                  <a:pt x="136488" y="2915090"/>
                  <a:pt x="118290" y="2903693"/>
                  <a:pt x="97817" y="2892296"/>
                </a:cubicBezTo>
                <a:cubicBezTo>
                  <a:pt x="93266" y="2896855"/>
                  <a:pt x="86442" y="2901414"/>
                  <a:pt x="81893" y="2903693"/>
                </a:cubicBezTo>
                <a:cubicBezTo>
                  <a:pt x="65969" y="2917369"/>
                  <a:pt x="50045" y="2915090"/>
                  <a:pt x="47770" y="2896855"/>
                </a:cubicBezTo>
                <a:cubicBezTo>
                  <a:pt x="43221" y="2880899"/>
                  <a:pt x="36397" y="2871782"/>
                  <a:pt x="18198" y="2869502"/>
                </a:cubicBezTo>
                <a:cubicBezTo>
                  <a:pt x="13649" y="2869502"/>
                  <a:pt x="9099" y="2862665"/>
                  <a:pt x="0" y="2853547"/>
                </a:cubicBezTo>
                <a:cubicBezTo>
                  <a:pt x="20473" y="2851268"/>
                  <a:pt x="38672" y="2862665"/>
                  <a:pt x="50045" y="2844430"/>
                </a:cubicBezTo>
                <a:cubicBezTo>
                  <a:pt x="50045" y="2828474"/>
                  <a:pt x="31847" y="2828474"/>
                  <a:pt x="25023" y="2817078"/>
                </a:cubicBezTo>
                <a:cubicBezTo>
                  <a:pt x="20473" y="2805681"/>
                  <a:pt x="15923" y="2794284"/>
                  <a:pt x="11373" y="2785167"/>
                </a:cubicBezTo>
                <a:cubicBezTo>
                  <a:pt x="31847" y="2780608"/>
                  <a:pt x="54595" y="2778328"/>
                  <a:pt x="70518" y="2796563"/>
                </a:cubicBezTo>
                <a:cubicBezTo>
                  <a:pt x="72793" y="2801122"/>
                  <a:pt x="84168" y="2796563"/>
                  <a:pt x="88717" y="2794284"/>
                </a:cubicBezTo>
                <a:cubicBezTo>
                  <a:pt x="90992" y="2792005"/>
                  <a:pt x="90992" y="2785167"/>
                  <a:pt x="90992" y="2780608"/>
                </a:cubicBezTo>
                <a:cubicBezTo>
                  <a:pt x="86442" y="2771490"/>
                  <a:pt x="81893" y="2762373"/>
                  <a:pt x="75068" y="2755535"/>
                </a:cubicBezTo>
                <a:cubicBezTo>
                  <a:pt x="59145" y="2741859"/>
                  <a:pt x="68244" y="2725903"/>
                  <a:pt x="68244" y="2709948"/>
                </a:cubicBezTo>
                <a:cubicBezTo>
                  <a:pt x="88717" y="2735021"/>
                  <a:pt x="102366" y="2764652"/>
                  <a:pt x="141038" y="2766931"/>
                </a:cubicBezTo>
                <a:cubicBezTo>
                  <a:pt x="152412" y="2753256"/>
                  <a:pt x="163786" y="2739579"/>
                  <a:pt x="175160" y="2725903"/>
                </a:cubicBezTo>
                <a:cubicBezTo>
                  <a:pt x="179710" y="2716786"/>
                  <a:pt x="186534" y="2707669"/>
                  <a:pt x="186534" y="2698551"/>
                </a:cubicBezTo>
                <a:cubicBezTo>
                  <a:pt x="184259" y="2682596"/>
                  <a:pt x="200183" y="2682596"/>
                  <a:pt x="207007" y="2673478"/>
                </a:cubicBezTo>
                <a:cubicBezTo>
                  <a:pt x="202458" y="2659802"/>
                  <a:pt x="193359" y="2646126"/>
                  <a:pt x="179710" y="2655243"/>
                </a:cubicBezTo>
                <a:cubicBezTo>
                  <a:pt x="161511" y="2668919"/>
                  <a:pt x="161511" y="2648405"/>
                  <a:pt x="147862" y="2648405"/>
                </a:cubicBezTo>
                <a:cubicBezTo>
                  <a:pt x="161511" y="2627891"/>
                  <a:pt x="168335" y="2611935"/>
                  <a:pt x="193359" y="2607377"/>
                </a:cubicBezTo>
                <a:cubicBezTo>
                  <a:pt x="207007" y="2605098"/>
                  <a:pt x="213832" y="2591421"/>
                  <a:pt x="216107" y="2577745"/>
                </a:cubicBezTo>
                <a:cubicBezTo>
                  <a:pt x="220656" y="2548114"/>
                  <a:pt x="218382" y="2518482"/>
                  <a:pt x="209282" y="2488850"/>
                </a:cubicBezTo>
                <a:cubicBezTo>
                  <a:pt x="218382" y="2475174"/>
                  <a:pt x="232030" y="2479733"/>
                  <a:pt x="238855" y="2486571"/>
                </a:cubicBezTo>
                <a:cubicBezTo>
                  <a:pt x="259328" y="2509364"/>
                  <a:pt x="282076" y="2507085"/>
                  <a:pt x="309373" y="2500247"/>
                </a:cubicBezTo>
                <a:cubicBezTo>
                  <a:pt x="336672" y="2493409"/>
                  <a:pt x="361694" y="2484292"/>
                  <a:pt x="379893" y="2461498"/>
                </a:cubicBezTo>
                <a:cubicBezTo>
                  <a:pt x="384442" y="2459219"/>
                  <a:pt x="393542" y="2459219"/>
                  <a:pt x="398091" y="2459219"/>
                </a:cubicBezTo>
                <a:lnTo>
                  <a:pt x="398091" y="2456939"/>
                </a:lnTo>
                <a:cubicBezTo>
                  <a:pt x="407190" y="2472895"/>
                  <a:pt x="409466" y="2472895"/>
                  <a:pt x="420839" y="2456939"/>
                </a:cubicBezTo>
                <a:lnTo>
                  <a:pt x="418565" y="2459219"/>
                </a:lnTo>
                <a:cubicBezTo>
                  <a:pt x="427664" y="2456939"/>
                  <a:pt x="441312" y="2459219"/>
                  <a:pt x="445863" y="2452380"/>
                </a:cubicBezTo>
                <a:cubicBezTo>
                  <a:pt x="457236" y="2431867"/>
                  <a:pt x="477710" y="2431867"/>
                  <a:pt x="495908" y="2429587"/>
                </a:cubicBezTo>
                <a:cubicBezTo>
                  <a:pt x="511832" y="2427308"/>
                  <a:pt x="525480" y="2425028"/>
                  <a:pt x="530031" y="2406793"/>
                </a:cubicBezTo>
                <a:lnTo>
                  <a:pt x="536855" y="2399955"/>
                </a:lnTo>
                <a:lnTo>
                  <a:pt x="541404" y="2397676"/>
                </a:lnTo>
                <a:lnTo>
                  <a:pt x="541518" y="2395322"/>
                </a:lnTo>
                <a:lnTo>
                  <a:pt x="558750" y="2384000"/>
                </a:lnTo>
                <a:lnTo>
                  <a:pt x="569236" y="2368362"/>
                </a:lnTo>
                <a:lnTo>
                  <a:pt x="570977" y="2368045"/>
                </a:lnTo>
                <a:cubicBezTo>
                  <a:pt x="570977" y="2363486"/>
                  <a:pt x="570977" y="2358927"/>
                  <a:pt x="573252" y="2354368"/>
                </a:cubicBezTo>
                <a:lnTo>
                  <a:pt x="570183" y="2353600"/>
                </a:lnTo>
                <a:lnTo>
                  <a:pt x="569271" y="2350095"/>
                </a:lnTo>
                <a:cubicBezTo>
                  <a:pt x="568702" y="2348670"/>
                  <a:pt x="567565" y="2348670"/>
                  <a:pt x="564153" y="2352089"/>
                </a:cubicBezTo>
                <a:lnTo>
                  <a:pt x="570183" y="2353600"/>
                </a:lnTo>
                <a:lnTo>
                  <a:pt x="570977" y="2356648"/>
                </a:lnTo>
                <a:cubicBezTo>
                  <a:pt x="577801" y="2358927"/>
                  <a:pt x="577801" y="2363486"/>
                  <a:pt x="570977" y="2365765"/>
                </a:cubicBezTo>
                <a:lnTo>
                  <a:pt x="569236" y="2368362"/>
                </a:lnTo>
                <a:lnTo>
                  <a:pt x="545954" y="2372603"/>
                </a:lnTo>
                <a:cubicBezTo>
                  <a:pt x="543964" y="2374598"/>
                  <a:pt x="542826" y="2377447"/>
                  <a:pt x="542186" y="2381507"/>
                </a:cubicBezTo>
                <a:lnTo>
                  <a:pt x="541518" y="2395322"/>
                </a:lnTo>
                <a:lnTo>
                  <a:pt x="541404" y="2395397"/>
                </a:lnTo>
                <a:lnTo>
                  <a:pt x="536855" y="2399955"/>
                </a:lnTo>
                <a:lnTo>
                  <a:pt x="527756" y="2404514"/>
                </a:lnTo>
                <a:cubicBezTo>
                  <a:pt x="505008" y="2406793"/>
                  <a:pt x="479984" y="2409073"/>
                  <a:pt x="448137" y="2413632"/>
                </a:cubicBezTo>
                <a:cubicBezTo>
                  <a:pt x="468611" y="2397676"/>
                  <a:pt x="484534" y="2388559"/>
                  <a:pt x="498183" y="2377162"/>
                </a:cubicBezTo>
                <a:cubicBezTo>
                  <a:pt x="500458" y="2381721"/>
                  <a:pt x="502732" y="2386279"/>
                  <a:pt x="502732" y="2390838"/>
                </a:cubicBezTo>
                <a:cubicBezTo>
                  <a:pt x="505008" y="2388559"/>
                  <a:pt x="507282" y="2386279"/>
                  <a:pt x="509557" y="2384000"/>
                </a:cubicBezTo>
                <a:cubicBezTo>
                  <a:pt x="507282" y="2381721"/>
                  <a:pt x="502732" y="2379441"/>
                  <a:pt x="500458" y="2377162"/>
                </a:cubicBezTo>
                <a:cubicBezTo>
                  <a:pt x="543679" y="2345251"/>
                  <a:pt x="589176" y="2313340"/>
                  <a:pt x="632397" y="2281429"/>
                </a:cubicBezTo>
                <a:cubicBezTo>
                  <a:pt x="636946" y="2276870"/>
                  <a:pt x="643770" y="2274591"/>
                  <a:pt x="648321" y="2270032"/>
                </a:cubicBezTo>
                <a:cubicBezTo>
                  <a:pt x="655145" y="2266613"/>
                  <a:pt x="661401" y="2266043"/>
                  <a:pt x="667372" y="2267468"/>
                </a:cubicBezTo>
                <a:lnTo>
                  <a:pt x="683712" y="2276325"/>
                </a:lnTo>
                <a:lnTo>
                  <a:pt x="683281" y="2276510"/>
                </a:lnTo>
                <a:lnTo>
                  <a:pt x="675618" y="2274591"/>
                </a:lnTo>
                <a:cubicBezTo>
                  <a:pt x="675618" y="2274591"/>
                  <a:pt x="673343" y="2279150"/>
                  <a:pt x="673343" y="2281429"/>
                </a:cubicBezTo>
                <a:cubicBezTo>
                  <a:pt x="675618" y="2281429"/>
                  <a:pt x="677893" y="2283708"/>
                  <a:pt x="677893" y="2283708"/>
                </a:cubicBezTo>
                <a:cubicBezTo>
                  <a:pt x="680167" y="2281429"/>
                  <a:pt x="682442" y="2279150"/>
                  <a:pt x="682442" y="2276870"/>
                </a:cubicBezTo>
                <a:lnTo>
                  <a:pt x="683281" y="2276510"/>
                </a:lnTo>
                <a:lnTo>
                  <a:pt x="684718" y="2276870"/>
                </a:lnTo>
                <a:lnTo>
                  <a:pt x="683712" y="2276325"/>
                </a:lnTo>
                <a:lnTo>
                  <a:pt x="714290" y="2263194"/>
                </a:lnTo>
                <a:cubicBezTo>
                  <a:pt x="714290" y="2265474"/>
                  <a:pt x="712015" y="2267753"/>
                  <a:pt x="712015" y="2272312"/>
                </a:cubicBezTo>
                <a:cubicBezTo>
                  <a:pt x="712015" y="2274591"/>
                  <a:pt x="714290" y="2279150"/>
                  <a:pt x="714290" y="2283708"/>
                </a:cubicBezTo>
                <a:cubicBezTo>
                  <a:pt x="714290" y="2283708"/>
                  <a:pt x="718839" y="2283708"/>
                  <a:pt x="718839" y="2283708"/>
                </a:cubicBezTo>
                <a:cubicBezTo>
                  <a:pt x="718839" y="2279150"/>
                  <a:pt x="721115" y="2274591"/>
                  <a:pt x="718839" y="2270032"/>
                </a:cubicBezTo>
                <a:cubicBezTo>
                  <a:pt x="718839" y="2267753"/>
                  <a:pt x="714290" y="2265474"/>
                  <a:pt x="714290" y="2263194"/>
                </a:cubicBezTo>
                <a:cubicBezTo>
                  <a:pt x="723389" y="2258635"/>
                  <a:pt x="732488" y="2247239"/>
                  <a:pt x="741587" y="2247239"/>
                </a:cubicBezTo>
                <a:cubicBezTo>
                  <a:pt x="762061" y="2244959"/>
                  <a:pt x="768886" y="2231283"/>
                  <a:pt x="775710" y="2213048"/>
                </a:cubicBezTo>
                <a:cubicBezTo>
                  <a:pt x="805283" y="2215328"/>
                  <a:pt x="832580" y="2206210"/>
                  <a:pt x="853053" y="2185696"/>
                </a:cubicBezTo>
                <a:cubicBezTo>
                  <a:pt x="862153" y="2176579"/>
                  <a:pt x="871820" y="2170880"/>
                  <a:pt x="882341" y="2167461"/>
                </a:cubicBezTo>
                <a:lnTo>
                  <a:pt x="914395" y="2163214"/>
                </a:lnTo>
                <a:lnTo>
                  <a:pt x="909924" y="2181138"/>
                </a:lnTo>
                <a:cubicBezTo>
                  <a:pt x="921298" y="2187976"/>
                  <a:pt x="932671" y="2187976"/>
                  <a:pt x="941771" y="2176579"/>
                </a:cubicBezTo>
                <a:cubicBezTo>
                  <a:pt x="959970" y="2156064"/>
                  <a:pt x="984993" y="2146947"/>
                  <a:pt x="1007740" y="2133271"/>
                </a:cubicBezTo>
                <a:cubicBezTo>
                  <a:pt x="1028214" y="2119595"/>
                  <a:pt x="1048687" y="2105919"/>
                  <a:pt x="1071435" y="2092242"/>
                </a:cubicBezTo>
                <a:cubicBezTo>
                  <a:pt x="1112381" y="2064890"/>
                  <a:pt x="1155603" y="2037538"/>
                  <a:pt x="1201100" y="2019303"/>
                </a:cubicBezTo>
                <a:cubicBezTo>
                  <a:pt x="1212474" y="2013605"/>
                  <a:pt x="1222141" y="2006767"/>
                  <a:pt x="1230388" y="1998504"/>
                </a:cubicBezTo>
                <a:lnTo>
                  <a:pt x="1249558" y="1971401"/>
                </a:lnTo>
                <a:lnTo>
                  <a:pt x="1273787" y="1970155"/>
                </a:lnTo>
                <a:cubicBezTo>
                  <a:pt x="1296499" y="1964599"/>
                  <a:pt x="1313134" y="1947503"/>
                  <a:pt x="1328488" y="1930408"/>
                </a:cubicBezTo>
                <a:cubicBezTo>
                  <a:pt x="1355787" y="1925850"/>
                  <a:pt x="1380809" y="1921291"/>
                  <a:pt x="1405832" y="1919012"/>
                </a:cubicBezTo>
                <a:cubicBezTo>
                  <a:pt x="1394458" y="1925850"/>
                  <a:pt x="1385359" y="1932688"/>
                  <a:pt x="1371710" y="1941805"/>
                </a:cubicBezTo>
                <a:cubicBezTo>
                  <a:pt x="1387633" y="1955481"/>
                  <a:pt x="1401283" y="1953202"/>
                  <a:pt x="1412657" y="1946364"/>
                </a:cubicBezTo>
                <a:cubicBezTo>
                  <a:pt x="1435405" y="1923570"/>
                  <a:pt x="1469526" y="1916732"/>
                  <a:pt x="1494550" y="1893939"/>
                </a:cubicBezTo>
                <a:cubicBezTo>
                  <a:pt x="1496825" y="1891659"/>
                  <a:pt x="1494550" y="1887101"/>
                  <a:pt x="1494550" y="1880262"/>
                </a:cubicBezTo>
                <a:cubicBezTo>
                  <a:pt x="1485450" y="1884821"/>
                  <a:pt x="1478626" y="1884821"/>
                  <a:pt x="1471802" y="1889380"/>
                </a:cubicBezTo>
                <a:cubicBezTo>
                  <a:pt x="1449053" y="1898497"/>
                  <a:pt x="1426305" y="1909894"/>
                  <a:pt x="1403557" y="1919012"/>
                </a:cubicBezTo>
                <a:cubicBezTo>
                  <a:pt x="1405832" y="1900777"/>
                  <a:pt x="1414932" y="1889380"/>
                  <a:pt x="1435405" y="1887101"/>
                </a:cubicBezTo>
                <a:cubicBezTo>
                  <a:pt x="1453603" y="1887101"/>
                  <a:pt x="1467252" y="1875704"/>
                  <a:pt x="1480901" y="1864307"/>
                </a:cubicBezTo>
                <a:cubicBezTo>
                  <a:pt x="1496825" y="1848352"/>
                  <a:pt x="1517298" y="1843793"/>
                  <a:pt x="1535497" y="1818720"/>
                </a:cubicBezTo>
                <a:cubicBezTo>
                  <a:pt x="1510474" y="1825558"/>
                  <a:pt x="1492275" y="1832396"/>
                  <a:pt x="1474077" y="1839234"/>
                </a:cubicBezTo>
                <a:cubicBezTo>
                  <a:pt x="1474077" y="1820999"/>
                  <a:pt x="1494550" y="1818720"/>
                  <a:pt x="1501374" y="1807323"/>
                </a:cubicBezTo>
                <a:cubicBezTo>
                  <a:pt x="1530946" y="1805044"/>
                  <a:pt x="1551420" y="1786809"/>
                  <a:pt x="1576443" y="1777691"/>
                </a:cubicBezTo>
                <a:cubicBezTo>
                  <a:pt x="1578718" y="1777691"/>
                  <a:pt x="1583267" y="1779971"/>
                  <a:pt x="1590091" y="1779971"/>
                </a:cubicBezTo>
                <a:cubicBezTo>
                  <a:pt x="1576443" y="1789088"/>
                  <a:pt x="1565069" y="1793647"/>
                  <a:pt x="1555970" y="1800485"/>
                </a:cubicBezTo>
                <a:cubicBezTo>
                  <a:pt x="1544595" y="1809603"/>
                  <a:pt x="1551420" y="1816441"/>
                  <a:pt x="1558245" y="1823279"/>
                </a:cubicBezTo>
                <a:cubicBezTo>
                  <a:pt x="1549145" y="1836955"/>
                  <a:pt x="1537771" y="1848352"/>
                  <a:pt x="1526397" y="1862028"/>
                </a:cubicBezTo>
                <a:cubicBezTo>
                  <a:pt x="1530947" y="1870005"/>
                  <a:pt x="1537771" y="1872855"/>
                  <a:pt x="1544880" y="1874564"/>
                </a:cubicBezTo>
                <a:lnTo>
                  <a:pt x="1560916" y="1879090"/>
                </a:lnTo>
                <a:lnTo>
                  <a:pt x="1524122" y="1900777"/>
                </a:lnTo>
                <a:cubicBezTo>
                  <a:pt x="1508198" y="1909894"/>
                  <a:pt x="1490000" y="1919012"/>
                  <a:pt x="1474077" y="1928129"/>
                </a:cubicBezTo>
                <a:cubicBezTo>
                  <a:pt x="1474077" y="1944084"/>
                  <a:pt x="1483176" y="1939526"/>
                  <a:pt x="1487726" y="1939526"/>
                </a:cubicBezTo>
                <a:cubicBezTo>
                  <a:pt x="1530946" y="1934967"/>
                  <a:pt x="1574168" y="1937246"/>
                  <a:pt x="1612840" y="1928129"/>
                </a:cubicBezTo>
                <a:cubicBezTo>
                  <a:pt x="1646962" y="1921291"/>
                  <a:pt x="1678809" y="1903056"/>
                  <a:pt x="1710657" y="1889380"/>
                </a:cubicBezTo>
                <a:cubicBezTo>
                  <a:pt x="1719756" y="1884821"/>
                  <a:pt x="1728855" y="1879693"/>
                  <a:pt x="1738239" y="1875704"/>
                </a:cubicBezTo>
                <a:lnTo>
                  <a:pt x="1761595" y="1870251"/>
                </a:lnTo>
                <a:lnTo>
                  <a:pt x="1731130" y="1900777"/>
                </a:lnTo>
                <a:cubicBezTo>
                  <a:pt x="1733405" y="1909894"/>
                  <a:pt x="1737954" y="1919012"/>
                  <a:pt x="1740229" y="1932688"/>
                </a:cubicBezTo>
                <a:cubicBezTo>
                  <a:pt x="1724305" y="1937246"/>
                  <a:pt x="1708382" y="1941805"/>
                  <a:pt x="1699282" y="1944084"/>
                </a:cubicBezTo>
                <a:cubicBezTo>
                  <a:pt x="1690184" y="1937246"/>
                  <a:pt x="1683359" y="1932688"/>
                  <a:pt x="1681084" y="1932688"/>
                </a:cubicBezTo>
                <a:cubicBezTo>
                  <a:pt x="1671985" y="1934967"/>
                  <a:pt x="1665160" y="1939526"/>
                  <a:pt x="1665160" y="1950923"/>
                </a:cubicBezTo>
                <a:cubicBezTo>
                  <a:pt x="1665160" y="1957761"/>
                  <a:pt x="1676535" y="1966878"/>
                  <a:pt x="1687909" y="1966878"/>
                </a:cubicBezTo>
                <a:cubicBezTo>
                  <a:pt x="1703833" y="1964599"/>
                  <a:pt x="1719756" y="1957761"/>
                  <a:pt x="1735680" y="1960040"/>
                </a:cubicBezTo>
                <a:cubicBezTo>
                  <a:pt x="1758428" y="1962319"/>
                  <a:pt x="1774351" y="1946364"/>
                  <a:pt x="1794825" y="1948643"/>
                </a:cubicBezTo>
                <a:cubicBezTo>
                  <a:pt x="1813023" y="1950923"/>
                  <a:pt x="1833497" y="1950923"/>
                  <a:pt x="1849420" y="1941805"/>
                </a:cubicBezTo>
                <a:cubicBezTo>
                  <a:pt x="1874443" y="1930408"/>
                  <a:pt x="1904016" y="1930408"/>
                  <a:pt x="1929039" y="1916732"/>
                </a:cubicBezTo>
                <a:cubicBezTo>
                  <a:pt x="1940412" y="1912174"/>
                  <a:pt x="1951787" y="1909894"/>
                  <a:pt x="1963161" y="1905335"/>
                </a:cubicBezTo>
                <a:lnTo>
                  <a:pt x="1962827" y="1906172"/>
                </a:lnTo>
                <a:lnTo>
                  <a:pt x="1960885" y="1907615"/>
                </a:lnTo>
                <a:lnTo>
                  <a:pt x="1961861" y="1908592"/>
                </a:lnTo>
                <a:lnTo>
                  <a:pt x="1954061" y="1928129"/>
                </a:lnTo>
                <a:cubicBezTo>
                  <a:pt x="1969985" y="1925850"/>
                  <a:pt x="1969985" y="1925850"/>
                  <a:pt x="1965436" y="1912174"/>
                </a:cubicBezTo>
                <a:lnTo>
                  <a:pt x="1961861" y="1908592"/>
                </a:lnTo>
                <a:lnTo>
                  <a:pt x="1962827" y="1906172"/>
                </a:lnTo>
                <a:lnTo>
                  <a:pt x="1969701" y="1901062"/>
                </a:lnTo>
                <a:cubicBezTo>
                  <a:pt x="1972829" y="1900207"/>
                  <a:pt x="1975672" y="1900777"/>
                  <a:pt x="1976809" y="1903056"/>
                </a:cubicBezTo>
                <a:cubicBezTo>
                  <a:pt x="1985909" y="1921291"/>
                  <a:pt x="2001833" y="1909894"/>
                  <a:pt x="2010932" y="1916732"/>
                </a:cubicBezTo>
                <a:cubicBezTo>
                  <a:pt x="2024581" y="1925850"/>
                  <a:pt x="2031405" y="1921291"/>
                  <a:pt x="2045054" y="1914453"/>
                </a:cubicBezTo>
                <a:cubicBezTo>
                  <a:pt x="2063253" y="1905335"/>
                  <a:pt x="2086001" y="1900777"/>
                  <a:pt x="2106474" y="1896218"/>
                </a:cubicBezTo>
                <a:cubicBezTo>
                  <a:pt x="2145146" y="1887101"/>
                  <a:pt x="2186092" y="1880262"/>
                  <a:pt x="2222489" y="1864307"/>
                </a:cubicBezTo>
                <a:cubicBezTo>
                  <a:pt x="2231588" y="1859748"/>
                  <a:pt x="2242963" y="1862028"/>
                  <a:pt x="2252061" y="1864307"/>
                </a:cubicBezTo>
                <a:cubicBezTo>
                  <a:pt x="2288458" y="1873425"/>
                  <a:pt x="2320306" y="1862028"/>
                  <a:pt x="2354428" y="1848352"/>
                </a:cubicBezTo>
                <a:cubicBezTo>
                  <a:pt x="2390825" y="1834675"/>
                  <a:pt x="2427222" y="1818720"/>
                  <a:pt x="2463619" y="1800485"/>
                </a:cubicBezTo>
                <a:cubicBezTo>
                  <a:pt x="2472718" y="1795926"/>
                  <a:pt x="2484092" y="1795926"/>
                  <a:pt x="2495467" y="1791368"/>
                </a:cubicBezTo>
                <a:cubicBezTo>
                  <a:pt x="2495467" y="1773133"/>
                  <a:pt x="2513665" y="1775412"/>
                  <a:pt x="2525039" y="1770854"/>
                </a:cubicBezTo>
                <a:cubicBezTo>
                  <a:pt x="2527313" y="1768574"/>
                  <a:pt x="2534138" y="1777691"/>
                  <a:pt x="2540963" y="1784530"/>
                </a:cubicBezTo>
                <a:cubicBezTo>
                  <a:pt x="2550061" y="1777691"/>
                  <a:pt x="2563710" y="1773133"/>
                  <a:pt x="2572809" y="1764015"/>
                </a:cubicBezTo>
                <a:cubicBezTo>
                  <a:pt x="2586458" y="1750339"/>
                  <a:pt x="2604657" y="1743501"/>
                  <a:pt x="2625130" y="1738943"/>
                </a:cubicBezTo>
                <a:cubicBezTo>
                  <a:pt x="2652428" y="1734384"/>
                  <a:pt x="2675177" y="1725266"/>
                  <a:pt x="2697924" y="1707032"/>
                </a:cubicBezTo>
                <a:cubicBezTo>
                  <a:pt x="2711573" y="1695635"/>
                  <a:pt x="2729772" y="1691076"/>
                  <a:pt x="2745696" y="1684238"/>
                </a:cubicBezTo>
                <a:cubicBezTo>
                  <a:pt x="2761619" y="1675120"/>
                  <a:pt x="2777543" y="1666003"/>
                  <a:pt x="2798016" y="1663724"/>
                </a:cubicBezTo>
                <a:cubicBezTo>
                  <a:pt x="2816215" y="1661444"/>
                  <a:pt x="2834413" y="1650048"/>
                  <a:pt x="2852612" y="1643210"/>
                </a:cubicBezTo>
                <a:lnTo>
                  <a:pt x="2852612" y="1645489"/>
                </a:lnTo>
                <a:cubicBezTo>
                  <a:pt x="2870810" y="1629533"/>
                  <a:pt x="2870810" y="1629533"/>
                  <a:pt x="2868535" y="1606740"/>
                </a:cubicBezTo>
                <a:cubicBezTo>
                  <a:pt x="2884458" y="1604461"/>
                  <a:pt x="2902658" y="1602181"/>
                  <a:pt x="2916306" y="1595343"/>
                </a:cubicBezTo>
                <a:cubicBezTo>
                  <a:pt x="2936779" y="1583946"/>
                  <a:pt x="2954978" y="1588505"/>
                  <a:pt x="2973176" y="1593064"/>
                </a:cubicBezTo>
                <a:cubicBezTo>
                  <a:pt x="2977726" y="1597623"/>
                  <a:pt x="2984551" y="1604461"/>
                  <a:pt x="2989100" y="1602181"/>
                </a:cubicBezTo>
                <a:cubicBezTo>
                  <a:pt x="3000474" y="1602181"/>
                  <a:pt x="3011848" y="1595343"/>
                  <a:pt x="3020948" y="1590784"/>
                </a:cubicBezTo>
                <a:cubicBezTo>
                  <a:pt x="3020948" y="1590784"/>
                  <a:pt x="3018672" y="1583946"/>
                  <a:pt x="3018672" y="1579388"/>
                </a:cubicBezTo>
                <a:cubicBezTo>
                  <a:pt x="3032321" y="1572550"/>
                  <a:pt x="3048245" y="1563432"/>
                  <a:pt x="3068719" y="1563432"/>
                </a:cubicBezTo>
                <a:cubicBezTo>
                  <a:pt x="3091467" y="1561153"/>
                  <a:pt x="3114214" y="1558874"/>
                  <a:pt x="3134688" y="1540639"/>
                </a:cubicBezTo>
                <a:cubicBezTo>
                  <a:pt x="3139237" y="1536080"/>
                  <a:pt x="3148337" y="1536080"/>
                  <a:pt x="3157436" y="1531521"/>
                </a:cubicBezTo>
                <a:cubicBezTo>
                  <a:pt x="3173359" y="1524683"/>
                  <a:pt x="3191558" y="1522404"/>
                  <a:pt x="3207482" y="1511007"/>
                </a:cubicBezTo>
                <a:cubicBezTo>
                  <a:pt x="3218855" y="1501890"/>
                  <a:pt x="3234779" y="1499610"/>
                  <a:pt x="3248428" y="1495052"/>
                </a:cubicBezTo>
                <a:cubicBezTo>
                  <a:pt x="3275726" y="1490493"/>
                  <a:pt x="3303024" y="1488214"/>
                  <a:pt x="3328047" y="1483655"/>
                </a:cubicBezTo>
                <a:cubicBezTo>
                  <a:pt x="3337145" y="1481375"/>
                  <a:pt x="3350795" y="1479096"/>
                  <a:pt x="3355344" y="1472258"/>
                </a:cubicBezTo>
                <a:cubicBezTo>
                  <a:pt x="3373542" y="1449464"/>
                  <a:pt x="3400841" y="1454023"/>
                  <a:pt x="3423589" y="1442626"/>
                </a:cubicBezTo>
                <a:cubicBezTo>
                  <a:pt x="3428138" y="1440347"/>
                  <a:pt x="3434962" y="1442626"/>
                  <a:pt x="3441788" y="1444906"/>
                </a:cubicBezTo>
                <a:lnTo>
                  <a:pt x="3441788" y="1442626"/>
                </a:lnTo>
                <a:cubicBezTo>
                  <a:pt x="3448611" y="1456303"/>
                  <a:pt x="3459986" y="1454023"/>
                  <a:pt x="3466810" y="1449464"/>
                </a:cubicBezTo>
                <a:cubicBezTo>
                  <a:pt x="3489558" y="1438068"/>
                  <a:pt x="3512307" y="1426671"/>
                  <a:pt x="3535055" y="1412995"/>
                </a:cubicBezTo>
                <a:cubicBezTo>
                  <a:pt x="3569176" y="1426671"/>
                  <a:pt x="3596475" y="1408436"/>
                  <a:pt x="3626047" y="1397039"/>
                </a:cubicBezTo>
                <a:cubicBezTo>
                  <a:pt x="3623772" y="1383363"/>
                  <a:pt x="3616948" y="1385643"/>
                  <a:pt x="3610123" y="1385643"/>
                </a:cubicBezTo>
                <a:cubicBezTo>
                  <a:pt x="3598749" y="1387922"/>
                  <a:pt x="3585100" y="1390201"/>
                  <a:pt x="3571452" y="1385643"/>
                </a:cubicBezTo>
                <a:cubicBezTo>
                  <a:pt x="3585100" y="1378804"/>
                  <a:pt x="3598749" y="1371966"/>
                  <a:pt x="3614672" y="1362849"/>
                </a:cubicBezTo>
                <a:cubicBezTo>
                  <a:pt x="3610123" y="1358290"/>
                  <a:pt x="3605573" y="1351452"/>
                  <a:pt x="3603299" y="1351452"/>
                </a:cubicBezTo>
                <a:lnTo>
                  <a:pt x="3557386" y="1349361"/>
                </a:lnTo>
                <a:lnTo>
                  <a:pt x="3581972" y="1336921"/>
                </a:lnTo>
                <a:cubicBezTo>
                  <a:pt x="3591925" y="1333787"/>
                  <a:pt x="3602161" y="1332078"/>
                  <a:pt x="3612398" y="1330938"/>
                </a:cubicBezTo>
                <a:cubicBezTo>
                  <a:pt x="3621497" y="1330938"/>
                  <a:pt x="3630596" y="1330938"/>
                  <a:pt x="3637421" y="1328659"/>
                </a:cubicBezTo>
                <a:cubicBezTo>
                  <a:pt x="3669269" y="1308144"/>
                  <a:pt x="3705665" y="1312703"/>
                  <a:pt x="3739787" y="1308144"/>
                </a:cubicBezTo>
                <a:cubicBezTo>
                  <a:pt x="3785283" y="1303586"/>
                  <a:pt x="3830779" y="1299027"/>
                  <a:pt x="3876275" y="1294468"/>
                </a:cubicBezTo>
                <a:cubicBezTo>
                  <a:pt x="3880825" y="1294468"/>
                  <a:pt x="3885374" y="1292189"/>
                  <a:pt x="3889924" y="1289910"/>
                </a:cubicBezTo>
                <a:cubicBezTo>
                  <a:pt x="3921772" y="1271675"/>
                  <a:pt x="3955894" y="1271675"/>
                  <a:pt x="3992291" y="1269395"/>
                </a:cubicBezTo>
                <a:cubicBezTo>
                  <a:pt x="4017314" y="1269395"/>
                  <a:pt x="4044611" y="1269395"/>
                  <a:pt x="4069634" y="1251160"/>
                </a:cubicBezTo>
                <a:cubicBezTo>
                  <a:pt x="4074184" y="1246602"/>
                  <a:pt x="4085558" y="1244323"/>
                  <a:pt x="4092382" y="1246602"/>
                </a:cubicBezTo>
                <a:cubicBezTo>
                  <a:pt x="4126504" y="1253440"/>
                  <a:pt x="4151528" y="1235205"/>
                  <a:pt x="4174276" y="1216970"/>
                </a:cubicBezTo>
                <a:cubicBezTo>
                  <a:pt x="4186787" y="1206713"/>
                  <a:pt x="4199299" y="1198735"/>
                  <a:pt x="4212379" y="1192182"/>
                </a:cubicBezTo>
                <a:lnTo>
                  <a:pt x="4252766" y="1176383"/>
                </a:lnTo>
                <a:lnTo>
                  <a:pt x="4251619" y="1178221"/>
                </a:lnTo>
                <a:lnTo>
                  <a:pt x="4253043" y="1179067"/>
                </a:lnTo>
                <a:lnTo>
                  <a:pt x="4250482" y="1188478"/>
                </a:lnTo>
                <a:cubicBezTo>
                  <a:pt x="4248776" y="1191897"/>
                  <a:pt x="4245932" y="1194177"/>
                  <a:pt x="4240245" y="1194177"/>
                </a:cubicBezTo>
                <a:cubicBezTo>
                  <a:pt x="4219772" y="1196456"/>
                  <a:pt x="4206123" y="1207853"/>
                  <a:pt x="4190199" y="1223808"/>
                </a:cubicBezTo>
                <a:cubicBezTo>
                  <a:pt x="4194749" y="1228367"/>
                  <a:pt x="4197024" y="1235205"/>
                  <a:pt x="4199298" y="1235205"/>
                </a:cubicBezTo>
                <a:cubicBezTo>
                  <a:pt x="4237970" y="1251160"/>
                  <a:pt x="4274367" y="1242043"/>
                  <a:pt x="4310764" y="1232926"/>
                </a:cubicBezTo>
                <a:cubicBezTo>
                  <a:pt x="4317588" y="1230646"/>
                  <a:pt x="4322138" y="1221529"/>
                  <a:pt x="4326688" y="1212411"/>
                </a:cubicBezTo>
                <a:cubicBezTo>
                  <a:pt x="4317588" y="1205573"/>
                  <a:pt x="4310764" y="1201015"/>
                  <a:pt x="4303940" y="1198735"/>
                </a:cubicBezTo>
                <a:cubicBezTo>
                  <a:pt x="4293703" y="1198735"/>
                  <a:pt x="4284604" y="1196456"/>
                  <a:pt x="4276073" y="1192752"/>
                </a:cubicBezTo>
                <a:lnTo>
                  <a:pt x="4253043" y="1179067"/>
                </a:lnTo>
                <a:lnTo>
                  <a:pt x="4253894" y="1175942"/>
                </a:lnTo>
                <a:lnTo>
                  <a:pt x="4252766" y="1176383"/>
                </a:lnTo>
                <a:lnTo>
                  <a:pt x="4262993" y="1159986"/>
                </a:lnTo>
                <a:cubicBezTo>
                  <a:pt x="4226596" y="1134913"/>
                  <a:pt x="4185650" y="1128075"/>
                  <a:pt x="4144703" y="1125796"/>
                </a:cubicBezTo>
                <a:cubicBezTo>
                  <a:pt x="4135604" y="1123517"/>
                  <a:pt x="4126504" y="1123517"/>
                  <a:pt x="4119680" y="1121237"/>
                </a:cubicBezTo>
                <a:cubicBezTo>
                  <a:pt x="4115130" y="1118958"/>
                  <a:pt x="4115130" y="1109840"/>
                  <a:pt x="4112856" y="1105282"/>
                </a:cubicBezTo>
                <a:lnTo>
                  <a:pt x="4110581" y="1105282"/>
                </a:lnTo>
                <a:cubicBezTo>
                  <a:pt x="4119680" y="1103002"/>
                  <a:pt x="4128779" y="1103002"/>
                  <a:pt x="4140153" y="1100723"/>
                </a:cubicBezTo>
                <a:cubicBezTo>
                  <a:pt x="4137878" y="1082488"/>
                  <a:pt x="4124230" y="1073371"/>
                  <a:pt x="4115130" y="1077929"/>
                </a:cubicBezTo>
                <a:cubicBezTo>
                  <a:pt x="4090108" y="1087047"/>
                  <a:pt x="4069634" y="1071091"/>
                  <a:pt x="4046886" y="1073371"/>
                </a:cubicBezTo>
                <a:cubicBezTo>
                  <a:pt x="4042336" y="1073371"/>
                  <a:pt x="4035512" y="1064253"/>
                  <a:pt x="4028688" y="1057415"/>
                </a:cubicBezTo>
                <a:cubicBezTo>
                  <a:pt x="4040062" y="1041460"/>
                  <a:pt x="4055985" y="1041460"/>
                  <a:pt x="4069634" y="1036901"/>
                </a:cubicBezTo>
                <a:cubicBezTo>
                  <a:pt x="4074184" y="1035761"/>
                  <a:pt x="4078165" y="1035192"/>
                  <a:pt x="4081578" y="1033482"/>
                </a:cubicBezTo>
                <a:lnTo>
                  <a:pt x="4088583" y="1025059"/>
                </a:lnTo>
                <a:lnTo>
                  <a:pt x="4090108" y="1025504"/>
                </a:lnTo>
                <a:lnTo>
                  <a:pt x="4090108" y="1023225"/>
                </a:lnTo>
                <a:lnTo>
                  <a:pt x="4090108" y="1023225"/>
                </a:lnTo>
                <a:cubicBezTo>
                  <a:pt x="4099207" y="1025504"/>
                  <a:pt x="4103756" y="1018666"/>
                  <a:pt x="4110581" y="1014108"/>
                </a:cubicBezTo>
                <a:cubicBezTo>
                  <a:pt x="4121955" y="1004990"/>
                  <a:pt x="4137878" y="1000431"/>
                  <a:pt x="4146978" y="1011828"/>
                </a:cubicBezTo>
                <a:cubicBezTo>
                  <a:pt x="4158352" y="1030063"/>
                  <a:pt x="4172001" y="1025504"/>
                  <a:pt x="4185650" y="1025504"/>
                </a:cubicBezTo>
                <a:cubicBezTo>
                  <a:pt x="4206123" y="1023225"/>
                  <a:pt x="4228871" y="1018666"/>
                  <a:pt x="4249344" y="1011828"/>
                </a:cubicBezTo>
                <a:cubicBezTo>
                  <a:pt x="4253894" y="1011828"/>
                  <a:pt x="4256168" y="1004990"/>
                  <a:pt x="4260718" y="1000431"/>
                </a:cubicBezTo>
                <a:cubicBezTo>
                  <a:pt x="4251619" y="984476"/>
                  <a:pt x="4242520" y="970800"/>
                  <a:pt x="4222046" y="973079"/>
                </a:cubicBezTo>
                <a:cubicBezTo>
                  <a:pt x="4201573" y="975359"/>
                  <a:pt x="4206123" y="952565"/>
                  <a:pt x="4199298" y="950286"/>
                </a:cubicBezTo>
                <a:cubicBezTo>
                  <a:pt x="4131054" y="952565"/>
                  <a:pt x="4069634" y="952565"/>
                  <a:pt x="4008214" y="954844"/>
                </a:cubicBezTo>
                <a:cubicBezTo>
                  <a:pt x="3994566" y="954844"/>
                  <a:pt x="3980916" y="957124"/>
                  <a:pt x="3967268" y="959403"/>
                </a:cubicBezTo>
                <a:cubicBezTo>
                  <a:pt x="3964993" y="959403"/>
                  <a:pt x="3960443" y="966241"/>
                  <a:pt x="3960443" y="970800"/>
                </a:cubicBezTo>
                <a:cubicBezTo>
                  <a:pt x="3960443" y="975359"/>
                  <a:pt x="3962718" y="982197"/>
                  <a:pt x="3964993" y="984476"/>
                </a:cubicBezTo>
                <a:cubicBezTo>
                  <a:pt x="3974092" y="986755"/>
                  <a:pt x="3983192" y="991314"/>
                  <a:pt x="3990016" y="989035"/>
                </a:cubicBezTo>
                <a:cubicBezTo>
                  <a:pt x="4019588" y="977638"/>
                  <a:pt x="4049161" y="993593"/>
                  <a:pt x="4076459" y="998152"/>
                </a:cubicBezTo>
                <a:cubicBezTo>
                  <a:pt x="4084421" y="999292"/>
                  <a:pt x="4088402" y="1003281"/>
                  <a:pt x="4090108" y="1008409"/>
                </a:cubicBezTo>
                <a:lnTo>
                  <a:pt x="4090108" y="1023225"/>
                </a:lnTo>
                <a:lnTo>
                  <a:pt x="4088583" y="1025059"/>
                </a:lnTo>
                <a:lnTo>
                  <a:pt x="4049161" y="1013538"/>
                </a:lnTo>
                <a:cubicBezTo>
                  <a:pt x="4035512" y="1012968"/>
                  <a:pt x="4021863" y="1015247"/>
                  <a:pt x="4008214" y="1018666"/>
                </a:cubicBezTo>
                <a:cubicBezTo>
                  <a:pt x="3983192" y="1025504"/>
                  <a:pt x="3958168" y="1030063"/>
                  <a:pt x="3935420" y="1011828"/>
                </a:cubicBezTo>
                <a:cubicBezTo>
                  <a:pt x="3928596" y="1007269"/>
                  <a:pt x="3914947" y="1009549"/>
                  <a:pt x="3903573" y="1009549"/>
                </a:cubicBezTo>
                <a:cubicBezTo>
                  <a:pt x="3905848" y="991314"/>
                  <a:pt x="3930871" y="995873"/>
                  <a:pt x="3928596" y="975359"/>
                </a:cubicBezTo>
                <a:cubicBezTo>
                  <a:pt x="3892199" y="963962"/>
                  <a:pt x="3858077" y="977638"/>
                  <a:pt x="3821680" y="986755"/>
                </a:cubicBezTo>
                <a:cubicBezTo>
                  <a:pt x="3819405" y="986755"/>
                  <a:pt x="3817130" y="993593"/>
                  <a:pt x="3812581" y="998152"/>
                </a:cubicBezTo>
                <a:cubicBezTo>
                  <a:pt x="3833054" y="1014108"/>
                  <a:pt x="3853527" y="1009549"/>
                  <a:pt x="3878550" y="1007269"/>
                </a:cubicBezTo>
                <a:cubicBezTo>
                  <a:pt x="3867176" y="1030063"/>
                  <a:pt x="3858077" y="1046018"/>
                  <a:pt x="3833054" y="1043739"/>
                </a:cubicBezTo>
                <a:cubicBezTo>
                  <a:pt x="3783008" y="1039181"/>
                  <a:pt x="3735238" y="1043739"/>
                  <a:pt x="3673817" y="1057415"/>
                </a:cubicBezTo>
                <a:cubicBezTo>
                  <a:pt x="3694291" y="1039181"/>
                  <a:pt x="3703390" y="1027784"/>
                  <a:pt x="3717040" y="1016387"/>
                </a:cubicBezTo>
                <a:cubicBezTo>
                  <a:pt x="3710214" y="1014108"/>
                  <a:pt x="3703390" y="1009549"/>
                  <a:pt x="3701116" y="1011828"/>
                </a:cubicBezTo>
                <a:cubicBezTo>
                  <a:pt x="3666993" y="1018666"/>
                  <a:pt x="3632872" y="1027784"/>
                  <a:pt x="3598749" y="1034622"/>
                </a:cubicBezTo>
                <a:lnTo>
                  <a:pt x="3564627" y="1034622"/>
                </a:lnTo>
                <a:cubicBezTo>
                  <a:pt x="3628321" y="1004990"/>
                  <a:pt x="3628321" y="1004990"/>
                  <a:pt x="3714765" y="993593"/>
                </a:cubicBezTo>
                <a:cubicBezTo>
                  <a:pt x="3757986" y="989035"/>
                  <a:pt x="3801207" y="975359"/>
                  <a:pt x="3842153" y="961682"/>
                </a:cubicBezTo>
                <a:cubicBezTo>
                  <a:pt x="3846703" y="959403"/>
                  <a:pt x="3851252" y="954844"/>
                  <a:pt x="3860352" y="945727"/>
                </a:cubicBezTo>
                <a:cubicBezTo>
                  <a:pt x="3844428" y="943447"/>
                  <a:pt x="3835329" y="941168"/>
                  <a:pt x="3826230" y="941168"/>
                </a:cubicBezTo>
                <a:cubicBezTo>
                  <a:pt x="3801207" y="943447"/>
                  <a:pt x="3773910" y="948006"/>
                  <a:pt x="3751162" y="954844"/>
                </a:cubicBezTo>
                <a:cubicBezTo>
                  <a:pt x="3732962" y="959403"/>
                  <a:pt x="3717040" y="968520"/>
                  <a:pt x="3698841" y="975359"/>
                </a:cubicBezTo>
                <a:cubicBezTo>
                  <a:pt x="3689741" y="982197"/>
                  <a:pt x="3680642" y="979917"/>
                  <a:pt x="3671543" y="968520"/>
                </a:cubicBezTo>
                <a:cubicBezTo>
                  <a:pt x="3676093" y="966241"/>
                  <a:pt x="3678368" y="963962"/>
                  <a:pt x="3680642" y="961682"/>
                </a:cubicBezTo>
                <a:cubicBezTo>
                  <a:pt x="3707940" y="954844"/>
                  <a:pt x="3732962" y="948006"/>
                  <a:pt x="3760261" y="941168"/>
                </a:cubicBezTo>
                <a:cubicBezTo>
                  <a:pt x="3771635" y="938889"/>
                  <a:pt x="3783008" y="934330"/>
                  <a:pt x="3794382" y="934330"/>
                </a:cubicBezTo>
                <a:cubicBezTo>
                  <a:pt x="3830779" y="936610"/>
                  <a:pt x="3867176" y="925213"/>
                  <a:pt x="3901298" y="918375"/>
                </a:cubicBezTo>
                <a:lnTo>
                  <a:pt x="3957449" y="913874"/>
                </a:lnTo>
                <a:lnTo>
                  <a:pt x="3970112" y="932905"/>
                </a:lnTo>
                <a:cubicBezTo>
                  <a:pt x="3974662" y="936040"/>
                  <a:pt x="3979780" y="935470"/>
                  <a:pt x="3987741" y="932051"/>
                </a:cubicBezTo>
                <a:cubicBezTo>
                  <a:pt x="4003665" y="925213"/>
                  <a:pt x="4028688" y="929772"/>
                  <a:pt x="4037787" y="906978"/>
                </a:cubicBezTo>
                <a:lnTo>
                  <a:pt x="4088843" y="902529"/>
                </a:lnTo>
                <a:lnTo>
                  <a:pt x="4090192" y="902677"/>
                </a:lnTo>
                <a:lnTo>
                  <a:pt x="4095226" y="918090"/>
                </a:lnTo>
                <a:cubicBezTo>
                  <a:pt x="4098070" y="922364"/>
                  <a:pt x="4102619" y="925213"/>
                  <a:pt x="4110581" y="925213"/>
                </a:cubicBezTo>
                <a:cubicBezTo>
                  <a:pt x="4124230" y="925213"/>
                  <a:pt x="4140153" y="929772"/>
                  <a:pt x="4146978" y="906978"/>
                </a:cubicBezTo>
                <a:cubicBezTo>
                  <a:pt x="4133329" y="896721"/>
                  <a:pt x="4118401" y="903131"/>
                  <a:pt x="4103153" y="904093"/>
                </a:cubicBezTo>
                <a:lnTo>
                  <a:pt x="4090192" y="902677"/>
                </a:lnTo>
                <a:lnTo>
                  <a:pt x="4090108" y="902419"/>
                </a:lnTo>
                <a:lnTo>
                  <a:pt x="4088843" y="902529"/>
                </a:lnTo>
                <a:lnTo>
                  <a:pt x="4087833" y="902419"/>
                </a:lnTo>
                <a:cubicBezTo>
                  <a:pt x="4094657" y="900140"/>
                  <a:pt x="4099207" y="895581"/>
                  <a:pt x="4106031" y="895581"/>
                </a:cubicBezTo>
                <a:cubicBezTo>
                  <a:pt x="4153802" y="895581"/>
                  <a:pt x="4203848" y="891023"/>
                  <a:pt x="4251619" y="902419"/>
                </a:cubicBezTo>
                <a:cubicBezTo>
                  <a:pt x="4283466" y="909257"/>
                  <a:pt x="4315314" y="909257"/>
                  <a:pt x="4344886" y="916095"/>
                </a:cubicBezTo>
                <a:cubicBezTo>
                  <a:pt x="4358535" y="918375"/>
                  <a:pt x="4372184" y="916095"/>
                  <a:pt x="4388108" y="916095"/>
                </a:cubicBezTo>
                <a:cubicBezTo>
                  <a:pt x="4406306" y="934330"/>
                  <a:pt x="4426780" y="950286"/>
                  <a:pt x="4433604" y="977638"/>
                </a:cubicBezTo>
                <a:cubicBezTo>
                  <a:pt x="4440428" y="1000431"/>
                  <a:pt x="4460902" y="1011828"/>
                  <a:pt x="4485924" y="1002711"/>
                </a:cubicBezTo>
                <a:lnTo>
                  <a:pt x="4486695" y="1004840"/>
                </a:lnTo>
                <a:lnTo>
                  <a:pt x="4485924" y="1004990"/>
                </a:lnTo>
                <a:lnTo>
                  <a:pt x="4486932" y="1005495"/>
                </a:lnTo>
                <a:lnTo>
                  <a:pt x="4490190" y="1014499"/>
                </a:lnTo>
                <a:cubicBezTo>
                  <a:pt x="4494029" y="1022940"/>
                  <a:pt x="4497867" y="1022085"/>
                  <a:pt x="4513222" y="1018666"/>
                </a:cubicBezTo>
                <a:lnTo>
                  <a:pt x="4486932" y="1005495"/>
                </a:lnTo>
                <a:lnTo>
                  <a:pt x="4486695" y="1004840"/>
                </a:lnTo>
                <a:lnTo>
                  <a:pt x="4518056" y="998722"/>
                </a:lnTo>
                <a:cubicBezTo>
                  <a:pt x="4525165" y="1000431"/>
                  <a:pt x="4529146" y="1006130"/>
                  <a:pt x="4531420" y="1016387"/>
                </a:cubicBezTo>
                <a:cubicBezTo>
                  <a:pt x="4538245" y="1043739"/>
                  <a:pt x="4540520" y="1039181"/>
                  <a:pt x="4563268" y="1036901"/>
                </a:cubicBezTo>
                <a:lnTo>
                  <a:pt x="4565785" y="1036901"/>
                </a:lnTo>
                <a:lnTo>
                  <a:pt x="4566965" y="1048013"/>
                </a:lnTo>
                <a:cubicBezTo>
                  <a:pt x="4568387" y="1052287"/>
                  <a:pt x="4571230" y="1056276"/>
                  <a:pt x="4576917" y="1059695"/>
                </a:cubicBezTo>
                <a:cubicBezTo>
                  <a:pt x="4583742" y="1064253"/>
                  <a:pt x="4590566" y="1071091"/>
                  <a:pt x="4597390" y="1075650"/>
                </a:cubicBezTo>
                <a:cubicBezTo>
                  <a:pt x="4583742" y="1075650"/>
                  <a:pt x="4570092" y="1073371"/>
                  <a:pt x="4560993" y="1061974"/>
                </a:cubicBezTo>
                <a:cubicBezTo>
                  <a:pt x="4556444" y="1057415"/>
                  <a:pt x="4549619" y="1055136"/>
                  <a:pt x="4545070" y="1064253"/>
                </a:cubicBezTo>
                <a:cubicBezTo>
                  <a:pt x="4563268" y="1093885"/>
                  <a:pt x="4579192" y="1112120"/>
                  <a:pt x="4601940" y="1118958"/>
                </a:cubicBezTo>
                <a:cubicBezTo>
                  <a:pt x="4611039" y="1123517"/>
                  <a:pt x="4620138" y="1121237"/>
                  <a:pt x="4624688" y="1105282"/>
                </a:cubicBezTo>
                <a:cubicBezTo>
                  <a:pt x="4615588" y="1096164"/>
                  <a:pt x="4606490" y="1084768"/>
                  <a:pt x="4595116" y="1075650"/>
                </a:cubicBezTo>
                <a:cubicBezTo>
                  <a:pt x="4604214" y="1075650"/>
                  <a:pt x="4613314" y="1077929"/>
                  <a:pt x="4624688" y="1077929"/>
                </a:cubicBezTo>
                <a:cubicBezTo>
                  <a:pt x="4624688" y="1068812"/>
                  <a:pt x="4624688" y="1064253"/>
                  <a:pt x="4624688" y="1057415"/>
                </a:cubicBezTo>
                <a:cubicBezTo>
                  <a:pt x="4626962" y="1057415"/>
                  <a:pt x="4629238" y="1055136"/>
                  <a:pt x="4631512" y="1055136"/>
                </a:cubicBezTo>
                <a:cubicBezTo>
                  <a:pt x="4642886" y="1061974"/>
                  <a:pt x="4651986" y="1066533"/>
                  <a:pt x="4661085" y="1073371"/>
                </a:cubicBezTo>
                <a:cubicBezTo>
                  <a:pt x="4663360" y="1073371"/>
                  <a:pt x="4665634" y="1073371"/>
                  <a:pt x="4667910" y="1073371"/>
                </a:cubicBezTo>
                <a:lnTo>
                  <a:pt x="4669850" y="1048093"/>
                </a:lnTo>
                <a:lnTo>
                  <a:pt x="4701747" y="1082203"/>
                </a:lnTo>
                <a:cubicBezTo>
                  <a:pt x="4708855" y="1096734"/>
                  <a:pt x="4712268" y="1113260"/>
                  <a:pt x="4713406" y="1130355"/>
                </a:cubicBezTo>
                <a:cubicBezTo>
                  <a:pt x="4733879" y="1132634"/>
                  <a:pt x="4740703" y="1118958"/>
                  <a:pt x="4740703" y="1107561"/>
                </a:cubicBezTo>
                <a:cubicBezTo>
                  <a:pt x="4745253" y="1071091"/>
                  <a:pt x="4740703" y="1036901"/>
                  <a:pt x="4715680" y="1011828"/>
                </a:cubicBezTo>
                <a:cubicBezTo>
                  <a:pt x="4706581" y="1002711"/>
                  <a:pt x="4700326" y="993024"/>
                  <a:pt x="4694923" y="983051"/>
                </a:cubicBezTo>
                <a:lnTo>
                  <a:pt x="4680568" y="955067"/>
                </a:lnTo>
                <a:lnTo>
                  <a:pt x="4713406" y="957124"/>
                </a:lnTo>
                <a:cubicBezTo>
                  <a:pt x="4722504" y="957124"/>
                  <a:pt x="4729329" y="963962"/>
                  <a:pt x="4724780" y="975359"/>
                </a:cubicBezTo>
                <a:cubicBezTo>
                  <a:pt x="4715680" y="993593"/>
                  <a:pt x="4727054" y="1007269"/>
                  <a:pt x="4738428" y="1018666"/>
                </a:cubicBezTo>
                <a:cubicBezTo>
                  <a:pt x="4742978" y="1023225"/>
                  <a:pt x="4747528" y="1027784"/>
                  <a:pt x="4752077" y="1030063"/>
                </a:cubicBezTo>
                <a:cubicBezTo>
                  <a:pt x="4752077" y="1068812"/>
                  <a:pt x="4754352" y="1105282"/>
                  <a:pt x="4752077" y="1141752"/>
                </a:cubicBezTo>
                <a:cubicBezTo>
                  <a:pt x="4752077" y="1150869"/>
                  <a:pt x="4747528" y="1159986"/>
                  <a:pt x="4747528" y="1169104"/>
                </a:cubicBezTo>
                <a:cubicBezTo>
                  <a:pt x="4742978" y="1182780"/>
                  <a:pt x="4740703" y="1196456"/>
                  <a:pt x="4738428" y="1210132"/>
                </a:cubicBezTo>
                <a:cubicBezTo>
                  <a:pt x="4736154" y="1223808"/>
                  <a:pt x="4738428" y="1223808"/>
                  <a:pt x="4758902" y="1228367"/>
                </a:cubicBezTo>
                <a:lnTo>
                  <a:pt x="4756627" y="1228367"/>
                </a:lnTo>
                <a:cubicBezTo>
                  <a:pt x="4731604" y="1251160"/>
                  <a:pt x="4715680" y="1283072"/>
                  <a:pt x="4697482" y="1312703"/>
                </a:cubicBezTo>
                <a:cubicBezTo>
                  <a:pt x="4688382" y="1326379"/>
                  <a:pt x="4686108" y="1340055"/>
                  <a:pt x="4692932" y="1356011"/>
                </a:cubicBezTo>
                <a:cubicBezTo>
                  <a:pt x="4697482" y="1369687"/>
                  <a:pt x="4702032" y="1383363"/>
                  <a:pt x="4706581" y="1397039"/>
                </a:cubicBezTo>
                <a:cubicBezTo>
                  <a:pt x="4715680" y="1402738"/>
                  <a:pt x="4723074" y="1403308"/>
                  <a:pt x="4729898" y="1401313"/>
                </a:cubicBezTo>
                <a:lnTo>
                  <a:pt x="4747955" y="1391232"/>
                </a:lnTo>
                <a:lnTo>
                  <a:pt x="4755205" y="1408721"/>
                </a:lnTo>
                <a:cubicBezTo>
                  <a:pt x="4758333" y="1411285"/>
                  <a:pt x="4762314" y="1410715"/>
                  <a:pt x="4768001" y="1408436"/>
                </a:cubicBezTo>
                <a:cubicBezTo>
                  <a:pt x="4781650" y="1403877"/>
                  <a:pt x="4795298" y="1397039"/>
                  <a:pt x="4811222" y="1387922"/>
                </a:cubicBezTo>
                <a:cubicBezTo>
                  <a:pt x="4806672" y="1406157"/>
                  <a:pt x="4802123" y="1417553"/>
                  <a:pt x="4802123" y="1428950"/>
                </a:cubicBezTo>
                <a:cubicBezTo>
                  <a:pt x="4802123" y="1444906"/>
                  <a:pt x="4799848" y="1456303"/>
                  <a:pt x="4788474" y="1458582"/>
                </a:cubicBezTo>
                <a:cubicBezTo>
                  <a:pt x="4781650" y="1458582"/>
                  <a:pt x="4772550" y="1458582"/>
                  <a:pt x="4763452" y="1458582"/>
                </a:cubicBezTo>
                <a:cubicBezTo>
                  <a:pt x="4731604" y="1456303"/>
                  <a:pt x="4727054" y="1460861"/>
                  <a:pt x="4717955" y="1490493"/>
                </a:cubicBezTo>
                <a:cubicBezTo>
                  <a:pt x="4717955" y="1495052"/>
                  <a:pt x="4717955" y="1501890"/>
                  <a:pt x="4715680" y="1506448"/>
                </a:cubicBezTo>
                <a:lnTo>
                  <a:pt x="4758211" y="1573736"/>
                </a:lnTo>
                <a:lnTo>
                  <a:pt x="4742978" y="1599902"/>
                </a:lnTo>
                <a:cubicBezTo>
                  <a:pt x="4772550" y="1606740"/>
                  <a:pt x="4795298" y="1613578"/>
                  <a:pt x="4820322" y="1599902"/>
                </a:cubicBezTo>
                <a:cubicBezTo>
                  <a:pt x="4829421" y="1579388"/>
                  <a:pt x="4863543" y="1586226"/>
                  <a:pt x="4868092" y="1556594"/>
                </a:cubicBezTo>
                <a:cubicBezTo>
                  <a:pt x="4902214" y="1561153"/>
                  <a:pt x="4902214" y="1561153"/>
                  <a:pt x="4959085" y="1529242"/>
                </a:cubicBezTo>
                <a:cubicBezTo>
                  <a:pt x="4961360" y="1522404"/>
                  <a:pt x="4963634" y="1511007"/>
                  <a:pt x="4963634" y="1501890"/>
                </a:cubicBezTo>
                <a:lnTo>
                  <a:pt x="4963634" y="1504169"/>
                </a:lnTo>
                <a:cubicBezTo>
                  <a:pt x="4990932" y="1495052"/>
                  <a:pt x="5020505" y="1488214"/>
                  <a:pt x="5050078" y="1481375"/>
                </a:cubicBezTo>
                <a:cubicBezTo>
                  <a:pt x="5063726" y="1479096"/>
                  <a:pt x="5077375" y="1472258"/>
                  <a:pt x="5086474" y="1460861"/>
                </a:cubicBezTo>
                <a:cubicBezTo>
                  <a:pt x="5095574" y="1447185"/>
                  <a:pt x="5109222" y="1440347"/>
                  <a:pt x="5125146" y="1442626"/>
                </a:cubicBezTo>
                <a:lnTo>
                  <a:pt x="5125146" y="1440347"/>
                </a:lnTo>
                <a:cubicBezTo>
                  <a:pt x="5131970" y="1454023"/>
                  <a:pt x="5145620" y="1451744"/>
                  <a:pt x="5154718" y="1444906"/>
                </a:cubicBezTo>
                <a:cubicBezTo>
                  <a:pt x="5184291" y="1431230"/>
                  <a:pt x="5211589" y="1412995"/>
                  <a:pt x="5225238" y="1381084"/>
                </a:cubicBezTo>
                <a:lnTo>
                  <a:pt x="5225238" y="1378804"/>
                </a:lnTo>
                <a:cubicBezTo>
                  <a:pt x="5225238" y="1385643"/>
                  <a:pt x="5227512" y="1392481"/>
                  <a:pt x="5227512" y="1399319"/>
                </a:cubicBezTo>
                <a:cubicBezTo>
                  <a:pt x="5245711" y="1394760"/>
                  <a:pt x="5263910" y="1394760"/>
                  <a:pt x="5275284" y="1385643"/>
                </a:cubicBezTo>
                <a:cubicBezTo>
                  <a:pt x="5293482" y="1369687"/>
                  <a:pt x="5318505" y="1360569"/>
                  <a:pt x="5338978" y="1342335"/>
                </a:cubicBezTo>
                <a:cubicBezTo>
                  <a:pt x="5321917" y="1330368"/>
                  <a:pt x="5311254" y="1342762"/>
                  <a:pt x="5299311" y="1347784"/>
                </a:cubicBezTo>
                <a:lnTo>
                  <a:pt x="5288952" y="1348921"/>
                </a:lnTo>
                <a:lnTo>
                  <a:pt x="5309122" y="1326664"/>
                </a:lnTo>
                <a:cubicBezTo>
                  <a:pt x="5317936" y="1320681"/>
                  <a:pt x="5327605" y="1316122"/>
                  <a:pt x="5336704" y="1310424"/>
                </a:cubicBezTo>
                <a:cubicBezTo>
                  <a:pt x="5395848" y="1276233"/>
                  <a:pt x="5452718" y="1242043"/>
                  <a:pt x="5511864" y="1210132"/>
                </a:cubicBezTo>
                <a:cubicBezTo>
                  <a:pt x="5580108" y="1171383"/>
                  <a:pt x="5650627" y="1137193"/>
                  <a:pt x="5721146" y="1100723"/>
                </a:cubicBezTo>
                <a:cubicBezTo>
                  <a:pt x="5773467" y="1073371"/>
                  <a:pt x="5828062" y="1050577"/>
                  <a:pt x="5880383" y="1023225"/>
                </a:cubicBezTo>
                <a:cubicBezTo>
                  <a:pt x="5912230" y="1007269"/>
                  <a:pt x="5946352" y="993593"/>
                  <a:pt x="5980474" y="975359"/>
                </a:cubicBezTo>
                <a:cubicBezTo>
                  <a:pt x="6025971" y="952565"/>
                  <a:pt x="6073742" y="932051"/>
                  <a:pt x="6119238" y="904698"/>
                </a:cubicBezTo>
                <a:lnTo>
                  <a:pt x="6250290" y="843570"/>
                </a:lnTo>
                <a:lnTo>
                  <a:pt x="6256188" y="855016"/>
                </a:lnTo>
                <a:cubicBezTo>
                  <a:pt x="6262693" y="864525"/>
                  <a:pt x="6268238" y="860251"/>
                  <a:pt x="6285299" y="843156"/>
                </a:cubicBezTo>
                <a:cubicBezTo>
                  <a:pt x="6280750" y="838597"/>
                  <a:pt x="6276200" y="834038"/>
                  <a:pt x="6269376" y="831759"/>
                </a:cubicBezTo>
                <a:lnTo>
                  <a:pt x="6271650" y="831759"/>
                </a:lnTo>
                <a:cubicBezTo>
                  <a:pt x="6308048" y="813524"/>
                  <a:pt x="6346719" y="802127"/>
                  <a:pt x="6378566" y="777055"/>
                </a:cubicBezTo>
                <a:cubicBezTo>
                  <a:pt x="6419513" y="767937"/>
                  <a:pt x="6453635" y="740585"/>
                  <a:pt x="6494582" y="726909"/>
                </a:cubicBezTo>
                <a:cubicBezTo>
                  <a:pt x="6533254" y="713233"/>
                  <a:pt x="6569650" y="690439"/>
                  <a:pt x="6608322" y="672204"/>
                </a:cubicBezTo>
                <a:cubicBezTo>
                  <a:pt x="6617421" y="668785"/>
                  <a:pt x="6626520" y="664796"/>
                  <a:pt x="6634767" y="659668"/>
                </a:cubicBezTo>
                <a:lnTo>
                  <a:pt x="6655844" y="640521"/>
                </a:lnTo>
                <a:lnTo>
                  <a:pt x="6658368" y="640293"/>
                </a:lnTo>
                <a:lnTo>
                  <a:pt x="6658368" y="638014"/>
                </a:lnTo>
                <a:lnTo>
                  <a:pt x="6656094" y="640293"/>
                </a:lnTo>
                <a:lnTo>
                  <a:pt x="6655844" y="640521"/>
                </a:lnTo>
                <a:lnTo>
                  <a:pt x="6607754" y="644852"/>
                </a:lnTo>
                <a:cubicBezTo>
                  <a:pt x="6591261" y="648841"/>
                  <a:pt x="6575337" y="655109"/>
                  <a:pt x="6560551" y="663087"/>
                </a:cubicBezTo>
                <a:cubicBezTo>
                  <a:pt x="6530978" y="679042"/>
                  <a:pt x="6501406" y="690439"/>
                  <a:pt x="6467284" y="685880"/>
                </a:cubicBezTo>
                <a:cubicBezTo>
                  <a:pt x="6449086" y="681322"/>
                  <a:pt x="6430887" y="685880"/>
                  <a:pt x="6412688" y="688160"/>
                </a:cubicBezTo>
                <a:cubicBezTo>
                  <a:pt x="6419513" y="685880"/>
                  <a:pt x="6426338" y="679042"/>
                  <a:pt x="6433162" y="676763"/>
                </a:cubicBezTo>
                <a:cubicBezTo>
                  <a:pt x="6485482" y="665366"/>
                  <a:pt x="6533254" y="644852"/>
                  <a:pt x="6576475" y="617500"/>
                </a:cubicBezTo>
                <a:cubicBezTo>
                  <a:pt x="6596948" y="606103"/>
                  <a:pt x="6615146" y="599265"/>
                  <a:pt x="6635620" y="587868"/>
                </a:cubicBezTo>
                <a:cubicBezTo>
                  <a:pt x="6642444" y="583309"/>
                  <a:pt x="6646994" y="578751"/>
                  <a:pt x="6658368" y="569633"/>
                </a:cubicBezTo>
                <a:cubicBezTo>
                  <a:pt x="6628796" y="565075"/>
                  <a:pt x="6612872" y="587868"/>
                  <a:pt x="6590124" y="585589"/>
                </a:cubicBezTo>
                <a:cubicBezTo>
                  <a:pt x="6569650" y="585589"/>
                  <a:pt x="6551452" y="603824"/>
                  <a:pt x="6526429" y="594706"/>
                </a:cubicBezTo>
                <a:cubicBezTo>
                  <a:pt x="6528704" y="587868"/>
                  <a:pt x="6526429" y="581030"/>
                  <a:pt x="6530978" y="578751"/>
                </a:cubicBezTo>
                <a:cubicBezTo>
                  <a:pt x="6553727" y="567354"/>
                  <a:pt x="6567376" y="542281"/>
                  <a:pt x="6594674" y="533164"/>
                </a:cubicBezTo>
                <a:cubicBezTo>
                  <a:pt x="6596948" y="533164"/>
                  <a:pt x="6601498" y="530884"/>
                  <a:pt x="6603772" y="528605"/>
                </a:cubicBezTo>
                <a:cubicBezTo>
                  <a:pt x="6619696" y="494415"/>
                  <a:pt x="6653818" y="487577"/>
                  <a:pt x="6683391" y="473901"/>
                </a:cubicBezTo>
                <a:lnTo>
                  <a:pt x="6686975" y="466717"/>
                </a:lnTo>
                <a:lnTo>
                  <a:pt x="6728887" y="455666"/>
                </a:lnTo>
                <a:cubicBezTo>
                  <a:pt x="6731162" y="455666"/>
                  <a:pt x="6733437" y="451107"/>
                  <a:pt x="6733437" y="448827"/>
                </a:cubicBezTo>
                <a:cubicBezTo>
                  <a:pt x="6724338" y="437431"/>
                  <a:pt x="6712964" y="428313"/>
                  <a:pt x="6703864" y="419196"/>
                </a:cubicBezTo>
                <a:cubicBezTo>
                  <a:pt x="6683391" y="423755"/>
                  <a:pt x="6662918" y="428313"/>
                  <a:pt x="6665192" y="455666"/>
                </a:cubicBezTo>
                <a:cubicBezTo>
                  <a:pt x="6662918" y="455666"/>
                  <a:pt x="6658368" y="455666"/>
                  <a:pt x="6656094" y="455666"/>
                </a:cubicBezTo>
                <a:cubicBezTo>
                  <a:pt x="6651544" y="444269"/>
                  <a:pt x="6644719" y="437431"/>
                  <a:pt x="6631070" y="439710"/>
                </a:cubicBezTo>
                <a:cubicBezTo>
                  <a:pt x="6599223" y="444269"/>
                  <a:pt x="6574200" y="457945"/>
                  <a:pt x="6542353" y="473901"/>
                </a:cubicBezTo>
                <a:cubicBezTo>
                  <a:pt x="6551452" y="483018"/>
                  <a:pt x="6556002" y="487577"/>
                  <a:pt x="6562826" y="494415"/>
                </a:cubicBezTo>
                <a:cubicBezTo>
                  <a:pt x="6560551" y="505811"/>
                  <a:pt x="6549177" y="503532"/>
                  <a:pt x="6542353" y="508091"/>
                </a:cubicBezTo>
                <a:cubicBezTo>
                  <a:pt x="6540078" y="512650"/>
                  <a:pt x="6537803" y="519487"/>
                  <a:pt x="6535528" y="524046"/>
                </a:cubicBezTo>
                <a:cubicBezTo>
                  <a:pt x="6530978" y="526326"/>
                  <a:pt x="6524154" y="526326"/>
                  <a:pt x="6521880" y="526326"/>
                </a:cubicBezTo>
                <a:lnTo>
                  <a:pt x="6494195" y="515656"/>
                </a:lnTo>
                <a:lnTo>
                  <a:pt x="6492307" y="508091"/>
                </a:lnTo>
                <a:cubicBezTo>
                  <a:pt x="6476384" y="501253"/>
                  <a:pt x="6462734" y="503532"/>
                  <a:pt x="6449086" y="508091"/>
                </a:cubicBezTo>
                <a:cubicBezTo>
                  <a:pt x="6437712" y="512650"/>
                  <a:pt x="6424062" y="519487"/>
                  <a:pt x="6424062" y="535443"/>
                </a:cubicBezTo>
                <a:lnTo>
                  <a:pt x="6462628" y="549082"/>
                </a:lnTo>
                <a:lnTo>
                  <a:pt x="6450791" y="560231"/>
                </a:lnTo>
                <a:cubicBezTo>
                  <a:pt x="6446811" y="565075"/>
                  <a:pt x="6442261" y="568494"/>
                  <a:pt x="6433162" y="565075"/>
                </a:cubicBezTo>
                <a:cubicBezTo>
                  <a:pt x="6401314" y="576472"/>
                  <a:pt x="6367192" y="581030"/>
                  <a:pt x="6342170" y="606103"/>
                </a:cubicBezTo>
                <a:cubicBezTo>
                  <a:pt x="6335345" y="612941"/>
                  <a:pt x="6326246" y="617500"/>
                  <a:pt x="6317146" y="622059"/>
                </a:cubicBezTo>
                <a:cubicBezTo>
                  <a:pt x="6305772" y="626617"/>
                  <a:pt x="6294398" y="628897"/>
                  <a:pt x="6287574" y="638014"/>
                </a:cubicBezTo>
                <a:cubicBezTo>
                  <a:pt x="6271650" y="651690"/>
                  <a:pt x="6258002" y="647131"/>
                  <a:pt x="6230704" y="644852"/>
                </a:cubicBezTo>
                <a:cubicBezTo>
                  <a:pt x="6253452" y="633455"/>
                  <a:pt x="6264826" y="624338"/>
                  <a:pt x="6278475" y="619779"/>
                </a:cubicBezTo>
                <a:cubicBezTo>
                  <a:pt x="6323971" y="608382"/>
                  <a:pt x="6358093" y="576472"/>
                  <a:pt x="6399040" y="555957"/>
                </a:cubicBezTo>
                <a:cubicBezTo>
                  <a:pt x="6401314" y="555957"/>
                  <a:pt x="6401314" y="546840"/>
                  <a:pt x="6401314" y="542281"/>
                </a:cubicBezTo>
                <a:cubicBezTo>
                  <a:pt x="6401314" y="542281"/>
                  <a:pt x="6396765" y="537722"/>
                  <a:pt x="6394490" y="537722"/>
                </a:cubicBezTo>
                <a:cubicBezTo>
                  <a:pt x="6385391" y="537722"/>
                  <a:pt x="6374017" y="537722"/>
                  <a:pt x="6364918" y="540002"/>
                </a:cubicBezTo>
                <a:cubicBezTo>
                  <a:pt x="6344444" y="551398"/>
                  <a:pt x="6323971" y="562795"/>
                  <a:pt x="6303498" y="574192"/>
                </a:cubicBezTo>
                <a:cubicBezTo>
                  <a:pt x="6287574" y="581030"/>
                  <a:pt x="6271650" y="592427"/>
                  <a:pt x="6258002" y="592427"/>
                </a:cubicBezTo>
                <a:cubicBezTo>
                  <a:pt x="6214780" y="592427"/>
                  <a:pt x="6178383" y="610662"/>
                  <a:pt x="6139712" y="619779"/>
                </a:cubicBezTo>
                <a:lnTo>
                  <a:pt x="6137436" y="617500"/>
                </a:lnTo>
                <a:cubicBezTo>
                  <a:pt x="6141986" y="606103"/>
                  <a:pt x="6148810" y="601544"/>
                  <a:pt x="6160184" y="599265"/>
                </a:cubicBezTo>
                <a:cubicBezTo>
                  <a:pt x="6194307" y="590147"/>
                  <a:pt x="6226154" y="574192"/>
                  <a:pt x="6255726" y="555957"/>
                </a:cubicBezTo>
                <a:cubicBezTo>
                  <a:pt x="6276200" y="544560"/>
                  <a:pt x="6298948" y="537722"/>
                  <a:pt x="6319422" y="528605"/>
                </a:cubicBezTo>
                <a:cubicBezTo>
                  <a:pt x="6337620" y="521767"/>
                  <a:pt x="6355818" y="519487"/>
                  <a:pt x="6369467" y="503532"/>
                </a:cubicBezTo>
                <a:cubicBezTo>
                  <a:pt x="6371742" y="501253"/>
                  <a:pt x="6376292" y="498973"/>
                  <a:pt x="6380841" y="496694"/>
                </a:cubicBezTo>
                <a:cubicBezTo>
                  <a:pt x="6405864" y="494415"/>
                  <a:pt x="6428612" y="487577"/>
                  <a:pt x="6451360" y="471621"/>
                </a:cubicBezTo>
                <a:cubicBezTo>
                  <a:pt x="6467284" y="455666"/>
                  <a:pt x="6492307" y="453386"/>
                  <a:pt x="6508230" y="435151"/>
                </a:cubicBezTo>
                <a:cubicBezTo>
                  <a:pt x="6512780" y="430593"/>
                  <a:pt x="6519604" y="428313"/>
                  <a:pt x="6526429" y="428313"/>
                </a:cubicBezTo>
                <a:cubicBezTo>
                  <a:pt x="6535528" y="426034"/>
                  <a:pt x="6546902" y="426034"/>
                  <a:pt x="6556002" y="426034"/>
                </a:cubicBezTo>
                <a:cubicBezTo>
                  <a:pt x="6569650" y="410079"/>
                  <a:pt x="6583300" y="396402"/>
                  <a:pt x="6585574" y="375888"/>
                </a:cubicBezTo>
                <a:cubicBezTo>
                  <a:pt x="6585574" y="375888"/>
                  <a:pt x="6592398" y="375888"/>
                  <a:pt x="6594674" y="375888"/>
                </a:cubicBezTo>
                <a:lnTo>
                  <a:pt x="6594674" y="373609"/>
                </a:lnTo>
                <a:cubicBezTo>
                  <a:pt x="6599223" y="378167"/>
                  <a:pt x="6606048" y="382726"/>
                  <a:pt x="6610597" y="382726"/>
                </a:cubicBezTo>
                <a:cubicBezTo>
                  <a:pt x="6626520" y="380447"/>
                  <a:pt x="6642444" y="373609"/>
                  <a:pt x="6658368" y="387285"/>
                </a:cubicBezTo>
                <a:cubicBezTo>
                  <a:pt x="6660643" y="391844"/>
                  <a:pt x="6674292" y="385006"/>
                  <a:pt x="6685666" y="382726"/>
                </a:cubicBezTo>
                <a:cubicBezTo>
                  <a:pt x="6676566" y="375888"/>
                  <a:pt x="6672017" y="371329"/>
                  <a:pt x="6665192" y="366771"/>
                </a:cubicBezTo>
                <a:cubicBezTo>
                  <a:pt x="6701590" y="355374"/>
                  <a:pt x="6733437" y="334860"/>
                  <a:pt x="6772108" y="337139"/>
                </a:cubicBezTo>
                <a:cubicBezTo>
                  <a:pt x="6801681" y="337139"/>
                  <a:pt x="6831254" y="334860"/>
                  <a:pt x="6856276" y="314346"/>
                </a:cubicBezTo>
                <a:cubicBezTo>
                  <a:pt x="6881300" y="312066"/>
                  <a:pt x="6901773" y="300669"/>
                  <a:pt x="6919971" y="286993"/>
                </a:cubicBezTo>
                <a:cubicBezTo>
                  <a:pt x="6938170" y="275596"/>
                  <a:pt x="6958643" y="268758"/>
                  <a:pt x="6983666" y="257362"/>
                </a:cubicBezTo>
                <a:cubicBezTo>
                  <a:pt x="6970017" y="250524"/>
                  <a:pt x="6960918" y="245965"/>
                  <a:pt x="6951818" y="241406"/>
                </a:cubicBezTo>
                <a:cubicBezTo>
                  <a:pt x="6954094" y="232289"/>
                  <a:pt x="6956368" y="225451"/>
                  <a:pt x="6956368" y="216333"/>
                </a:cubicBezTo>
                <a:cubicBezTo>
                  <a:pt x="6954094" y="216333"/>
                  <a:pt x="6951818" y="211775"/>
                  <a:pt x="6949544" y="211775"/>
                </a:cubicBezTo>
                <a:cubicBezTo>
                  <a:pt x="6929070" y="214054"/>
                  <a:pt x="6913147" y="223171"/>
                  <a:pt x="6904048" y="241406"/>
                </a:cubicBezTo>
                <a:cubicBezTo>
                  <a:pt x="6897223" y="252803"/>
                  <a:pt x="6883574" y="252803"/>
                  <a:pt x="6872200" y="252803"/>
                </a:cubicBezTo>
                <a:cubicBezTo>
                  <a:pt x="6865376" y="252803"/>
                  <a:pt x="6858552" y="245965"/>
                  <a:pt x="6849452" y="239127"/>
                </a:cubicBezTo>
                <a:cubicBezTo>
                  <a:pt x="6858552" y="232289"/>
                  <a:pt x="6865376" y="223171"/>
                  <a:pt x="6874475" y="218613"/>
                </a:cubicBezTo>
                <a:cubicBezTo>
                  <a:pt x="6897223" y="204937"/>
                  <a:pt x="6924521" y="195819"/>
                  <a:pt x="6944994" y="179864"/>
                </a:cubicBezTo>
                <a:cubicBezTo>
                  <a:pt x="6974566" y="154791"/>
                  <a:pt x="7010964" y="147953"/>
                  <a:pt x="7047360" y="143394"/>
                </a:cubicBezTo>
                <a:cubicBezTo>
                  <a:pt x="7054185" y="141114"/>
                  <a:pt x="7061010" y="143394"/>
                  <a:pt x="7067834" y="141114"/>
                </a:cubicBezTo>
                <a:cubicBezTo>
                  <a:pt x="7081482" y="136556"/>
                  <a:pt x="7092857" y="127438"/>
                  <a:pt x="7106506" y="125159"/>
                </a:cubicBezTo>
                <a:cubicBezTo>
                  <a:pt x="7120154" y="122880"/>
                  <a:pt x="7136078" y="134276"/>
                  <a:pt x="7145178" y="129718"/>
                </a:cubicBezTo>
                <a:cubicBezTo>
                  <a:pt x="7163376" y="118321"/>
                  <a:pt x="7172475" y="131997"/>
                  <a:pt x="7186124" y="136556"/>
                </a:cubicBezTo>
                <a:cubicBezTo>
                  <a:pt x="7190674" y="136556"/>
                  <a:pt x="7197498" y="134276"/>
                  <a:pt x="7204322" y="131997"/>
                </a:cubicBezTo>
                <a:cubicBezTo>
                  <a:pt x="7190674" y="109204"/>
                  <a:pt x="7177025" y="93248"/>
                  <a:pt x="7163376" y="88689"/>
                </a:cubicBezTo>
                <a:cubicBezTo>
                  <a:pt x="7158826" y="86410"/>
                  <a:pt x="7152002" y="84131"/>
                  <a:pt x="7145178" y="86410"/>
                </a:cubicBezTo>
                <a:cubicBezTo>
                  <a:pt x="7122430" y="88689"/>
                  <a:pt x="7101956" y="90969"/>
                  <a:pt x="7079208" y="93248"/>
                </a:cubicBezTo>
                <a:cubicBezTo>
                  <a:pt x="7054185" y="95527"/>
                  <a:pt x="7029162" y="100086"/>
                  <a:pt x="7008689" y="116042"/>
                </a:cubicBezTo>
                <a:cubicBezTo>
                  <a:pt x="6997315" y="127438"/>
                  <a:pt x="6983666" y="129718"/>
                  <a:pt x="6967742" y="129718"/>
                </a:cubicBezTo>
                <a:cubicBezTo>
                  <a:pt x="6940444" y="125159"/>
                  <a:pt x="6915422" y="134276"/>
                  <a:pt x="6890398" y="145673"/>
                </a:cubicBezTo>
                <a:cubicBezTo>
                  <a:pt x="6849452" y="161629"/>
                  <a:pt x="6810780" y="179864"/>
                  <a:pt x="6765284" y="186702"/>
                </a:cubicBezTo>
                <a:cubicBezTo>
                  <a:pt x="6744811" y="191260"/>
                  <a:pt x="6722063" y="204937"/>
                  <a:pt x="6701590" y="216333"/>
                </a:cubicBezTo>
                <a:cubicBezTo>
                  <a:pt x="6685666" y="223171"/>
                  <a:pt x="6672017" y="232289"/>
                  <a:pt x="6656094" y="236847"/>
                </a:cubicBezTo>
                <a:cubicBezTo>
                  <a:pt x="6615146" y="250524"/>
                  <a:pt x="6574200" y="264200"/>
                  <a:pt x="6530978" y="275596"/>
                </a:cubicBezTo>
                <a:lnTo>
                  <a:pt x="6489806" y="279526"/>
                </a:lnTo>
                <a:lnTo>
                  <a:pt x="6596948" y="232289"/>
                </a:lnTo>
                <a:cubicBezTo>
                  <a:pt x="6615146" y="225451"/>
                  <a:pt x="6628796" y="216333"/>
                  <a:pt x="6646994" y="207216"/>
                </a:cubicBezTo>
                <a:cubicBezTo>
                  <a:pt x="6637895" y="191260"/>
                  <a:pt x="6631070" y="177584"/>
                  <a:pt x="6624246" y="161629"/>
                </a:cubicBezTo>
                <a:cubicBezTo>
                  <a:pt x="6601498" y="163908"/>
                  <a:pt x="6583300" y="168467"/>
                  <a:pt x="6571926" y="191260"/>
                </a:cubicBezTo>
                <a:lnTo>
                  <a:pt x="6574200" y="193540"/>
                </a:lnTo>
                <a:cubicBezTo>
                  <a:pt x="6562826" y="193540"/>
                  <a:pt x="6549177" y="191260"/>
                  <a:pt x="6540078" y="195819"/>
                </a:cubicBezTo>
                <a:cubicBezTo>
                  <a:pt x="6496856" y="218613"/>
                  <a:pt x="6451360" y="236847"/>
                  <a:pt x="6405864" y="250524"/>
                </a:cubicBezTo>
                <a:cubicBezTo>
                  <a:pt x="6394490" y="255082"/>
                  <a:pt x="6385391" y="257362"/>
                  <a:pt x="6376292" y="264200"/>
                </a:cubicBezTo>
                <a:cubicBezTo>
                  <a:pt x="6371742" y="268758"/>
                  <a:pt x="6367192" y="275596"/>
                  <a:pt x="6360368" y="280155"/>
                </a:cubicBezTo>
                <a:cubicBezTo>
                  <a:pt x="6353544" y="268758"/>
                  <a:pt x="6353544" y="259641"/>
                  <a:pt x="6364918" y="252803"/>
                </a:cubicBezTo>
                <a:cubicBezTo>
                  <a:pt x="6380841" y="245965"/>
                  <a:pt x="6394490" y="239127"/>
                  <a:pt x="6410414" y="232289"/>
                </a:cubicBezTo>
                <a:cubicBezTo>
                  <a:pt x="6490032" y="207216"/>
                  <a:pt x="6562826" y="170746"/>
                  <a:pt x="6637895" y="134276"/>
                </a:cubicBezTo>
                <a:lnTo>
                  <a:pt x="6655154" y="134276"/>
                </a:lnTo>
                <a:lnTo>
                  <a:pt x="6650691" y="145103"/>
                </a:lnTo>
                <a:cubicBezTo>
                  <a:pt x="6648132" y="149662"/>
                  <a:pt x="6644720" y="154791"/>
                  <a:pt x="6640170" y="161629"/>
                </a:cubicBezTo>
                <a:cubicBezTo>
                  <a:pt x="6656094" y="159350"/>
                  <a:pt x="6665192" y="161629"/>
                  <a:pt x="6669742" y="157070"/>
                </a:cubicBezTo>
                <a:cubicBezTo>
                  <a:pt x="6733437" y="116042"/>
                  <a:pt x="6801681" y="90969"/>
                  <a:pt x="6872200" y="68175"/>
                </a:cubicBezTo>
                <a:cubicBezTo>
                  <a:pt x="6890398" y="63617"/>
                  <a:pt x="6906322" y="52220"/>
                  <a:pt x="6924521" y="47661"/>
                </a:cubicBezTo>
                <a:cubicBezTo>
                  <a:pt x="6942720" y="43102"/>
                  <a:pt x="6960918" y="31705"/>
                  <a:pt x="6981391" y="40823"/>
                </a:cubicBezTo>
                <a:cubicBezTo>
                  <a:pt x="6995040" y="45382"/>
                  <a:pt x="7013238" y="38543"/>
                  <a:pt x="7024612" y="27147"/>
                </a:cubicBezTo>
                <a:cubicBezTo>
                  <a:pt x="7042811" y="8912"/>
                  <a:pt x="7065559" y="4353"/>
                  <a:pt x="7088307" y="6633"/>
                </a:cubicBezTo>
                <a:cubicBezTo>
                  <a:pt x="7126979" y="11191"/>
                  <a:pt x="7163376" y="11191"/>
                  <a:pt x="7199773" y="2074"/>
                </a:cubicBezTo>
                <a:cubicBezTo>
                  <a:pt x="7207734" y="-205"/>
                  <a:pt x="7215128" y="-775"/>
                  <a:pt x="7222237" y="121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79777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0" y="0"/>
            <a:ext cx="9144000" cy="10287000"/>
          </a:xfrm>
          <a:custGeom>
            <a:avLst/>
            <a:gdLst>
              <a:gd name="connsiteX0" fmla="*/ 0 w 9144000"/>
              <a:gd name="connsiteY0" fmla="*/ 0 h 10287000"/>
              <a:gd name="connsiteX1" fmla="*/ 9144000 w 9144000"/>
              <a:gd name="connsiteY1" fmla="*/ 0 h 10287000"/>
              <a:gd name="connsiteX2" fmla="*/ 9144000 w 9144000"/>
              <a:gd name="connsiteY2" fmla="*/ 10287000 h 10287000"/>
              <a:gd name="connsiteX3" fmla="*/ 0 w 9144000"/>
              <a:gd name="connsiteY3" fmla="*/ 1028700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287000">
                <a:moveTo>
                  <a:pt x="0" y="0"/>
                </a:moveTo>
                <a:lnTo>
                  <a:pt x="9144000" y="0"/>
                </a:lnTo>
                <a:lnTo>
                  <a:pt x="9144000" y="10287000"/>
                </a:lnTo>
                <a:lnTo>
                  <a:pt x="0" y="10287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1291742" y="1112428"/>
            <a:ext cx="4139119" cy="4507735"/>
          </a:xfrm>
          <a:custGeom>
            <a:avLst/>
            <a:gdLst>
              <a:gd name="connsiteX0" fmla="*/ 1874553 w 4139119"/>
              <a:gd name="connsiteY0" fmla="*/ 0 h 4507735"/>
              <a:gd name="connsiteX1" fmla="*/ 1936796 w 4139119"/>
              <a:gd name="connsiteY1" fmla="*/ 9461 h 4507735"/>
              <a:gd name="connsiteX2" fmla="*/ 1937720 w 4139119"/>
              <a:gd name="connsiteY2" fmla="*/ 37731 h 4507735"/>
              <a:gd name="connsiteX3" fmla="*/ 2015069 w 4139119"/>
              <a:gd name="connsiteY3" fmla="*/ 140129 h 4507735"/>
              <a:gd name="connsiteX4" fmla="*/ 2012438 w 4139119"/>
              <a:gd name="connsiteY4" fmla="*/ 157441 h 4507735"/>
              <a:gd name="connsiteX5" fmla="*/ 2027709 w 4139119"/>
              <a:gd name="connsiteY5" fmla="*/ 180599 h 4507735"/>
              <a:gd name="connsiteX6" fmla="*/ 2022137 w 4139119"/>
              <a:gd name="connsiteY6" fmla="*/ 217259 h 4507735"/>
              <a:gd name="connsiteX7" fmla="*/ 2051912 w 4139119"/>
              <a:gd name="connsiteY7" fmla="*/ 234287 h 4507735"/>
              <a:gd name="connsiteX8" fmla="*/ 2082707 w 4139119"/>
              <a:gd name="connsiteY8" fmla="*/ 251470 h 4507735"/>
              <a:gd name="connsiteX9" fmla="*/ 2104726 w 4139119"/>
              <a:gd name="connsiteY9" fmla="*/ 237105 h 4507735"/>
              <a:gd name="connsiteX10" fmla="*/ 2131256 w 4139119"/>
              <a:gd name="connsiteY10" fmla="*/ 241137 h 4507735"/>
              <a:gd name="connsiteX11" fmla="*/ 2110596 w 4139119"/>
              <a:gd name="connsiteY11" fmla="*/ 267169 h 4507735"/>
              <a:gd name="connsiteX12" fmla="*/ 2159236 w 4139119"/>
              <a:gd name="connsiteY12" fmla="*/ 263101 h 4507735"/>
              <a:gd name="connsiteX13" fmla="*/ 2203113 w 4139119"/>
              <a:gd name="connsiteY13" fmla="*/ 269769 h 4507735"/>
              <a:gd name="connsiteX14" fmla="*/ 2198779 w 4139119"/>
              <a:gd name="connsiteY14" fmla="*/ 298283 h 4507735"/>
              <a:gd name="connsiteX15" fmla="*/ 2233037 w 4139119"/>
              <a:gd name="connsiteY15" fmla="*/ 320159 h 4507735"/>
              <a:gd name="connsiteX16" fmla="*/ 2229941 w 4139119"/>
              <a:gd name="connsiteY16" fmla="*/ 340526 h 4507735"/>
              <a:gd name="connsiteX17" fmla="*/ 2228331 w 4139119"/>
              <a:gd name="connsiteY17" fmla="*/ 357993 h 4507735"/>
              <a:gd name="connsiteX18" fmla="*/ 2242708 w 4139119"/>
              <a:gd name="connsiteY18" fmla="*/ 366429 h 4507735"/>
              <a:gd name="connsiteX19" fmla="*/ 2255055 w 4139119"/>
              <a:gd name="connsiteY19" fmla="*/ 305794 h 4507735"/>
              <a:gd name="connsiteX20" fmla="*/ 2267397 w 4139119"/>
              <a:gd name="connsiteY20" fmla="*/ 279540 h 4507735"/>
              <a:gd name="connsiteX21" fmla="*/ 2203113 w 4139119"/>
              <a:gd name="connsiteY21" fmla="*/ 269769 h 4507735"/>
              <a:gd name="connsiteX22" fmla="*/ 2207137 w 4139119"/>
              <a:gd name="connsiteY22" fmla="*/ 243293 h 4507735"/>
              <a:gd name="connsiteX23" fmla="*/ 2228445 w 4139119"/>
              <a:gd name="connsiteY23" fmla="*/ 226736 h 4507735"/>
              <a:gd name="connsiteX24" fmla="*/ 2233862 w 4139119"/>
              <a:gd name="connsiteY24" fmla="*/ 191094 h 4507735"/>
              <a:gd name="connsiteX25" fmla="*/ 2277366 w 4139119"/>
              <a:gd name="connsiteY25" fmla="*/ 207083 h 4507735"/>
              <a:gd name="connsiteX26" fmla="*/ 2302909 w 4139119"/>
              <a:gd name="connsiteY26" fmla="*/ 190128 h 4507735"/>
              <a:gd name="connsiteX27" fmla="*/ 2305065 w 4139119"/>
              <a:gd name="connsiteY27" fmla="*/ 244632 h 4507735"/>
              <a:gd name="connsiteX28" fmla="*/ 2328786 w 4139119"/>
              <a:gd name="connsiteY28" fmla="*/ 219065 h 4507735"/>
              <a:gd name="connsiteX29" fmla="*/ 2352725 w 4139119"/>
              <a:gd name="connsiteY29" fmla="*/ 185197 h 4507735"/>
              <a:gd name="connsiteX30" fmla="*/ 2414137 w 4139119"/>
              <a:gd name="connsiteY30" fmla="*/ 172651 h 4507735"/>
              <a:gd name="connsiteX31" fmla="*/ 2431914 w 4139119"/>
              <a:gd name="connsiteY31" fmla="*/ 193065 h 4507735"/>
              <a:gd name="connsiteX32" fmla="*/ 2468648 w 4139119"/>
              <a:gd name="connsiteY32" fmla="*/ 198648 h 4507735"/>
              <a:gd name="connsiteX33" fmla="*/ 2491411 w 4139119"/>
              <a:gd name="connsiteY33" fmla="*/ 165642 h 4507735"/>
              <a:gd name="connsiteX34" fmla="*/ 2514072 w 4139119"/>
              <a:gd name="connsiteY34" fmla="*/ 195133 h 4507735"/>
              <a:gd name="connsiteX35" fmla="*/ 2523554 w 4139119"/>
              <a:gd name="connsiteY35" fmla="*/ 263253 h 4507735"/>
              <a:gd name="connsiteX36" fmla="*/ 2542191 w 4139119"/>
              <a:gd name="connsiteY36" fmla="*/ 319220 h 4507735"/>
              <a:gd name="connsiteX37" fmla="*/ 2609542 w 4139119"/>
              <a:gd name="connsiteY37" fmla="*/ 295075 h 4507735"/>
              <a:gd name="connsiteX38" fmla="*/ 2659541 w 4139119"/>
              <a:gd name="connsiteY38" fmla="*/ 302674 h 4507735"/>
              <a:gd name="connsiteX39" fmla="*/ 2677163 w 4139119"/>
              <a:gd name="connsiteY39" fmla="*/ 324106 h 4507735"/>
              <a:gd name="connsiteX40" fmla="*/ 2712876 w 4139119"/>
              <a:gd name="connsiteY40" fmla="*/ 329534 h 4507735"/>
              <a:gd name="connsiteX41" fmla="*/ 2757023 w 4139119"/>
              <a:gd name="connsiteY41" fmla="*/ 389379 h 4507735"/>
              <a:gd name="connsiteX42" fmla="*/ 2765650 w 4139119"/>
              <a:gd name="connsiteY42" fmla="*/ 387564 h 4507735"/>
              <a:gd name="connsiteX43" fmla="*/ 2783501 w 4139119"/>
              <a:gd name="connsiteY43" fmla="*/ 331933 h 4507735"/>
              <a:gd name="connsiteX44" fmla="*/ 2876901 w 4139119"/>
              <a:gd name="connsiteY44" fmla="*/ 418017 h 4507735"/>
              <a:gd name="connsiteX45" fmla="*/ 2875313 w 4139119"/>
              <a:gd name="connsiteY45" fmla="*/ 483413 h 4507735"/>
              <a:gd name="connsiteX46" fmla="*/ 2927422 w 4139119"/>
              <a:gd name="connsiteY46" fmla="*/ 449658 h 4507735"/>
              <a:gd name="connsiteX47" fmla="*/ 2956669 w 4139119"/>
              <a:gd name="connsiteY47" fmla="*/ 477024 h 4507735"/>
              <a:gd name="connsiteX48" fmla="*/ 3027076 w 4139119"/>
              <a:gd name="connsiteY48" fmla="*/ 487725 h 4507735"/>
              <a:gd name="connsiteX49" fmla="*/ 3036322 w 4139119"/>
              <a:gd name="connsiteY49" fmla="*/ 481837 h 4507735"/>
              <a:gd name="connsiteX50" fmla="*/ 3023091 w 4139119"/>
              <a:gd name="connsiteY50" fmla="*/ 458989 h 4507735"/>
              <a:gd name="connsiteX51" fmla="*/ 3044027 w 4139119"/>
              <a:gd name="connsiteY51" fmla="*/ 451752 h 4507735"/>
              <a:gd name="connsiteX52" fmla="*/ 3090678 w 4139119"/>
              <a:gd name="connsiteY52" fmla="*/ 508852 h 4507735"/>
              <a:gd name="connsiteX53" fmla="*/ 3119209 w 4139119"/>
              <a:gd name="connsiteY53" fmla="*/ 568407 h 4507735"/>
              <a:gd name="connsiteX54" fmla="*/ 3108065 w 4139119"/>
              <a:gd name="connsiteY54" fmla="*/ 641727 h 4507735"/>
              <a:gd name="connsiteX55" fmla="*/ 3158368 w 4139119"/>
              <a:gd name="connsiteY55" fmla="*/ 681670 h 4507735"/>
              <a:gd name="connsiteX56" fmla="*/ 3182262 w 4139119"/>
              <a:gd name="connsiteY56" fmla="*/ 737395 h 4507735"/>
              <a:gd name="connsiteX57" fmla="*/ 3207330 w 4139119"/>
              <a:gd name="connsiteY57" fmla="*/ 792256 h 4507735"/>
              <a:gd name="connsiteX58" fmla="*/ 3229349 w 4139119"/>
              <a:gd name="connsiteY58" fmla="*/ 777891 h 4507735"/>
              <a:gd name="connsiteX59" fmla="*/ 3266083 w 4139119"/>
              <a:gd name="connsiteY59" fmla="*/ 783474 h 4507735"/>
              <a:gd name="connsiteX60" fmla="*/ 3284565 w 4139119"/>
              <a:gd name="connsiteY60" fmla="*/ 840460 h 4507735"/>
              <a:gd name="connsiteX61" fmla="*/ 3313004 w 4139119"/>
              <a:gd name="connsiteY61" fmla="*/ 893750 h 4507735"/>
              <a:gd name="connsiteX62" fmla="*/ 3342710 w 4139119"/>
              <a:gd name="connsiteY62" fmla="*/ 952441 h 4507735"/>
              <a:gd name="connsiteX63" fmla="*/ 3338778 w 4139119"/>
              <a:gd name="connsiteY63" fmla="*/ 985184 h 4507735"/>
              <a:gd name="connsiteX64" fmla="*/ 3372755 w 4139119"/>
              <a:gd name="connsiteY64" fmla="*/ 1022645 h 4507735"/>
              <a:gd name="connsiteX65" fmla="*/ 3405831 w 4139119"/>
              <a:gd name="connsiteY65" fmla="*/ 1079765 h 4507735"/>
              <a:gd name="connsiteX66" fmla="*/ 3430412 w 4139119"/>
              <a:gd name="connsiteY66" fmla="*/ 1089753 h 4507735"/>
              <a:gd name="connsiteX67" fmla="*/ 3430034 w 4139119"/>
              <a:gd name="connsiteY67" fmla="*/ 1133453 h 4507735"/>
              <a:gd name="connsiteX68" fmla="*/ 3477861 w 4139119"/>
              <a:gd name="connsiteY68" fmla="*/ 1189690 h 4507735"/>
              <a:gd name="connsiteX69" fmla="*/ 3495110 w 4139119"/>
              <a:gd name="connsiteY69" fmla="*/ 1220441 h 4507735"/>
              <a:gd name="connsiteX70" fmla="*/ 3578519 w 4139119"/>
              <a:gd name="connsiteY70" fmla="*/ 1331053 h 4507735"/>
              <a:gd name="connsiteX71" fmla="*/ 3596886 w 4139119"/>
              <a:gd name="connsiteY71" fmla="*/ 1333845 h 4507735"/>
              <a:gd name="connsiteX72" fmla="*/ 3618526 w 4139119"/>
              <a:gd name="connsiteY72" fmla="*/ 1363181 h 4507735"/>
              <a:gd name="connsiteX73" fmla="*/ 3606024 w 4139119"/>
              <a:gd name="connsiteY73" fmla="*/ 1424834 h 4507735"/>
              <a:gd name="connsiteX74" fmla="*/ 3559333 w 4139119"/>
              <a:gd name="connsiteY74" fmla="*/ 1422947 h 4507735"/>
              <a:gd name="connsiteX75" fmla="*/ 3548252 w 4139119"/>
              <a:gd name="connsiteY75" fmla="*/ 1488984 h 4507735"/>
              <a:gd name="connsiteX76" fmla="*/ 3557281 w 4139119"/>
              <a:gd name="connsiteY76" fmla="*/ 1491398 h 4507735"/>
              <a:gd name="connsiteX77" fmla="*/ 3617059 w 4139119"/>
              <a:gd name="connsiteY77" fmla="*/ 1448390 h 4507735"/>
              <a:gd name="connsiteX78" fmla="*/ 3633815 w 4139119"/>
              <a:gd name="connsiteY78" fmla="*/ 1468649 h 4507735"/>
              <a:gd name="connsiteX79" fmla="*/ 3654068 w 4139119"/>
              <a:gd name="connsiteY79" fmla="*/ 1472768 h 4507735"/>
              <a:gd name="connsiteX80" fmla="*/ 3660649 w 4139119"/>
              <a:gd name="connsiteY80" fmla="*/ 1505025 h 4507735"/>
              <a:gd name="connsiteX81" fmla="*/ 3689559 w 4139119"/>
              <a:gd name="connsiteY81" fmla="*/ 1520879 h 4507735"/>
              <a:gd name="connsiteX82" fmla="*/ 3687329 w 4139119"/>
              <a:gd name="connsiteY82" fmla="*/ 1542419 h 4507735"/>
              <a:gd name="connsiteX83" fmla="*/ 3721586 w 4139119"/>
              <a:gd name="connsiteY83" fmla="*/ 1564296 h 4507735"/>
              <a:gd name="connsiteX84" fmla="*/ 3718646 w 4139119"/>
              <a:gd name="connsiteY84" fmla="*/ 1583644 h 4507735"/>
              <a:gd name="connsiteX85" fmla="*/ 3698513 w 4139119"/>
              <a:gd name="connsiteY85" fmla="*/ 1599338 h 4507735"/>
              <a:gd name="connsiteX86" fmla="*/ 3706825 w 4139119"/>
              <a:gd name="connsiteY86" fmla="*/ 1633941 h 4507735"/>
              <a:gd name="connsiteX87" fmla="*/ 3713407 w 4139119"/>
              <a:gd name="connsiteY87" fmla="*/ 1666196 h 4507735"/>
              <a:gd name="connsiteX88" fmla="*/ 3753202 w 4139119"/>
              <a:gd name="connsiteY88" fmla="*/ 1672245 h 4507735"/>
              <a:gd name="connsiteX89" fmla="*/ 3806715 w 4139119"/>
              <a:gd name="connsiteY89" fmla="*/ 1746015 h 4507735"/>
              <a:gd name="connsiteX90" fmla="*/ 3772635 w 4139119"/>
              <a:gd name="connsiteY90" fmla="*/ 1771050 h 4507735"/>
              <a:gd name="connsiteX91" fmla="*/ 3729418 w 4139119"/>
              <a:gd name="connsiteY91" fmla="*/ 1705095 h 4507735"/>
              <a:gd name="connsiteX92" fmla="*/ 3697843 w 4139119"/>
              <a:gd name="connsiteY92" fmla="*/ 1727385 h 4507735"/>
              <a:gd name="connsiteX93" fmla="*/ 3752222 w 4139119"/>
              <a:gd name="connsiteY93" fmla="*/ 1802329 h 4507735"/>
              <a:gd name="connsiteX94" fmla="*/ 3787936 w 4139119"/>
              <a:gd name="connsiteY94" fmla="*/ 1807757 h 4507735"/>
              <a:gd name="connsiteX95" fmla="*/ 3805867 w 4139119"/>
              <a:gd name="connsiteY95" fmla="*/ 1827152 h 4507735"/>
              <a:gd name="connsiteX96" fmla="*/ 3821144 w 4139119"/>
              <a:gd name="connsiteY96" fmla="*/ 1815930 h 4507735"/>
              <a:gd name="connsiteX97" fmla="*/ 3827421 w 4139119"/>
              <a:gd name="connsiteY97" fmla="*/ 1815842 h 4507735"/>
              <a:gd name="connsiteX98" fmla="*/ 3912842 w 4139119"/>
              <a:gd name="connsiteY98" fmla="*/ 1913215 h 4507735"/>
              <a:gd name="connsiteX99" fmla="*/ 3904948 w 4139119"/>
              <a:gd name="connsiteY99" fmla="*/ 1965150 h 4507735"/>
              <a:gd name="connsiteX100" fmla="*/ 3940966 w 4139119"/>
              <a:gd name="connsiteY100" fmla="*/ 2002922 h 4507735"/>
              <a:gd name="connsiteX101" fmla="*/ 3917308 w 4139119"/>
              <a:gd name="connsiteY101" fmla="*/ 2021205 h 4507735"/>
              <a:gd name="connsiteX102" fmla="*/ 3928561 w 4139119"/>
              <a:gd name="connsiteY102" fmla="*/ 2036460 h 4507735"/>
              <a:gd name="connsiteX103" fmla="*/ 3910682 w 4139119"/>
              <a:gd name="connsiteY103" fmla="*/ 2078543 h 4507735"/>
              <a:gd name="connsiteX104" fmla="*/ 3916896 w 4139119"/>
              <a:gd name="connsiteY104" fmla="*/ 2085738 h 4507735"/>
              <a:gd name="connsiteX105" fmla="*/ 3990363 w 4139119"/>
              <a:gd name="connsiteY105" fmla="*/ 2096904 h 4507735"/>
              <a:gd name="connsiteX106" fmla="*/ 4005687 w 4139119"/>
              <a:gd name="connsiteY106" fmla="*/ 2181540 h 4507735"/>
              <a:gd name="connsiteX107" fmla="*/ 4035674 w 4139119"/>
              <a:gd name="connsiteY107" fmla="*/ 2224647 h 4507735"/>
              <a:gd name="connsiteX108" fmla="*/ 4005120 w 4139119"/>
              <a:gd name="connsiteY108" fmla="*/ 2247091 h 4507735"/>
              <a:gd name="connsiteX109" fmla="*/ 3988364 w 4139119"/>
              <a:gd name="connsiteY109" fmla="*/ 2226833 h 4507735"/>
              <a:gd name="connsiteX110" fmla="*/ 3956755 w 4139119"/>
              <a:gd name="connsiteY110" fmla="*/ 2269955 h 4507735"/>
              <a:gd name="connsiteX111" fmla="*/ 4052540 w 4139119"/>
              <a:gd name="connsiteY111" fmla="*/ 2333480 h 4507735"/>
              <a:gd name="connsiteX112" fmla="*/ 4049100 w 4139119"/>
              <a:gd name="connsiteY112" fmla="*/ 2376716 h 4507735"/>
              <a:gd name="connsiteX113" fmla="*/ 3992326 w 4139119"/>
              <a:gd name="connsiteY113" fmla="*/ 2393091 h 4507735"/>
              <a:gd name="connsiteX114" fmla="*/ 3982712 w 4139119"/>
              <a:gd name="connsiteY114" fmla="*/ 2373919 h 4507735"/>
              <a:gd name="connsiteX115" fmla="*/ 3958223 w 4139119"/>
              <a:gd name="connsiteY115" fmla="*/ 2370197 h 4507735"/>
              <a:gd name="connsiteX116" fmla="*/ 3957552 w 4139119"/>
              <a:gd name="connsiteY116" fmla="*/ 2312792 h 4507735"/>
              <a:gd name="connsiteX117" fmla="*/ 3945273 w 4139119"/>
              <a:gd name="connsiteY117" fmla="*/ 2331763 h 4507735"/>
              <a:gd name="connsiteX118" fmla="*/ 3929996 w 4139119"/>
              <a:gd name="connsiteY118" fmla="*/ 2342986 h 4507735"/>
              <a:gd name="connsiteX119" fmla="*/ 3922148 w 4139119"/>
              <a:gd name="connsiteY119" fmla="*/ 2305328 h 4507735"/>
              <a:gd name="connsiteX120" fmla="*/ 3896724 w 4139119"/>
              <a:gd name="connsiteY120" fmla="*/ 2342096 h 4507735"/>
              <a:gd name="connsiteX121" fmla="*/ 3885317 w 4139119"/>
              <a:gd name="connsiteY121" fmla="*/ 2327860 h 4507735"/>
              <a:gd name="connsiteX122" fmla="*/ 3837330 w 4139119"/>
              <a:gd name="connsiteY122" fmla="*/ 2307023 h 4507735"/>
              <a:gd name="connsiteX123" fmla="*/ 3840889 w 4139119"/>
              <a:gd name="connsiteY123" fmla="*/ 2283601 h 4507735"/>
              <a:gd name="connsiteX124" fmla="*/ 3920055 w 4139119"/>
              <a:gd name="connsiteY124" fmla="*/ 2243540 h 4507735"/>
              <a:gd name="connsiteX125" fmla="*/ 3935934 w 4139119"/>
              <a:gd name="connsiteY125" fmla="*/ 2145934 h 4507735"/>
              <a:gd name="connsiteX126" fmla="*/ 3943667 w 4139119"/>
              <a:gd name="connsiteY126" fmla="*/ 2129398 h 4507735"/>
              <a:gd name="connsiteX127" fmla="*/ 3952420 w 4139119"/>
              <a:gd name="connsiteY127" fmla="*/ 2113017 h 4507735"/>
              <a:gd name="connsiteX128" fmla="*/ 3902513 w 4139119"/>
              <a:gd name="connsiteY128" fmla="*/ 2111682 h 4507735"/>
              <a:gd name="connsiteX129" fmla="*/ 3914133 w 4139119"/>
              <a:gd name="connsiteY129" fmla="*/ 2151998 h 4507735"/>
              <a:gd name="connsiteX130" fmla="*/ 3871397 w 4139119"/>
              <a:gd name="connsiteY130" fmla="*/ 2165298 h 4507735"/>
              <a:gd name="connsiteX131" fmla="*/ 3885213 w 4139119"/>
              <a:gd name="connsiteY131" fmla="*/ 2204905 h 4507735"/>
              <a:gd name="connsiteX132" fmla="*/ 3850611 w 4139119"/>
              <a:gd name="connsiteY132" fmla="*/ 2205897 h 4507735"/>
              <a:gd name="connsiteX133" fmla="*/ 3845824 w 4139119"/>
              <a:gd name="connsiteY133" fmla="*/ 2168704 h 4507735"/>
              <a:gd name="connsiteX134" fmla="*/ 3850611 w 4139119"/>
              <a:gd name="connsiteY134" fmla="*/ 2205897 h 4507735"/>
              <a:gd name="connsiteX135" fmla="*/ 3859204 w 4139119"/>
              <a:gd name="connsiteY135" fmla="*/ 2224915 h 4507735"/>
              <a:gd name="connsiteX136" fmla="*/ 3835266 w 4139119"/>
              <a:gd name="connsiteY136" fmla="*/ 2258783 h 4507735"/>
              <a:gd name="connsiteX137" fmla="*/ 3808460 w 4139119"/>
              <a:gd name="connsiteY137" fmla="*/ 2235956 h 4507735"/>
              <a:gd name="connsiteX138" fmla="*/ 3782675 w 4139119"/>
              <a:gd name="connsiteY138" fmla="*/ 2213283 h 4507735"/>
              <a:gd name="connsiteX139" fmla="*/ 3752769 w 4139119"/>
              <a:gd name="connsiteY139" fmla="*/ 2245203 h 4507735"/>
              <a:gd name="connsiteX140" fmla="*/ 3736873 w 4139119"/>
              <a:gd name="connsiteY140" fmla="*/ 2260499 h 4507735"/>
              <a:gd name="connsiteX141" fmla="*/ 3752769 w 4139119"/>
              <a:gd name="connsiteY141" fmla="*/ 2245203 h 4507735"/>
              <a:gd name="connsiteX142" fmla="*/ 3778124 w 4139119"/>
              <a:gd name="connsiteY142" fmla="*/ 2250099 h 4507735"/>
              <a:gd name="connsiteX143" fmla="*/ 3799764 w 4139119"/>
              <a:gd name="connsiteY143" fmla="*/ 2279434 h 4507735"/>
              <a:gd name="connsiteX144" fmla="*/ 3777712 w 4139119"/>
              <a:gd name="connsiteY144" fmla="*/ 2314631 h 4507735"/>
              <a:gd name="connsiteX145" fmla="*/ 3793293 w 4139119"/>
              <a:gd name="connsiteY145" fmla="*/ 2335753 h 4507735"/>
              <a:gd name="connsiteX146" fmla="*/ 3787566 w 4139119"/>
              <a:gd name="connsiteY146" fmla="*/ 2373432 h 4507735"/>
              <a:gd name="connsiteX147" fmla="*/ 3809516 w 4139119"/>
              <a:gd name="connsiteY147" fmla="*/ 2400730 h 4507735"/>
              <a:gd name="connsiteX148" fmla="*/ 3833753 w 4139119"/>
              <a:gd name="connsiteY148" fmla="*/ 2433586 h 4507735"/>
              <a:gd name="connsiteX149" fmla="*/ 3891458 w 4139119"/>
              <a:gd name="connsiteY149" fmla="*/ 2596552 h 4507735"/>
              <a:gd name="connsiteX150" fmla="*/ 3892478 w 4139119"/>
              <a:gd name="connsiteY150" fmla="*/ 2596707 h 4507735"/>
              <a:gd name="connsiteX151" fmla="*/ 3946191 w 4139119"/>
              <a:gd name="connsiteY151" fmla="*/ 2579866 h 4507735"/>
              <a:gd name="connsiteX152" fmla="*/ 3943228 w 4139119"/>
              <a:gd name="connsiteY152" fmla="*/ 2551285 h 4507735"/>
              <a:gd name="connsiteX153" fmla="*/ 3919014 w 4139119"/>
              <a:gd name="connsiteY153" fmla="*/ 2566359 h 4507735"/>
              <a:gd name="connsiteX154" fmla="*/ 3895613 w 4139119"/>
              <a:gd name="connsiteY154" fmla="*/ 2521127 h 4507735"/>
              <a:gd name="connsiteX155" fmla="*/ 3875801 w 4139119"/>
              <a:gd name="connsiteY155" fmla="*/ 2466023 h 4507735"/>
              <a:gd name="connsiteX156" fmla="*/ 3859142 w 4139119"/>
              <a:gd name="connsiteY156" fmla="*/ 2417650 h 4507735"/>
              <a:gd name="connsiteX157" fmla="*/ 3958223 w 4139119"/>
              <a:gd name="connsiteY157" fmla="*/ 2370197 h 4507735"/>
              <a:gd name="connsiteX158" fmla="*/ 3967836 w 4139119"/>
              <a:gd name="connsiteY158" fmla="*/ 2389369 h 4507735"/>
              <a:gd name="connsiteX159" fmla="*/ 3992326 w 4139119"/>
              <a:gd name="connsiteY159" fmla="*/ 2393091 h 4507735"/>
              <a:gd name="connsiteX160" fmla="*/ 3987591 w 4139119"/>
              <a:gd name="connsiteY160" fmla="*/ 2417376 h 4507735"/>
              <a:gd name="connsiteX161" fmla="*/ 3968387 w 4139119"/>
              <a:gd name="connsiteY161" fmla="*/ 2426960 h 4507735"/>
              <a:gd name="connsiteX162" fmla="*/ 3947704 w 4139119"/>
              <a:gd name="connsiteY162" fmla="*/ 2405063 h 4507735"/>
              <a:gd name="connsiteX163" fmla="*/ 3915482 w 4139119"/>
              <a:gd name="connsiteY163" fmla="*/ 2417877 h 4507735"/>
              <a:gd name="connsiteX164" fmla="*/ 3899585 w 4139119"/>
              <a:gd name="connsiteY164" fmla="*/ 2433173 h 4507735"/>
              <a:gd name="connsiteX165" fmla="*/ 3915482 w 4139119"/>
              <a:gd name="connsiteY165" fmla="*/ 2417877 h 4507735"/>
              <a:gd name="connsiteX166" fmla="*/ 3968387 w 4139119"/>
              <a:gd name="connsiteY166" fmla="*/ 2426960 h 4507735"/>
              <a:gd name="connsiteX167" fmla="*/ 3996488 w 4139119"/>
              <a:gd name="connsiteY167" fmla="*/ 2468738 h 4507735"/>
              <a:gd name="connsiteX168" fmla="*/ 4013588 w 4139119"/>
              <a:gd name="connsiteY168" fmla="*/ 2466128 h 4507735"/>
              <a:gd name="connsiteX169" fmla="*/ 4037681 w 4139119"/>
              <a:gd name="connsiteY169" fmla="*/ 2431240 h 4507735"/>
              <a:gd name="connsiteX170" fmla="*/ 4079242 w 4139119"/>
              <a:gd name="connsiteY170" fmla="*/ 2418804 h 4507735"/>
              <a:gd name="connsiteX171" fmla="*/ 4094055 w 4139119"/>
              <a:gd name="connsiteY171" fmla="*/ 2410636 h 4507735"/>
              <a:gd name="connsiteX172" fmla="*/ 4132297 w 4139119"/>
              <a:gd name="connsiteY172" fmla="*/ 2461249 h 4507735"/>
              <a:gd name="connsiteX173" fmla="*/ 4112164 w 4139119"/>
              <a:gd name="connsiteY173" fmla="*/ 2476942 h 4507735"/>
              <a:gd name="connsiteX174" fmla="*/ 4106283 w 4139119"/>
              <a:gd name="connsiteY174" fmla="*/ 2515639 h 4507735"/>
              <a:gd name="connsiteX175" fmla="*/ 4139119 w 4139119"/>
              <a:gd name="connsiteY175" fmla="*/ 2533132 h 4507735"/>
              <a:gd name="connsiteX176" fmla="*/ 4118923 w 4139119"/>
              <a:gd name="connsiteY176" fmla="*/ 2556109 h 4507735"/>
              <a:gd name="connsiteX177" fmla="*/ 4113105 w 4139119"/>
              <a:gd name="connsiteY177" fmla="*/ 2587522 h 4507735"/>
              <a:gd name="connsiteX178" fmla="*/ 4102528 w 4139119"/>
              <a:gd name="connsiteY178" fmla="*/ 2595292 h 4507735"/>
              <a:gd name="connsiteX179" fmla="*/ 4072754 w 4139119"/>
              <a:gd name="connsiteY179" fmla="*/ 2578264 h 4507735"/>
              <a:gd name="connsiteX180" fmla="*/ 4043845 w 4139119"/>
              <a:gd name="connsiteY180" fmla="*/ 2562410 h 4507735"/>
              <a:gd name="connsiteX181" fmla="*/ 4044899 w 4139119"/>
              <a:gd name="connsiteY181" fmla="*/ 2541733 h 4507735"/>
              <a:gd name="connsiteX182" fmla="*/ 3999079 w 4139119"/>
              <a:gd name="connsiteY182" fmla="*/ 2506639 h 4507735"/>
              <a:gd name="connsiteX183" fmla="*/ 3971620 w 4139119"/>
              <a:gd name="connsiteY183" fmla="*/ 2508717 h 4507735"/>
              <a:gd name="connsiteX184" fmla="*/ 3986491 w 4139119"/>
              <a:gd name="connsiteY184" fmla="*/ 2527647 h 4507735"/>
              <a:gd name="connsiteX185" fmla="*/ 3986915 w 4139119"/>
              <a:gd name="connsiteY185" fmla="*/ 2579804 h 4507735"/>
              <a:gd name="connsiteX186" fmla="*/ 4013325 w 4139119"/>
              <a:gd name="connsiteY186" fmla="*/ 2564022 h 4507735"/>
              <a:gd name="connsiteX187" fmla="*/ 4026275 w 4139119"/>
              <a:gd name="connsiteY187" fmla="*/ 2602456 h 4507735"/>
              <a:gd name="connsiteX188" fmla="*/ 4054995 w 4139119"/>
              <a:gd name="connsiteY188" fmla="*/ 2640161 h 4507735"/>
              <a:gd name="connsiteX189" fmla="*/ 4027903 w 4139119"/>
              <a:gd name="connsiteY189" fmla="*/ 2667299 h 4507735"/>
              <a:gd name="connsiteX190" fmla="*/ 4040050 w 4139119"/>
              <a:gd name="connsiteY190" fmla="*/ 2697275 h 4507735"/>
              <a:gd name="connsiteX191" fmla="*/ 3994133 w 4139119"/>
              <a:gd name="connsiteY191" fmla="*/ 2690297 h 4507735"/>
              <a:gd name="connsiteX192" fmla="*/ 3972115 w 4139119"/>
              <a:gd name="connsiteY192" fmla="*/ 2704662 h 4507735"/>
              <a:gd name="connsiteX193" fmla="*/ 3949609 w 4139119"/>
              <a:gd name="connsiteY193" fmla="*/ 2674153 h 4507735"/>
              <a:gd name="connsiteX194" fmla="*/ 3957657 w 4139119"/>
              <a:gd name="connsiteY194" fmla="*/ 2621199 h 4507735"/>
              <a:gd name="connsiteX195" fmla="*/ 3928128 w 4139119"/>
              <a:gd name="connsiteY195" fmla="*/ 2609418 h 4507735"/>
              <a:gd name="connsiteX196" fmla="*/ 3916125 w 4139119"/>
              <a:gd name="connsiteY196" fmla="*/ 2647185 h 4507735"/>
              <a:gd name="connsiteX197" fmla="*/ 3889188 w 4139119"/>
              <a:gd name="connsiteY197" fmla="*/ 2673305 h 4507735"/>
              <a:gd name="connsiteX198" fmla="*/ 3930118 w 4139119"/>
              <a:gd name="connsiteY198" fmla="*/ 2733703 h 4507735"/>
              <a:gd name="connsiteX199" fmla="*/ 3956740 w 4139119"/>
              <a:gd name="connsiteY199" fmla="*/ 2744000 h 4507735"/>
              <a:gd name="connsiteX200" fmla="*/ 3950240 w 4139119"/>
              <a:gd name="connsiteY200" fmla="*/ 2786770 h 4507735"/>
              <a:gd name="connsiteX201" fmla="*/ 3984434 w 4139119"/>
              <a:gd name="connsiteY201" fmla="*/ 2815930 h 4507735"/>
              <a:gd name="connsiteX202" fmla="*/ 3979946 w 4139119"/>
              <a:gd name="connsiteY202" fmla="*/ 2845462 h 4507735"/>
              <a:gd name="connsiteX203" fmla="*/ 4014049 w 4139119"/>
              <a:gd name="connsiteY203" fmla="*/ 2868356 h 4507735"/>
              <a:gd name="connsiteX204" fmla="*/ 3993761 w 4139119"/>
              <a:gd name="connsiteY204" fmla="*/ 2885069 h 4507735"/>
              <a:gd name="connsiteX205" fmla="*/ 4008167 w 4139119"/>
              <a:gd name="connsiteY205" fmla="*/ 2907053 h 4507735"/>
              <a:gd name="connsiteX206" fmla="*/ 3982584 w 4139119"/>
              <a:gd name="connsiteY206" fmla="*/ 2979221 h 4507735"/>
              <a:gd name="connsiteX207" fmla="*/ 4001168 w 4139119"/>
              <a:gd name="connsiteY207" fmla="*/ 2973711 h 4507735"/>
              <a:gd name="connsiteX208" fmla="*/ 4044644 w 4139119"/>
              <a:gd name="connsiteY208" fmla="*/ 2976150 h 4507735"/>
              <a:gd name="connsiteX209" fmla="*/ 4068170 w 4139119"/>
              <a:gd name="connsiteY209" fmla="*/ 3006815 h 4507735"/>
              <a:gd name="connsiteX210" fmla="*/ 3984522 w 4139119"/>
              <a:gd name="connsiteY210" fmla="*/ 3042027 h 4507735"/>
              <a:gd name="connsiteX211" fmla="*/ 3958335 w 4139119"/>
              <a:gd name="connsiteY211" fmla="*/ 3015126 h 4507735"/>
              <a:gd name="connsiteX212" fmla="*/ 3881491 w 4139119"/>
              <a:gd name="connsiteY212" fmla="*/ 3039912 h 4507735"/>
              <a:gd name="connsiteX213" fmla="*/ 3854502 w 4139119"/>
              <a:gd name="connsiteY213" fmla="*/ 3004554 h 4507735"/>
              <a:gd name="connsiteX214" fmla="*/ 3811646 w 4139119"/>
              <a:gd name="connsiteY214" fmla="*/ 2998041 h 4507735"/>
              <a:gd name="connsiteX215" fmla="*/ 3808734 w 4139119"/>
              <a:gd name="connsiteY215" fmla="*/ 3030938 h 4507735"/>
              <a:gd name="connsiteX216" fmla="*/ 3855976 w 4139119"/>
              <a:gd name="connsiteY216" fmla="*/ 3070416 h 4507735"/>
              <a:gd name="connsiteX217" fmla="*/ 3899045 w 4139119"/>
              <a:gd name="connsiteY217" fmla="*/ 3103008 h 4507735"/>
              <a:gd name="connsiteX218" fmla="*/ 3878104 w 4139119"/>
              <a:gd name="connsiteY218" fmla="*/ 3144625 h 4507735"/>
              <a:gd name="connsiteX219" fmla="*/ 3871294 w 4139119"/>
              <a:gd name="connsiteY219" fmla="*/ 3189432 h 4507735"/>
              <a:gd name="connsiteX220" fmla="*/ 3843743 w 4139119"/>
              <a:gd name="connsiteY220" fmla="*/ 3185245 h 4507735"/>
              <a:gd name="connsiteX221" fmla="*/ 3824390 w 4139119"/>
              <a:gd name="connsiteY221" fmla="*/ 3161466 h 4507735"/>
              <a:gd name="connsiteX222" fmla="*/ 3807314 w 4139119"/>
              <a:gd name="connsiteY222" fmla="*/ 3212006 h 4507735"/>
              <a:gd name="connsiteX223" fmla="*/ 3760777 w 4139119"/>
              <a:gd name="connsiteY223" fmla="*/ 3209101 h 4507735"/>
              <a:gd name="connsiteX224" fmla="*/ 3754506 w 4139119"/>
              <a:gd name="connsiteY224" fmla="*/ 3174808 h 4507735"/>
              <a:gd name="connsiteX225" fmla="*/ 3700792 w 4139119"/>
              <a:gd name="connsiteY225" fmla="*/ 3191649 h 4507735"/>
              <a:gd name="connsiteX226" fmla="*/ 3699399 w 4139119"/>
              <a:gd name="connsiteY226" fmla="*/ 3200814 h 4507735"/>
              <a:gd name="connsiteX227" fmla="*/ 3666655 w 4139119"/>
              <a:gd name="connsiteY227" fmla="*/ 3189586 h 4507735"/>
              <a:gd name="connsiteX228" fmla="*/ 3659736 w 4139119"/>
              <a:gd name="connsiteY228" fmla="*/ 3145818 h 4507735"/>
              <a:gd name="connsiteX229" fmla="*/ 3642160 w 4139119"/>
              <a:gd name="connsiteY229" fmla="*/ 3220245 h 4507735"/>
              <a:gd name="connsiteX230" fmla="*/ 3663646 w 4139119"/>
              <a:gd name="connsiteY230" fmla="*/ 3250599 h 4507735"/>
              <a:gd name="connsiteX231" fmla="*/ 3691196 w 4139119"/>
              <a:gd name="connsiteY231" fmla="*/ 3254786 h 4507735"/>
              <a:gd name="connsiteX232" fmla="*/ 3706777 w 4139119"/>
              <a:gd name="connsiteY232" fmla="*/ 3275908 h 4507735"/>
              <a:gd name="connsiteX233" fmla="*/ 3703991 w 4139119"/>
              <a:gd name="connsiteY233" fmla="*/ 3294238 h 4507735"/>
              <a:gd name="connsiteX234" fmla="*/ 3624579 w 4139119"/>
              <a:gd name="connsiteY234" fmla="*/ 3329052 h 4507735"/>
              <a:gd name="connsiteX235" fmla="*/ 3639140 w 4139119"/>
              <a:gd name="connsiteY235" fmla="*/ 3350019 h 4507735"/>
              <a:gd name="connsiteX236" fmla="*/ 3630937 w 4139119"/>
              <a:gd name="connsiteY236" fmla="*/ 3403990 h 4507735"/>
              <a:gd name="connsiteX237" fmla="*/ 3644941 w 4139119"/>
              <a:gd name="connsiteY237" fmla="*/ 3421747 h 4507735"/>
              <a:gd name="connsiteX238" fmla="*/ 3624901 w 4139119"/>
              <a:gd name="connsiteY238" fmla="*/ 3443706 h 4507735"/>
              <a:gd name="connsiteX239" fmla="*/ 3625692 w 4139119"/>
              <a:gd name="connsiteY239" fmla="*/ 3520924 h 4507735"/>
              <a:gd name="connsiteX240" fmla="*/ 3603679 w 4139119"/>
              <a:gd name="connsiteY240" fmla="*/ 3500908 h 4507735"/>
              <a:gd name="connsiteX241" fmla="*/ 3556644 w 4139119"/>
              <a:gd name="connsiteY241" fmla="*/ 3521890 h 4507735"/>
              <a:gd name="connsiteX242" fmla="*/ 3551227 w 4139119"/>
              <a:gd name="connsiteY242" fmla="*/ 3557532 h 4507735"/>
              <a:gd name="connsiteX243" fmla="*/ 3566654 w 4139119"/>
              <a:gd name="connsiteY243" fmla="*/ 3579672 h 4507735"/>
              <a:gd name="connsiteX244" fmla="*/ 3561827 w 4139119"/>
              <a:gd name="connsiteY244" fmla="*/ 3597692 h 4507735"/>
              <a:gd name="connsiteX245" fmla="*/ 3519618 w 4139119"/>
              <a:gd name="connsiteY245" fmla="*/ 3600654 h 4507735"/>
              <a:gd name="connsiteX246" fmla="*/ 3514837 w 4139119"/>
              <a:gd name="connsiteY246" fmla="*/ 3529080 h 4507735"/>
              <a:gd name="connsiteX247" fmla="*/ 3488187 w 4139119"/>
              <a:gd name="connsiteY247" fmla="*/ 3505234 h 4507735"/>
              <a:gd name="connsiteX248" fmla="*/ 3485595 w 4139119"/>
              <a:gd name="connsiteY248" fmla="*/ 3467333 h 4507735"/>
              <a:gd name="connsiteX249" fmla="*/ 3470536 w 4139119"/>
              <a:gd name="connsiteY249" fmla="*/ 3470254 h 4507735"/>
              <a:gd name="connsiteX250" fmla="*/ 3429841 w 4139119"/>
              <a:gd name="connsiteY250" fmla="*/ 3483864 h 4507735"/>
              <a:gd name="connsiteX251" fmla="*/ 3442980 w 4139119"/>
              <a:gd name="connsiteY251" fmla="*/ 3500447 h 4507735"/>
              <a:gd name="connsiteX252" fmla="*/ 3441025 w 4139119"/>
              <a:gd name="connsiteY252" fmla="*/ 3540783 h 4507735"/>
              <a:gd name="connsiteX253" fmla="*/ 3421203 w 4139119"/>
              <a:gd name="connsiteY253" fmla="*/ 3554440 h 4507735"/>
              <a:gd name="connsiteX254" fmla="*/ 3408855 w 4139119"/>
              <a:gd name="connsiteY254" fmla="*/ 3615075 h 4507735"/>
              <a:gd name="connsiteX255" fmla="*/ 3382572 w 4139119"/>
              <a:gd name="connsiteY255" fmla="*/ 3616290 h 4507735"/>
              <a:gd name="connsiteX256" fmla="*/ 3364336 w 4139119"/>
              <a:gd name="connsiteY256" fmla="*/ 3564551 h 4507735"/>
              <a:gd name="connsiteX257" fmla="*/ 3381098 w 4139119"/>
              <a:gd name="connsiteY257" fmla="*/ 3550428 h 4507735"/>
              <a:gd name="connsiteX258" fmla="*/ 3367558 w 4139119"/>
              <a:gd name="connsiteY258" fmla="*/ 3529617 h 4507735"/>
              <a:gd name="connsiteX259" fmla="*/ 3389020 w 4139119"/>
              <a:gd name="connsiteY259" fmla="*/ 3512042 h 4507735"/>
              <a:gd name="connsiteX260" fmla="*/ 3360822 w 4139119"/>
              <a:gd name="connsiteY260" fmla="*/ 3498379 h 4507735"/>
              <a:gd name="connsiteX261" fmla="*/ 3335633 w 4139119"/>
              <a:gd name="connsiteY261" fmla="*/ 3423704 h 4507735"/>
              <a:gd name="connsiteX262" fmla="*/ 3319083 w 4139119"/>
              <a:gd name="connsiteY262" fmla="*/ 3463905 h 4507735"/>
              <a:gd name="connsiteX263" fmla="*/ 3334355 w 4139119"/>
              <a:gd name="connsiteY263" fmla="*/ 3487064 h 4507735"/>
              <a:gd name="connsiteX264" fmla="*/ 3320717 w 4139119"/>
              <a:gd name="connsiteY264" fmla="*/ 3494368 h 4507735"/>
              <a:gd name="connsiteX265" fmla="*/ 3255441 w 4139119"/>
              <a:gd name="connsiteY265" fmla="*/ 3497991 h 4507735"/>
              <a:gd name="connsiteX266" fmla="*/ 3306953 w 4139119"/>
              <a:gd name="connsiteY266" fmla="*/ 3516239 h 4507735"/>
              <a:gd name="connsiteX267" fmla="*/ 3348847 w 4139119"/>
              <a:gd name="connsiteY267" fmla="*/ 3549694 h 4507735"/>
              <a:gd name="connsiteX268" fmla="*/ 3322867 w 4139119"/>
              <a:gd name="connsiteY268" fmla="*/ 3583253 h 4507735"/>
              <a:gd name="connsiteX269" fmla="*/ 3353508 w 4139119"/>
              <a:gd name="connsiteY269" fmla="*/ 3601454 h 4507735"/>
              <a:gd name="connsiteX270" fmla="*/ 3349667 w 4139119"/>
              <a:gd name="connsiteY270" fmla="*/ 3640461 h 4507735"/>
              <a:gd name="connsiteX271" fmla="*/ 3378886 w 4139119"/>
              <a:gd name="connsiteY271" fmla="*/ 3654278 h 4507735"/>
              <a:gd name="connsiteX272" fmla="*/ 3382532 w 4139119"/>
              <a:gd name="connsiteY272" fmla="*/ 3671502 h 4507735"/>
              <a:gd name="connsiteX273" fmla="*/ 3377115 w 4139119"/>
              <a:gd name="connsiteY273" fmla="*/ 3707144 h 4507735"/>
              <a:gd name="connsiteX274" fmla="*/ 3349564 w 4139119"/>
              <a:gd name="connsiteY274" fmla="*/ 3702957 h 4507735"/>
              <a:gd name="connsiteX275" fmla="*/ 3327924 w 4139119"/>
              <a:gd name="connsiteY275" fmla="*/ 3673621 h 4507735"/>
              <a:gd name="connsiteX276" fmla="*/ 3330096 w 4139119"/>
              <a:gd name="connsiteY276" fmla="*/ 3624984 h 4507735"/>
              <a:gd name="connsiteX277" fmla="*/ 3303996 w 4139119"/>
              <a:gd name="connsiteY277" fmla="*/ 3638729 h 4507735"/>
              <a:gd name="connsiteX278" fmla="*/ 3285044 w 4139119"/>
              <a:gd name="connsiteY278" fmla="*/ 3619179 h 4507735"/>
              <a:gd name="connsiteX279" fmla="*/ 3212597 w 4139119"/>
              <a:gd name="connsiteY279" fmla="*/ 3608168 h 4507735"/>
              <a:gd name="connsiteX280" fmla="*/ 3216994 w 4139119"/>
              <a:gd name="connsiteY280" fmla="*/ 3572371 h 4507735"/>
              <a:gd name="connsiteX281" fmla="*/ 3233905 w 4139119"/>
              <a:gd name="connsiteY281" fmla="*/ 3591611 h 4507735"/>
              <a:gd name="connsiteX282" fmla="*/ 3255768 w 4139119"/>
              <a:gd name="connsiteY282" fmla="*/ 3578264 h 4507735"/>
              <a:gd name="connsiteX283" fmla="*/ 3299398 w 4139119"/>
              <a:gd name="connsiteY283" fmla="*/ 3579686 h 4507735"/>
              <a:gd name="connsiteX284" fmla="*/ 3278532 w 4139119"/>
              <a:gd name="connsiteY284" fmla="*/ 3545258 h 4507735"/>
              <a:gd name="connsiteX285" fmla="*/ 3239322 w 4139119"/>
              <a:gd name="connsiteY285" fmla="*/ 3555969 h 4507735"/>
              <a:gd name="connsiteX286" fmla="*/ 3237103 w 4139119"/>
              <a:gd name="connsiteY286" fmla="*/ 3508748 h 4507735"/>
              <a:gd name="connsiteX287" fmla="*/ 3221860 w 4139119"/>
              <a:gd name="connsiteY287" fmla="*/ 3499138 h 4507735"/>
              <a:gd name="connsiteX288" fmla="*/ 3131528 w 4139119"/>
              <a:gd name="connsiteY288" fmla="*/ 3564590 h 4507735"/>
              <a:gd name="connsiteX289" fmla="*/ 3094306 w 4139119"/>
              <a:gd name="connsiteY289" fmla="*/ 3514133 h 4507735"/>
              <a:gd name="connsiteX290" fmla="*/ 3053278 w 4139119"/>
              <a:gd name="connsiteY290" fmla="*/ 3481851 h 4507735"/>
              <a:gd name="connsiteX291" fmla="*/ 3058695 w 4139119"/>
              <a:gd name="connsiteY291" fmla="*/ 3446209 h 4507735"/>
              <a:gd name="connsiteX292" fmla="*/ 3043269 w 4139119"/>
              <a:gd name="connsiteY292" fmla="*/ 3424069 h 4507735"/>
              <a:gd name="connsiteX293" fmla="*/ 3049305 w 4139119"/>
              <a:gd name="connsiteY293" fmla="*/ 3384354 h 4507735"/>
              <a:gd name="connsiteX294" fmla="*/ 3000544 w 4139119"/>
              <a:gd name="connsiteY294" fmla="*/ 3368608 h 4507735"/>
              <a:gd name="connsiteX295" fmla="*/ 3002631 w 4139119"/>
              <a:gd name="connsiteY295" fmla="*/ 3279325 h 4507735"/>
              <a:gd name="connsiteX296" fmla="*/ 2979592 w 4139119"/>
              <a:gd name="connsiteY296" fmla="*/ 3293536 h 4507735"/>
              <a:gd name="connsiteX297" fmla="*/ 2954208 w 4139119"/>
              <a:gd name="connsiteY297" fmla="*/ 3275092 h 4507735"/>
              <a:gd name="connsiteX298" fmla="*/ 2937853 w 4139119"/>
              <a:gd name="connsiteY298" fmla="*/ 3259062 h 4507735"/>
              <a:gd name="connsiteX299" fmla="*/ 2954208 w 4139119"/>
              <a:gd name="connsiteY299" fmla="*/ 3275092 h 4507735"/>
              <a:gd name="connsiteX300" fmla="*/ 2946687 w 4139119"/>
              <a:gd name="connsiteY300" fmla="*/ 3317707 h 4507735"/>
              <a:gd name="connsiteX301" fmla="*/ 2975407 w 4139119"/>
              <a:gd name="connsiteY301" fmla="*/ 3355411 h 4507735"/>
              <a:gd name="connsiteX302" fmla="*/ 2988937 w 4139119"/>
              <a:gd name="connsiteY302" fmla="*/ 3444984 h 4507735"/>
              <a:gd name="connsiteX303" fmla="*/ 3013426 w 4139119"/>
              <a:gd name="connsiteY303" fmla="*/ 3448706 h 4507735"/>
              <a:gd name="connsiteX304" fmla="*/ 3019050 w 4139119"/>
              <a:gd name="connsiteY304" fmla="*/ 3473523 h 4507735"/>
              <a:gd name="connsiteX305" fmla="*/ 2964717 w 4139119"/>
              <a:gd name="connsiteY305" fmla="*/ 3494438 h 4507735"/>
              <a:gd name="connsiteX306" fmla="*/ 2948116 w 4139119"/>
              <a:gd name="connsiteY306" fmla="*/ 3473161 h 4507735"/>
              <a:gd name="connsiteX307" fmla="*/ 2930053 w 4139119"/>
              <a:gd name="connsiteY307" fmla="*/ 3502713 h 4507735"/>
              <a:gd name="connsiteX308" fmla="*/ 2914432 w 4139119"/>
              <a:gd name="connsiteY308" fmla="*/ 3536805 h 4507735"/>
              <a:gd name="connsiteX309" fmla="*/ 2946276 w 4139119"/>
              <a:gd name="connsiteY309" fmla="*/ 3567691 h 4507735"/>
              <a:gd name="connsiteX310" fmla="*/ 2923421 w 4139119"/>
              <a:gd name="connsiteY310" fmla="*/ 3594431 h 4507735"/>
              <a:gd name="connsiteX311" fmla="*/ 2919551 w 4139119"/>
              <a:gd name="connsiteY311" fmla="*/ 3619890 h 4507735"/>
              <a:gd name="connsiteX312" fmla="*/ 2942046 w 4139119"/>
              <a:gd name="connsiteY312" fmla="*/ 3719160 h 4507735"/>
              <a:gd name="connsiteX313" fmla="*/ 2972280 w 4139119"/>
              <a:gd name="connsiteY313" fmla="*/ 3767513 h 4507735"/>
              <a:gd name="connsiteX314" fmla="*/ 2936778 w 4139119"/>
              <a:gd name="connsiteY314" fmla="*/ 3788164 h 4507735"/>
              <a:gd name="connsiteX315" fmla="*/ 2916841 w 4139119"/>
              <a:gd name="connsiteY315" fmla="*/ 3747627 h 4507735"/>
              <a:gd name="connsiteX316" fmla="*/ 2865758 w 4139119"/>
              <a:gd name="connsiteY316" fmla="*/ 3747156 h 4507735"/>
              <a:gd name="connsiteX317" fmla="*/ 2866957 w 4139119"/>
              <a:gd name="connsiteY317" fmla="*/ 3794222 h 4507735"/>
              <a:gd name="connsiteX318" fmla="*/ 2842037 w 4139119"/>
              <a:gd name="connsiteY318" fmla="*/ 3772723 h 4507735"/>
              <a:gd name="connsiteX319" fmla="*/ 2819927 w 4139119"/>
              <a:gd name="connsiteY319" fmla="*/ 3780823 h 4507735"/>
              <a:gd name="connsiteX320" fmla="*/ 2800971 w 4139119"/>
              <a:gd name="connsiteY320" fmla="*/ 3814538 h 4507735"/>
              <a:gd name="connsiteX321" fmla="*/ 2774245 w 4139119"/>
              <a:gd name="connsiteY321" fmla="*/ 3847852 h 4507735"/>
              <a:gd name="connsiteX322" fmla="*/ 2774342 w 4139119"/>
              <a:gd name="connsiteY322" fmla="*/ 3847216 h 4507735"/>
              <a:gd name="connsiteX323" fmla="*/ 2774245 w 4139119"/>
              <a:gd name="connsiteY323" fmla="*/ 3847852 h 4507735"/>
              <a:gd name="connsiteX324" fmla="*/ 2774245 w 4139119"/>
              <a:gd name="connsiteY324" fmla="*/ 3847852 h 4507735"/>
              <a:gd name="connsiteX325" fmla="*/ 2774090 w 4139119"/>
              <a:gd name="connsiteY325" fmla="*/ 3848871 h 4507735"/>
              <a:gd name="connsiteX326" fmla="*/ 2819257 w 4139119"/>
              <a:gd name="connsiteY326" fmla="*/ 3908870 h 4507735"/>
              <a:gd name="connsiteX327" fmla="*/ 2813995 w 4139119"/>
              <a:gd name="connsiteY327" fmla="*/ 3943494 h 4507735"/>
              <a:gd name="connsiteX328" fmla="*/ 2855510 w 4139119"/>
              <a:gd name="connsiteY328" fmla="*/ 4020650 h 4507735"/>
              <a:gd name="connsiteX329" fmla="*/ 2854977 w 4139119"/>
              <a:gd name="connsiteY329" fmla="*/ 4065369 h 4507735"/>
              <a:gd name="connsiteX330" fmla="*/ 2869199 w 4139119"/>
              <a:gd name="connsiteY330" fmla="*/ 4074824 h 4507735"/>
              <a:gd name="connsiteX331" fmla="*/ 2886191 w 4139119"/>
              <a:gd name="connsiteY331" fmla="*/ 4169090 h 4507735"/>
              <a:gd name="connsiteX332" fmla="*/ 2852203 w 4139119"/>
              <a:gd name="connsiteY332" fmla="*/ 4200390 h 4507735"/>
              <a:gd name="connsiteX333" fmla="*/ 2836307 w 4139119"/>
              <a:gd name="connsiteY333" fmla="*/ 4215685 h 4507735"/>
              <a:gd name="connsiteX334" fmla="*/ 2852203 w 4139119"/>
              <a:gd name="connsiteY334" fmla="*/ 4200390 h 4507735"/>
              <a:gd name="connsiteX335" fmla="*/ 2876538 w 4139119"/>
              <a:gd name="connsiteY335" fmla="*/ 4205130 h 4507735"/>
              <a:gd name="connsiteX336" fmla="*/ 2898556 w 4139119"/>
              <a:gd name="connsiteY336" fmla="*/ 4190765 h 4507735"/>
              <a:gd name="connsiteX337" fmla="*/ 2901394 w 4139119"/>
              <a:gd name="connsiteY337" fmla="*/ 4233913 h 4507735"/>
              <a:gd name="connsiteX338" fmla="*/ 2951078 w 4139119"/>
              <a:gd name="connsiteY338" fmla="*/ 4277929 h 4507735"/>
              <a:gd name="connsiteX339" fmla="*/ 2936684 w 4139119"/>
              <a:gd name="connsiteY339" fmla="*/ 4372634 h 4507735"/>
              <a:gd name="connsiteX340" fmla="*/ 2906749 w 4139119"/>
              <a:gd name="connsiteY340" fmla="*/ 4391006 h 4507735"/>
              <a:gd name="connsiteX341" fmla="*/ 2864948 w 4139119"/>
              <a:gd name="connsiteY341" fmla="*/ 4363815 h 4507735"/>
              <a:gd name="connsiteX342" fmla="*/ 2866931 w 4139119"/>
              <a:gd name="connsiteY342" fmla="*/ 4337028 h 4507735"/>
              <a:gd name="connsiteX343" fmla="*/ 2924290 w 4139119"/>
              <a:gd name="connsiteY343" fmla="*/ 4337411 h 4507735"/>
              <a:gd name="connsiteX344" fmla="*/ 2923740 w 4139119"/>
              <a:gd name="connsiteY344" fmla="*/ 4299821 h 4507735"/>
              <a:gd name="connsiteX345" fmla="*/ 2905958 w 4139119"/>
              <a:gd name="connsiteY345" fmla="*/ 4313788 h 4507735"/>
              <a:gd name="connsiteX346" fmla="*/ 2843496 w 4139119"/>
              <a:gd name="connsiteY346" fmla="*/ 4312629 h 4507735"/>
              <a:gd name="connsiteX347" fmla="*/ 2803523 w 4139119"/>
              <a:gd name="connsiteY347" fmla="*/ 4259670 h 4507735"/>
              <a:gd name="connsiteX348" fmla="*/ 2795148 w 4139119"/>
              <a:gd name="connsiteY348" fmla="*/ 4232351 h 4507735"/>
              <a:gd name="connsiteX349" fmla="*/ 2775193 w 4139119"/>
              <a:gd name="connsiteY349" fmla="*/ 4294955 h 4507735"/>
              <a:gd name="connsiteX350" fmla="*/ 2749340 w 4139119"/>
              <a:gd name="connsiteY350" fmla="*/ 4313947 h 4507735"/>
              <a:gd name="connsiteX351" fmla="*/ 2722689 w 4139119"/>
              <a:gd name="connsiteY351" fmla="*/ 4290101 h 4507735"/>
              <a:gd name="connsiteX352" fmla="*/ 2716137 w 4139119"/>
              <a:gd name="connsiteY352" fmla="*/ 4271394 h 4507735"/>
              <a:gd name="connsiteX353" fmla="*/ 2699094 w 4139119"/>
              <a:gd name="connsiteY353" fmla="*/ 4301101 h 4507735"/>
              <a:gd name="connsiteX354" fmla="*/ 2682860 w 4139119"/>
              <a:gd name="connsiteY354" fmla="*/ 4304885 h 4507735"/>
              <a:gd name="connsiteX355" fmla="*/ 2669692 w 4139119"/>
              <a:gd name="connsiteY355" fmla="*/ 4274753 h 4507735"/>
              <a:gd name="connsiteX356" fmla="*/ 2688340 w 4139119"/>
              <a:gd name="connsiteY356" fmla="*/ 4261959 h 4507735"/>
              <a:gd name="connsiteX357" fmla="*/ 2676840 w 4139119"/>
              <a:gd name="connsiteY357" fmla="*/ 4241458 h 4507735"/>
              <a:gd name="connsiteX358" fmla="*/ 2696015 w 4139119"/>
              <a:gd name="connsiteY358" fmla="*/ 4218326 h 4507735"/>
              <a:gd name="connsiteX359" fmla="*/ 2670540 w 4139119"/>
              <a:gd name="connsiteY359" fmla="*/ 4193617 h 4507735"/>
              <a:gd name="connsiteX360" fmla="*/ 2652506 w 4139119"/>
              <a:gd name="connsiteY360" fmla="*/ 4236718 h 4507735"/>
              <a:gd name="connsiteX361" fmla="*/ 2605224 w 4139119"/>
              <a:gd name="connsiteY361" fmla="*/ 4252453 h 4507735"/>
              <a:gd name="connsiteX362" fmla="*/ 2590755 w 4139119"/>
              <a:gd name="connsiteY362" fmla="*/ 4237751 h 4507735"/>
              <a:gd name="connsiteX363" fmla="*/ 2592355 w 4139119"/>
              <a:gd name="connsiteY363" fmla="*/ 4289046 h 4507735"/>
              <a:gd name="connsiteX364" fmla="*/ 2583476 w 4139119"/>
              <a:gd name="connsiteY364" fmla="*/ 4319994 h 4507735"/>
              <a:gd name="connsiteX365" fmla="*/ 2567086 w 4139119"/>
              <a:gd name="connsiteY365" fmla="*/ 4324796 h 4507735"/>
              <a:gd name="connsiteX366" fmla="*/ 2570617 w 4139119"/>
              <a:gd name="connsiteY366" fmla="*/ 4287826 h 4507735"/>
              <a:gd name="connsiteX367" fmla="*/ 2532244 w 4139119"/>
              <a:gd name="connsiteY367" fmla="*/ 4286161 h 4507735"/>
              <a:gd name="connsiteX368" fmla="*/ 2536475 w 4139119"/>
              <a:gd name="connsiteY368" fmla="*/ 4320144 h 4507735"/>
              <a:gd name="connsiteX369" fmla="*/ 2567086 w 4139119"/>
              <a:gd name="connsiteY369" fmla="*/ 4324796 h 4507735"/>
              <a:gd name="connsiteX370" fmla="*/ 2558729 w 4139119"/>
              <a:gd name="connsiteY370" fmla="*/ 4379786 h 4507735"/>
              <a:gd name="connsiteX371" fmla="*/ 2583144 w 4139119"/>
              <a:gd name="connsiteY371" fmla="*/ 4459553 h 4507735"/>
              <a:gd name="connsiteX372" fmla="*/ 2569873 w 4139119"/>
              <a:gd name="connsiteY372" fmla="*/ 4491917 h 4507735"/>
              <a:gd name="connsiteX373" fmla="*/ 2558098 w 4139119"/>
              <a:gd name="connsiteY373" fmla="*/ 4452621 h 4507735"/>
              <a:gd name="connsiteX374" fmla="*/ 2520344 w 4139119"/>
              <a:gd name="connsiteY374" fmla="*/ 4446883 h 4507735"/>
              <a:gd name="connsiteX375" fmla="*/ 2500131 w 4139119"/>
              <a:gd name="connsiteY375" fmla="*/ 4387550 h 4507735"/>
              <a:gd name="connsiteX376" fmla="*/ 2510191 w 4139119"/>
              <a:gd name="connsiteY376" fmla="*/ 4321358 h 4507735"/>
              <a:gd name="connsiteX377" fmla="*/ 2446348 w 4139119"/>
              <a:gd name="connsiteY377" fmla="*/ 4260604 h 4507735"/>
              <a:gd name="connsiteX378" fmla="*/ 2443539 w 4139119"/>
              <a:gd name="connsiteY378" fmla="*/ 4231005 h 4507735"/>
              <a:gd name="connsiteX379" fmla="*/ 2421016 w 4139119"/>
              <a:gd name="connsiteY379" fmla="*/ 4303637 h 4507735"/>
              <a:gd name="connsiteX380" fmla="*/ 2455922 w 4139119"/>
              <a:gd name="connsiteY380" fmla="*/ 4334989 h 4507735"/>
              <a:gd name="connsiteX381" fmla="*/ 2394280 w 4139119"/>
              <a:gd name="connsiteY381" fmla="*/ 4424598 h 4507735"/>
              <a:gd name="connsiteX382" fmla="*/ 2372422 w 4139119"/>
              <a:gd name="connsiteY382" fmla="*/ 4403564 h 4507735"/>
              <a:gd name="connsiteX383" fmla="*/ 2369527 w 4139119"/>
              <a:gd name="connsiteY383" fmla="*/ 4333319 h 4507735"/>
              <a:gd name="connsiteX384" fmla="*/ 2325765 w 4139119"/>
              <a:gd name="connsiteY384" fmla="*/ 4380845 h 4507735"/>
              <a:gd name="connsiteX385" fmla="*/ 2302296 w 4139119"/>
              <a:gd name="connsiteY385" fmla="*/ 4377278 h 4507735"/>
              <a:gd name="connsiteX386" fmla="*/ 2295715 w 4139119"/>
              <a:gd name="connsiteY386" fmla="*/ 4345022 h 4507735"/>
              <a:gd name="connsiteX387" fmla="*/ 2260225 w 4139119"/>
              <a:gd name="connsiteY387" fmla="*/ 4296911 h 4507735"/>
              <a:gd name="connsiteX388" fmla="*/ 2241577 w 4139119"/>
              <a:gd name="connsiteY388" fmla="*/ 4309705 h 4507735"/>
              <a:gd name="connsiteX389" fmla="*/ 2233202 w 4139119"/>
              <a:gd name="connsiteY389" fmla="*/ 4282386 h 4507735"/>
              <a:gd name="connsiteX390" fmla="*/ 2191584 w 4139119"/>
              <a:gd name="connsiteY390" fmla="*/ 4267725 h 4507735"/>
              <a:gd name="connsiteX391" fmla="*/ 2143586 w 4139119"/>
              <a:gd name="connsiteY391" fmla="*/ 4315649 h 4507735"/>
              <a:gd name="connsiteX392" fmla="*/ 2079302 w 4139119"/>
              <a:gd name="connsiteY392" fmla="*/ 4305879 h 4507735"/>
              <a:gd name="connsiteX393" fmla="*/ 2075346 w 4139119"/>
              <a:gd name="connsiteY393" fmla="*/ 4290691 h 4507735"/>
              <a:gd name="connsiteX394" fmla="*/ 2031223 w 4139119"/>
              <a:gd name="connsiteY394" fmla="*/ 4278776 h 4507735"/>
              <a:gd name="connsiteX395" fmla="*/ 2011468 w 4139119"/>
              <a:gd name="connsiteY395" fmla="*/ 4250769 h 4507735"/>
              <a:gd name="connsiteX396" fmla="*/ 2039403 w 4139119"/>
              <a:gd name="connsiteY396" fmla="*/ 4176875 h 4507735"/>
              <a:gd name="connsiteX397" fmla="*/ 2026138 w 4139119"/>
              <a:gd name="connsiteY397" fmla="*/ 4174859 h 4507735"/>
              <a:gd name="connsiteX398" fmla="*/ 2001832 w 4139119"/>
              <a:gd name="connsiteY398" fmla="*/ 4183667 h 4507735"/>
              <a:gd name="connsiteX399" fmla="*/ 1984267 w 4139119"/>
              <a:gd name="connsiteY399" fmla="*/ 4189333 h 4507735"/>
              <a:gd name="connsiteX400" fmla="*/ 1978386 w 4139119"/>
              <a:gd name="connsiteY400" fmla="*/ 4228030 h 4507735"/>
              <a:gd name="connsiteX401" fmla="*/ 1946382 w 4139119"/>
              <a:gd name="connsiteY401" fmla="*/ 4232542 h 4507735"/>
              <a:gd name="connsiteX402" fmla="*/ 1873980 w 4139119"/>
              <a:gd name="connsiteY402" fmla="*/ 4317389 h 4507735"/>
              <a:gd name="connsiteX403" fmla="*/ 1924312 w 4139119"/>
              <a:gd name="connsiteY403" fmla="*/ 4370881 h 4507735"/>
              <a:gd name="connsiteX404" fmla="*/ 2013671 w 4139119"/>
              <a:gd name="connsiteY404" fmla="*/ 4401132 h 4507735"/>
              <a:gd name="connsiteX405" fmla="*/ 1957888 w 4139119"/>
              <a:gd name="connsiteY405" fmla="*/ 4404114 h 4507735"/>
              <a:gd name="connsiteX406" fmla="*/ 1901795 w 4139119"/>
              <a:gd name="connsiteY406" fmla="*/ 4409133 h 4507735"/>
              <a:gd name="connsiteX407" fmla="*/ 1838767 w 4139119"/>
              <a:gd name="connsiteY407" fmla="*/ 4473526 h 4507735"/>
              <a:gd name="connsiteX408" fmla="*/ 1819970 w 4139119"/>
              <a:gd name="connsiteY408" fmla="*/ 4452957 h 4507735"/>
              <a:gd name="connsiteX409" fmla="*/ 1823054 w 4139119"/>
              <a:gd name="connsiteY409" fmla="*/ 4501352 h 4507735"/>
              <a:gd name="connsiteX410" fmla="*/ 1797326 w 4139119"/>
              <a:gd name="connsiteY410" fmla="*/ 4505777 h 4507735"/>
              <a:gd name="connsiteX411" fmla="*/ 1779859 w 4139119"/>
              <a:gd name="connsiteY411" fmla="*/ 4483327 h 4507735"/>
              <a:gd name="connsiteX412" fmla="*/ 1756820 w 4139119"/>
              <a:gd name="connsiteY412" fmla="*/ 4497537 h 4507735"/>
              <a:gd name="connsiteX413" fmla="*/ 1723148 w 4139119"/>
              <a:gd name="connsiteY413" fmla="*/ 4492419 h 4507735"/>
              <a:gd name="connsiteX414" fmla="*/ 1693677 w 4139119"/>
              <a:gd name="connsiteY414" fmla="*/ 4507735 h 4507735"/>
              <a:gd name="connsiteX415" fmla="*/ 1662520 w 4139119"/>
              <a:gd name="connsiteY415" fmla="*/ 4431111 h 4507735"/>
              <a:gd name="connsiteX416" fmla="*/ 1717994 w 4139119"/>
              <a:gd name="connsiteY416" fmla="*/ 4430166 h 4507735"/>
              <a:gd name="connsiteX417" fmla="*/ 1708443 w 4139119"/>
              <a:gd name="connsiteY417" fmla="*/ 4403709 h 4507735"/>
              <a:gd name="connsiteX418" fmla="*/ 1744128 w 4139119"/>
              <a:gd name="connsiteY418" fmla="*/ 4395589 h 4507735"/>
              <a:gd name="connsiteX419" fmla="*/ 1740264 w 4139119"/>
              <a:gd name="connsiteY419" fmla="*/ 4386667 h 4507735"/>
              <a:gd name="connsiteX420" fmla="*/ 1698428 w 4139119"/>
              <a:gd name="connsiteY420" fmla="*/ 4380308 h 4507735"/>
              <a:gd name="connsiteX421" fmla="*/ 1662520 w 4139119"/>
              <a:gd name="connsiteY421" fmla="*/ 4431111 h 4507735"/>
              <a:gd name="connsiteX422" fmla="*/ 1594344 w 4139119"/>
              <a:gd name="connsiteY422" fmla="*/ 4398871 h 4507735"/>
              <a:gd name="connsiteX423" fmla="*/ 1582689 w 4139119"/>
              <a:gd name="connsiteY423" fmla="*/ 4379388 h 4507735"/>
              <a:gd name="connsiteX424" fmla="*/ 1556589 w 4139119"/>
              <a:gd name="connsiteY424" fmla="*/ 4393132 h 4507735"/>
              <a:gd name="connsiteX425" fmla="*/ 1489186 w 4139119"/>
              <a:gd name="connsiteY425" fmla="*/ 4355800 h 4507735"/>
              <a:gd name="connsiteX426" fmla="*/ 1465660 w 4139119"/>
              <a:gd name="connsiteY426" fmla="*/ 4325136 h 4507735"/>
              <a:gd name="connsiteX427" fmla="*/ 1403416 w 4139119"/>
              <a:gd name="connsiteY427" fmla="*/ 4315676 h 4507735"/>
              <a:gd name="connsiteX428" fmla="*/ 1392806 w 4139119"/>
              <a:gd name="connsiteY428" fmla="*/ 4344277 h 4507735"/>
              <a:gd name="connsiteX429" fmla="*/ 1370449 w 4139119"/>
              <a:gd name="connsiteY429" fmla="*/ 4347130 h 4507735"/>
              <a:gd name="connsiteX430" fmla="*/ 1362039 w 4139119"/>
              <a:gd name="connsiteY430" fmla="*/ 4340643 h 4507735"/>
              <a:gd name="connsiteX431" fmla="*/ 1217883 w 4139119"/>
              <a:gd name="connsiteY431" fmla="*/ 4148910 h 4507735"/>
              <a:gd name="connsiteX432" fmla="*/ 1219803 w 4139119"/>
              <a:gd name="connsiteY432" fmla="*/ 4129406 h 4507735"/>
              <a:gd name="connsiteX433" fmla="*/ 1137105 w 4139119"/>
              <a:gd name="connsiteY433" fmla="*/ 4020986 h 4507735"/>
              <a:gd name="connsiteX434" fmla="*/ 1069066 w 4139119"/>
              <a:gd name="connsiteY434" fmla="*/ 3905417 h 4507735"/>
              <a:gd name="connsiteX435" fmla="*/ 1037038 w 4139119"/>
              <a:gd name="connsiteY435" fmla="*/ 3862000 h 4507735"/>
              <a:gd name="connsiteX436" fmla="*/ 1023067 w 4139119"/>
              <a:gd name="connsiteY436" fmla="*/ 3823412 h 4507735"/>
              <a:gd name="connsiteX437" fmla="*/ 927076 w 4139119"/>
              <a:gd name="connsiteY437" fmla="*/ 3699427 h 4507735"/>
              <a:gd name="connsiteX438" fmla="*/ 930171 w 4139119"/>
              <a:gd name="connsiteY438" fmla="*/ 3679060 h 4507735"/>
              <a:gd name="connsiteX439" fmla="*/ 860956 w 4139119"/>
              <a:gd name="connsiteY439" fmla="*/ 3564355 h 4507735"/>
              <a:gd name="connsiteX440" fmla="*/ 850724 w 4139119"/>
              <a:gd name="connsiteY440" fmla="*/ 3549255 h 4507735"/>
              <a:gd name="connsiteX441" fmla="*/ 822342 w 4139119"/>
              <a:gd name="connsiteY441" fmla="*/ 3523063 h 4507735"/>
              <a:gd name="connsiteX442" fmla="*/ 808309 w 4139119"/>
              <a:gd name="connsiteY442" fmla="*/ 3491757 h 4507735"/>
              <a:gd name="connsiteX443" fmla="*/ 803705 w 4139119"/>
              <a:gd name="connsiteY443" fmla="*/ 3467095 h 4507735"/>
              <a:gd name="connsiteX444" fmla="*/ 770967 w 4139119"/>
              <a:gd name="connsiteY444" fmla="*/ 3421487 h 4507735"/>
              <a:gd name="connsiteX445" fmla="*/ 747721 w 4139119"/>
              <a:gd name="connsiteY445" fmla="*/ 3375237 h 4507735"/>
              <a:gd name="connsiteX446" fmla="*/ 719219 w 4139119"/>
              <a:gd name="connsiteY446" fmla="*/ 3329231 h 4507735"/>
              <a:gd name="connsiteX447" fmla="*/ 722160 w 4139119"/>
              <a:gd name="connsiteY447" fmla="*/ 3309883 h 4507735"/>
              <a:gd name="connsiteX448" fmla="*/ 690189 w 4139119"/>
              <a:gd name="connsiteY448" fmla="*/ 3293563 h 4507735"/>
              <a:gd name="connsiteX449" fmla="*/ 688802 w 4139119"/>
              <a:gd name="connsiteY449" fmla="*/ 3268348 h 4507735"/>
              <a:gd name="connsiteX450" fmla="*/ 624214 w 4139119"/>
              <a:gd name="connsiteY450" fmla="*/ 3226233 h 4507735"/>
              <a:gd name="connsiteX451" fmla="*/ 624185 w 4139119"/>
              <a:gd name="connsiteY451" fmla="*/ 3212685 h 4507735"/>
              <a:gd name="connsiteX452" fmla="*/ 531255 w 4139119"/>
              <a:gd name="connsiteY452" fmla="*/ 3089165 h 4507735"/>
              <a:gd name="connsiteX453" fmla="*/ 520030 w 4139119"/>
              <a:gd name="connsiteY453" fmla="*/ 3087459 h 4507735"/>
              <a:gd name="connsiteX454" fmla="*/ 487974 w 4139119"/>
              <a:gd name="connsiteY454" fmla="*/ 3030494 h 4507735"/>
              <a:gd name="connsiteX455" fmla="*/ 476744 w 4139119"/>
              <a:gd name="connsiteY455" fmla="*/ 3063169 h 4507735"/>
              <a:gd name="connsiteX456" fmla="*/ 406062 w 4139119"/>
              <a:gd name="connsiteY456" fmla="*/ 3033673 h 4507735"/>
              <a:gd name="connsiteX457" fmla="*/ 402107 w 4139119"/>
              <a:gd name="connsiteY457" fmla="*/ 3018485 h 4507735"/>
              <a:gd name="connsiteX458" fmla="*/ 387695 w 4139119"/>
              <a:gd name="connsiteY458" fmla="*/ 3030882 h 4507735"/>
              <a:gd name="connsiteX459" fmla="*/ 360145 w 4139119"/>
              <a:gd name="connsiteY459" fmla="*/ 3026694 h 4507735"/>
              <a:gd name="connsiteX460" fmla="*/ 334921 w 4139119"/>
              <a:gd name="connsiteY460" fmla="*/ 2972851 h 4507735"/>
              <a:gd name="connsiteX461" fmla="*/ 308213 w 4139119"/>
              <a:gd name="connsiteY461" fmla="*/ 2921908 h 4507735"/>
              <a:gd name="connsiteX462" fmla="*/ 330140 w 4139119"/>
              <a:gd name="connsiteY462" fmla="*/ 2901278 h 4507735"/>
              <a:gd name="connsiteX463" fmla="*/ 312151 w 4139119"/>
              <a:gd name="connsiteY463" fmla="*/ 2854786 h 4507735"/>
              <a:gd name="connsiteX464" fmla="*/ 289703 w 4139119"/>
              <a:gd name="connsiteY464" fmla="*/ 2851374 h 4507735"/>
              <a:gd name="connsiteX465" fmla="*/ 282342 w 4139119"/>
              <a:gd name="connsiteY465" fmla="*/ 2858590 h 4507735"/>
              <a:gd name="connsiteX466" fmla="*/ 269095 w 4139119"/>
              <a:gd name="connsiteY466" fmla="*/ 2938883 h 4507735"/>
              <a:gd name="connsiteX467" fmla="*/ 227023 w 4139119"/>
              <a:gd name="connsiteY467" fmla="*/ 2858517 h 4507735"/>
              <a:gd name="connsiteX468" fmla="*/ 213580 w 4139119"/>
              <a:gd name="connsiteY468" fmla="*/ 2809591 h 4507735"/>
              <a:gd name="connsiteX469" fmla="*/ 199920 w 4139119"/>
              <a:gd name="connsiteY469" fmla="*/ 2768965 h 4507735"/>
              <a:gd name="connsiteX470" fmla="*/ 177052 w 4139119"/>
              <a:gd name="connsiteY470" fmla="*/ 2679015 h 4507735"/>
              <a:gd name="connsiteX471" fmla="*/ 169015 w 4139119"/>
              <a:gd name="connsiteY471" fmla="*/ 2663208 h 4507735"/>
              <a:gd name="connsiteX472" fmla="*/ 160359 w 4139119"/>
              <a:gd name="connsiteY472" fmla="*/ 2651473 h 4507735"/>
              <a:gd name="connsiteX473" fmla="*/ 195304 w 4139119"/>
              <a:gd name="connsiteY473" fmla="*/ 2627613 h 4507735"/>
              <a:gd name="connsiteX474" fmla="*/ 219977 w 4139119"/>
              <a:gd name="connsiteY474" fmla="*/ 2643864 h 4507735"/>
              <a:gd name="connsiteX475" fmla="*/ 234199 w 4139119"/>
              <a:gd name="connsiteY475" fmla="*/ 2653319 h 4507735"/>
              <a:gd name="connsiteX476" fmla="*/ 240975 w 4139119"/>
              <a:gd name="connsiteY476" fmla="*/ 2629344 h 4507735"/>
              <a:gd name="connsiteX477" fmla="*/ 173756 w 4139119"/>
              <a:gd name="connsiteY477" fmla="*/ 2604542 h 4507735"/>
              <a:gd name="connsiteX478" fmla="*/ 200692 w 4139119"/>
              <a:gd name="connsiteY478" fmla="*/ 2578422 h 4507735"/>
              <a:gd name="connsiteX479" fmla="*/ 229171 w 4139119"/>
              <a:gd name="connsiteY479" fmla="*/ 2576499 h 4507735"/>
              <a:gd name="connsiteX480" fmla="*/ 235981 w 4139119"/>
              <a:gd name="connsiteY480" fmla="*/ 2531692 h 4507735"/>
              <a:gd name="connsiteX481" fmla="*/ 198789 w 4139119"/>
              <a:gd name="connsiteY481" fmla="*/ 2494784 h 4507735"/>
              <a:gd name="connsiteX482" fmla="*/ 249722 w 4139119"/>
              <a:gd name="connsiteY482" fmla="*/ 2461892 h 4507735"/>
              <a:gd name="connsiteX483" fmla="*/ 304611 w 4139119"/>
              <a:gd name="connsiteY483" fmla="*/ 2444188 h 4507735"/>
              <a:gd name="connsiteX484" fmla="*/ 334202 w 4139119"/>
              <a:gd name="connsiteY484" fmla="*/ 2448685 h 4507735"/>
              <a:gd name="connsiteX485" fmla="*/ 356375 w 4139119"/>
              <a:gd name="connsiteY485" fmla="*/ 2433302 h 4507735"/>
              <a:gd name="connsiteX486" fmla="*/ 392088 w 4139119"/>
              <a:gd name="connsiteY486" fmla="*/ 2438730 h 4507735"/>
              <a:gd name="connsiteX487" fmla="*/ 409710 w 4139119"/>
              <a:gd name="connsiteY487" fmla="*/ 2460161 h 4507735"/>
              <a:gd name="connsiteX488" fmla="*/ 438281 w 4139119"/>
              <a:gd name="connsiteY488" fmla="*/ 2464504 h 4507735"/>
              <a:gd name="connsiteX489" fmla="*/ 446135 w 4139119"/>
              <a:gd name="connsiteY489" fmla="*/ 2467781 h 4507735"/>
              <a:gd name="connsiteX490" fmla="*/ 499465 w 4139119"/>
              <a:gd name="connsiteY490" fmla="*/ 2529021 h 4507735"/>
              <a:gd name="connsiteX491" fmla="*/ 562104 w 4139119"/>
              <a:gd name="connsiteY491" fmla="*/ 2577091 h 4507735"/>
              <a:gd name="connsiteX492" fmla="*/ 575312 w 4139119"/>
              <a:gd name="connsiteY492" fmla="*/ 2552010 h 4507735"/>
              <a:gd name="connsiteX493" fmla="*/ 544459 w 4139119"/>
              <a:gd name="connsiteY493" fmla="*/ 2507729 h 4507735"/>
              <a:gd name="connsiteX494" fmla="*/ 528448 w 4139119"/>
              <a:gd name="connsiteY494" fmla="*/ 2468831 h 4507735"/>
              <a:gd name="connsiteX495" fmla="*/ 510459 w 4139119"/>
              <a:gd name="connsiteY495" fmla="*/ 2422339 h 4507735"/>
              <a:gd name="connsiteX496" fmla="*/ 484858 w 4139119"/>
              <a:gd name="connsiteY496" fmla="*/ 2412197 h 4507735"/>
              <a:gd name="connsiteX497" fmla="*/ 485855 w 4139119"/>
              <a:gd name="connsiteY497" fmla="*/ 2364422 h 4507735"/>
              <a:gd name="connsiteX498" fmla="*/ 459233 w 4139119"/>
              <a:gd name="connsiteY498" fmla="*/ 2354125 h 4507735"/>
              <a:gd name="connsiteX499" fmla="*/ 453208 w 4139119"/>
              <a:gd name="connsiteY499" fmla="*/ 2325079 h 4507735"/>
              <a:gd name="connsiteX500" fmla="*/ 425663 w 4139119"/>
              <a:gd name="connsiteY500" fmla="*/ 2286511 h 4507735"/>
              <a:gd name="connsiteX501" fmla="*/ 436497 w 4139119"/>
              <a:gd name="connsiteY501" fmla="*/ 2215227 h 4507735"/>
              <a:gd name="connsiteX502" fmla="*/ 420050 w 4139119"/>
              <a:gd name="connsiteY502" fmla="*/ 2192932 h 4507735"/>
              <a:gd name="connsiteX503" fmla="*/ 425468 w 4139119"/>
              <a:gd name="connsiteY503" fmla="*/ 2157290 h 4507735"/>
              <a:gd name="connsiteX504" fmla="*/ 446775 w 4139119"/>
              <a:gd name="connsiteY504" fmla="*/ 2140734 h 4507735"/>
              <a:gd name="connsiteX505" fmla="*/ 405157 w 4139119"/>
              <a:gd name="connsiteY505" fmla="*/ 2126073 h 4507735"/>
              <a:gd name="connsiteX506" fmla="*/ 374740 w 4139119"/>
              <a:gd name="connsiteY506" fmla="*/ 2065190 h 4507735"/>
              <a:gd name="connsiteX507" fmla="*/ 320974 w 4139119"/>
              <a:gd name="connsiteY507" fmla="*/ 2020553 h 4507735"/>
              <a:gd name="connsiteX508" fmla="*/ 282142 w 4139119"/>
              <a:gd name="connsiteY508" fmla="*/ 1987563 h 4507735"/>
              <a:gd name="connsiteX509" fmla="*/ 290500 w 4139119"/>
              <a:gd name="connsiteY509" fmla="*/ 1932573 h 4507735"/>
              <a:gd name="connsiteX510" fmla="*/ 267839 w 4139119"/>
              <a:gd name="connsiteY510" fmla="*/ 1903082 h 4507735"/>
              <a:gd name="connsiteX511" fmla="*/ 221366 w 4139119"/>
              <a:gd name="connsiteY511" fmla="*/ 1892893 h 4507735"/>
              <a:gd name="connsiteX512" fmla="*/ 267449 w 4139119"/>
              <a:gd name="connsiteY512" fmla="*/ 1830093 h 4507735"/>
              <a:gd name="connsiteX513" fmla="*/ 201743 w 4139119"/>
              <a:gd name="connsiteY513" fmla="*/ 1815939 h 4507735"/>
              <a:gd name="connsiteX514" fmla="*/ 181496 w 4139119"/>
              <a:gd name="connsiteY514" fmla="*/ 1777438 h 4507735"/>
              <a:gd name="connsiteX515" fmla="*/ 210066 w 4139119"/>
              <a:gd name="connsiteY515" fmla="*/ 1781780 h 4507735"/>
              <a:gd name="connsiteX516" fmla="*/ 231660 w 4139119"/>
              <a:gd name="connsiteY516" fmla="*/ 1715257 h 4507735"/>
              <a:gd name="connsiteX517" fmla="*/ 198916 w 4139119"/>
              <a:gd name="connsiteY517" fmla="*/ 1704030 h 4507735"/>
              <a:gd name="connsiteX518" fmla="*/ 192645 w 4139119"/>
              <a:gd name="connsiteY518" fmla="*/ 1669737 h 4507735"/>
              <a:gd name="connsiteX519" fmla="*/ 151273 w 4139119"/>
              <a:gd name="connsiteY519" fmla="*/ 1660324 h 4507735"/>
              <a:gd name="connsiteX520" fmla="*/ 128612 w 4139119"/>
              <a:gd name="connsiteY520" fmla="*/ 1630833 h 4507735"/>
              <a:gd name="connsiteX521" fmla="*/ 143586 w 4139119"/>
              <a:gd name="connsiteY521" fmla="*/ 1587267 h 4507735"/>
              <a:gd name="connsiteX522" fmla="*/ 159631 w 4139119"/>
              <a:gd name="connsiteY522" fmla="*/ 1605333 h 4507735"/>
              <a:gd name="connsiteX523" fmla="*/ 150178 w 4139119"/>
              <a:gd name="connsiteY523" fmla="*/ 1550762 h 4507735"/>
              <a:gd name="connsiteX524" fmla="*/ 135055 w 4139119"/>
              <a:gd name="connsiteY524" fmla="*/ 1560965 h 4507735"/>
              <a:gd name="connsiteX525" fmla="*/ 74789 w 4139119"/>
              <a:gd name="connsiteY525" fmla="*/ 1559099 h 4507735"/>
              <a:gd name="connsiteX526" fmla="*/ 70008 w 4139119"/>
              <a:gd name="connsiteY526" fmla="*/ 1487526 h 4507735"/>
              <a:gd name="connsiteX527" fmla="*/ 32529 w 4139119"/>
              <a:gd name="connsiteY527" fmla="*/ 1500583 h 4507735"/>
              <a:gd name="connsiteX528" fmla="*/ 23414 w 4139119"/>
              <a:gd name="connsiteY528" fmla="*/ 1457523 h 4507735"/>
              <a:gd name="connsiteX529" fmla="*/ 53006 w 4139119"/>
              <a:gd name="connsiteY529" fmla="*/ 1462021 h 4507735"/>
              <a:gd name="connsiteX530" fmla="*/ 62533 w 4139119"/>
              <a:gd name="connsiteY530" fmla="*/ 1440548 h 4507735"/>
              <a:gd name="connsiteX531" fmla="*/ 25655 w 4139119"/>
              <a:gd name="connsiteY531" fmla="*/ 1367222 h 4507735"/>
              <a:gd name="connsiteX532" fmla="*/ 5122 w 4139119"/>
              <a:gd name="connsiteY532" fmla="*/ 1378687 h 4507735"/>
              <a:gd name="connsiteX533" fmla="*/ 3923 w 4139119"/>
              <a:gd name="connsiteY533" fmla="*/ 1331621 h 4507735"/>
              <a:gd name="connsiteX534" fmla="*/ 38278 w 4139119"/>
              <a:gd name="connsiteY534" fmla="*/ 1325382 h 4507735"/>
              <a:gd name="connsiteX535" fmla="*/ 51491 w 4139119"/>
              <a:gd name="connsiteY535" fmla="*/ 1265921 h 4507735"/>
              <a:gd name="connsiteX536" fmla="*/ 21905 w 4139119"/>
              <a:gd name="connsiteY536" fmla="*/ 1227043 h 4507735"/>
              <a:gd name="connsiteX537" fmla="*/ 26055 w 4139119"/>
              <a:gd name="connsiteY537" fmla="*/ 1185999 h 4507735"/>
              <a:gd name="connsiteX538" fmla="*/ 61649 w 4139119"/>
              <a:gd name="connsiteY538" fmla="*/ 1171613 h 4507735"/>
              <a:gd name="connsiteX539" fmla="*/ 75808 w 4139119"/>
              <a:gd name="connsiteY539" fmla="*/ 1188351 h 4507735"/>
              <a:gd name="connsiteX540" fmla="*/ 142821 w 4139119"/>
              <a:gd name="connsiteY540" fmla="*/ 1152694 h 4507735"/>
              <a:gd name="connsiteX541" fmla="*/ 152812 w 4139119"/>
              <a:gd name="connsiteY541" fmla="*/ 1128166 h 4507735"/>
              <a:gd name="connsiteX542" fmla="*/ 195073 w 4139119"/>
              <a:gd name="connsiteY542" fmla="*/ 1186682 h 4507735"/>
              <a:gd name="connsiteX543" fmla="*/ 232827 w 4139119"/>
              <a:gd name="connsiteY543" fmla="*/ 1192420 h 4507735"/>
              <a:gd name="connsiteX544" fmla="*/ 238789 w 4139119"/>
              <a:gd name="connsiteY544" fmla="*/ 1228750 h 4507735"/>
              <a:gd name="connsiteX545" fmla="*/ 266190 w 4139119"/>
              <a:gd name="connsiteY545" fmla="*/ 1199575 h 4507735"/>
              <a:gd name="connsiteX546" fmla="*/ 232827 w 4139119"/>
              <a:gd name="connsiteY546" fmla="*/ 1192420 h 4507735"/>
              <a:gd name="connsiteX547" fmla="*/ 205253 w 4139119"/>
              <a:gd name="connsiteY547" fmla="*/ 1140304 h 4507735"/>
              <a:gd name="connsiteX548" fmla="*/ 279438 w 4139119"/>
              <a:gd name="connsiteY548" fmla="*/ 1119281 h 4507735"/>
              <a:gd name="connsiteX549" fmla="*/ 284110 w 4139119"/>
              <a:gd name="connsiteY549" fmla="*/ 1102279 h 4507735"/>
              <a:gd name="connsiteX550" fmla="*/ 258548 w 4139119"/>
              <a:gd name="connsiteY550" fmla="*/ 1036924 h 4507735"/>
              <a:gd name="connsiteX551" fmla="*/ 314027 w 4139119"/>
              <a:gd name="connsiteY551" fmla="*/ 1001598 h 4507735"/>
              <a:gd name="connsiteX552" fmla="*/ 364026 w 4139119"/>
              <a:gd name="connsiteY552" fmla="*/ 1009197 h 4507735"/>
              <a:gd name="connsiteX553" fmla="*/ 370452 w 4139119"/>
              <a:gd name="connsiteY553" fmla="*/ 1042472 h 4507735"/>
              <a:gd name="connsiteX554" fmla="*/ 397074 w 4139119"/>
              <a:gd name="connsiteY554" fmla="*/ 1052769 h 4507735"/>
              <a:gd name="connsiteX555" fmla="*/ 413830 w 4139119"/>
              <a:gd name="connsiteY555" fmla="*/ 1073027 h 4507735"/>
              <a:gd name="connsiteX556" fmla="*/ 428368 w 4139119"/>
              <a:gd name="connsiteY556" fmla="*/ 1046065 h 4507735"/>
              <a:gd name="connsiteX557" fmla="*/ 390309 w 4139119"/>
              <a:gd name="connsiteY557" fmla="*/ 1007983 h 4507735"/>
              <a:gd name="connsiteX558" fmla="*/ 414122 w 4139119"/>
              <a:gd name="connsiteY558" fmla="*/ 988681 h 4507735"/>
              <a:gd name="connsiteX559" fmla="*/ 417218 w 4139119"/>
              <a:gd name="connsiteY559" fmla="*/ 968314 h 4507735"/>
              <a:gd name="connsiteX560" fmla="*/ 392080 w 4139119"/>
              <a:gd name="connsiteY560" fmla="*/ 955117 h 4507735"/>
              <a:gd name="connsiteX561" fmla="*/ 352062 w 4139119"/>
              <a:gd name="connsiteY561" fmla="*/ 991751 h 4507735"/>
              <a:gd name="connsiteX562" fmla="*/ 344271 w 4139119"/>
              <a:gd name="connsiteY562" fmla="*/ 981190 h 4507735"/>
              <a:gd name="connsiteX563" fmla="*/ 352480 w 4139119"/>
              <a:gd name="connsiteY563" fmla="*/ 892838 h 4507735"/>
              <a:gd name="connsiteX564" fmla="*/ 374871 w 4139119"/>
              <a:gd name="connsiteY564" fmla="*/ 869152 h 4507735"/>
              <a:gd name="connsiteX565" fmla="*/ 372314 w 4139119"/>
              <a:gd name="connsiteY565" fmla="*/ 810419 h 4507735"/>
              <a:gd name="connsiteX566" fmla="*/ 383785 w 4139119"/>
              <a:gd name="connsiteY566" fmla="*/ 817372 h 4507735"/>
              <a:gd name="connsiteX567" fmla="*/ 420519 w 4139119"/>
              <a:gd name="connsiteY567" fmla="*/ 822955 h 4507735"/>
              <a:gd name="connsiteX568" fmla="*/ 407534 w 4139119"/>
              <a:gd name="connsiteY568" fmla="*/ 805354 h 4507735"/>
              <a:gd name="connsiteX569" fmla="*/ 427575 w 4139119"/>
              <a:gd name="connsiteY569" fmla="*/ 783395 h 4507735"/>
              <a:gd name="connsiteX570" fmla="*/ 414379 w 4139119"/>
              <a:gd name="connsiteY570" fmla="*/ 739715 h 4507735"/>
              <a:gd name="connsiteX571" fmla="*/ 451307 w 4139119"/>
              <a:gd name="connsiteY571" fmla="*/ 689067 h 4507735"/>
              <a:gd name="connsiteX572" fmla="*/ 477430 w 4139119"/>
              <a:gd name="connsiteY572" fmla="*/ 723251 h 4507735"/>
              <a:gd name="connsiteX573" fmla="*/ 446997 w 4139119"/>
              <a:gd name="connsiteY573" fmla="*/ 765510 h 4507735"/>
              <a:gd name="connsiteX574" fmla="*/ 487216 w 4139119"/>
              <a:gd name="connsiteY574" fmla="*/ 823715 h 4507735"/>
              <a:gd name="connsiteX575" fmla="*/ 507624 w 4139119"/>
              <a:gd name="connsiteY575" fmla="*/ 826817 h 4507735"/>
              <a:gd name="connsiteX576" fmla="*/ 513093 w 4139119"/>
              <a:gd name="connsiteY576" fmla="*/ 852653 h 4507735"/>
              <a:gd name="connsiteX577" fmla="*/ 482384 w 4139119"/>
              <a:gd name="connsiteY577" fmla="*/ 876116 h 4507735"/>
              <a:gd name="connsiteX578" fmla="*/ 440950 w 4139119"/>
              <a:gd name="connsiteY578" fmla="*/ 873986 h 4507735"/>
              <a:gd name="connsiteX579" fmla="*/ 406004 w 4139119"/>
              <a:gd name="connsiteY579" fmla="*/ 897847 h 4507735"/>
              <a:gd name="connsiteX580" fmla="*/ 460578 w 4139119"/>
              <a:gd name="connsiteY580" fmla="*/ 916560 h 4507735"/>
              <a:gd name="connsiteX581" fmla="*/ 461656 w 4139119"/>
              <a:gd name="connsiteY581" fmla="*/ 943812 h 4507735"/>
              <a:gd name="connsiteX582" fmla="*/ 484907 w 4139119"/>
              <a:gd name="connsiteY582" fmla="*/ 955681 h 4507735"/>
              <a:gd name="connsiteX583" fmla="*/ 509155 w 4139119"/>
              <a:gd name="connsiteY583" fmla="*/ 919775 h 4507735"/>
              <a:gd name="connsiteX584" fmla="*/ 527522 w 4139119"/>
              <a:gd name="connsiteY584" fmla="*/ 922567 h 4507735"/>
              <a:gd name="connsiteX585" fmla="*/ 532928 w 4139119"/>
              <a:gd name="connsiteY585" fmla="*/ 955686 h 4507735"/>
              <a:gd name="connsiteX586" fmla="*/ 547890 w 4139119"/>
              <a:gd name="connsiteY586" fmla="*/ 980881 h 4507735"/>
              <a:gd name="connsiteX587" fmla="*/ 551691 w 4139119"/>
              <a:gd name="connsiteY587" fmla="*/ 997087 h 4507735"/>
              <a:gd name="connsiteX588" fmla="*/ 563901 w 4139119"/>
              <a:gd name="connsiteY588" fmla="*/ 1019780 h 4507735"/>
              <a:gd name="connsiteX589" fmla="*/ 548005 w 4139119"/>
              <a:gd name="connsiteY589" fmla="*/ 1035076 h 4507735"/>
              <a:gd name="connsiteX590" fmla="*/ 563901 w 4139119"/>
              <a:gd name="connsiteY590" fmla="*/ 1019780 h 4507735"/>
              <a:gd name="connsiteX591" fmla="*/ 569869 w 4139119"/>
              <a:gd name="connsiteY591" fmla="*/ 1021729 h 4507735"/>
              <a:gd name="connsiteX592" fmla="*/ 576920 w 4139119"/>
              <a:gd name="connsiteY592" fmla="*/ 1016549 h 4507735"/>
              <a:gd name="connsiteX593" fmla="*/ 609182 w 4139119"/>
              <a:gd name="connsiteY593" fmla="*/ 948522 h 4507735"/>
              <a:gd name="connsiteX594" fmla="*/ 613825 w 4139119"/>
              <a:gd name="connsiteY594" fmla="*/ 917972 h 4507735"/>
              <a:gd name="connsiteX595" fmla="*/ 561579 w 4139119"/>
              <a:gd name="connsiteY595" fmla="*/ 849603 h 4507735"/>
              <a:gd name="connsiteX596" fmla="*/ 630850 w 4139119"/>
              <a:gd name="connsiteY596" fmla="*/ 805955 h 4507735"/>
              <a:gd name="connsiteX597" fmla="*/ 635957 w 4139119"/>
              <a:gd name="connsiteY597" fmla="*/ 772350 h 4507735"/>
              <a:gd name="connsiteX598" fmla="*/ 662918 w 4139119"/>
              <a:gd name="connsiteY598" fmla="*/ 794159 h 4507735"/>
              <a:gd name="connsiteX599" fmla="*/ 692296 w 4139119"/>
              <a:gd name="connsiteY599" fmla="*/ 772577 h 4507735"/>
              <a:gd name="connsiteX600" fmla="*/ 695237 w 4139119"/>
              <a:gd name="connsiteY600" fmla="*/ 753229 h 4507735"/>
              <a:gd name="connsiteX601" fmla="*/ 661134 w 4139119"/>
              <a:gd name="connsiteY601" fmla="*/ 730334 h 4507735"/>
              <a:gd name="connsiteX602" fmla="*/ 679782 w 4139119"/>
              <a:gd name="connsiteY602" fmla="*/ 717540 h 4507735"/>
              <a:gd name="connsiteX603" fmla="*/ 647731 w 4139119"/>
              <a:gd name="connsiteY603" fmla="*/ 626195 h 4507735"/>
              <a:gd name="connsiteX604" fmla="*/ 652718 w 4139119"/>
              <a:gd name="connsiteY604" fmla="*/ 572776 h 4507735"/>
              <a:gd name="connsiteX605" fmla="*/ 678813 w 4139119"/>
              <a:gd name="connsiteY605" fmla="*/ 593411 h 4507735"/>
              <a:gd name="connsiteX606" fmla="*/ 695333 w 4139119"/>
              <a:gd name="connsiteY606" fmla="*/ 539662 h 4507735"/>
              <a:gd name="connsiteX607" fmla="*/ 714285 w 4139119"/>
              <a:gd name="connsiteY607" fmla="*/ 559212 h 4507735"/>
              <a:gd name="connsiteX608" fmla="*/ 746662 w 4139119"/>
              <a:gd name="connsiteY608" fmla="*/ 545379 h 4507735"/>
              <a:gd name="connsiteX609" fmla="*/ 772138 w 4139119"/>
              <a:gd name="connsiteY609" fmla="*/ 570088 h 4507735"/>
              <a:gd name="connsiteX610" fmla="*/ 793136 w 4139119"/>
              <a:gd name="connsiteY610" fmla="*/ 555568 h 4507735"/>
              <a:gd name="connsiteX611" fmla="*/ 845170 w 4139119"/>
              <a:gd name="connsiteY611" fmla="*/ 597858 h 4507735"/>
              <a:gd name="connsiteX612" fmla="*/ 862063 w 4139119"/>
              <a:gd name="connsiteY612" fmla="*/ 534788 h 4507735"/>
              <a:gd name="connsiteX613" fmla="*/ 804583 w 4139119"/>
              <a:gd name="connsiteY613" fmla="*/ 514592 h 4507735"/>
              <a:gd name="connsiteX614" fmla="*/ 875397 w 4139119"/>
              <a:gd name="connsiteY614" fmla="*/ 495140 h 4507735"/>
              <a:gd name="connsiteX615" fmla="*/ 931518 w 4139119"/>
              <a:gd name="connsiteY615" fmla="*/ 503670 h 4507735"/>
              <a:gd name="connsiteX616" fmla="*/ 948274 w 4139119"/>
              <a:gd name="connsiteY616" fmla="*/ 523928 h 4507735"/>
              <a:gd name="connsiteX617" fmla="*/ 1000291 w 4139119"/>
              <a:gd name="connsiteY617" fmla="*/ 483908 h 4507735"/>
              <a:gd name="connsiteX618" fmla="*/ 1005089 w 4139119"/>
              <a:gd name="connsiteY618" fmla="*/ 452340 h 4507735"/>
              <a:gd name="connsiteX619" fmla="*/ 1029119 w 4139119"/>
              <a:gd name="connsiteY619" fmla="*/ 424736 h 4507735"/>
              <a:gd name="connsiteX620" fmla="*/ 1060321 w 4139119"/>
              <a:gd name="connsiteY620" fmla="*/ 411767 h 4507735"/>
              <a:gd name="connsiteX621" fmla="*/ 1096035 w 4139119"/>
              <a:gd name="connsiteY621" fmla="*/ 417195 h 4507735"/>
              <a:gd name="connsiteX622" fmla="*/ 1110039 w 4139119"/>
              <a:gd name="connsiteY622" fmla="*/ 434951 h 4507735"/>
              <a:gd name="connsiteX623" fmla="*/ 1150855 w 4139119"/>
              <a:gd name="connsiteY623" fmla="*/ 441154 h 4507735"/>
              <a:gd name="connsiteX624" fmla="*/ 1167307 w 4139119"/>
              <a:gd name="connsiteY624" fmla="*/ 429069 h 4507735"/>
              <a:gd name="connsiteX625" fmla="*/ 1258122 w 4139119"/>
              <a:gd name="connsiteY625" fmla="*/ 442871 h 4507735"/>
              <a:gd name="connsiteX626" fmla="*/ 1299614 w 4139119"/>
              <a:gd name="connsiteY626" fmla="*/ 472098 h 4507735"/>
              <a:gd name="connsiteX627" fmla="*/ 1337942 w 4139119"/>
              <a:gd name="connsiteY627" fmla="*/ 563356 h 4507735"/>
              <a:gd name="connsiteX628" fmla="*/ 1372056 w 4139119"/>
              <a:gd name="connsiteY628" fmla="*/ 517490 h 4507735"/>
              <a:gd name="connsiteX629" fmla="*/ 1376544 w 4139119"/>
              <a:gd name="connsiteY629" fmla="*/ 487958 h 4507735"/>
              <a:gd name="connsiteX630" fmla="*/ 1363531 w 4139119"/>
              <a:gd name="connsiteY630" fmla="*/ 456808 h 4507735"/>
              <a:gd name="connsiteX631" fmla="*/ 1381313 w 4139119"/>
              <a:gd name="connsiteY631" fmla="*/ 442841 h 4507735"/>
              <a:gd name="connsiteX632" fmla="*/ 1397209 w 4139119"/>
              <a:gd name="connsiteY632" fmla="*/ 427545 h 4507735"/>
              <a:gd name="connsiteX633" fmla="*/ 1381313 w 4139119"/>
              <a:gd name="connsiteY633" fmla="*/ 442841 h 4507735"/>
              <a:gd name="connsiteX634" fmla="*/ 1363531 w 4139119"/>
              <a:gd name="connsiteY634" fmla="*/ 456808 h 4507735"/>
              <a:gd name="connsiteX635" fmla="*/ 1334960 w 4139119"/>
              <a:gd name="connsiteY635" fmla="*/ 452466 h 4507735"/>
              <a:gd name="connsiteX636" fmla="*/ 1314340 w 4139119"/>
              <a:gd name="connsiteY636" fmla="*/ 423285 h 4507735"/>
              <a:gd name="connsiteX637" fmla="*/ 1335556 w 4139119"/>
              <a:gd name="connsiteY637" fmla="*/ 400463 h 4507735"/>
              <a:gd name="connsiteX638" fmla="*/ 1317785 w 4139119"/>
              <a:gd name="connsiteY638" fmla="*/ 345669 h 4507735"/>
              <a:gd name="connsiteX639" fmla="*/ 1353562 w 4139119"/>
              <a:gd name="connsiteY639" fmla="*/ 343814 h 4507735"/>
              <a:gd name="connsiteX640" fmla="*/ 1363141 w 4139119"/>
              <a:gd name="connsiteY640" fmla="*/ 383818 h 4507735"/>
              <a:gd name="connsiteX641" fmla="*/ 1435232 w 4139119"/>
              <a:gd name="connsiteY641" fmla="*/ 301008 h 4507735"/>
              <a:gd name="connsiteX642" fmla="*/ 1462009 w 4139119"/>
              <a:gd name="connsiteY642" fmla="*/ 310287 h 4507735"/>
              <a:gd name="connsiteX643" fmla="*/ 1442587 w 4139119"/>
              <a:gd name="connsiteY643" fmla="*/ 328172 h 4507735"/>
              <a:gd name="connsiteX644" fmla="*/ 1457205 w 4139119"/>
              <a:gd name="connsiteY644" fmla="*/ 376236 h 4507735"/>
              <a:gd name="connsiteX645" fmla="*/ 1498422 w 4139119"/>
              <a:gd name="connsiteY645" fmla="*/ 386668 h 4507735"/>
              <a:gd name="connsiteX646" fmla="*/ 1520063 w 4139119"/>
              <a:gd name="connsiteY646" fmla="*/ 416003 h 4507735"/>
              <a:gd name="connsiteX647" fmla="*/ 1511395 w 4139119"/>
              <a:gd name="connsiteY647" fmla="*/ 473030 h 4507735"/>
              <a:gd name="connsiteX648" fmla="*/ 1533781 w 4139119"/>
              <a:gd name="connsiteY648" fmla="*/ 483725 h 4507735"/>
              <a:gd name="connsiteX649" fmla="*/ 1586801 w 4139119"/>
              <a:gd name="connsiteY649" fmla="*/ 547002 h 4507735"/>
              <a:gd name="connsiteX650" fmla="*/ 1604148 w 4139119"/>
              <a:gd name="connsiteY650" fmla="*/ 549639 h 4507735"/>
              <a:gd name="connsiteX651" fmla="*/ 1616077 w 4139119"/>
              <a:gd name="connsiteY651" fmla="*/ 587917 h 4507735"/>
              <a:gd name="connsiteX652" fmla="*/ 1643937 w 4139119"/>
              <a:gd name="connsiteY652" fmla="*/ 590068 h 4507735"/>
              <a:gd name="connsiteX653" fmla="*/ 1659272 w 4139119"/>
              <a:gd name="connsiteY653" fmla="*/ 605942 h 4507735"/>
              <a:gd name="connsiteX654" fmla="*/ 1643937 w 4139119"/>
              <a:gd name="connsiteY654" fmla="*/ 590068 h 4507735"/>
              <a:gd name="connsiteX655" fmla="*/ 1634633 w 4139119"/>
              <a:gd name="connsiteY655" fmla="*/ 568858 h 4507735"/>
              <a:gd name="connsiteX656" fmla="*/ 1642492 w 4139119"/>
              <a:gd name="connsiteY656" fmla="*/ 537755 h 4507735"/>
              <a:gd name="connsiteX657" fmla="*/ 1660269 w 4139119"/>
              <a:gd name="connsiteY657" fmla="*/ 558168 h 4507735"/>
              <a:gd name="connsiteX658" fmla="*/ 1688072 w 4139119"/>
              <a:gd name="connsiteY658" fmla="*/ 533222 h 4507735"/>
              <a:gd name="connsiteX659" fmla="*/ 1620118 w 4139119"/>
              <a:gd name="connsiteY659" fmla="*/ 458298 h 4507735"/>
              <a:gd name="connsiteX660" fmla="*/ 1558895 w 4139119"/>
              <a:gd name="connsiteY660" fmla="*/ 448993 h 4507735"/>
              <a:gd name="connsiteX661" fmla="*/ 1542391 w 4139119"/>
              <a:gd name="connsiteY661" fmla="*/ 399601 h 4507735"/>
              <a:gd name="connsiteX662" fmla="*/ 1550594 w 4139119"/>
              <a:gd name="connsiteY662" fmla="*/ 345629 h 4507735"/>
              <a:gd name="connsiteX663" fmla="*/ 1566891 w 4139119"/>
              <a:gd name="connsiteY663" fmla="*/ 334562 h 4507735"/>
              <a:gd name="connsiteX664" fmla="*/ 1540275 w 4139119"/>
              <a:gd name="connsiteY664" fmla="*/ 289884 h 4507735"/>
              <a:gd name="connsiteX665" fmla="*/ 1548942 w 4139119"/>
              <a:gd name="connsiteY665" fmla="*/ 232857 h 4507735"/>
              <a:gd name="connsiteX666" fmla="*/ 1588989 w 4139119"/>
              <a:gd name="connsiteY666" fmla="*/ 209772 h 4507735"/>
              <a:gd name="connsiteX667" fmla="*/ 1593942 w 4139119"/>
              <a:gd name="connsiteY667" fmla="*/ 177185 h 4507735"/>
              <a:gd name="connsiteX668" fmla="*/ 1622513 w 4139119"/>
              <a:gd name="connsiteY668" fmla="*/ 181527 h 4507735"/>
              <a:gd name="connsiteX669" fmla="*/ 1648258 w 4139119"/>
              <a:gd name="connsiteY669" fmla="*/ 259412 h 4507735"/>
              <a:gd name="connsiteX670" fmla="*/ 1682922 w 4139119"/>
              <a:gd name="connsiteY670" fmla="*/ 251137 h 4507735"/>
              <a:gd name="connsiteX671" fmla="*/ 1716566 w 4139119"/>
              <a:gd name="connsiteY671" fmla="*/ 242706 h 4507735"/>
              <a:gd name="connsiteX672" fmla="*/ 1741428 w 4139119"/>
              <a:gd name="connsiteY672" fmla="*/ 237107 h 4507735"/>
              <a:gd name="connsiteX673" fmla="*/ 1774763 w 4139119"/>
              <a:gd name="connsiteY673" fmla="*/ 230713 h 4507735"/>
              <a:gd name="connsiteX674" fmla="*/ 1741927 w 4139119"/>
              <a:gd name="connsiteY674" fmla="*/ 213221 h 4507735"/>
              <a:gd name="connsiteX675" fmla="*/ 1744500 w 4139119"/>
              <a:gd name="connsiteY675" fmla="*/ 168811 h 4507735"/>
              <a:gd name="connsiteX676" fmla="*/ 1711664 w 4139119"/>
              <a:gd name="connsiteY676" fmla="*/ 151319 h 4507735"/>
              <a:gd name="connsiteX677" fmla="*/ 1717637 w 4139119"/>
              <a:gd name="connsiteY677" fmla="*/ 118887 h 4507735"/>
              <a:gd name="connsiteX678" fmla="*/ 1796963 w 4139119"/>
              <a:gd name="connsiteY678" fmla="*/ 43427 h 4507735"/>
              <a:gd name="connsiteX679" fmla="*/ 1836357 w 4139119"/>
              <a:gd name="connsiteY679" fmla="*/ 45247 h 4507735"/>
              <a:gd name="connsiteX680" fmla="*/ 1846504 w 4139119"/>
              <a:gd name="connsiteY680" fmla="*/ 19700 h 4507735"/>
              <a:gd name="connsiteX681" fmla="*/ 1874553 w 4139119"/>
              <a:gd name="connsiteY681" fmla="*/ 0 h 4507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</a:cxnLst>
            <a:rect l="l" t="t" r="r" b="b"/>
            <a:pathLst>
              <a:path w="4139119" h="4507735">
                <a:moveTo>
                  <a:pt x="1874553" y="0"/>
                </a:moveTo>
                <a:lnTo>
                  <a:pt x="1936796" y="9461"/>
                </a:lnTo>
                <a:cubicBezTo>
                  <a:pt x="1937289" y="19954"/>
                  <a:pt x="1937072" y="28256"/>
                  <a:pt x="1937720" y="37731"/>
                </a:cubicBezTo>
                <a:cubicBezTo>
                  <a:pt x="1962822" y="71760"/>
                  <a:pt x="1988945" y="105945"/>
                  <a:pt x="2015069" y="140129"/>
                </a:cubicBezTo>
                <a:lnTo>
                  <a:pt x="2012438" y="157441"/>
                </a:lnTo>
                <a:cubicBezTo>
                  <a:pt x="2017476" y="165500"/>
                  <a:pt x="2022670" y="172540"/>
                  <a:pt x="2027709" y="180599"/>
                </a:cubicBezTo>
                <a:lnTo>
                  <a:pt x="2022137" y="217259"/>
                </a:lnTo>
                <a:cubicBezTo>
                  <a:pt x="2032742" y="223039"/>
                  <a:pt x="2044832" y="225918"/>
                  <a:pt x="2051912" y="234287"/>
                </a:cubicBezTo>
                <a:cubicBezTo>
                  <a:pt x="2061033" y="242966"/>
                  <a:pt x="2066937" y="252199"/>
                  <a:pt x="2082707" y="251470"/>
                </a:cubicBezTo>
                <a:cubicBezTo>
                  <a:pt x="2089603" y="247308"/>
                  <a:pt x="2096654" y="242129"/>
                  <a:pt x="2104726" y="237105"/>
                </a:cubicBezTo>
                <a:lnTo>
                  <a:pt x="2131256" y="241137"/>
                </a:lnTo>
                <a:cubicBezTo>
                  <a:pt x="2124761" y="249526"/>
                  <a:pt x="2118266" y="257916"/>
                  <a:pt x="2110596" y="267169"/>
                </a:cubicBezTo>
                <a:cubicBezTo>
                  <a:pt x="2126733" y="291500"/>
                  <a:pt x="2142537" y="269940"/>
                  <a:pt x="2159236" y="263101"/>
                </a:cubicBezTo>
                <a:lnTo>
                  <a:pt x="2203113" y="269769"/>
                </a:lnTo>
                <a:lnTo>
                  <a:pt x="2198779" y="298283"/>
                </a:lnTo>
                <a:cubicBezTo>
                  <a:pt x="2210250" y="305236"/>
                  <a:pt x="2221566" y="313207"/>
                  <a:pt x="2233037" y="320159"/>
                </a:cubicBezTo>
                <a:cubicBezTo>
                  <a:pt x="2231799" y="328306"/>
                  <a:pt x="2230870" y="334416"/>
                  <a:pt x="2229941" y="340526"/>
                </a:cubicBezTo>
                <a:cubicBezTo>
                  <a:pt x="2229013" y="346636"/>
                  <a:pt x="2227064" y="352591"/>
                  <a:pt x="2228331" y="357993"/>
                </a:cubicBezTo>
                <a:cubicBezTo>
                  <a:pt x="2228887" y="361203"/>
                  <a:pt x="2236029" y="362289"/>
                  <a:pt x="2242708" y="366429"/>
                </a:cubicBezTo>
                <a:cubicBezTo>
                  <a:pt x="2247133" y="344181"/>
                  <a:pt x="2251249" y="323969"/>
                  <a:pt x="2255055" y="305794"/>
                </a:cubicBezTo>
                <a:cubicBezTo>
                  <a:pt x="2260685" y="296231"/>
                  <a:pt x="2281556" y="296278"/>
                  <a:pt x="2267397" y="279540"/>
                </a:cubicBezTo>
                <a:lnTo>
                  <a:pt x="2203113" y="269769"/>
                </a:lnTo>
                <a:lnTo>
                  <a:pt x="2207137" y="243293"/>
                </a:lnTo>
                <a:cubicBezTo>
                  <a:pt x="2214188" y="238113"/>
                  <a:pt x="2221393" y="231915"/>
                  <a:pt x="2228445" y="226736"/>
                </a:cubicBezTo>
                <a:lnTo>
                  <a:pt x="2233862" y="191094"/>
                </a:lnTo>
                <a:cubicBezTo>
                  <a:pt x="2250314" y="179008"/>
                  <a:pt x="2254240" y="180647"/>
                  <a:pt x="2277366" y="207083"/>
                </a:cubicBezTo>
                <a:cubicBezTo>
                  <a:pt x="2285437" y="202058"/>
                  <a:pt x="2292488" y="196879"/>
                  <a:pt x="2302909" y="190128"/>
                </a:cubicBezTo>
                <a:cubicBezTo>
                  <a:pt x="2304050" y="210097"/>
                  <a:pt x="2304635" y="226855"/>
                  <a:pt x="2305065" y="244632"/>
                </a:cubicBezTo>
                <a:cubicBezTo>
                  <a:pt x="2328379" y="249217"/>
                  <a:pt x="2315768" y="222296"/>
                  <a:pt x="2328786" y="219065"/>
                </a:cubicBezTo>
                <a:cubicBezTo>
                  <a:pt x="2347216" y="214573"/>
                  <a:pt x="2341994" y="193984"/>
                  <a:pt x="2352725" y="185197"/>
                </a:cubicBezTo>
                <a:cubicBezTo>
                  <a:pt x="2373196" y="181015"/>
                  <a:pt x="2397003" y="196093"/>
                  <a:pt x="2414137" y="172651"/>
                </a:cubicBezTo>
                <a:cubicBezTo>
                  <a:pt x="2419331" y="179692"/>
                  <a:pt x="2425700" y="185869"/>
                  <a:pt x="2431914" y="193065"/>
                </a:cubicBezTo>
                <a:lnTo>
                  <a:pt x="2468648" y="198648"/>
                </a:lnTo>
                <a:cubicBezTo>
                  <a:pt x="2475452" y="188221"/>
                  <a:pt x="2483432" y="176932"/>
                  <a:pt x="2491411" y="165642"/>
                </a:cubicBezTo>
                <a:cubicBezTo>
                  <a:pt x="2499202" y="176203"/>
                  <a:pt x="2507147" y="185745"/>
                  <a:pt x="2514072" y="195133"/>
                </a:cubicBezTo>
                <a:cubicBezTo>
                  <a:pt x="2506121" y="219971"/>
                  <a:pt x="2516446" y="241335"/>
                  <a:pt x="2523554" y="263253"/>
                </a:cubicBezTo>
                <a:cubicBezTo>
                  <a:pt x="2531282" y="281097"/>
                  <a:pt x="2535638" y="300513"/>
                  <a:pt x="2542191" y="319220"/>
                </a:cubicBezTo>
                <a:cubicBezTo>
                  <a:pt x="2563126" y="311984"/>
                  <a:pt x="2584216" y="303729"/>
                  <a:pt x="2609542" y="295075"/>
                </a:cubicBezTo>
                <a:lnTo>
                  <a:pt x="2659541" y="302674"/>
                </a:lnTo>
                <a:cubicBezTo>
                  <a:pt x="2664735" y="309715"/>
                  <a:pt x="2670949" y="316911"/>
                  <a:pt x="2677163" y="324106"/>
                </a:cubicBezTo>
                <a:lnTo>
                  <a:pt x="2712876" y="329534"/>
                </a:lnTo>
                <a:cubicBezTo>
                  <a:pt x="2727592" y="349482"/>
                  <a:pt x="2742307" y="369430"/>
                  <a:pt x="2757023" y="389379"/>
                </a:cubicBezTo>
                <a:cubicBezTo>
                  <a:pt x="2758043" y="389534"/>
                  <a:pt x="2762434" y="388117"/>
                  <a:pt x="2765650" y="387564"/>
                </a:cubicBezTo>
                <a:cubicBezTo>
                  <a:pt x="2770012" y="372599"/>
                  <a:pt x="2775705" y="355753"/>
                  <a:pt x="2783501" y="331933"/>
                </a:cubicBezTo>
                <a:cubicBezTo>
                  <a:pt x="2804396" y="379909"/>
                  <a:pt x="2846478" y="391514"/>
                  <a:pt x="2876901" y="418017"/>
                </a:cubicBezTo>
                <a:cubicBezTo>
                  <a:pt x="2877887" y="439004"/>
                  <a:pt x="2866474" y="459149"/>
                  <a:pt x="2875313" y="483413"/>
                </a:cubicBezTo>
                <a:cubicBezTo>
                  <a:pt x="2892631" y="472501"/>
                  <a:pt x="2908929" y="461434"/>
                  <a:pt x="2927422" y="449658"/>
                </a:cubicBezTo>
                <a:cubicBezTo>
                  <a:pt x="2938428" y="459666"/>
                  <a:pt x="2946683" y="467172"/>
                  <a:pt x="2956669" y="477024"/>
                </a:cubicBezTo>
                <a:cubicBezTo>
                  <a:pt x="2978097" y="480281"/>
                  <a:pt x="3002587" y="484003"/>
                  <a:pt x="3027076" y="487725"/>
                </a:cubicBezTo>
                <a:cubicBezTo>
                  <a:pt x="3029116" y="488035"/>
                  <a:pt x="3031776" y="484272"/>
                  <a:pt x="3036322" y="481837"/>
                </a:cubicBezTo>
                <a:cubicBezTo>
                  <a:pt x="3032149" y="474952"/>
                  <a:pt x="3028996" y="468222"/>
                  <a:pt x="3023091" y="458989"/>
                </a:cubicBezTo>
                <a:cubicBezTo>
                  <a:pt x="3029678" y="456865"/>
                  <a:pt x="3037285" y="454895"/>
                  <a:pt x="3044027" y="451752"/>
                </a:cubicBezTo>
                <a:cubicBezTo>
                  <a:pt x="3065793" y="466521"/>
                  <a:pt x="3075963" y="488904"/>
                  <a:pt x="3090678" y="508852"/>
                </a:cubicBezTo>
                <a:cubicBezTo>
                  <a:pt x="3082727" y="533690"/>
                  <a:pt x="3107153" y="544696"/>
                  <a:pt x="3119209" y="568407"/>
                </a:cubicBezTo>
                <a:lnTo>
                  <a:pt x="3108065" y="641727"/>
                </a:lnTo>
                <a:cubicBezTo>
                  <a:pt x="3129431" y="652268"/>
                  <a:pt x="3144209" y="664932"/>
                  <a:pt x="3158368" y="681670"/>
                </a:cubicBezTo>
                <a:cubicBezTo>
                  <a:pt x="3173548" y="698564"/>
                  <a:pt x="3165752" y="722384"/>
                  <a:pt x="3182262" y="737395"/>
                </a:cubicBezTo>
                <a:cubicBezTo>
                  <a:pt x="3198772" y="752407"/>
                  <a:pt x="3197407" y="775120"/>
                  <a:pt x="3207330" y="792256"/>
                </a:cubicBezTo>
                <a:cubicBezTo>
                  <a:pt x="3214381" y="787077"/>
                  <a:pt x="3222298" y="783071"/>
                  <a:pt x="3229349" y="777891"/>
                </a:cubicBezTo>
                <a:lnTo>
                  <a:pt x="3266083" y="783474"/>
                </a:lnTo>
                <a:cubicBezTo>
                  <a:pt x="3272635" y="802182"/>
                  <a:pt x="3283269" y="821510"/>
                  <a:pt x="3284565" y="840460"/>
                </a:cubicBezTo>
                <a:cubicBezTo>
                  <a:pt x="3286107" y="864657"/>
                  <a:pt x="3313749" y="875110"/>
                  <a:pt x="3313004" y="893750"/>
                </a:cubicBezTo>
                <a:cubicBezTo>
                  <a:pt x="3312196" y="919673"/>
                  <a:pt x="3331365" y="930922"/>
                  <a:pt x="3342710" y="952441"/>
                </a:cubicBezTo>
                <a:cubicBezTo>
                  <a:pt x="3341472" y="960588"/>
                  <a:pt x="3340790" y="971945"/>
                  <a:pt x="3338778" y="985184"/>
                </a:cubicBezTo>
                <a:cubicBezTo>
                  <a:pt x="3345949" y="999818"/>
                  <a:pt x="3351791" y="1016333"/>
                  <a:pt x="3372755" y="1022645"/>
                </a:cubicBezTo>
                <a:cubicBezTo>
                  <a:pt x="3400706" y="1031061"/>
                  <a:pt x="3399898" y="1056985"/>
                  <a:pt x="3405831" y="1079765"/>
                </a:cubicBezTo>
                <a:cubicBezTo>
                  <a:pt x="3413685" y="1083043"/>
                  <a:pt x="3421539" y="1086320"/>
                  <a:pt x="3430412" y="1089753"/>
                </a:cubicBezTo>
                <a:cubicBezTo>
                  <a:pt x="3439779" y="1103678"/>
                  <a:pt x="3428120" y="1118576"/>
                  <a:pt x="3430034" y="1133453"/>
                </a:cubicBezTo>
                <a:cubicBezTo>
                  <a:pt x="3446080" y="1151520"/>
                  <a:pt x="3480217" y="1153583"/>
                  <a:pt x="3477861" y="1189690"/>
                </a:cubicBezTo>
                <a:cubicBezTo>
                  <a:pt x="3477488" y="1199010"/>
                  <a:pt x="3488185" y="1211054"/>
                  <a:pt x="3495110" y="1220441"/>
                </a:cubicBezTo>
                <a:cubicBezTo>
                  <a:pt x="3522965" y="1256973"/>
                  <a:pt x="3550664" y="1294522"/>
                  <a:pt x="3578519" y="1331053"/>
                </a:cubicBezTo>
                <a:lnTo>
                  <a:pt x="3596886" y="1333845"/>
                </a:lnTo>
                <a:cubicBezTo>
                  <a:pt x="3603811" y="1343232"/>
                  <a:pt x="3611601" y="1353793"/>
                  <a:pt x="3618526" y="1363181"/>
                </a:cubicBezTo>
                <a:cubicBezTo>
                  <a:pt x="3617471" y="1383857"/>
                  <a:pt x="3618458" y="1404844"/>
                  <a:pt x="3606024" y="1424834"/>
                </a:cubicBezTo>
                <a:cubicBezTo>
                  <a:pt x="3591584" y="1423681"/>
                  <a:pt x="3576989" y="1423547"/>
                  <a:pt x="3559333" y="1422947"/>
                </a:cubicBezTo>
                <a:cubicBezTo>
                  <a:pt x="3548940" y="1443246"/>
                  <a:pt x="3546555" y="1465805"/>
                  <a:pt x="3548252" y="1488984"/>
                </a:cubicBezTo>
                <a:cubicBezTo>
                  <a:pt x="3553199" y="1490778"/>
                  <a:pt x="3556106" y="1492261"/>
                  <a:pt x="3557281" y="1491398"/>
                </a:cubicBezTo>
                <a:cubicBezTo>
                  <a:pt x="3577258" y="1476723"/>
                  <a:pt x="3597236" y="1462047"/>
                  <a:pt x="3617059" y="1448390"/>
                </a:cubicBezTo>
                <a:cubicBezTo>
                  <a:pt x="3622253" y="1455431"/>
                  <a:pt x="3628622" y="1461608"/>
                  <a:pt x="3633815" y="1468649"/>
                </a:cubicBezTo>
                <a:cubicBezTo>
                  <a:pt x="3639938" y="1469579"/>
                  <a:pt x="3645905" y="1471528"/>
                  <a:pt x="3654068" y="1472768"/>
                </a:cubicBezTo>
                <a:cubicBezTo>
                  <a:pt x="3655582" y="1483417"/>
                  <a:pt x="3658116" y="1494221"/>
                  <a:pt x="3660649" y="1505025"/>
                </a:cubicBezTo>
                <a:cubicBezTo>
                  <a:pt x="3670234" y="1510649"/>
                  <a:pt x="3680839" y="1516428"/>
                  <a:pt x="3689559" y="1520879"/>
                </a:cubicBezTo>
                <a:cubicBezTo>
                  <a:pt x="3689341" y="1529181"/>
                  <a:pt x="3688567" y="1534272"/>
                  <a:pt x="3687329" y="1542419"/>
                </a:cubicBezTo>
                <a:cubicBezTo>
                  <a:pt x="3698799" y="1549372"/>
                  <a:pt x="3710115" y="1557343"/>
                  <a:pt x="3721586" y="1564296"/>
                </a:cubicBezTo>
                <a:lnTo>
                  <a:pt x="3718646" y="1583644"/>
                </a:lnTo>
                <a:cubicBezTo>
                  <a:pt x="3711595" y="1588823"/>
                  <a:pt x="3704389" y="1595021"/>
                  <a:pt x="3698513" y="1599338"/>
                </a:cubicBezTo>
                <a:cubicBezTo>
                  <a:pt x="3692110" y="1613992"/>
                  <a:pt x="3700210" y="1622517"/>
                  <a:pt x="3706825" y="1633941"/>
                </a:cubicBezTo>
                <a:cubicBezTo>
                  <a:pt x="3711710" y="1643018"/>
                  <a:pt x="3711893" y="1655548"/>
                  <a:pt x="3713407" y="1666196"/>
                </a:cubicBezTo>
                <a:lnTo>
                  <a:pt x="3753202" y="1672245"/>
                </a:lnTo>
                <a:cubicBezTo>
                  <a:pt x="3770359" y="1696732"/>
                  <a:pt x="3788537" y="1721374"/>
                  <a:pt x="3806715" y="1746015"/>
                </a:cubicBezTo>
                <a:cubicBezTo>
                  <a:pt x="3797314" y="1752921"/>
                  <a:pt x="3787912" y="1759828"/>
                  <a:pt x="3772635" y="1771050"/>
                </a:cubicBezTo>
                <a:cubicBezTo>
                  <a:pt x="3758229" y="1749065"/>
                  <a:pt x="3743824" y="1727080"/>
                  <a:pt x="3729418" y="1705095"/>
                </a:cubicBezTo>
                <a:cubicBezTo>
                  <a:pt x="3716646" y="1713573"/>
                  <a:pt x="3707090" y="1721497"/>
                  <a:pt x="3697843" y="1727385"/>
                </a:cubicBezTo>
                <a:cubicBezTo>
                  <a:pt x="3716021" y="1752027"/>
                  <a:pt x="3734044" y="1777687"/>
                  <a:pt x="3752222" y="1802329"/>
                </a:cubicBezTo>
                <a:lnTo>
                  <a:pt x="3787936" y="1807757"/>
                </a:lnTo>
                <a:cubicBezTo>
                  <a:pt x="3794150" y="1814952"/>
                  <a:pt x="3799498" y="1820975"/>
                  <a:pt x="3805867" y="1827152"/>
                </a:cubicBezTo>
                <a:cubicBezTo>
                  <a:pt x="3811743" y="1822835"/>
                  <a:pt x="3816443" y="1819382"/>
                  <a:pt x="3821144" y="1815930"/>
                </a:cubicBezTo>
                <a:cubicBezTo>
                  <a:pt x="3823185" y="1816239"/>
                  <a:pt x="3827576" y="1814823"/>
                  <a:pt x="3827421" y="1815842"/>
                </a:cubicBezTo>
                <a:cubicBezTo>
                  <a:pt x="3847669" y="1854342"/>
                  <a:pt x="3895873" y="1866878"/>
                  <a:pt x="3912842" y="1913215"/>
                </a:cubicBezTo>
                <a:lnTo>
                  <a:pt x="3904948" y="1965150"/>
                </a:lnTo>
                <a:cubicBezTo>
                  <a:pt x="3915800" y="1976176"/>
                  <a:pt x="3928383" y="1989549"/>
                  <a:pt x="3940966" y="2002922"/>
                </a:cubicBezTo>
                <a:cubicBezTo>
                  <a:pt x="3930390" y="2010691"/>
                  <a:pt x="3924359" y="2016026"/>
                  <a:pt x="3917308" y="2021205"/>
                </a:cubicBezTo>
                <a:cubicBezTo>
                  <a:pt x="3921636" y="2027073"/>
                  <a:pt x="3925099" y="2031766"/>
                  <a:pt x="3928561" y="2036460"/>
                </a:cubicBezTo>
                <a:cubicBezTo>
                  <a:pt x="3928125" y="2053064"/>
                  <a:pt x="3899182" y="2058042"/>
                  <a:pt x="3910682" y="2078543"/>
                </a:cubicBezTo>
                <a:cubicBezTo>
                  <a:pt x="3913433" y="2081045"/>
                  <a:pt x="3914855" y="2085428"/>
                  <a:pt x="3916896" y="2085738"/>
                </a:cubicBezTo>
                <a:cubicBezTo>
                  <a:pt x="3941385" y="2089460"/>
                  <a:pt x="3965874" y="2093182"/>
                  <a:pt x="3990363" y="2096904"/>
                </a:cubicBezTo>
                <a:cubicBezTo>
                  <a:pt x="3997564" y="2125087"/>
                  <a:pt x="4014566" y="2150592"/>
                  <a:pt x="4005687" y="2181540"/>
                </a:cubicBezTo>
                <a:cubicBezTo>
                  <a:pt x="4015054" y="2195466"/>
                  <a:pt x="4025287" y="2210566"/>
                  <a:pt x="4035674" y="2224647"/>
                </a:cubicBezTo>
                <a:cubicBezTo>
                  <a:pt x="4026118" y="2232571"/>
                  <a:pt x="4015696" y="2239322"/>
                  <a:pt x="4005120" y="2247091"/>
                </a:cubicBezTo>
                <a:cubicBezTo>
                  <a:pt x="3999926" y="2240051"/>
                  <a:pt x="3994732" y="2233011"/>
                  <a:pt x="3988364" y="2226833"/>
                </a:cubicBezTo>
                <a:cubicBezTo>
                  <a:pt x="3979054" y="2240004"/>
                  <a:pt x="3968569" y="2254039"/>
                  <a:pt x="3956755" y="2269955"/>
                </a:cubicBezTo>
                <a:cubicBezTo>
                  <a:pt x="3976446" y="2305245"/>
                  <a:pt x="4013983" y="2319285"/>
                  <a:pt x="4052540" y="2333480"/>
                </a:cubicBezTo>
                <a:cubicBezTo>
                  <a:pt x="4059711" y="2348114"/>
                  <a:pt x="4052442" y="2361596"/>
                  <a:pt x="4049100" y="2376716"/>
                </a:cubicBezTo>
                <a:cubicBezTo>
                  <a:pt x="4030516" y="2382226"/>
                  <a:pt x="4010910" y="2387581"/>
                  <a:pt x="3992326" y="2393091"/>
                </a:cubicBezTo>
                <a:cubicBezTo>
                  <a:pt x="3989018" y="2387379"/>
                  <a:pt x="3987350" y="2377749"/>
                  <a:pt x="3982712" y="2373919"/>
                </a:cubicBezTo>
                <a:cubicBezTo>
                  <a:pt x="3976034" y="2369778"/>
                  <a:pt x="3966386" y="2371437"/>
                  <a:pt x="3958223" y="2370197"/>
                </a:cubicBezTo>
                <a:cubicBezTo>
                  <a:pt x="3957793" y="2352420"/>
                  <a:pt x="3968742" y="2335330"/>
                  <a:pt x="3957552" y="2312792"/>
                </a:cubicBezTo>
                <a:cubicBezTo>
                  <a:pt x="3952232" y="2320319"/>
                  <a:pt x="3947222" y="2325808"/>
                  <a:pt x="3945273" y="2331763"/>
                </a:cubicBezTo>
                <a:cubicBezTo>
                  <a:pt x="3941994" y="2339600"/>
                  <a:pt x="3941621" y="2348920"/>
                  <a:pt x="3929996" y="2342986"/>
                </a:cubicBezTo>
                <a:cubicBezTo>
                  <a:pt x="3927462" y="2332182"/>
                  <a:pt x="3925083" y="2320360"/>
                  <a:pt x="3922148" y="2305328"/>
                </a:cubicBezTo>
                <a:cubicBezTo>
                  <a:pt x="3912529" y="2320536"/>
                  <a:pt x="3904704" y="2330807"/>
                  <a:pt x="3896724" y="2342096"/>
                </a:cubicBezTo>
                <a:cubicBezTo>
                  <a:pt x="3891531" y="2335056"/>
                  <a:pt x="3885317" y="2327860"/>
                  <a:pt x="3885317" y="2327860"/>
                </a:cubicBezTo>
                <a:cubicBezTo>
                  <a:pt x="3866611" y="2313557"/>
                  <a:pt x="3848273" y="2324314"/>
                  <a:pt x="3837330" y="2307023"/>
                </a:cubicBezTo>
                <a:lnTo>
                  <a:pt x="3840889" y="2283601"/>
                </a:lnTo>
                <a:cubicBezTo>
                  <a:pt x="3875336" y="2283627"/>
                  <a:pt x="3895686" y="2259631"/>
                  <a:pt x="3920055" y="2243540"/>
                </a:cubicBezTo>
                <a:cubicBezTo>
                  <a:pt x="3925008" y="2210953"/>
                  <a:pt x="3929961" y="2178366"/>
                  <a:pt x="3935934" y="2145934"/>
                </a:cubicBezTo>
                <a:cubicBezTo>
                  <a:pt x="3936707" y="2140843"/>
                  <a:pt x="3940697" y="2135198"/>
                  <a:pt x="3943667" y="2129398"/>
                </a:cubicBezTo>
                <a:cubicBezTo>
                  <a:pt x="3945461" y="2124461"/>
                  <a:pt x="3963983" y="2126235"/>
                  <a:pt x="3952420" y="2113017"/>
                </a:cubicBezTo>
                <a:cubicBezTo>
                  <a:pt x="3936403" y="2108499"/>
                  <a:pt x="3919429" y="2096542"/>
                  <a:pt x="3902513" y="2111682"/>
                </a:cubicBezTo>
                <a:cubicBezTo>
                  <a:pt x="3892584" y="2128927"/>
                  <a:pt x="3909868" y="2138847"/>
                  <a:pt x="3914133" y="2151998"/>
                </a:cubicBezTo>
                <a:cubicBezTo>
                  <a:pt x="3900960" y="2156247"/>
                  <a:pt x="3887941" y="2159477"/>
                  <a:pt x="3871397" y="2165298"/>
                </a:cubicBezTo>
                <a:cubicBezTo>
                  <a:pt x="3876528" y="2179622"/>
                  <a:pt x="3880948" y="2191754"/>
                  <a:pt x="3885213" y="2204905"/>
                </a:cubicBezTo>
                <a:cubicBezTo>
                  <a:pt x="3874327" y="2214711"/>
                  <a:pt x="3862300" y="2204548"/>
                  <a:pt x="3850611" y="2205897"/>
                </a:cubicBezTo>
                <a:cubicBezTo>
                  <a:pt x="3849407" y="2193212"/>
                  <a:pt x="3864128" y="2178779"/>
                  <a:pt x="3845824" y="2168704"/>
                </a:cubicBezTo>
                <a:cubicBezTo>
                  <a:pt x="3833947" y="2191904"/>
                  <a:pt x="3833947" y="2191904"/>
                  <a:pt x="3850611" y="2205897"/>
                </a:cubicBezTo>
                <a:cubicBezTo>
                  <a:pt x="3855341" y="2215993"/>
                  <a:pt x="3859050" y="2225933"/>
                  <a:pt x="3859204" y="2224915"/>
                </a:cubicBezTo>
                <a:cubicBezTo>
                  <a:pt x="3849740" y="2239104"/>
                  <a:pt x="3840585" y="2251257"/>
                  <a:pt x="3835266" y="2258783"/>
                </a:cubicBezTo>
                <a:cubicBezTo>
                  <a:pt x="3814858" y="2255682"/>
                  <a:pt x="3804964" y="2252094"/>
                  <a:pt x="3808460" y="2235956"/>
                </a:cubicBezTo>
                <a:cubicBezTo>
                  <a:pt x="3812112" y="2218799"/>
                  <a:pt x="3800888" y="2217093"/>
                  <a:pt x="3782675" y="2213283"/>
                </a:cubicBezTo>
                <a:cubicBezTo>
                  <a:pt x="3778468" y="2227230"/>
                  <a:pt x="3752958" y="2223353"/>
                  <a:pt x="3752769" y="2245203"/>
                </a:cubicBezTo>
                <a:cubicBezTo>
                  <a:pt x="3741081" y="2246552"/>
                  <a:pt x="3727105" y="2242344"/>
                  <a:pt x="3736873" y="2260499"/>
                </a:cubicBezTo>
                <a:cubicBezTo>
                  <a:pt x="3741728" y="2256028"/>
                  <a:pt x="3747604" y="2251711"/>
                  <a:pt x="3752769" y="2245203"/>
                </a:cubicBezTo>
                <a:cubicBezTo>
                  <a:pt x="3759757" y="2247307"/>
                  <a:pt x="3768941" y="2248703"/>
                  <a:pt x="3778124" y="2250099"/>
                </a:cubicBezTo>
                <a:cubicBezTo>
                  <a:pt x="3785049" y="2259486"/>
                  <a:pt x="3792994" y="2269029"/>
                  <a:pt x="3799764" y="2279434"/>
                </a:cubicBezTo>
                <a:cubicBezTo>
                  <a:pt x="3793826" y="2291034"/>
                  <a:pt x="3773510" y="2294197"/>
                  <a:pt x="3777712" y="2314631"/>
                </a:cubicBezTo>
                <a:cubicBezTo>
                  <a:pt x="3783060" y="2320653"/>
                  <a:pt x="3788254" y="2327694"/>
                  <a:pt x="3793293" y="2335753"/>
                </a:cubicBezTo>
                <a:lnTo>
                  <a:pt x="3787566" y="2373432"/>
                </a:lnTo>
                <a:cubicBezTo>
                  <a:pt x="3794646" y="2381801"/>
                  <a:pt x="3801571" y="2391188"/>
                  <a:pt x="3809516" y="2400730"/>
                </a:cubicBezTo>
                <a:cubicBezTo>
                  <a:pt x="3818172" y="2412465"/>
                  <a:pt x="3834126" y="2424266"/>
                  <a:pt x="3833753" y="2433586"/>
                </a:cubicBezTo>
                <a:cubicBezTo>
                  <a:pt x="3833777" y="2481515"/>
                  <a:pt x="3866384" y="2576071"/>
                  <a:pt x="3891458" y="2596552"/>
                </a:cubicBezTo>
                <a:cubicBezTo>
                  <a:pt x="3893344" y="2597880"/>
                  <a:pt x="3895539" y="2597172"/>
                  <a:pt x="3892478" y="2596707"/>
                </a:cubicBezTo>
                <a:cubicBezTo>
                  <a:pt x="3913258" y="2590489"/>
                  <a:pt x="3929647" y="2585687"/>
                  <a:pt x="3946191" y="2579866"/>
                </a:cubicBezTo>
                <a:cubicBezTo>
                  <a:pt x="3945544" y="2570391"/>
                  <a:pt x="3944741" y="2561934"/>
                  <a:pt x="3943228" y="2551285"/>
                </a:cubicBezTo>
                <a:cubicBezTo>
                  <a:pt x="3932806" y="2558036"/>
                  <a:pt x="3925910" y="2562198"/>
                  <a:pt x="3919014" y="2566359"/>
                </a:cubicBezTo>
                <a:cubicBezTo>
                  <a:pt x="3910667" y="2552588"/>
                  <a:pt x="3895424" y="2542978"/>
                  <a:pt x="3895613" y="2521127"/>
                </a:cubicBezTo>
                <a:cubicBezTo>
                  <a:pt x="3896204" y="2503506"/>
                  <a:pt x="3882354" y="2484731"/>
                  <a:pt x="3875801" y="2466023"/>
                </a:cubicBezTo>
                <a:cubicBezTo>
                  <a:pt x="3869805" y="2450526"/>
                  <a:pt x="3863964" y="2434010"/>
                  <a:pt x="3859142" y="2417650"/>
                </a:cubicBezTo>
                <a:cubicBezTo>
                  <a:pt x="3884749" y="2393411"/>
                  <a:pt x="3919477" y="2377852"/>
                  <a:pt x="3958223" y="2370197"/>
                </a:cubicBezTo>
                <a:cubicBezTo>
                  <a:pt x="3961376" y="2376927"/>
                  <a:pt x="3962178" y="2385384"/>
                  <a:pt x="3967836" y="2389369"/>
                </a:cubicBezTo>
                <a:cubicBezTo>
                  <a:pt x="3973494" y="2393355"/>
                  <a:pt x="3984163" y="2391851"/>
                  <a:pt x="3992326" y="2393091"/>
                </a:cubicBezTo>
                <a:cubicBezTo>
                  <a:pt x="3991087" y="2401238"/>
                  <a:pt x="3991735" y="2410713"/>
                  <a:pt x="3987591" y="2417376"/>
                </a:cubicBezTo>
                <a:cubicBezTo>
                  <a:pt x="3984621" y="2423176"/>
                  <a:pt x="3975128" y="2423817"/>
                  <a:pt x="3968387" y="2426960"/>
                </a:cubicBezTo>
                <a:cubicBezTo>
                  <a:pt x="3972038" y="2409804"/>
                  <a:pt x="3959949" y="2406924"/>
                  <a:pt x="3947704" y="2405063"/>
                </a:cubicBezTo>
                <a:cubicBezTo>
                  <a:pt x="3934284" y="2404065"/>
                  <a:pt x="3917001" y="2394146"/>
                  <a:pt x="3915482" y="2417877"/>
                </a:cubicBezTo>
                <a:cubicBezTo>
                  <a:pt x="3903793" y="2419227"/>
                  <a:pt x="3889662" y="2416037"/>
                  <a:pt x="3899585" y="2433173"/>
                </a:cubicBezTo>
                <a:cubicBezTo>
                  <a:pt x="3904441" y="2428702"/>
                  <a:pt x="3909296" y="2424230"/>
                  <a:pt x="3915482" y="2417877"/>
                </a:cubicBezTo>
                <a:cubicBezTo>
                  <a:pt x="3931653" y="2421377"/>
                  <a:pt x="3950020" y="2424169"/>
                  <a:pt x="3968387" y="2426960"/>
                </a:cubicBezTo>
                <a:cubicBezTo>
                  <a:pt x="3969528" y="2446929"/>
                  <a:pt x="3981400" y="2458110"/>
                  <a:pt x="3996488" y="2468738"/>
                </a:cubicBezTo>
                <a:cubicBezTo>
                  <a:pt x="4002920" y="2467632"/>
                  <a:pt x="4010062" y="2468717"/>
                  <a:pt x="4013588" y="2466128"/>
                </a:cubicBezTo>
                <a:cubicBezTo>
                  <a:pt x="4023454" y="2456167"/>
                  <a:pt x="4025620" y="2441910"/>
                  <a:pt x="4037681" y="2431240"/>
                </a:cubicBezTo>
                <a:cubicBezTo>
                  <a:pt x="4051938" y="2419863"/>
                  <a:pt x="4068356" y="2428610"/>
                  <a:pt x="4079242" y="2418804"/>
                </a:cubicBezTo>
                <a:cubicBezTo>
                  <a:pt x="4083943" y="2415351"/>
                  <a:pt x="4089509" y="2413071"/>
                  <a:pt x="4094055" y="2410636"/>
                </a:cubicBezTo>
                <a:cubicBezTo>
                  <a:pt x="4107194" y="2427219"/>
                  <a:pt x="4119312" y="2443647"/>
                  <a:pt x="4132297" y="2461249"/>
                </a:cubicBezTo>
                <a:cubicBezTo>
                  <a:pt x="4125246" y="2466428"/>
                  <a:pt x="4118040" y="2472626"/>
                  <a:pt x="4112164" y="2476942"/>
                </a:cubicBezTo>
                <a:lnTo>
                  <a:pt x="4106283" y="2515639"/>
                </a:lnTo>
                <a:cubicBezTo>
                  <a:pt x="4116022" y="2520245"/>
                  <a:pt x="4126628" y="2526024"/>
                  <a:pt x="4139119" y="2533132"/>
                </a:cubicBezTo>
                <a:cubicBezTo>
                  <a:pt x="4131758" y="2540348"/>
                  <a:pt x="4122357" y="2547254"/>
                  <a:pt x="4118923" y="2556109"/>
                </a:cubicBezTo>
                <a:cubicBezTo>
                  <a:pt x="4114160" y="2566846"/>
                  <a:pt x="4114343" y="2579376"/>
                  <a:pt x="4113105" y="2587522"/>
                </a:cubicBezTo>
                <a:cubicBezTo>
                  <a:pt x="4107229" y="2591839"/>
                  <a:pt x="4105744" y="2594739"/>
                  <a:pt x="4102528" y="2595292"/>
                </a:cubicBezTo>
                <a:cubicBezTo>
                  <a:pt x="4088799" y="2596331"/>
                  <a:pt x="4081565" y="2588980"/>
                  <a:pt x="4072754" y="2578264"/>
                </a:cubicBezTo>
                <a:cubicBezTo>
                  <a:pt x="4065519" y="2570914"/>
                  <a:pt x="4053584" y="2567016"/>
                  <a:pt x="4043845" y="2562410"/>
                </a:cubicBezTo>
                <a:cubicBezTo>
                  <a:pt x="4043908" y="2555127"/>
                  <a:pt x="4044836" y="2549016"/>
                  <a:pt x="4044899" y="2541733"/>
                </a:cubicBezTo>
                <a:cubicBezTo>
                  <a:pt x="4029966" y="2530087"/>
                  <a:pt x="4015342" y="2516403"/>
                  <a:pt x="3999079" y="2506639"/>
                </a:cubicBezTo>
                <a:cubicBezTo>
                  <a:pt x="3993421" y="2502653"/>
                  <a:pt x="3982289" y="2507212"/>
                  <a:pt x="3971620" y="2508717"/>
                </a:cubicBezTo>
                <a:cubicBezTo>
                  <a:pt x="3977835" y="2515912"/>
                  <a:pt x="3981297" y="2520606"/>
                  <a:pt x="3986491" y="2527647"/>
                </a:cubicBezTo>
                <a:cubicBezTo>
                  <a:pt x="3987385" y="2542368"/>
                  <a:pt x="3986795" y="2559991"/>
                  <a:pt x="3986915" y="2579804"/>
                </a:cubicBezTo>
                <a:cubicBezTo>
                  <a:pt x="3998357" y="2573208"/>
                  <a:pt x="4005253" y="2569047"/>
                  <a:pt x="4013325" y="2564022"/>
                </a:cubicBezTo>
                <a:cubicBezTo>
                  <a:pt x="4017745" y="2576155"/>
                  <a:pt x="4020834" y="2590169"/>
                  <a:pt x="4026275" y="2602456"/>
                </a:cubicBezTo>
                <a:cubicBezTo>
                  <a:pt x="4033756" y="2615053"/>
                  <a:pt x="4043587" y="2625925"/>
                  <a:pt x="4054995" y="2640161"/>
                </a:cubicBezTo>
                <a:cubicBezTo>
                  <a:pt x="4043954" y="2650985"/>
                  <a:pt x="4036439" y="2659220"/>
                  <a:pt x="4027903" y="2667299"/>
                </a:cubicBezTo>
                <a:cubicBezTo>
                  <a:pt x="4031767" y="2676221"/>
                  <a:pt x="4036496" y="2686317"/>
                  <a:pt x="4040050" y="2697275"/>
                </a:cubicBezTo>
                <a:lnTo>
                  <a:pt x="3994133" y="2690297"/>
                </a:lnTo>
                <a:cubicBezTo>
                  <a:pt x="3987082" y="2695476"/>
                  <a:pt x="3980186" y="2699637"/>
                  <a:pt x="3972115" y="2704662"/>
                </a:cubicBezTo>
                <a:cubicBezTo>
                  <a:pt x="3964324" y="2694101"/>
                  <a:pt x="3957399" y="2684714"/>
                  <a:pt x="3949609" y="2674153"/>
                </a:cubicBezTo>
                <a:lnTo>
                  <a:pt x="3957657" y="2621199"/>
                </a:lnTo>
                <a:cubicBezTo>
                  <a:pt x="3951351" y="2607739"/>
                  <a:pt x="3941302" y="2605169"/>
                  <a:pt x="3928128" y="2609418"/>
                </a:cubicBezTo>
                <a:cubicBezTo>
                  <a:pt x="3913006" y="2619622"/>
                  <a:pt x="3920889" y="2636448"/>
                  <a:pt x="3916125" y="2647185"/>
                </a:cubicBezTo>
                <a:cubicBezTo>
                  <a:pt x="3906259" y="2657146"/>
                  <a:pt x="3897724" y="2665226"/>
                  <a:pt x="3889188" y="2673305"/>
                </a:cubicBezTo>
                <a:cubicBezTo>
                  <a:pt x="3897563" y="2700624"/>
                  <a:pt x="3918155" y="2716256"/>
                  <a:pt x="3930118" y="2733703"/>
                </a:cubicBezTo>
                <a:cubicBezTo>
                  <a:pt x="3939858" y="2738308"/>
                  <a:pt x="3947866" y="2740567"/>
                  <a:pt x="3956740" y="2744000"/>
                </a:cubicBezTo>
                <a:lnTo>
                  <a:pt x="3950240" y="2786770"/>
                </a:lnTo>
                <a:cubicBezTo>
                  <a:pt x="3962267" y="2796933"/>
                  <a:pt x="3976025" y="2809442"/>
                  <a:pt x="3984434" y="2815930"/>
                </a:cubicBezTo>
                <a:lnTo>
                  <a:pt x="3979946" y="2845462"/>
                </a:lnTo>
                <a:cubicBezTo>
                  <a:pt x="3991262" y="2853433"/>
                  <a:pt x="4002733" y="2860385"/>
                  <a:pt x="4014049" y="2868356"/>
                </a:cubicBezTo>
                <a:cubicBezTo>
                  <a:pt x="4006843" y="2874554"/>
                  <a:pt x="3999792" y="2879734"/>
                  <a:pt x="3993761" y="2885069"/>
                </a:cubicBezTo>
                <a:cubicBezTo>
                  <a:pt x="3999821" y="2893283"/>
                  <a:pt x="4003839" y="2901186"/>
                  <a:pt x="4008167" y="2907053"/>
                </a:cubicBezTo>
                <a:cubicBezTo>
                  <a:pt x="4001082" y="2933065"/>
                  <a:pt x="3969571" y="2948071"/>
                  <a:pt x="3982584" y="2979221"/>
                </a:cubicBezTo>
                <a:cubicBezTo>
                  <a:pt x="3992260" y="2991110"/>
                  <a:pt x="3995912" y="2973954"/>
                  <a:pt x="4001168" y="2973711"/>
                </a:cubicBezTo>
                <a:cubicBezTo>
                  <a:pt x="4018022" y="2965853"/>
                  <a:pt x="4032090" y="2976327"/>
                  <a:pt x="4044644" y="2976150"/>
                </a:cubicBezTo>
                <a:cubicBezTo>
                  <a:pt x="4053455" y="2986867"/>
                  <a:pt x="4061245" y="2997427"/>
                  <a:pt x="4068170" y="3006815"/>
                </a:cubicBezTo>
                <a:cubicBezTo>
                  <a:pt x="4046243" y="3027445"/>
                  <a:pt x="4016280" y="3032268"/>
                  <a:pt x="3984522" y="3042027"/>
                </a:cubicBezTo>
                <a:cubicBezTo>
                  <a:pt x="3978153" y="3035850"/>
                  <a:pt x="3970053" y="3027326"/>
                  <a:pt x="3958335" y="3015126"/>
                </a:cubicBezTo>
                <a:cubicBezTo>
                  <a:pt x="3934184" y="3022916"/>
                  <a:pt x="3907838" y="3031414"/>
                  <a:pt x="3881491" y="3039912"/>
                </a:cubicBezTo>
                <a:cubicBezTo>
                  <a:pt x="3872680" y="3029196"/>
                  <a:pt x="3863159" y="3016289"/>
                  <a:pt x="3854502" y="3004554"/>
                </a:cubicBezTo>
                <a:lnTo>
                  <a:pt x="3811646" y="2998041"/>
                </a:lnTo>
                <a:cubicBezTo>
                  <a:pt x="3800451" y="3009884"/>
                  <a:pt x="3803294" y="3018651"/>
                  <a:pt x="3808734" y="3030938"/>
                </a:cubicBezTo>
                <a:cubicBezTo>
                  <a:pt x="3817883" y="3053166"/>
                  <a:pt x="3844167" y="3051951"/>
                  <a:pt x="3855976" y="3070416"/>
                </a:cubicBezTo>
                <a:cubicBezTo>
                  <a:pt x="3866919" y="3087707"/>
                  <a:pt x="3875203" y="3108761"/>
                  <a:pt x="3899045" y="3103008"/>
                </a:cubicBezTo>
                <a:cubicBezTo>
                  <a:pt x="3905379" y="3130017"/>
                  <a:pt x="3888835" y="3135838"/>
                  <a:pt x="3878104" y="3144625"/>
                </a:cubicBezTo>
                <a:cubicBezTo>
                  <a:pt x="3875782" y="3159901"/>
                  <a:pt x="3873461" y="3175176"/>
                  <a:pt x="3871294" y="3189432"/>
                </a:cubicBezTo>
                <a:lnTo>
                  <a:pt x="3843743" y="3185245"/>
                </a:lnTo>
                <a:cubicBezTo>
                  <a:pt x="3838395" y="3179223"/>
                  <a:pt x="3832181" y="3172027"/>
                  <a:pt x="3824390" y="3161466"/>
                </a:cubicBezTo>
                <a:cubicBezTo>
                  <a:pt x="3818389" y="3180350"/>
                  <a:pt x="3812851" y="3196178"/>
                  <a:pt x="3807314" y="3212006"/>
                </a:cubicBezTo>
                <a:cubicBezTo>
                  <a:pt x="3791635" y="3219000"/>
                  <a:pt x="3777103" y="3211582"/>
                  <a:pt x="3760777" y="3209101"/>
                </a:cubicBezTo>
                <a:cubicBezTo>
                  <a:pt x="3759264" y="3198452"/>
                  <a:pt x="3756730" y="3187648"/>
                  <a:pt x="3754506" y="3174808"/>
                </a:cubicBezTo>
                <a:cubicBezTo>
                  <a:pt x="3736941" y="3180473"/>
                  <a:pt x="3718356" y="3185984"/>
                  <a:pt x="3700792" y="3191649"/>
                </a:cubicBezTo>
                <a:cubicBezTo>
                  <a:pt x="3699617" y="3192512"/>
                  <a:pt x="3699863" y="3197759"/>
                  <a:pt x="3699399" y="3200814"/>
                </a:cubicBezTo>
                <a:cubicBezTo>
                  <a:pt x="3688484" y="3197072"/>
                  <a:pt x="3675156" y="3202339"/>
                  <a:pt x="3666655" y="3189586"/>
                </a:cubicBezTo>
                <a:cubicBezTo>
                  <a:pt x="3665141" y="3178938"/>
                  <a:pt x="3663628" y="3168289"/>
                  <a:pt x="3659736" y="3145818"/>
                </a:cubicBezTo>
                <a:cubicBezTo>
                  <a:pt x="3644579" y="3176854"/>
                  <a:pt x="3641174" y="3199258"/>
                  <a:pt x="3642160" y="3220245"/>
                </a:cubicBezTo>
                <a:cubicBezTo>
                  <a:pt x="3649796" y="3231824"/>
                  <a:pt x="3656721" y="3241211"/>
                  <a:pt x="3663646" y="3250599"/>
                </a:cubicBezTo>
                <a:lnTo>
                  <a:pt x="3691196" y="3254786"/>
                </a:lnTo>
                <a:cubicBezTo>
                  <a:pt x="3689184" y="3268024"/>
                  <a:pt x="3694533" y="3274047"/>
                  <a:pt x="3706777" y="3275908"/>
                </a:cubicBezTo>
                <a:lnTo>
                  <a:pt x="3703991" y="3294238"/>
                </a:lnTo>
                <a:cubicBezTo>
                  <a:pt x="3677335" y="3304773"/>
                  <a:pt x="3645950" y="3305212"/>
                  <a:pt x="3624579" y="3329052"/>
                </a:cubicBezTo>
                <a:cubicBezTo>
                  <a:pt x="3628907" y="3334919"/>
                  <a:pt x="3634101" y="3341960"/>
                  <a:pt x="3639140" y="3350019"/>
                </a:cubicBezTo>
                <a:lnTo>
                  <a:pt x="3630937" y="3403990"/>
                </a:lnTo>
                <a:cubicBezTo>
                  <a:pt x="3635420" y="3408839"/>
                  <a:pt x="3638882" y="3413533"/>
                  <a:pt x="3644941" y="3421747"/>
                </a:cubicBezTo>
                <a:cubicBezTo>
                  <a:pt x="3638756" y="3428100"/>
                  <a:pt x="3631396" y="3435316"/>
                  <a:pt x="3624901" y="3443706"/>
                </a:cubicBezTo>
                <a:cubicBezTo>
                  <a:pt x="3624402" y="3467593"/>
                  <a:pt x="3651053" y="3491439"/>
                  <a:pt x="3625692" y="3520924"/>
                </a:cubicBezTo>
                <a:cubicBezTo>
                  <a:pt x="3618303" y="3514592"/>
                  <a:pt x="3611934" y="3508414"/>
                  <a:pt x="3603679" y="3500908"/>
                </a:cubicBezTo>
                <a:cubicBezTo>
                  <a:pt x="3581695" y="3494442"/>
                  <a:pt x="3571457" y="3513723"/>
                  <a:pt x="3556644" y="3521890"/>
                </a:cubicBezTo>
                <a:lnTo>
                  <a:pt x="3551227" y="3557532"/>
                </a:lnTo>
                <a:cubicBezTo>
                  <a:pt x="3556266" y="3565591"/>
                  <a:pt x="3561460" y="3572631"/>
                  <a:pt x="3566654" y="3579672"/>
                </a:cubicBezTo>
                <a:cubicBezTo>
                  <a:pt x="3564550" y="3586645"/>
                  <a:pt x="3563621" y="3592755"/>
                  <a:pt x="3561827" y="3597692"/>
                </a:cubicBezTo>
                <a:cubicBezTo>
                  <a:pt x="3548281" y="3611261"/>
                  <a:pt x="3532792" y="3596405"/>
                  <a:pt x="3519618" y="3600654"/>
                </a:cubicBezTo>
                <a:cubicBezTo>
                  <a:pt x="3498781" y="3579775"/>
                  <a:pt x="3517491" y="3559698"/>
                  <a:pt x="3514837" y="3529080"/>
                </a:cubicBezTo>
                <a:cubicBezTo>
                  <a:pt x="3508468" y="3522903"/>
                  <a:pt x="3494555" y="3511412"/>
                  <a:pt x="3488187" y="3505234"/>
                </a:cubicBezTo>
                <a:cubicBezTo>
                  <a:pt x="3486891" y="3486284"/>
                  <a:pt x="3486088" y="3477827"/>
                  <a:pt x="3485595" y="3467333"/>
                </a:cubicBezTo>
                <a:cubicBezTo>
                  <a:pt x="3480184" y="3468595"/>
                  <a:pt x="3474772" y="3469856"/>
                  <a:pt x="3470536" y="3470254"/>
                </a:cubicBezTo>
                <a:cubicBezTo>
                  <a:pt x="3457363" y="3474503"/>
                  <a:pt x="3444035" y="3479771"/>
                  <a:pt x="3429841" y="3483864"/>
                </a:cubicBezTo>
                <a:cubicBezTo>
                  <a:pt x="3434324" y="3488713"/>
                  <a:pt x="3437631" y="3494425"/>
                  <a:pt x="3442980" y="3500447"/>
                </a:cubicBezTo>
                <a:cubicBezTo>
                  <a:pt x="3450306" y="3514063"/>
                  <a:pt x="3438801" y="3527943"/>
                  <a:pt x="3441025" y="3540783"/>
                </a:cubicBezTo>
                <a:cubicBezTo>
                  <a:pt x="3433974" y="3545962"/>
                  <a:pt x="3429274" y="3549416"/>
                  <a:pt x="3421203" y="3554440"/>
                </a:cubicBezTo>
                <a:cubicBezTo>
                  <a:pt x="3417396" y="3572615"/>
                  <a:pt x="3413280" y="3592827"/>
                  <a:pt x="3408855" y="3615075"/>
                </a:cubicBezTo>
                <a:cubicBezTo>
                  <a:pt x="3399362" y="3615716"/>
                  <a:pt x="3390889" y="3616512"/>
                  <a:pt x="3382572" y="3616290"/>
                </a:cubicBezTo>
                <a:cubicBezTo>
                  <a:pt x="3376730" y="3599774"/>
                  <a:pt x="3370888" y="3583258"/>
                  <a:pt x="3364336" y="3564551"/>
                </a:cubicBezTo>
                <a:cubicBezTo>
                  <a:pt x="3367862" y="3561961"/>
                  <a:pt x="3374913" y="3556781"/>
                  <a:pt x="3381098" y="3550428"/>
                </a:cubicBezTo>
                <a:cubicBezTo>
                  <a:pt x="3376925" y="3543543"/>
                  <a:pt x="3371731" y="3536502"/>
                  <a:pt x="3367558" y="3529617"/>
                </a:cubicBezTo>
                <a:cubicBezTo>
                  <a:pt x="3373588" y="3524282"/>
                  <a:pt x="3380639" y="3519103"/>
                  <a:pt x="3389020" y="3512042"/>
                </a:cubicBezTo>
                <a:cubicBezTo>
                  <a:pt x="3380301" y="3507591"/>
                  <a:pt x="3372602" y="3503295"/>
                  <a:pt x="3360822" y="3498379"/>
                </a:cubicBezTo>
                <a:cubicBezTo>
                  <a:pt x="3353868" y="3475443"/>
                  <a:pt x="3344163" y="3450005"/>
                  <a:pt x="3335633" y="3423704"/>
                </a:cubicBezTo>
                <a:cubicBezTo>
                  <a:pt x="3317604" y="3432425"/>
                  <a:pt x="3326197" y="3451442"/>
                  <a:pt x="3319083" y="3463905"/>
                </a:cubicBezTo>
                <a:cubicBezTo>
                  <a:pt x="3324122" y="3471964"/>
                  <a:pt x="3329161" y="3480023"/>
                  <a:pt x="3334355" y="3487064"/>
                </a:cubicBezTo>
                <a:cubicBezTo>
                  <a:pt x="3329809" y="3489498"/>
                  <a:pt x="3325974" y="3494125"/>
                  <a:pt x="3320717" y="3494368"/>
                </a:cubicBezTo>
                <a:cubicBezTo>
                  <a:pt x="3300711" y="3495494"/>
                  <a:pt x="3279254" y="3478689"/>
                  <a:pt x="3255441" y="3497991"/>
                </a:cubicBezTo>
                <a:cubicBezTo>
                  <a:pt x="3274364" y="3503992"/>
                  <a:pt x="3291556" y="3507647"/>
                  <a:pt x="3306953" y="3516239"/>
                </a:cubicBezTo>
                <a:cubicBezTo>
                  <a:pt x="3321485" y="3523657"/>
                  <a:pt x="3333048" y="3536874"/>
                  <a:pt x="3348847" y="3549694"/>
                </a:cubicBezTo>
                <a:cubicBezTo>
                  <a:pt x="3341177" y="3558947"/>
                  <a:pt x="3334527" y="3568355"/>
                  <a:pt x="3322867" y="3583253"/>
                </a:cubicBezTo>
                <a:cubicBezTo>
                  <a:pt x="3334338" y="3590205"/>
                  <a:pt x="3349581" y="3599815"/>
                  <a:pt x="3353508" y="3601454"/>
                </a:cubicBezTo>
                <a:cubicBezTo>
                  <a:pt x="3351989" y="3625186"/>
                  <a:pt x="3351060" y="3631296"/>
                  <a:pt x="3349667" y="3640461"/>
                </a:cubicBezTo>
                <a:cubicBezTo>
                  <a:pt x="3359407" y="3645067"/>
                  <a:pt x="3369146" y="3649673"/>
                  <a:pt x="3378886" y="3654278"/>
                </a:cubicBezTo>
                <a:cubicBezTo>
                  <a:pt x="3380153" y="3659680"/>
                  <a:pt x="3383460" y="3665392"/>
                  <a:pt x="3382532" y="3671502"/>
                </a:cubicBezTo>
                <a:cubicBezTo>
                  <a:pt x="3381850" y="3682859"/>
                  <a:pt x="3378972" y="3694924"/>
                  <a:pt x="3377115" y="3707144"/>
                </a:cubicBezTo>
                <a:lnTo>
                  <a:pt x="3349564" y="3702957"/>
                </a:lnTo>
                <a:cubicBezTo>
                  <a:pt x="3342639" y="3693570"/>
                  <a:pt x="3335869" y="3683164"/>
                  <a:pt x="3327924" y="3673621"/>
                </a:cubicBezTo>
                <a:cubicBezTo>
                  <a:pt x="3328050" y="3659054"/>
                  <a:pt x="3329196" y="3644643"/>
                  <a:pt x="3330096" y="3624984"/>
                </a:cubicBezTo>
                <a:cubicBezTo>
                  <a:pt x="3319984" y="3629698"/>
                  <a:pt x="3313243" y="3632841"/>
                  <a:pt x="3303996" y="3638729"/>
                </a:cubicBezTo>
                <a:cubicBezTo>
                  <a:pt x="3299513" y="3633880"/>
                  <a:pt x="3294010" y="3628876"/>
                  <a:pt x="3285044" y="3619179"/>
                </a:cubicBezTo>
                <a:lnTo>
                  <a:pt x="3212597" y="3608168"/>
                </a:lnTo>
                <a:cubicBezTo>
                  <a:pt x="3202364" y="3593068"/>
                  <a:pt x="3203912" y="3582885"/>
                  <a:pt x="3216994" y="3572371"/>
                </a:cubicBezTo>
                <a:cubicBezTo>
                  <a:pt x="3222342" y="3578393"/>
                  <a:pt x="3227690" y="3584415"/>
                  <a:pt x="3233905" y="3591611"/>
                </a:cubicBezTo>
                <a:cubicBezTo>
                  <a:pt x="3240801" y="3587450"/>
                  <a:pt x="3247697" y="3583289"/>
                  <a:pt x="3255768" y="3578264"/>
                </a:cubicBezTo>
                <a:cubicBezTo>
                  <a:pt x="3269498" y="3577225"/>
                  <a:pt x="3284740" y="3586835"/>
                  <a:pt x="3299398" y="3579686"/>
                </a:cubicBezTo>
                <a:cubicBezTo>
                  <a:pt x="3298814" y="3562927"/>
                  <a:pt x="3286477" y="3554801"/>
                  <a:pt x="3278532" y="3545258"/>
                </a:cubicBezTo>
                <a:cubicBezTo>
                  <a:pt x="3262114" y="3536512"/>
                  <a:pt x="3251784" y="3549528"/>
                  <a:pt x="3239322" y="3555969"/>
                </a:cubicBezTo>
                <a:cubicBezTo>
                  <a:pt x="3226028" y="3540404"/>
                  <a:pt x="3238708" y="3525662"/>
                  <a:pt x="3237103" y="3508748"/>
                </a:cubicBezTo>
                <a:cubicBezTo>
                  <a:pt x="3231445" y="3504762"/>
                  <a:pt x="3224766" y="3500622"/>
                  <a:pt x="3221860" y="3499138"/>
                </a:cubicBezTo>
                <a:cubicBezTo>
                  <a:pt x="3190286" y="3521428"/>
                  <a:pt x="3160907" y="3543009"/>
                  <a:pt x="3131528" y="3564590"/>
                </a:cubicBezTo>
                <a:cubicBezTo>
                  <a:pt x="3115947" y="3543469"/>
                  <a:pt x="3101323" y="3529786"/>
                  <a:pt x="3094306" y="3514133"/>
                </a:cubicBezTo>
                <a:cubicBezTo>
                  <a:pt x="3087043" y="3493234"/>
                  <a:pt x="3061006" y="3499696"/>
                  <a:pt x="3053278" y="3481851"/>
                </a:cubicBezTo>
                <a:lnTo>
                  <a:pt x="3058695" y="3446209"/>
                </a:lnTo>
                <a:cubicBezTo>
                  <a:pt x="3053502" y="3439169"/>
                  <a:pt x="3048463" y="3431110"/>
                  <a:pt x="3043269" y="3424069"/>
                </a:cubicBezTo>
                <a:lnTo>
                  <a:pt x="3049305" y="3384354"/>
                </a:lnTo>
                <a:cubicBezTo>
                  <a:pt x="3033289" y="3379836"/>
                  <a:pt x="3016406" y="3374145"/>
                  <a:pt x="3000544" y="3368608"/>
                </a:cubicBezTo>
                <a:cubicBezTo>
                  <a:pt x="2990438" y="3338942"/>
                  <a:pt x="3013603" y="3310165"/>
                  <a:pt x="3002631" y="3279325"/>
                </a:cubicBezTo>
                <a:cubicBezTo>
                  <a:pt x="2993384" y="3285213"/>
                  <a:pt x="2986488" y="3289374"/>
                  <a:pt x="2979592" y="3293536"/>
                </a:cubicBezTo>
                <a:cubicBezTo>
                  <a:pt x="2971337" y="3286030"/>
                  <a:pt x="2961907" y="3279387"/>
                  <a:pt x="2954208" y="3275092"/>
                </a:cubicBezTo>
                <a:cubicBezTo>
                  <a:pt x="2952849" y="3263424"/>
                  <a:pt x="2956037" y="3249323"/>
                  <a:pt x="2937853" y="3259062"/>
                </a:cubicBezTo>
                <a:cubicBezTo>
                  <a:pt x="2942336" y="3263910"/>
                  <a:pt x="2946819" y="3268759"/>
                  <a:pt x="2954208" y="3275092"/>
                </a:cubicBezTo>
                <a:cubicBezTo>
                  <a:pt x="2951330" y="3287156"/>
                  <a:pt x="2949009" y="3302431"/>
                  <a:pt x="2946687" y="3317707"/>
                </a:cubicBezTo>
                <a:cubicBezTo>
                  <a:pt x="2955343" y="3329441"/>
                  <a:pt x="2964865" y="3342348"/>
                  <a:pt x="2975407" y="3355411"/>
                </a:cubicBezTo>
                <a:cubicBezTo>
                  <a:pt x="2969589" y="3386825"/>
                  <a:pt x="2985107" y="3415230"/>
                  <a:pt x="2988937" y="3444984"/>
                </a:cubicBezTo>
                <a:lnTo>
                  <a:pt x="3013426" y="3448706"/>
                </a:lnTo>
                <a:cubicBezTo>
                  <a:pt x="3015404" y="3456300"/>
                  <a:pt x="3017227" y="3464911"/>
                  <a:pt x="3019050" y="3473523"/>
                </a:cubicBezTo>
                <a:cubicBezTo>
                  <a:pt x="3000155" y="3481070"/>
                  <a:pt x="2982436" y="3487754"/>
                  <a:pt x="2964717" y="3494438"/>
                </a:cubicBezTo>
                <a:cubicBezTo>
                  <a:pt x="2960389" y="3488571"/>
                  <a:pt x="2956926" y="3483877"/>
                  <a:pt x="2948116" y="3473161"/>
                </a:cubicBezTo>
                <a:cubicBezTo>
                  <a:pt x="2942486" y="3482724"/>
                  <a:pt x="2935837" y="3492132"/>
                  <a:pt x="2930053" y="3502713"/>
                </a:cubicBezTo>
                <a:cubicBezTo>
                  <a:pt x="2913663" y="3507516"/>
                  <a:pt x="2915578" y="3522393"/>
                  <a:pt x="2914432" y="3536805"/>
                </a:cubicBezTo>
                <a:cubicBezTo>
                  <a:pt x="2926613" y="3545949"/>
                  <a:pt x="2926734" y="3565763"/>
                  <a:pt x="2946276" y="3567691"/>
                </a:cubicBezTo>
                <a:cubicBezTo>
                  <a:pt x="2947016" y="3583431"/>
                  <a:pt x="2929205" y="3583850"/>
                  <a:pt x="2923421" y="3594431"/>
                </a:cubicBezTo>
                <a:cubicBezTo>
                  <a:pt x="2922182" y="3602578"/>
                  <a:pt x="2916398" y="3613159"/>
                  <a:pt x="2919551" y="3619890"/>
                </a:cubicBezTo>
                <a:cubicBezTo>
                  <a:pt x="2932255" y="3653076"/>
                  <a:pt x="2929033" y="3688010"/>
                  <a:pt x="2942046" y="3719160"/>
                </a:cubicBezTo>
                <a:cubicBezTo>
                  <a:pt x="2948908" y="3735831"/>
                  <a:pt x="2961336" y="3750222"/>
                  <a:pt x="2972280" y="3767513"/>
                </a:cubicBezTo>
                <a:cubicBezTo>
                  <a:pt x="2963033" y="3773401"/>
                  <a:pt x="2952766" y="3779133"/>
                  <a:pt x="2936778" y="3788164"/>
                </a:cubicBezTo>
                <a:cubicBezTo>
                  <a:pt x="2930473" y="3774703"/>
                  <a:pt x="2923456" y="3759051"/>
                  <a:pt x="2916841" y="3747627"/>
                </a:cubicBezTo>
                <a:cubicBezTo>
                  <a:pt x="2894948" y="3747425"/>
                  <a:pt x="2879860" y="3736797"/>
                  <a:pt x="2865758" y="3747156"/>
                </a:cubicBezTo>
                <a:cubicBezTo>
                  <a:pt x="2865632" y="3761723"/>
                  <a:pt x="2889749" y="3774765"/>
                  <a:pt x="2866957" y="3794222"/>
                </a:cubicBezTo>
                <a:cubicBezTo>
                  <a:pt x="2859567" y="3787890"/>
                  <a:pt x="2852178" y="3781557"/>
                  <a:pt x="2842037" y="3772723"/>
                </a:cubicBezTo>
                <a:cubicBezTo>
                  <a:pt x="2835451" y="3774848"/>
                  <a:pt x="2821721" y="3775886"/>
                  <a:pt x="2819927" y="3780823"/>
                </a:cubicBezTo>
                <a:cubicBezTo>
                  <a:pt x="2815442" y="3793165"/>
                  <a:pt x="2808854" y="3803885"/>
                  <a:pt x="2800971" y="3814538"/>
                </a:cubicBezTo>
                <a:lnTo>
                  <a:pt x="2774245" y="3847852"/>
                </a:lnTo>
                <a:lnTo>
                  <a:pt x="2774342" y="3847216"/>
                </a:lnTo>
                <a:cubicBezTo>
                  <a:pt x="2774694" y="3846618"/>
                  <a:pt x="2774988" y="3846402"/>
                  <a:pt x="2774245" y="3847852"/>
                </a:cubicBezTo>
                <a:lnTo>
                  <a:pt x="2774245" y="3847852"/>
                </a:lnTo>
                <a:lnTo>
                  <a:pt x="2774090" y="3848871"/>
                </a:lnTo>
                <a:cubicBezTo>
                  <a:pt x="2788806" y="3868819"/>
                  <a:pt x="2803521" y="3888767"/>
                  <a:pt x="2819257" y="3908870"/>
                </a:cubicBezTo>
                <a:cubicBezTo>
                  <a:pt x="2817400" y="3921090"/>
                  <a:pt x="2809976" y="3935590"/>
                  <a:pt x="2813995" y="3943494"/>
                </a:cubicBezTo>
                <a:cubicBezTo>
                  <a:pt x="2828802" y="3969707"/>
                  <a:pt x="2828086" y="4001896"/>
                  <a:pt x="2855510" y="4020650"/>
                </a:cubicBezTo>
                <a:cubicBezTo>
                  <a:pt x="2855229" y="4036235"/>
                  <a:pt x="2854083" y="4050647"/>
                  <a:pt x="2854977" y="4065369"/>
                </a:cubicBezTo>
                <a:cubicBezTo>
                  <a:pt x="2855533" y="4068579"/>
                  <a:pt x="2864562" y="4070993"/>
                  <a:pt x="2869199" y="4074824"/>
                </a:cubicBezTo>
                <a:cubicBezTo>
                  <a:pt x="2856795" y="4108362"/>
                  <a:pt x="2888857" y="4130946"/>
                  <a:pt x="2886191" y="4169090"/>
                </a:cubicBezTo>
                <a:cubicBezTo>
                  <a:pt x="2880006" y="4175443"/>
                  <a:pt x="2856474" y="4179160"/>
                  <a:pt x="2852203" y="4200390"/>
                </a:cubicBezTo>
                <a:cubicBezTo>
                  <a:pt x="2840515" y="4201739"/>
                  <a:pt x="2826384" y="4198549"/>
                  <a:pt x="2836307" y="4215685"/>
                </a:cubicBezTo>
                <a:cubicBezTo>
                  <a:pt x="2841163" y="4211214"/>
                  <a:pt x="2846018" y="4206743"/>
                  <a:pt x="2852203" y="4200390"/>
                </a:cubicBezTo>
                <a:cubicBezTo>
                  <a:pt x="2859191" y="4202494"/>
                  <a:pt x="2868375" y="4203889"/>
                  <a:pt x="2876538" y="4205130"/>
                </a:cubicBezTo>
                <a:cubicBezTo>
                  <a:pt x="2884609" y="4200106"/>
                  <a:pt x="2891660" y="4194926"/>
                  <a:pt x="2898556" y="4190765"/>
                </a:cubicBezTo>
                <a:cubicBezTo>
                  <a:pt x="2913180" y="4204448"/>
                  <a:pt x="2900500" y="4219191"/>
                  <a:pt x="2901394" y="4233913"/>
                </a:cubicBezTo>
                <a:cubicBezTo>
                  <a:pt x="2917904" y="4248924"/>
                  <a:pt x="2935434" y="4264091"/>
                  <a:pt x="2951078" y="4277929"/>
                </a:cubicBezTo>
                <a:lnTo>
                  <a:pt x="2936684" y="4372634"/>
                </a:lnTo>
                <a:cubicBezTo>
                  <a:pt x="2927438" y="4378522"/>
                  <a:pt x="2917171" y="4384255"/>
                  <a:pt x="2906749" y="4391006"/>
                </a:cubicBezTo>
                <a:cubicBezTo>
                  <a:pt x="2894413" y="4382880"/>
                  <a:pt x="2881211" y="4373580"/>
                  <a:pt x="2864948" y="4363815"/>
                </a:cubicBezTo>
                <a:cubicBezTo>
                  <a:pt x="2866031" y="4356687"/>
                  <a:pt x="2866249" y="4348385"/>
                  <a:pt x="2866931" y="4337028"/>
                </a:cubicBezTo>
                <a:cubicBezTo>
                  <a:pt x="2885607" y="4337783"/>
                  <a:pt x="2902398" y="4337209"/>
                  <a:pt x="2924290" y="4337411"/>
                </a:cubicBezTo>
                <a:cubicBezTo>
                  <a:pt x="2924107" y="4324881"/>
                  <a:pt x="2923614" y="4314387"/>
                  <a:pt x="2923740" y="4299821"/>
                </a:cubicBezTo>
                <a:cubicBezTo>
                  <a:pt x="2914184" y="4307745"/>
                  <a:pt x="2909483" y="4311198"/>
                  <a:pt x="2905958" y="4313788"/>
                </a:cubicBezTo>
                <a:cubicBezTo>
                  <a:pt x="2882517" y="4323769"/>
                  <a:pt x="2862792" y="4309311"/>
                  <a:pt x="2843496" y="4312629"/>
                </a:cubicBezTo>
                <a:cubicBezTo>
                  <a:pt x="2829646" y="4293855"/>
                  <a:pt x="2816662" y="4276253"/>
                  <a:pt x="2803523" y="4259670"/>
                </a:cubicBezTo>
                <a:cubicBezTo>
                  <a:pt x="2801855" y="4250040"/>
                  <a:pt x="2813360" y="4236161"/>
                  <a:pt x="2795148" y="4232351"/>
                </a:cubicBezTo>
                <a:cubicBezTo>
                  <a:pt x="2777922" y="4249528"/>
                  <a:pt x="2787937" y="4272929"/>
                  <a:pt x="2775193" y="4294955"/>
                </a:cubicBezTo>
                <a:cubicBezTo>
                  <a:pt x="2769318" y="4299271"/>
                  <a:pt x="2758896" y="4306022"/>
                  <a:pt x="2749340" y="4313947"/>
                </a:cubicBezTo>
                <a:cubicBezTo>
                  <a:pt x="2732549" y="4314521"/>
                  <a:pt x="2719439" y="4311486"/>
                  <a:pt x="2722689" y="4290101"/>
                </a:cubicBezTo>
                <a:cubicBezTo>
                  <a:pt x="2723463" y="4285009"/>
                  <a:pt x="2719135" y="4279142"/>
                  <a:pt x="2716137" y="4271394"/>
                </a:cubicBezTo>
                <a:cubicBezTo>
                  <a:pt x="2709178" y="4282838"/>
                  <a:pt x="2705589" y="4292711"/>
                  <a:pt x="2699094" y="4301101"/>
                </a:cubicBezTo>
                <a:cubicBezTo>
                  <a:pt x="2696434" y="4304864"/>
                  <a:pt x="2688271" y="4303624"/>
                  <a:pt x="2682860" y="4304885"/>
                </a:cubicBezTo>
                <a:cubicBezTo>
                  <a:pt x="2688088" y="4291093"/>
                  <a:pt x="2672226" y="4285557"/>
                  <a:pt x="2669692" y="4274753"/>
                </a:cubicBezTo>
                <a:cubicBezTo>
                  <a:pt x="2674548" y="4270282"/>
                  <a:pt x="2680269" y="4266984"/>
                  <a:pt x="2688340" y="4261959"/>
                </a:cubicBezTo>
                <a:cubicBezTo>
                  <a:pt x="2685187" y="4255229"/>
                  <a:pt x="2680859" y="4249362"/>
                  <a:pt x="2676840" y="4241458"/>
                </a:cubicBezTo>
                <a:cubicBezTo>
                  <a:pt x="2683181" y="4234087"/>
                  <a:pt x="2689675" y="4225697"/>
                  <a:pt x="2696015" y="4218326"/>
                </a:cubicBezTo>
                <a:cubicBezTo>
                  <a:pt x="2698801" y="4199996"/>
                  <a:pt x="2697936" y="4198822"/>
                  <a:pt x="2670540" y="4193617"/>
                </a:cubicBezTo>
                <a:cubicBezTo>
                  <a:pt x="2653377" y="4203511"/>
                  <a:pt x="2663145" y="4221665"/>
                  <a:pt x="2652506" y="4236718"/>
                </a:cubicBezTo>
                <a:cubicBezTo>
                  <a:pt x="2640353" y="4241122"/>
                  <a:pt x="2623964" y="4245924"/>
                  <a:pt x="2605224" y="4252453"/>
                </a:cubicBezTo>
                <a:cubicBezTo>
                  <a:pt x="2602473" y="4249951"/>
                  <a:pt x="2597124" y="4243929"/>
                  <a:pt x="2590755" y="4237751"/>
                </a:cubicBezTo>
                <a:cubicBezTo>
                  <a:pt x="2554853" y="4254174"/>
                  <a:pt x="2591059" y="4270095"/>
                  <a:pt x="2592355" y="4289046"/>
                </a:cubicBezTo>
                <a:cubicBezTo>
                  <a:pt x="2589942" y="4298056"/>
                  <a:pt x="2587219" y="4309102"/>
                  <a:pt x="2583476" y="4319994"/>
                </a:cubicBezTo>
                <a:cubicBezTo>
                  <a:pt x="2581836" y="4323912"/>
                  <a:pt x="2572498" y="4323535"/>
                  <a:pt x="2567086" y="4324796"/>
                </a:cubicBezTo>
                <a:cubicBezTo>
                  <a:pt x="2568789" y="4313594"/>
                  <a:pt x="2569316" y="4303256"/>
                  <a:pt x="2570617" y="4287826"/>
                </a:cubicBezTo>
                <a:cubicBezTo>
                  <a:pt x="2557198" y="4286828"/>
                  <a:pt x="2546684" y="4287314"/>
                  <a:pt x="2532244" y="4286161"/>
                </a:cubicBezTo>
                <a:cubicBezTo>
                  <a:pt x="2534159" y="4301038"/>
                  <a:pt x="2534652" y="4311532"/>
                  <a:pt x="2536475" y="4320144"/>
                </a:cubicBezTo>
                <a:lnTo>
                  <a:pt x="2567086" y="4324796"/>
                </a:lnTo>
                <a:cubicBezTo>
                  <a:pt x="2563991" y="4345163"/>
                  <a:pt x="2560741" y="4366548"/>
                  <a:pt x="2558729" y="4379786"/>
                </a:cubicBezTo>
                <a:cubicBezTo>
                  <a:pt x="2568680" y="4410471"/>
                  <a:pt x="2578540" y="4434891"/>
                  <a:pt x="2583144" y="4459553"/>
                </a:cubicBezTo>
                <a:cubicBezTo>
                  <a:pt x="2585832" y="4469338"/>
                  <a:pt x="2584686" y="4483750"/>
                  <a:pt x="2569873" y="4491917"/>
                </a:cubicBezTo>
                <a:cubicBezTo>
                  <a:pt x="2565608" y="4478767"/>
                  <a:pt x="2561343" y="4465616"/>
                  <a:pt x="2558098" y="4452621"/>
                </a:cubicBezTo>
                <a:lnTo>
                  <a:pt x="2520344" y="4446883"/>
                </a:lnTo>
                <a:cubicBezTo>
                  <a:pt x="2514348" y="4431385"/>
                  <a:pt x="2509527" y="4415025"/>
                  <a:pt x="2500131" y="4387550"/>
                </a:cubicBezTo>
                <a:lnTo>
                  <a:pt x="2510191" y="4321358"/>
                </a:lnTo>
                <a:cubicBezTo>
                  <a:pt x="2475406" y="4309820"/>
                  <a:pt x="2461774" y="4282744"/>
                  <a:pt x="2446348" y="4260604"/>
                </a:cubicBezTo>
                <a:cubicBezTo>
                  <a:pt x="2445855" y="4250110"/>
                  <a:pt x="2445052" y="4241653"/>
                  <a:pt x="2443539" y="4231005"/>
                </a:cubicBezTo>
                <a:cubicBezTo>
                  <a:pt x="2426714" y="4252410"/>
                  <a:pt x="2425694" y="4252255"/>
                  <a:pt x="2421016" y="4303637"/>
                </a:cubicBezTo>
                <a:cubicBezTo>
                  <a:pt x="2430291" y="4311298"/>
                  <a:pt x="2443029" y="4323653"/>
                  <a:pt x="2455922" y="4334989"/>
                </a:cubicBezTo>
                <a:cubicBezTo>
                  <a:pt x="2433158" y="4367995"/>
                  <a:pt x="2414229" y="4396374"/>
                  <a:pt x="2394280" y="4424598"/>
                </a:cubicBezTo>
                <a:cubicBezTo>
                  <a:pt x="2380861" y="4423600"/>
                  <a:pt x="2380987" y="4409033"/>
                  <a:pt x="2372422" y="4403564"/>
                </a:cubicBezTo>
                <a:cubicBezTo>
                  <a:pt x="2359346" y="4379697"/>
                  <a:pt x="2384799" y="4356477"/>
                  <a:pt x="2369527" y="4333319"/>
                </a:cubicBezTo>
                <a:cubicBezTo>
                  <a:pt x="2354497" y="4349788"/>
                  <a:pt x="2339466" y="4366257"/>
                  <a:pt x="2325765" y="4380845"/>
                </a:cubicBezTo>
                <a:lnTo>
                  <a:pt x="2302296" y="4377278"/>
                </a:lnTo>
                <a:cubicBezTo>
                  <a:pt x="2300783" y="4366629"/>
                  <a:pt x="2300599" y="4354099"/>
                  <a:pt x="2295715" y="4345022"/>
                </a:cubicBezTo>
                <a:cubicBezTo>
                  <a:pt x="2285792" y="4327886"/>
                  <a:pt x="2272498" y="4312321"/>
                  <a:pt x="2260225" y="4296911"/>
                </a:cubicBezTo>
                <a:cubicBezTo>
                  <a:pt x="2251999" y="4302954"/>
                  <a:pt x="2247298" y="4306407"/>
                  <a:pt x="2241577" y="4309705"/>
                </a:cubicBezTo>
                <a:cubicBezTo>
                  <a:pt x="2233076" y="4296953"/>
                  <a:pt x="2233076" y="4296953"/>
                  <a:pt x="2233202" y="4282386"/>
                </a:cubicBezTo>
                <a:cubicBezTo>
                  <a:pt x="2223124" y="4266268"/>
                  <a:pt x="2205405" y="4272952"/>
                  <a:pt x="2191584" y="4267725"/>
                </a:cubicBezTo>
                <a:cubicBezTo>
                  <a:pt x="2168299" y="4276689"/>
                  <a:pt x="2156020" y="4295660"/>
                  <a:pt x="2143586" y="4315649"/>
                </a:cubicBezTo>
                <a:lnTo>
                  <a:pt x="2079302" y="4305879"/>
                </a:lnTo>
                <a:cubicBezTo>
                  <a:pt x="2078035" y="4300477"/>
                  <a:pt x="2078252" y="4292175"/>
                  <a:pt x="2075346" y="4290691"/>
                </a:cubicBezTo>
                <a:cubicBezTo>
                  <a:pt x="2063566" y="4285775"/>
                  <a:pt x="2052341" y="4284070"/>
                  <a:pt x="2031223" y="4278776"/>
                </a:cubicBezTo>
                <a:cubicBezTo>
                  <a:pt x="2026895" y="4272909"/>
                  <a:pt x="2019414" y="4260312"/>
                  <a:pt x="2011468" y="4250769"/>
                </a:cubicBezTo>
                <a:cubicBezTo>
                  <a:pt x="2019884" y="4222876"/>
                  <a:pt x="2050530" y="4206697"/>
                  <a:pt x="2039403" y="4176875"/>
                </a:cubicBezTo>
                <a:cubicBezTo>
                  <a:pt x="2036559" y="4168108"/>
                  <a:pt x="2033189" y="4169679"/>
                  <a:pt x="2026138" y="4174859"/>
                </a:cubicBezTo>
                <a:cubicBezTo>
                  <a:pt x="2019087" y="4180039"/>
                  <a:pt x="2009594" y="4180679"/>
                  <a:pt x="2001832" y="4183667"/>
                </a:cubicBezTo>
                <a:cubicBezTo>
                  <a:pt x="1996420" y="4184929"/>
                  <a:pt x="1990854" y="4187208"/>
                  <a:pt x="1984267" y="4189333"/>
                </a:cubicBezTo>
                <a:lnTo>
                  <a:pt x="1978386" y="4228030"/>
                </a:lnTo>
                <a:cubicBezTo>
                  <a:pt x="1968738" y="4229689"/>
                  <a:pt x="1957050" y="4231038"/>
                  <a:pt x="1946382" y="4232542"/>
                </a:cubicBezTo>
                <a:cubicBezTo>
                  <a:pt x="1925968" y="4263821"/>
                  <a:pt x="1909172" y="4298775"/>
                  <a:pt x="1873980" y="4317389"/>
                </a:cubicBezTo>
                <a:cubicBezTo>
                  <a:pt x="1876480" y="4349025"/>
                  <a:pt x="1911947" y="4349206"/>
                  <a:pt x="1924312" y="4370881"/>
                </a:cubicBezTo>
                <a:cubicBezTo>
                  <a:pt x="1950160" y="4386270"/>
                  <a:pt x="1985289" y="4374939"/>
                  <a:pt x="2013671" y="4401132"/>
                </a:cubicBezTo>
                <a:cubicBezTo>
                  <a:pt x="1991778" y="4400930"/>
                  <a:pt x="1969639" y="4395482"/>
                  <a:pt x="1957888" y="4404114"/>
                </a:cubicBezTo>
                <a:cubicBezTo>
                  <a:pt x="1939240" y="4416908"/>
                  <a:pt x="1923378" y="4411372"/>
                  <a:pt x="1901795" y="4409133"/>
                </a:cubicBezTo>
                <a:cubicBezTo>
                  <a:pt x="1882064" y="4429055"/>
                  <a:pt x="1859828" y="4451722"/>
                  <a:pt x="1838767" y="4473526"/>
                </a:cubicBezTo>
                <a:cubicBezTo>
                  <a:pt x="1830666" y="4465002"/>
                  <a:pt x="1825318" y="4458980"/>
                  <a:pt x="1819970" y="4452957"/>
                </a:cubicBezTo>
                <a:cubicBezTo>
                  <a:pt x="1790035" y="4471329"/>
                  <a:pt x="1819253" y="4485146"/>
                  <a:pt x="1823054" y="4501352"/>
                </a:cubicBezTo>
                <a:cubicBezTo>
                  <a:pt x="1814426" y="4503167"/>
                  <a:pt x="1805954" y="4503963"/>
                  <a:pt x="1797326" y="4505777"/>
                </a:cubicBezTo>
                <a:cubicBezTo>
                  <a:pt x="1791267" y="4497563"/>
                  <a:pt x="1785053" y="4490367"/>
                  <a:pt x="1779859" y="4483327"/>
                </a:cubicBezTo>
                <a:cubicBezTo>
                  <a:pt x="1771788" y="4488351"/>
                  <a:pt x="1764892" y="4492512"/>
                  <a:pt x="1756820" y="4497537"/>
                </a:cubicBezTo>
                <a:lnTo>
                  <a:pt x="1723148" y="4492419"/>
                </a:lnTo>
                <a:cubicBezTo>
                  <a:pt x="1710685" y="4498860"/>
                  <a:pt x="1700418" y="4504593"/>
                  <a:pt x="1693677" y="4507735"/>
                </a:cubicBezTo>
                <a:cubicBezTo>
                  <a:pt x="1675774" y="4501889"/>
                  <a:pt x="1663289" y="4460400"/>
                  <a:pt x="1662520" y="4431111"/>
                </a:cubicBezTo>
                <a:cubicBezTo>
                  <a:pt x="1682435" y="4423720"/>
                  <a:pt x="1699501" y="4441941"/>
                  <a:pt x="1717994" y="4430166"/>
                </a:cubicBezTo>
                <a:cubicBezTo>
                  <a:pt x="1715151" y="4421399"/>
                  <a:pt x="1712307" y="4412632"/>
                  <a:pt x="1708443" y="4403709"/>
                </a:cubicBezTo>
                <a:cubicBezTo>
                  <a:pt x="1721462" y="4400479"/>
                  <a:pt x="1733305" y="4398112"/>
                  <a:pt x="1744128" y="4395589"/>
                </a:cubicBezTo>
                <a:cubicBezTo>
                  <a:pt x="1743417" y="4393397"/>
                  <a:pt x="1741686" y="4391050"/>
                  <a:pt x="1740264" y="4386667"/>
                </a:cubicBezTo>
                <a:lnTo>
                  <a:pt x="1698428" y="4380308"/>
                </a:lnTo>
                <a:cubicBezTo>
                  <a:pt x="1687634" y="4396380"/>
                  <a:pt x="1675820" y="4412295"/>
                  <a:pt x="1662520" y="4431111"/>
                </a:cubicBezTo>
                <a:cubicBezTo>
                  <a:pt x="1633118" y="4404764"/>
                  <a:pt x="1633118" y="4404764"/>
                  <a:pt x="1594344" y="4398871"/>
                </a:cubicBezTo>
                <a:cubicBezTo>
                  <a:pt x="1598087" y="4387979"/>
                  <a:pt x="1591718" y="4381802"/>
                  <a:pt x="1582689" y="4379388"/>
                </a:cubicBezTo>
                <a:cubicBezTo>
                  <a:pt x="1570754" y="4375490"/>
                  <a:pt x="1558200" y="4375666"/>
                  <a:pt x="1556589" y="4393132"/>
                </a:cubicBezTo>
                <a:cubicBezTo>
                  <a:pt x="1525915" y="4395763"/>
                  <a:pt x="1512437" y="4367669"/>
                  <a:pt x="1489186" y="4355800"/>
                </a:cubicBezTo>
                <a:cubicBezTo>
                  <a:pt x="1479447" y="4351194"/>
                  <a:pt x="1474316" y="4336870"/>
                  <a:pt x="1465660" y="4325136"/>
                </a:cubicBezTo>
                <a:lnTo>
                  <a:pt x="1403416" y="4315676"/>
                </a:lnTo>
                <a:cubicBezTo>
                  <a:pt x="1399828" y="4325549"/>
                  <a:pt x="1396549" y="4333386"/>
                  <a:pt x="1392806" y="4344277"/>
                </a:cubicBezTo>
                <a:cubicBezTo>
                  <a:pt x="1386374" y="4345383"/>
                  <a:pt x="1377901" y="4346179"/>
                  <a:pt x="1370449" y="4347130"/>
                </a:cubicBezTo>
                <a:cubicBezTo>
                  <a:pt x="1366677" y="4344473"/>
                  <a:pt x="1363770" y="4342990"/>
                  <a:pt x="1362039" y="4340643"/>
                </a:cubicBezTo>
                <a:cubicBezTo>
                  <a:pt x="1314276" y="4277123"/>
                  <a:pt x="1266667" y="4212585"/>
                  <a:pt x="1217883" y="4148910"/>
                </a:cubicBezTo>
                <a:cubicBezTo>
                  <a:pt x="1218811" y="4142800"/>
                  <a:pt x="1219740" y="4136690"/>
                  <a:pt x="1219803" y="4129406"/>
                </a:cubicBezTo>
                <a:cubicBezTo>
                  <a:pt x="1192969" y="4093030"/>
                  <a:pt x="1168640" y="4053909"/>
                  <a:pt x="1137105" y="4020986"/>
                </a:cubicBezTo>
                <a:cubicBezTo>
                  <a:pt x="1104860" y="3985871"/>
                  <a:pt x="1099425" y="3939203"/>
                  <a:pt x="1069066" y="3905417"/>
                </a:cubicBezTo>
                <a:cubicBezTo>
                  <a:pt x="1075285" y="3878232"/>
                  <a:pt x="1049621" y="3875373"/>
                  <a:pt x="1037038" y="3862000"/>
                </a:cubicBezTo>
                <a:cubicBezTo>
                  <a:pt x="1027052" y="3852148"/>
                  <a:pt x="1011964" y="3841520"/>
                  <a:pt x="1023067" y="3823412"/>
                </a:cubicBezTo>
                <a:cubicBezTo>
                  <a:pt x="989864" y="3780859"/>
                  <a:pt x="958548" y="3739634"/>
                  <a:pt x="927076" y="3699427"/>
                </a:cubicBezTo>
                <a:lnTo>
                  <a:pt x="930171" y="3679060"/>
                </a:lnTo>
                <a:cubicBezTo>
                  <a:pt x="905533" y="3641976"/>
                  <a:pt x="870627" y="3610624"/>
                  <a:pt x="860956" y="3564355"/>
                </a:cubicBezTo>
                <a:cubicBezTo>
                  <a:pt x="859690" y="3558953"/>
                  <a:pt x="854032" y="3554967"/>
                  <a:pt x="850724" y="3549255"/>
                </a:cubicBezTo>
                <a:cubicBezTo>
                  <a:pt x="842933" y="3538695"/>
                  <a:pt x="815566" y="3547037"/>
                  <a:pt x="822342" y="3523063"/>
                </a:cubicBezTo>
                <a:cubicBezTo>
                  <a:pt x="825684" y="3507943"/>
                  <a:pt x="810843" y="3502561"/>
                  <a:pt x="808309" y="3491757"/>
                </a:cubicBezTo>
                <a:cubicBezTo>
                  <a:pt x="805465" y="3482990"/>
                  <a:pt x="808034" y="3472962"/>
                  <a:pt x="803705" y="3467095"/>
                </a:cubicBezTo>
                <a:cubicBezTo>
                  <a:pt x="794648" y="3451132"/>
                  <a:pt x="781045" y="3437604"/>
                  <a:pt x="770967" y="3421487"/>
                </a:cubicBezTo>
                <a:cubicBezTo>
                  <a:pt x="761600" y="3407561"/>
                  <a:pt x="747532" y="3397088"/>
                  <a:pt x="747721" y="3375237"/>
                </a:cubicBezTo>
                <a:cubicBezTo>
                  <a:pt x="748002" y="3359652"/>
                  <a:pt x="729297" y="3345349"/>
                  <a:pt x="719219" y="3329231"/>
                </a:cubicBezTo>
                <a:lnTo>
                  <a:pt x="722160" y="3309883"/>
                </a:lnTo>
                <a:cubicBezTo>
                  <a:pt x="711400" y="3305122"/>
                  <a:pt x="701815" y="3299497"/>
                  <a:pt x="690189" y="3293563"/>
                </a:cubicBezTo>
                <a:cubicBezTo>
                  <a:pt x="690252" y="3286280"/>
                  <a:pt x="689450" y="3277823"/>
                  <a:pt x="688802" y="3268348"/>
                </a:cubicBezTo>
                <a:cubicBezTo>
                  <a:pt x="666881" y="3254597"/>
                  <a:pt x="645980" y="3241002"/>
                  <a:pt x="624214" y="3226233"/>
                </a:cubicBezTo>
                <a:cubicBezTo>
                  <a:pt x="623967" y="3220987"/>
                  <a:pt x="623875" y="3214721"/>
                  <a:pt x="624185" y="3212685"/>
                </a:cubicBezTo>
                <a:cubicBezTo>
                  <a:pt x="592868" y="3171460"/>
                  <a:pt x="563282" y="3132582"/>
                  <a:pt x="531255" y="3089165"/>
                </a:cubicBezTo>
                <a:lnTo>
                  <a:pt x="520030" y="3087459"/>
                </a:lnTo>
                <a:cubicBezTo>
                  <a:pt x="508221" y="3068995"/>
                  <a:pt x="514596" y="3040791"/>
                  <a:pt x="487974" y="3030494"/>
                </a:cubicBezTo>
                <a:cubicBezTo>
                  <a:pt x="474336" y="3037798"/>
                  <a:pt x="480487" y="3052277"/>
                  <a:pt x="476744" y="3063169"/>
                </a:cubicBezTo>
                <a:cubicBezTo>
                  <a:pt x="444837" y="3039566"/>
                  <a:pt x="444837" y="3039566"/>
                  <a:pt x="406062" y="3033673"/>
                </a:cubicBezTo>
                <a:cubicBezTo>
                  <a:pt x="404795" y="3028271"/>
                  <a:pt x="405168" y="3018951"/>
                  <a:pt x="402107" y="3018485"/>
                </a:cubicBezTo>
                <a:cubicBezTo>
                  <a:pt x="391347" y="3013724"/>
                  <a:pt x="388068" y="3021561"/>
                  <a:pt x="387695" y="3030882"/>
                </a:cubicBezTo>
                <a:lnTo>
                  <a:pt x="360145" y="3026694"/>
                </a:lnTo>
                <a:cubicBezTo>
                  <a:pt x="346851" y="3011129"/>
                  <a:pt x="337948" y="2994149"/>
                  <a:pt x="334921" y="2972851"/>
                </a:cubicBezTo>
                <a:cubicBezTo>
                  <a:pt x="332141" y="2956801"/>
                  <a:pt x="310621" y="2947279"/>
                  <a:pt x="308213" y="2921908"/>
                </a:cubicBezTo>
                <a:cubicBezTo>
                  <a:pt x="314244" y="2916573"/>
                  <a:pt x="322625" y="2909512"/>
                  <a:pt x="330140" y="2901278"/>
                </a:cubicBezTo>
                <a:cubicBezTo>
                  <a:pt x="315207" y="2889632"/>
                  <a:pt x="320188" y="2870593"/>
                  <a:pt x="312151" y="2854786"/>
                </a:cubicBezTo>
                <a:lnTo>
                  <a:pt x="289703" y="2851374"/>
                </a:lnTo>
                <a:cubicBezTo>
                  <a:pt x="286022" y="2854982"/>
                  <a:pt x="282652" y="2856553"/>
                  <a:pt x="282342" y="2858590"/>
                </a:cubicBezTo>
                <a:cubicBezTo>
                  <a:pt x="277298" y="2884912"/>
                  <a:pt x="273274" y="2911388"/>
                  <a:pt x="269095" y="2938883"/>
                </a:cubicBezTo>
                <a:cubicBezTo>
                  <a:pt x="232733" y="2923981"/>
                  <a:pt x="235244" y="2886855"/>
                  <a:pt x="227023" y="2858517"/>
                </a:cubicBezTo>
                <a:cubicBezTo>
                  <a:pt x="222048" y="2843175"/>
                  <a:pt x="229225" y="2823428"/>
                  <a:pt x="213580" y="2809591"/>
                </a:cubicBezTo>
                <a:cubicBezTo>
                  <a:pt x="221468" y="2792036"/>
                  <a:pt x="207401" y="2781563"/>
                  <a:pt x="199920" y="2768965"/>
                </a:cubicBezTo>
                <a:cubicBezTo>
                  <a:pt x="187956" y="2751519"/>
                  <a:pt x="179953" y="2714879"/>
                  <a:pt x="177052" y="2679015"/>
                </a:cubicBezTo>
                <a:cubicBezTo>
                  <a:pt x="175785" y="2673613"/>
                  <a:pt x="172323" y="2668920"/>
                  <a:pt x="169015" y="2663208"/>
                </a:cubicBezTo>
                <a:cubicBezTo>
                  <a:pt x="167284" y="2660860"/>
                  <a:pt x="165553" y="2658514"/>
                  <a:pt x="160359" y="2651473"/>
                </a:cubicBezTo>
                <a:cubicBezTo>
                  <a:pt x="171956" y="2643859"/>
                  <a:pt x="183553" y="2636245"/>
                  <a:pt x="195304" y="2627613"/>
                </a:cubicBezTo>
                <a:cubicBezTo>
                  <a:pt x="205755" y="2634410"/>
                  <a:pt x="212278" y="2639569"/>
                  <a:pt x="219977" y="2643864"/>
                </a:cubicBezTo>
                <a:cubicBezTo>
                  <a:pt x="223749" y="2646522"/>
                  <a:pt x="227521" y="2649179"/>
                  <a:pt x="234199" y="2653319"/>
                </a:cubicBezTo>
                <a:cubicBezTo>
                  <a:pt x="236613" y="2644309"/>
                  <a:pt x="238871" y="2636317"/>
                  <a:pt x="240975" y="2629344"/>
                </a:cubicBezTo>
                <a:cubicBezTo>
                  <a:pt x="223818" y="2604858"/>
                  <a:pt x="193017" y="2622056"/>
                  <a:pt x="173756" y="2604542"/>
                </a:cubicBezTo>
                <a:cubicBezTo>
                  <a:pt x="176232" y="2588249"/>
                  <a:pt x="193177" y="2586656"/>
                  <a:pt x="200692" y="2578422"/>
                </a:cubicBezTo>
                <a:cubicBezTo>
                  <a:pt x="211206" y="2577936"/>
                  <a:pt x="219679" y="2577140"/>
                  <a:pt x="229171" y="2576499"/>
                </a:cubicBezTo>
                <a:lnTo>
                  <a:pt x="235981" y="2531692"/>
                </a:lnTo>
                <a:cubicBezTo>
                  <a:pt x="226861" y="2523013"/>
                  <a:pt x="214123" y="2510658"/>
                  <a:pt x="198789" y="2494784"/>
                </a:cubicBezTo>
                <a:cubicBezTo>
                  <a:pt x="218457" y="2482145"/>
                  <a:pt x="232868" y="2469749"/>
                  <a:pt x="249722" y="2461892"/>
                </a:cubicBezTo>
                <a:cubicBezTo>
                  <a:pt x="264380" y="2454743"/>
                  <a:pt x="281635" y="2451114"/>
                  <a:pt x="304611" y="2444188"/>
                </a:cubicBezTo>
                <a:lnTo>
                  <a:pt x="334202" y="2448685"/>
                </a:lnTo>
                <a:cubicBezTo>
                  <a:pt x="341253" y="2443506"/>
                  <a:pt x="349324" y="2438481"/>
                  <a:pt x="356375" y="2433302"/>
                </a:cubicBezTo>
                <a:lnTo>
                  <a:pt x="392088" y="2438730"/>
                </a:lnTo>
                <a:cubicBezTo>
                  <a:pt x="398148" y="2446944"/>
                  <a:pt x="404362" y="2454139"/>
                  <a:pt x="409710" y="2460161"/>
                </a:cubicBezTo>
                <a:lnTo>
                  <a:pt x="438281" y="2464504"/>
                </a:lnTo>
                <a:cubicBezTo>
                  <a:pt x="441342" y="2464969"/>
                  <a:pt x="444404" y="2465434"/>
                  <a:pt x="446135" y="2467781"/>
                </a:cubicBezTo>
                <a:cubicBezTo>
                  <a:pt x="463911" y="2488195"/>
                  <a:pt x="480513" y="2509471"/>
                  <a:pt x="499465" y="2529021"/>
                </a:cubicBezTo>
                <a:cubicBezTo>
                  <a:pt x="517551" y="2547398"/>
                  <a:pt x="544792" y="2553622"/>
                  <a:pt x="562104" y="2577091"/>
                </a:cubicBezTo>
                <a:cubicBezTo>
                  <a:pt x="566558" y="2568391"/>
                  <a:pt x="570703" y="2561728"/>
                  <a:pt x="575312" y="2552010"/>
                </a:cubicBezTo>
                <a:cubicBezTo>
                  <a:pt x="564059" y="2536755"/>
                  <a:pt x="546219" y="2523625"/>
                  <a:pt x="544459" y="2507729"/>
                </a:cubicBezTo>
                <a:cubicBezTo>
                  <a:pt x="542699" y="2491834"/>
                  <a:pt x="540630" y="2477975"/>
                  <a:pt x="528448" y="2468831"/>
                </a:cubicBezTo>
                <a:cubicBezTo>
                  <a:pt x="510608" y="2455701"/>
                  <a:pt x="521156" y="2434383"/>
                  <a:pt x="510459" y="2422339"/>
                </a:cubicBezTo>
                <a:cubicBezTo>
                  <a:pt x="501585" y="2418906"/>
                  <a:pt x="492711" y="2415474"/>
                  <a:pt x="484858" y="2412197"/>
                </a:cubicBezTo>
                <a:cubicBezTo>
                  <a:pt x="485138" y="2396611"/>
                  <a:pt x="485264" y="2382044"/>
                  <a:pt x="485855" y="2364422"/>
                </a:cubicBezTo>
                <a:cubicBezTo>
                  <a:pt x="479022" y="2361300"/>
                  <a:pt x="469993" y="2358886"/>
                  <a:pt x="459233" y="2354125"/>
                </a:cubicBezTo>
                <a:cubicBezTo>
                  <a:pt x="457255" y="2346532"/>
                  <a:pt x="458092" y="2334156"/>
                  <a:pt x="453208" y="2325079"/>
                </a:cubicBezTo>
                <a:cubicBezTo>
                  <a:pt x="445882" y="2311463"/>
                  <a:pt x="435185" y="2299419"/>
                  <a:pt x="425663" y="2286511"/>
                </a:cubicBezTo>
                <a:lnTo>
                  <a:pt x="436497" y="2215227"/>
                </a:lnTo>
                <a:cubicBezTo>
                  <a:pt x="431303" y="2208187"/>
                  <a:pt x="426265" y="2200128"/>
                  <a:pt x="420050" y="2192932"/>
                </a:cubicBezTo>
                <a:lnTo>
                  <a:pt x="425468" y="2157290"/>
                </a:lnTo>
                <a:cubicBezTo>
                  <a:pt x="432518" y="2152111"/>
                  <a:pt x="439569" y="2146932"/>
                  <a:pt x="446775" y="2140734"/>
                </a:cubicBezTo>
                <a:cubicBezTo>
                  <a:pt x="436697" y="2124616"/>
                  <a:pt x="418978" y="2131300"/>
                  <a:pt x="405157" y="2126073"/>
                </a:cubicBezTo>
                <a:cubicBezTo>
                  <a:pt x="395698" y="2105882"/>
                  <a:pt x="388590" y="2083965"/>
                  <a:pt x="374740" y="2065190"/>
                </a:cubicBezTo>
                <a:cubicBezTo>
                  <a:pt x="360179" y="2044224"/>
                  <a:pt x="333495" y="2041210"/>
                  <a:pt x="320974" y="2020553"/>
                </a:cubicBezTo>
                <a:cubicBezTo>
                  <a:pt x="296887" y="2021060"/>
                  <a:pt x="295190" y="1997881"/>
                  <a:pt x="282142" y="1987563"/>
                </a:cubicBezTo>
                <a:lnTo>
                  <a:pt x="290500" y="1932573"/>
                </a:lnTo>
                <a:cubicBezTo>
                  <a:pt x="282710" y="1922012"/>
                  <a:pt x="274764" y="1912470"/>
                  <a:pt x="267839" y="1903082"/>
                </a:cubicBezTo>
                <a:cubicBezTo>
                  <a:pt x="253709" y="1899893"/>
                  <a:pt x="238558" y="1896548"/>
                  <a:pt x="221366" y="1892893"/>
                </a:cubicBezTo>
                <a:cubicBezTo>
                  <a:pt x="238345" y="1870469"/>
                  <a:pt x="251645" y="1851653"/>
                  <a:pt x="267449" y="1830093"/>
                </a:cubicBezTo>
                <a:cubicBezTo>
                  <a:pt x="243269" y="1824334"/>
                  <a:pt x="223016" y="1820214"/>
                  <a:pt x="201743" y="1815939"/>
                </a:cubicBezTo>
                <a:cubicBezTo>
                  <a:pt x="197478" y="1802788"/>
                  <a:pt x="178710" y="1795768"/>
                  <a:pt x="181496" y="1777438"/>
                </a:cubicBezTo>
                <a:lnTo>
                  <a:pt x="210066" y="1781780"/>
                </a:lnTo>
                <a:cubicBezTo>
                  <a:pt x="233570" y="1764515"/>
                  <a:pt x="217897" y="1737128"/>
                  <a:pt x="231660" y="1715257"/>
                </a:cubicBezTo>
                <a:cubicBezTo>
                  <a:pt x="217685" y="1711050"/>
                  <a:pt x="209831" y="1707773"/>
                  <a:pt x="198916" y="1704030"/>
                </a:cubicBezTo>
                <a:cubicBezTo>
                  <a:pt x="197248" y="1694400"/>
                  <a:pt x="195735" y="1683751"/>
                  <a:pt x="192645" y="1669737"/>
                </a:cubicBezTo>
                <a:cubicBezTo>
                  <a:pt x="179534" y="1666702"/>
                  <a:pt x="165404" y="1663513"/>
                  <a:pt x="151273" y="1660324"/>
                </a:cubicBezTo>
                <a:cubicBezTo>
                  <a:pt x="143483" y="1649763"/>
                  <a:pt x="136558" y="1640375"/>
                  <a:pt x="128612" y="1630833"/>
                </a:cubicBezTo>
                <a:cubicBezTo>
                  <a:pt x="133840" y="1617042"/>
                  <a:pt x="126979" y="1600371"/>
                  <a:pt x="143586" y="1587267"/>
                </a:cubicBezTo>
                <a:cubicBezTo>
                  <a:pt x="148934" y="1593289"/>
                  <a:pt x="154282" y="1599311"/>
                  <a:pt x="159631" y="1605333"/>
                </a:cubicBezTo>
                <a:cubicBezTo>
                  <a:pt x="177012" y="1587138"/>
                  <a:pt x="177012" y="1587138"/>
                  <a:pt x="150178" y="1550762"/>
                </a:cubicBezTo>
                <a:cubicBezTo>
                  <a:pt x="145477" y="1554215"/>
                  <a:pt x="140776" y="1557668"/>
                  <a:pt x="135055" y="1560965"/>
                </a:cubicBezTo>
                <a:cubicBezTo>
                  <a:pt x="113811" y="1570239"/>
                  <a:pt x="94085" y="1555781"/>
                  <a:pt x="74789" y="1559099"/>
                </a:cubicBezTo>
                <a:cubicBezTo>
                  <a:pt x="55746" y="1533284"/>
                  <a:pt x="82218" y="1510219"/>
                  <a:pt x="70008" y="1487526"/>
                </a:cubicBezTo>
                <a:cubicBezTo>
                  <a:pt x="54611" y="1478935"/>
                  <a:pt x="42607" y="1516701"/>
                  <a:pt x="32529" y="1500583"/>
                </a:cubicBezTo>
                <a:cubicBezTo>
                  <a:pt x="13732" y="1480015"/>
                  <a:pt x="23907" y="1468017"/>
                  <a:pt x="23414" y="1457523"/>
                </a:cubicBezTo>
                <a:lnTo>
                  <a:pt x="53006" y="1462021"/>
                </a:lnTo>
                <a:cubicBezTo>
                  <a:pt x="56129" y="1455203"/>
                  <a:pt x="65130" y="1444068"/>
                  <a:pt x="62533" y="1440548"/>
                </a:cubicBezTo>
                <a:cubicBezTo>
                  <a:pt x="48437" y="1416526"/>
                  <a:pt x="53544" y="1382921"/>
                  <a:pt x="25655" y="1367222"/>
                </a:cubicBezTo>
                <a:cubicBezTo>
                  <a:pt x="18759" y="1371383"/>
                  <a:pt x="11863" y="1375544"/>
                  <a:pt x="5122" y="1378687"/>
                </a:cubicBezTo>
                <a:cubicBezTo>
                  <a:pt x="-5977" y="1362414"/>
                  <a:pt x="4508" y="1348380"/>
                  <a:pt x="3923" y="1331621"/>
                </a:cubicBezTo>
                <a:cubicBezTo>
                  <a:pt x="15766" y="1329254"/>
                  <a:pt x="26434" y="1327750"/>
                  <a:pt x="38278" y="1325382"/>
                </a:cubicBezTo>
                <a:cubicBezTo>
                  <a:pt x="51423" y="1307584"/>
                  <a:pt x="47375" y="1286132"/>
                  <a:pt x="51491" y="1265921"/>
                </a:cubicBezTo>
                <a:cubicBezTo>
                  <a:pt x="41814" y="1254031"/>
                  <a:pt x="33158" y="1242297"/>
                  <a:pt x="21905" y="1227043"/>
                </a:cubicBezTo>
                <a:cubicBezTo>
                  <a:pt x="22278" y="1217722"/>
                  <a:pt x="23980" y="1206520"/>
                  <a:pt x="26055" y="1185999"/>
                </a:cubicBezTo>
                <a:cubicBezTo>
                  <a:pt x="33817" y="1183011"/>
                  <a:pt x="48320" y="1176880"/>
                  <a:pt x="61649" y="1171613"/>
                </a:cubicBezTo>
                <a:cubicBezTo>
                  <a:pt x="63380" y="1173960"/>
                  <a:pt x="69594" y="1181156"/>
                  <a:pt x="75808" y="1188351"/>
                </a:cubicBezTo>
                <a:cubicBezTo>
                  <a:pt x="106884" y="1189948"/>
                  <a:pt x="122442" y="1163141"/>
                  <a:pt x="142821" y="1152694"/>
                </a:cubicBezTo>
                <a:cubicBezTo>
                  <a:pt x="146409" y="1142821"/>
                  <a:pt x="149688" y="1134984"/>
                  <a:pt x="152812" y="1128166"/>
                </a:cubicBezTo>
                <a:cubicBezTo>
                  <a:pt x="169259" y="1150461"/>
                  <a:pt x="183820" y="1171428"/>
                  <a:pt x="195073" y="1186682"/>
                </a:cubicBezTo>
                <a:cubicBezTo>
                  <a:pt x="214460" y="1189629"/>
                  <a:pt x="223644" y="1191025"/>
                  <a:pt x="232827" y="1192420"/>
                </a:cubicBezTo>
                <a:cubicBezTo>
                  <a:pt x="235051" y="1205261"/>
                  <a:pt x="219310" y="1219538"/>
                  <a:pt x="238789" y="1228750"/>
                </a:cubicBezTo>
                <a:cubicBezTo>
                  <a:pt x="247479" y="1219652"/>
                  <a:pt x="262384" y="1217750"/>
                  <a:pt x="266190" y="1199575"/>
                </a:cubicBezTo>
                <a:cubicBezTo>
                  <a:pt x="255121" y="1196850"/>
                  <a:pt x="244051" y="1194126"/>
                  <a:pt x="232827" y="1192420"/>
                </a:cubicBezTo>
                <a:cubicBezTo>
                  <a:pt x="235212" y="1169862"/>
                  <a:pt x="208435" y="1160583"/>
                  <a:pt x="205253" y="1140304"/>
                </a:cubicBezTo>
                <a:cubicBezTo>
                  <a:pt x="230425" y="1132669"/>
                  <a:pt x="254421" y="1125897"/>
                  <a:pt x="279438" y="1119281"/>
                </a:cubicBezTo>
                <a:cubicBezTo>
                  <a:pt x="281387" y="1113326"/>
                  <a:pt x="285531" y="1106663"/>
                  <a:pt x="284110" y="1102279"/>
                </a:cubicBezTo>
                <a:cubicBezTo>
                  <a:pt x="276846" y="1081380"/>
                  <a:pt x="267542" y="1060170"/>
                  <a:pt x="258548" y="1036924"/>
                </a:cubicBezTo>
                <a:cubicBezTo>
                  <a:pt x="273670" y="1026721"/>
                  <a:pt x="292008" y="1015963"/>
                  <a:pt x="314027" y="1001598"/>
                </a:cubicBezTo>
                <a:lnTo>
                  <a:pt x="364026" y="1009197"/>
                </a:lnTo>
                <a:cubicBezTo>
                  <a:pt x="375497" y="1016150"/>
                  <a:pt x="370423" y="1028923"/>
                  <a:pt x="370452" y="1042472"/>
                </a:cubicBezTo>
                <a:cubicBezTo>
                  <a:pt x="378306" y="1045749"/>
                  <a:pt x="386159" y="1049026"/>
                  <a:pt x="397074" y="1052769"/>
                </a:cubicBezTo>
                <a:cubicBezTo>
                  <a:pt x="400536" y="1057463"/>
                  <a:pt x="406751" y="1064658"/>
                  <a:pt x="413830" y="1073027"/>
                </a:cubicBezTo>
                <a:cubicBezTo>
                  <a:pt x="418129" y="1065346"/>
                  <a:pt x="422429" y="1057665"/>
                  <a:pt x="428368" y="1046065"/>
                </a:cubicBezTo>
                <a:cubicBezTo>
                  <a:pt x="415630" y="1033710"/>
                  <a:pt x="403047" y="1020337"/>
                  <a:pt x="390309" y="1007983"/>
                </a:cubicBezTo>
                <a:cubicBezTo>
                  <a:pt x="401040" y="999195"/>
                  <a:pt x="408092" y="994016"/>
                  <a:pt x="414122" y="988681"/>
                </a:cubicBezTo>
                <a:lnTo>
                  <a:pt x="417218" y="968314"/>
                </a:lnTo>
                <a:cubicBezTo>
                  <a:pt x="410539" y="964174"/>
                  <a:pt x="402686" y="960896"/>
                  <a:pt x="392080" y="955117"/>
                </a:cubicBezTo>
                <a:cubicBezTo>
                  <a:pt x="378844" y="966649"/>
                  <a:pt x="365453" y="979200"/>
                  <a:pt x="352062" y="991751"/>
                </a:cubicBezTo>
                <a:cubicBezTo>
                  <a:pt x="347734" y="985884"/>
                  <a:pt x="343962" y="983227"/>
                  <a:pt x="344271" y="981190"/>
                </a:cubicBezTo>
                <a:cubicBezTo>
                  <a:pt x="346719" y="951348"/>
                  <a:pt x="350187" y="921661"/>
                  <a:pt x="352480" y="892838"/>
                </a:cubicBezTo>
                <a:cubicBezTo>
                  <a:pt x="362191" y="883895"/>
                  <a:pt x="369861" y="874642"/>
                  <a:pt x="374871" y="869152"/>
                </a:cubicBezTo>
                <a:cubicBezTo>
                  <a:pt x="386594" y="846971"/>
                  <a:pt x="345131" y="831293"/>
                  <a:pt x="372314" y="810419"/>
                </a:cubicBezTo>
                <a:cubicBezTo>
                  <a:pt x="376241" y="812058"/>
                  <a:pt x="380013" y="814715"/>
                  <a:pt x="383785" y="817372"/>
                </a:cubicBezTo>
                <a:cubicBezTo>
                  <a:pt x="398718" y="829019"/>
                  <a:pt x="398718" y="829019"/>
                  <a:pt x="420519" y="822955"/>
                </a:cubicBezTo>
                <a:cubicBezTo>
                  <a:pt x="417211" y="817243"/>
                  <a:pt x="413748" y="812549"/>
                  <a:pt x="407534" y="805354"/>
                </a:cubicBezTo>
                <a:cubicBezTo>
                  <a:pt x="413874" y="797983"/>
                  <a:pt x="420215" y="790611"/>
                  <a:pt x="427575" y="783395"/>
                </a:cubicBezTo>
                <a:cubicBezTo>
                  <a:pt x="436483" y="765995"/>
                  <a:pt x="414809" y="757492"/>
                  <a:pt x="414379" y="739715"/>
                </a:cubicBezTo>
                <a:cubicBezTo>
                  <a:pt x="426039" y="724817"/>
                  <a:pt x="438163" y="706864"/>
                  <a:pt x="451307" y="689067"/>
                </a:cubicBezTo>
                <a:cubicBezTo>
                  <a:pt x="459963" y="700801"/>
                  <a:pt x="466888" y="710189"/>
                  <a:pt x="477430" y="723251"/>
                </a:cubicBezTo>
                <a:cubicBezTo>
                  <a:pt x="468121" y="736422"/>
                  <a:pt x="458657" y="750612"/>
                  <a:pt x="446997" y="765510"/>
                </a:cubicBezTo>
                <a:cubicBezTo>
                  <a:pt x="453950" y="788445"/>
                  <a:pt x="474542" y="804077"/>
                  <a:pt x="487216" y="823715"/>
                </a:cubicBezTo>
                <a:lnTo>
                  <a:pt x="507624" y="826817"/>
                </a:lnTo>
                <a:cubicBezTo>
                  <a:pt x="509602" y="834411"/>
                  <a:pt x="511425" y="843023"/>
                  <a:pt x="513093" y="852653"/>
                </a:cubicBezTo>
                <a:cubicBezTo>
                  <a:pt x="502517" y="860422"/>
                  <a:pt x="493115" y="867328"/>
                  <a:pt x="482384" y="876116"/>
                </a:cubicBezTo>
                <a:cubicBezTo>
                  <a:pt x="468964" y="875118"/>
                  <a:pt x="454369" y="874984"/>
                  <a:pt x="440950" y="873986"/>
                </a:cubicBezTo>
                <a:cubicBezTo>
                  <a:pt x="430373" y="881755"/>
                  <a:pt x="419951" y="888506"/>
                  <a:pt x="406004" y="897847"/>
                </a:cubicBezTo>
                <a:cubicBezTo>
                  <a:pt x="425793" y="905022"/>
                  <a:pt x="441655" y="910558"/>
                  <a:pt x="460578" y="916560"/>
                </a:cubicBezTo>
                <a:cubicBezTo>
                  <a:pt x="460360" y="924862"/>
                  <a:pt x="461163" y="933319"/>
                  <a:pt x="461656" y="943812"/>
                </a:cubicBezTo>
                <a:cubicBezTo>
                  <a:pt x="467469" y="946779"/>
                  <a:pt x="475167" y="951075"/>
                  <a:pt x="484907" y="955681"/>
                </a:cubicBezTo>
                <a:cubicBezTo>
                  <a:pt x="493041" y="943373"/>
                  <a:pt x="501021" y="932083"/>
                  <a:pt x="509155" y="919775"/>
                </a:cubicBezTo>
                <a:lnTo>
                  <a:pt x="527522" y="922567"/>
                </a:lnTo>
                <a:cubicBezTo>
                  <a:pt x="539704" y="931712"/>
                  <a:pt x="534785" y="943466"/>
                  <a:pt x="532928" y="955686"/>
                </a:cubicBezTo>
                <a:cubicBezTo>
                  <a:pt x="531071" y="967906"/>
                  <a:pt x="529214" y="980127"/>
                  <a:pt x="547890" y="980881"/>
                </a:cubicBezTo>
                <a:cubicBezTo>
                  <a:pt x="549157" y="986283"/>
                  <a:pt x="550424" y="991685"/>
                  <a:pt x="551691" y="997087"/>
                </a:cubicBezTo>
                <a:cubicBezTo>
                  <a:pt x="554689" y="1004836"/>
                  <a:pt x="557687" y="1012584"/>
                  <a:pt x="563901" y="1019780"/>
                </a:cubicBezTo>
                <a:cubicBezTo>
                  <a:pt x="551192" y="1020974"/>
                  <a:pt x="537062" y="1017784"/>
                  <a:pt x="548005" y="1035076"/>
                </a:cubicBezTo>
                <a:cubicBezTo>
                  <a:pt x="552860" y="1030604"/>
                  <a:pt x="557716" y="1026133"/>
                  <a:pt x="563901" y="1019780"/>
                </a:cubicBezTo>
                <a:cubicBezTo>
                  <a:pt x="563746" y="1020798"/>
                  <a:pt x="567673" y="1022437"/>
                  <a:pt x="569869" y="1021729"/>
                </a:cubicBezTo>
                <a:cubicBezTo>
                  <a:pt x="573085" y="1021176"/>
                  <a:pt x="576610" y="1018586"/>
                  <a:pt x="576920" y="1016549"/>
                </a:cubicBezTo>
                <a:cubicBezTo>
                  <a:pt x="578903" y="989762"/>
                  <a:pt x="599345" y="972032"/>
                  <a:pt x="609182" y="948522"/>
                </a:cubicBezTo>
                <a:cubicBezTo>
                  <a:pt x="613945" y="937786"/>
                  <a:pt x="612742" y="925100"/>
                  <a:pt x="613825" y="917972"/>
                </a:cubicBezTo>
                <a:cubicBezTo>
                  <a:pt x="596513" y="894504"/>
                  <a:pt x="579911" y="873227"/>
                  <a:pt x="561579" y="849603"/>
                </a:cubicBezTo>
                <a:cubicBezTo>
                  <a:pt x="590493" y="831077"/>
                  <a:pt x="613377" y="817885"/>
                  <a:pt x="630850" y="805955"/>
                </a:cubicBezTo>
                <a:lnTo>
                  <a:pt x="635957" y="772350"/>
                </a:lnTo>
                <a:cubicBezTo>
                  <a:pt x="651727" y="771621"/>
                  <a:pt x="652312" y="788379"/>
                  <a:pt x="662918" y="794159"/>
                </a:cubicBezTo>
                <a:cubicBezTo>
                  <a:pt x="672319" y="787253"/>
                  <a:pt x="681875" y="779328"/>
                  <a:pt x="692296" y="772577"/>
                </a:cubicBezTo>
                <a:lnTo>
                  <a:pt x="695237" y="753229"/>
                </a:lnTo>
                <a:cubicBezTo>
                  <a:pt x="684787" y="746431"/>
                  <a:pt x="673471" y="738460"/>
                  <a:pt x="661134" y="730334"/>
                </a:cubicBezTo>
                <a:cubicBezTo>
                  <a:pt x="667010" y="726018"/>
                  <a:pt x="671711" y="722565"/>
                  <a:pt x="679782" y="717540"/>
                </a:cubicBezTo>
                <a:cubicBezTo>
                  <a:pt x="669675" y="687874"/>
                  <a:pt x="662074" y="655463"/>
                  <a:pt x="647731" y="626195"/>
                </a:cubicBezTo>
                <a:cubicBezTo>
                  <a:pt x="639138" y="607177"/>
                  <a:pt x="644521" y="592367"/>
                  <a:pt x="652718" y="572776"/>
                </a:cubicBezTo>
                <a:cubicBezTo>
                  <a:pt x="661128" y="579263"/>
                  <a:pt x="668517" y="585595"/>
                  <a:pt x="678813" y="593411"/>
                </a:cubicBezTo>
                <a:cubicBezTo>
                  <a:pt x="683639" y="575392"/>
                  <a:pt x="689177" y="559563"/>
                  <a:pt x="695333" y="539662"/>
                </a:cubicBezTo>
                <a:cubicBezTo>
                  <a:pt x="703433" y="548186"/>
                  <a:pt x="708782" y="554208"/>
                  <a:pt x="714285" y="559212"/>
                </a:cubicBezTo>
                <a:cubicBezTo>
                  <a:pt x="723222" y="555361"/>
                  <a:pt x="733334" y="550647"/>
                  <a:pt x="746662" y="545379"/>
                </a:cubicBezTo>
                <a:cubicBezTo>
                  <a:pt x="754762" y="553904"/>
                  <a:pt x="763017" y="561409"/>
                  <a:pt x="772138" y="570088"/>
                </a:cubicBezTo>
                <a:cubicBezTo>
                  <a:pt x="778013" y="565772"/>
                  <a:pt x="785065" y="560593"/>
                  <a:pt x="793136" y="555568"/>
                </a:cubicBezTo>
                <a:cubicBezTo>
                  <a:pt x="822326" y="555837"/>
                  <a:pt x="823650" y="588336"/>
                  <a:pt x="845170" y="597858"/>
                </a:cubicBezTo>
                <a:cubicBezTo>
                  <a:pt x="860355" y="580371"/>
                  <a:pt x="855442" y="557745"/>
                  <a:pt x="862063" y="534788"/>
                </a:cubicBezTo>
                <a:cubicBezTo>
                  <a:pt x="843295" y="527768"/>
                  <a:pt x="825392" y="521922"/>
                  <a:pt x="804583" y="514592"/>
                </a:cubicBezTo>
                <a:cubicBezTo>
                  <a:pt x="828396" y="495290"/>
                  <a:pt x="858664" y="522811"/>
                  <a:pt x="875397" y="495140"/>
                </a:cubicBezTo>
                <a:lnTo>
                  <a:pt x="931518" y="503670"/>
                </a:lnTo>
                <a:cubicBezTo>
                  <a:pt x="935846" y="509537"/>
                  <a:pt x="942060" y="516733"/>
                  <a:pt x="948274" y="523928"/>
                </a:cubicBezTo>
                <a:cubicBezTo>
                  <a:pt x="964881" y="510824"/>
                  <a:pt x="981488" y="497720"/>
                  <a:pt x="1000291" y="483908"/>
                </a:cubicBezTo>
                <a:lnTo>
                  <a:pt x="1005089" y="452340"/>
                </a:lnTo>
                <a:cubicBezTo>
                  <a:pt x="1012048" y="440895"/>
                  <a:pt x="1028839" y="440322"/>
                  <a:pt x="1029119" y="424736"/>
                </a:cubicBezTo>
                <a:cubicBezTo>
                  <a:pt x="1043961" y="430117"/>
                  <a:pt x="1049498" y="414289"/>
                  <a:pt x="1060321" y="411767"/>
                </a:cubicBezTo>
                <a:lnTo>
                  <a:pt x="1096035" y="417195"/>
                </a:lnTo>
                <a:cubicBezTo>
                  <a:pt x="1100363" y="423062"/>
                  <a:pt x="1103826" y="427755"/>
                  <a:pt x="1110039" y="434951"/>
                </a:cubicBezTo>
                <a:lnTo>
                  <a:pt x="1150855" y="441154"/>
                </a:lnTo>
                <a:cubicBezTo>
                  <a:pt x="1155556" y="437702"/>
                  <a:pt x="1160256" y="434248"/>
                  <a:pt x="1167307" y="429069"/>
                </a:cubicBezTo>
                <a:lnTo>
                  <a:pt x="1258122" y="442871"/>
                </a:lnTo>
                <a:cubicBezTo>
                  <a:pt x="1270303" y="452016"/>
                  <a:pt x="1284526" y="461470"/>
                  <a:pt x="1299614" y="472098"/>
                </a:cubicBezTo>
                <a:cubicBezTo>
                  <a:pt x="1308545" y="502628"/>
                  <a:pt x="1311601" y="537474"/>
                  <a:pt x="1337942" y="563356"/>
                </a:cubicBezTo>
                <a:cubicBezTo>
                  <a:pt x="1348272" y="550340"/>
                  <a:pt x="1358756" y="536306"/>
                  <a:pt x="1372056" y="517490"/>
                </a:cubicBezTo>
                <a:lnTo>
                  <a:pt x="1376544" y="487958"/>
                </a:lnTo>
                <a:cubicBezTo>
                  <a:pt x="1375030" y="477309"/>
                  <a:pt x="1358148" y="471618"/>
                  <a:pt x="1363531" y="456808"/>
                </a:cubicBezTo>
                <a:cubicBezTo>
                  <a:pt x="1375621" y="459687"/>
                  <a:pt x="1382672" y="454508"/>
                  <a:pt x="1381313" y="442841"/>
                </a:cubicBezTo>
                <a:cubicBezTo>
                  <a:pt x="1394022" y="441647"/>
                  <a:pt x="1408153" y="444836"/>
                  <a:pt x="1397209" y="427545"/>
                </a:cubicBezTo>
                <a:cubicBezTo>
                  <a:pt x="1392509" y="430998"/>
                  <a:pt x="1387653" y="435470"/>
                  <a:pt x="1381313" y="442841"/>
                </a:cubicBezTo>
                <a:cubicBezTo>
                  <a:pt x="1371419" y="439253"/>
                  <a:pt x="1364368" y="444433"/>
                  <a:pt x="1363531" y="456808"/>
                </a:cubicBezTo>
                <a:lnTo>
                  <a:pt x="1334960" y="452466"/>
                </a:lnTo>
                <a:cubicBezTo>
                  <a:pt x="1328035" y="443078"/>
                  <a:pt x="1321110" y="433691"/>
                  <a:pt x="1314340" y="423285"/>
                </a:cubicBezTo>
                <a:cubicBezTo>
                  <a:pt x="1320680" y="415914"/>
                  <a:pt x="1328195" y="407679"/>
                  <a:pt x="1335556" y="400463"/>
                </a:cubicBezTo>
                <a:cubicBezTo>
                  <a:pt x="1329869" y="382929"/>
                  <a:pt x="1324894" y="367587"/>
                  <a:pt x="1317785" y="345669"/>
                </a:cubicBezTo>
                <a:cubicBezTo>
                  <a:pt x="1333555" y="344941"/>
                  <a:pt x="1344069" y="344455"/>
                  <a:pt x="1353562" y="343814"/>
                </a:cubicBezTo>
                <a:cubicBezTo>
                  <a:pt x="1357517" y="359001"/>
                  <a:pt x="1360051" y="369805"/>
                  <a:pt x="1363141" y="383818"/>
                </a:cubicBezTo>
                <a:cubicBezTo>
                  <a:pt x="1387326" y="355197"/>
                  <a:pt x="1401061" y="319777"/>
                  <a:pt x="1435232" y="301008"/>
                </a:cubicBezTo>
                <a:cubicBezTo>
                  <a:pt x="1442220" y="303112"/>
                  <a:pt x="1450229" y="305371"/>
                  <a:pt x="1462009" y="310287"/>
                </a:cubicBezTo>
                <a:cubicBezTo>
                  <a:pt x="1453473" y="318366"/>
                  <a:pt x="1447443" y="323701"/>
                  <a:pt x="1442587" y="328172"/>
                </a:cubicBezTo>
                <a:cubicBezTo>
                  <a:pt x="1447563" y="343514"/>
                  <a:pt x="1452539" y="358857"/>
                  <a:pt x="1457205" y="376236"/>
                </a:cubicBezTo>
                <a:cubicBezTo>
                  <a:pt x="1470316" y="379270"/>
                  <a:pt x="1484292" y="383478"/>
                  <a:pt x="1498422" y="386668"/>
                </a:cubicBezTo>
                <a:cubicBezTo>
                  <a:pt x="1505192" y="397073"/>
                  <a:pt x="1513138" y="406616"/>
                  <a:pt x="1520063" y="416003"/>
                </a:cubicBezTo>
                <a:lnTo>
                  <a:pt x="1511395" y="473030"/>
                </a:lnTo>
                <a:cubicBezTo>
                  <a:pt x="1518229" y="476152"/>
                  <a:pt x="1528432" y="477703"/>
                  <a:pt x="1533781" y="483725"/>
                </a:cubicBezTo>
                <a:cubicBezTo>
                  <a:pt x="1551712" y="503120"/>
                  <a:pt x="1568314" y="524397"/>
                  <a:pt x="1586801" y="547002"/>
                </a:cubicBezTo>
                <a:lnTo>
                  <a:pt x="1604148" y="549639"/>
                </a:lnTo>
                <a:cubicBezTo>
                  <a:pt x="1608567" y="561771"/>
                  <a:pt x="1611812" y="574766"/>
                  <a:pt x="1616077" y="587917"/>
                </a:cubicBezTo>
                <a:cubicBezTo>
                  <a:pt x="1626281" y="589468"/>
                  <a:pt x="1635465" y="590864"/>
                  <a:pt x="1643937" y="590068"/>
                </a:cubicBezTo>
                <a:cubicBezTo>
                  <a:pt x="1645296" y="601735"/>
                  <a:pt x="1641088" y="615681"/>
                  <a:pt x="1659272" y="605942"/>
                </a:cubicBezTo>
                <a:cubicBezTo>
                  <a:pt x="1654789" y="601094"/>
                  <a:pt x="1650306" y="596245"/>
                  <a:pt x="1643937" y="590068"/>
                </a:cubicBezTo>
                <a:cubicBezTo>
                  <a:pt x="1649412" y="581523"/>
                  <a:pt x="1638807" y="575744"/>
                  <a:pt x="1634633" y="568858"/>
                </a:cubicBezTo>
                <a:cubicBezTo>
                  <a:pt x="1627152" y="556261"/>
                  <a:pt x="1629720" y="546232"/>
                  <a:pt x="1642492" y="537755"/>
                </a:cubicBezTo>
                <a:cubicBezTo>
                  <a:pt x="1647841" y="543777"/>
                  <a:pt x="1653189" y="549799"/>
                  <a:pt x="1660269" y="558168"/>
                </a:cubicBezTo>
                <a:cubicBezTo>
                  <a:pt x="1668650" y="551107"/>
                  <a:pt x="1677186" y="543028"/>
                  <a:pt x="1688072" y="533222"/>
                </a:cubicBezTo>
                <a:cubicBezTo>
                  <a:pt x="1670140" y="513827"/>
                  <a:pt x="1650478" y="492085"/>
                  <a:pt x="1620118" y="458298"/>
                </a:cubicBezTo>
                <a:lnTo>
                  <a:pt x="1558895" y="448993"/>
                </a:lnTo>
                <a:cubicBezTo>
                  <a:pt x="1556733" y="428870"/>
                  <a:pt x="1552933" y="412664"/>
                  <a:pt x="1542391" y="399601"/>
                </a:cubicBezTo>
                <a:lnTo>
                  <a:pt x="1550594" y="345629"/>
                </a:lnTo>
                <a:cubicBezTo>
                  <a:pt x="1556469" y="341313"/>
                  <a:pt x="1562190" y="338015"/>
                  <a:pt x="1566891" y="334562"/>
                </a:cubicBezTo>
                <a:cubicBezTo>
                  <a:pt x="1565595" y="315612"/>
                  <a:pt x="1549332" y="305847"/>
                  <a:pt x="1540275" y="289884"/>
                </a:cubicBezTo>
                <a:lnTo>
                  <a:pt x="1548942" y="232857"/>
                </a:lnTo>
                <a:cubicBezTo>
                  <a:pt x="1561404" y="226416"/>
                  <a:pt x="1576372" y="217231"/>
                  <a:pt x="1588989" y="209772"/>
                </a:cubicBezTo>
                <a:lnTo>
                  <a:pt x="1593942" y="177185"/>
                </a:lnTo>
                <a:lnTo>
                  <a:pt x="1622513" y="181527"/>
                </a:lnTo>
                <a:cubicBezTo>
                  <a:pt x="1631043" y="207828"/>
                  <a:pt x="1639573" y="234129"/>
                  <a:pt x="1648258" y="259412"/>
                </a:cubicBezTo>
                <a:cubicBezTo>
                  <a:pt x="1664120" y="264949"/>
                  <a:pt x="1672655" y="256869"/>
                  <a:pt x="1682922" y="251137"/>
                </a:cubicBezTo>
                <a:cubicBezTo>
                  <a:pt x="1693189" y="245404"/>
                  <a:pt x="1705743" y="245228"/>
                  <a:pt x="1716566" y="242706"/>
                </a:cubicBezTo>
                <a:cubicBezTo>
                  <a:pt x="1724173" y="240736"/>
                  <a:pt x="1732956" y="237903"/>
                  <a:pt x="1741428" y="237107"/>
                </a:cubicBezTo>
                <a:cubicBezTo>
                  <a:pt x="1752962" y="236777"/>
                  <a:pt x="1764433" y="243729"/>
                  <a:pt x="1774763" y="230713"/>
                </a:cubicBezTo>
                <a:cubicBezTo>
                  <a:pt x="1764157" y="224934"/>
                  <a:pt x="1754573" y="219310"/>
                  <a:pt x="1741927" y="213221"/>
                </a:cubicBezTo>
                <a:cubicBezTo>
                  <a:pt x="1742918" y="199827"/>
                  <a:pt x="1744065" y="185415"/>
                  <a:pt x="1744500" y="168811"/>
                </a:cubicBezTo>
                <a:cubicBezTo>
                  <a:pt x="1734761" y="164206"/>
                  <a:pt x="1725176" y="158581"/>
                  <a:pt x="1711664" y="151319"/>
                </a:cubicBezTo>
                <a:cubicBezTo>
                  <a:pt x="1713212" y="141135"/>
                  <a:pt x="1711143" y="127276"/>
                  <a:pt x="1717637" y="118887"/>
                </a:cubicBezTo>
                <a:cubicBezTo>
                  <a:pt x="1738452" y="91836"/>
                  <a:pt x="1754784" y="59937"/>
                  <a:pt x="1796963" y="43427"/>
                </a:cubicBezTo>
                <a:cubicBezTo>
                  <a:pt x="1804261" y="43494"/>
                  <a:pt x="1819722" y="44802"/>
                  <a:pt x="1836357" y="45247"/>
                </a:cubicBezTo>
                <a:cubicBezTo>
                  <a:pt x="1839636" y="37410"/>
                  <a:pt x="1842915" y="29573"/>
                  <a:pt x="1846504" y="19700"/>
                </a:cubicBezTo>
                <a:cubicBezTo>
                  <a:pt x="1853555" y="14521"/>
                  <a:pt x="1864131" y="6752"/>
                  <a:pt x="1874553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2558886" y="1159554"/>
            <a:ext cx="4269817" cy="4483735"/>
          </a:xfrm>
          <a:custGeom>
            <a:avLst/>
            <a:gdLst>
              <a:gd name="connsiteX0" fmla="*/ 2122007 w 4269817"/>
              <a:gd name="connsiteY0" fmla="*/ 0 h 4483735"/>
              <a:gd name="connsiteX1" fmla="*/ 2164323 w 4269817"/>
              <a:gd name="connsiteY1" fmla="*/ 71072 h 4483735"/>
              <a:gd name="connsiteX2" fmla="*/ 2109622 w 4269817"/>
              <a:gd name="connsiteY2" fmla="*/ 80342 h 4483735"/>
              <a:gd name="connsiteX3" fmla="*/ 2123039 w 4269817"/>
              <a:gd name="connsiteY3" fmla="*/ 105063 h 4483735"/>
              <a:gd name="connsiteX4" fmla="*/ 2088980 w 4269817"/>
              <a:gd name="connsiteY4" fmla="*/ 118454 h 4483735"/>
              <a:gd name="connsiteX5" fmla="*/ 2094140 w 4269817"/>
              <a:gd name="connsiteY5" fmla="*/ 126694 h 4483735"/>
              <a:gd name="connsiteX6" fmla="*/ 2136457 w 4269817"/>
              <a:gd name="connsiteY6" fmla="*/ 126694 h 4483735"/>
              <a:gd name="connsiteX7" fmla="*/ 2164323 w 4269817"/>
              <a:gd name="connsiteY7" fmla="*/ 71072 h 4483735"/>
              <a:gd name="connsiteX8" fmla="*/ 2236571 w 4269817"/>
              <a:gd name="connsiteY8" fmla="*/ 92703 h 4483735"/>
              <a:gd name="connsiteX9" fmla="*/ 2251020 w 4269817"/>
              <a:gd name="connsiteY9" fmla="*/ 110213 h 4483735"/>
              <a:gd name="connsiteX10" fmla="*/ 2274759 w 4269817"/>
              <a:gd name="connsiteY10" fmla="*/ 92703 h 4483735"/>
              <a:gd name="connsiteX11" fmla="*/ 2347006 w 4269817"/>
              <a:gd name="connsiteY11" fmla="*/ 119484 h 4483735"/>
              <a:gd name="connsiteX12" fmla="*/ 2374873 w 4269817"/>
              <a:gd name="connsiteY12" fmla="*/ 146264 h 4483735"/>
              <a:gd name="connsiteX13" fmla="*/ 2437831 w 4269817"/>
              <a:gd name="connsiteY13" fmla="*/ 146264 h 4483735"/>
              <a:gd name="connsiteX14" fmla="*/ 2444024 w 4269817"/>
              <a:gd name="connsiteY14" fmla="*/ 116394 h 4483735"/>
              <a:gd name="connsiteX15" fmla="*/ 2465698 w 4269817"/>
              <a:gd name="connsiteY15" fmla="*/ 110213 h 4483735"/>
              <a:gd name="connsiteX16" fmla="*/ 2474987 w 4269817"/>
              <a:gd name="connsiteY16" fmla="*/ 115363 h 4483735"/>
              <a:gd name="connsiteX17" fmla="*/ 2646316 w 4269817"/>
              <a:gd name="connsiteY17" fmla="*/ 283259 h 4483735"/>
              <a:gd name="connsiteX18" fmla="*/ 2647348 w 4269817"/>
              <a:gd name="connsiteY18" fmla="*/ 302829 h 4483735"/>
              <a:gd name="connsiteX19" fmla="*/ 2745398 w 4269817"/>
              <a:gd name="connsiteY19" fmla="*/ 397592 h 4483735"/>
              <a:gd name="connsiteX20" fmla="*/ 2830031 w 4269817"/>
              <a:gd name="connsiteY20" fmla="*/ 501626 h 4483735"/>
              <a:gd name="connsiteX21" fmla="*/ 2868219 w 4269817"/>
              <a:gd name="connsiteY21" fmla="*/ 539737 h 4483735"/>
              <a:gd name="connsiteX22" fmla="*/ 2887829 w 4269817"/>
              <a:gd name="connsiteY22" fmla="*/ 575788 h 4483735"/>
              <a:gd name="connsiteX23" fmla="*/ 3001360 w 4269817"/>
              <a:gd name="connsiteY23" fmla="*/ 683942 h 4483735"/>
              <a:gd name="connsiteX24" fmla="*/ 3001360 w 4269817"/>
              <a:gd name="connsiteY24" fmla="*/ 704542 h 4483735"/>
              <a:gd name="connsiteX25" fmla="*/ 3087025 w 4269817"/>
              <a:gd name="connsiteY25" fmla="*/ 807546 h 4483735"/>
              <a:gd name="connsiteX26" fmla="*/ 3099410 w 4269817"/>
              <a:gd name="connsiteY26" fmla="*/ 820936 h 4483735"/>
              <a:gd name="connsiteX27" fmla="*/ 3131406 w 4269817"/>
              <a:gd name="connsiteY27" fmla="*/ 842567 h 4483735"/>
              <a:gd name="connsiteX28" fmla="*/ 3149983 w 4269817"/>
              <a:gd name="connsiteY28" fmla="*/ 871408 h 4483735"/>
              <a:gd name="connsiteX29" fmla="*/ 3158240 w 4269817"/>
              <a:gd name="connsiteY29" fmla="*/ 895099 h 4483735"/>
              <a:gd name="connsiteX30" fmla="*/ 3197460 w 4269817"/>
              <a:gd name="connsiteY30" fmla="*/ 935270 h 4483735"/>
              <a:gd name="connsiteX31" fmla="*/ 3227391 w 4269817"/>
              <a:gd name="connsiteY31" fmla="*/ 977501 h 4483735"/>
              <a:gd name="connsiteX32" fmla="*/ 3262483 w 4269817"/>
              <a:gd name="connsiteY32" fmla="*/ 1018703 h 4483735"/>
              <a:gd name="connsiteX33" fmla="*/ 3262483 w 4269817"/>
              <a:gd name="connsiteY33" fmla="*/ 1038273 h 4483735"/>
              <a:gd name="connsiteX34" fmla="*/ 3296542 w 4269817"/>
              <a:gd name="connsiteY34" fmla="*/ 1049604 h 4483735"/>
              <a:gd name="connsiteX35" fmla="*/ 3301703 w 4269817"/>
              <a:gd name="connsiteY35" fmla="*/ 1074325 h 4483735"/>
              <a:gd name="connsiteX36" fmla="*/ 3371886 w 4269817"/>
              <a:gd name="connsiteY36" fmla="*/ 1106256 h 4483735"/>
              <a:gd name="connsiteX37" fmla="*/ 3373950 w 4269817"/>
              <a:gd name="connsiteY37" fmla="*/ 1119646 h 4483735"/>
              <a:gd name="connsiteX38" fmla="*/ 3484385 w 4269817"/>
              <a:gd name="connsiteY38" fmla="*/ 1227799 h 4483735"/>
              <a:gd name="connsiteX39" fmla="*/ 3495739 w 4269817"/>
              <a:gd name="connsiteY39" fmla="*/ 1227799 h 4483735"/>
              <a:gd name="connsiteX40" fmla="*/ 3535991 w 4269817"/>
              <a:gd name="connsiteY40" fmla="*/ 1279301 h 4483735"/>
              <a:gd name="connsiteX41" fmla="*/ 3542183 w 4269817"/>
              <a:gd name="connsiteY41" fmla="*/ 1245310 h 4483735"/>
              <a:gd name="connsiteX42" fmla="*/ 3616495 w 4269817"/>
              <a:gd name="connsiteY42" fmla="*/ 1263851 h 4483735"/>
              <a:gd name="connsiteX43" fmla="*/ 3622687 w 4269817"/>
              <a:gd name="connsiteY43" fmla="*/ 1278271 h 4483735"/>
              <a:gd name="connsiteX44" fmla="*/ 3635073 w 4269817"/>
              <a:gd name="connsiteY44" fmla="*/ 1263851 h 4483735"/>
              <a:gd name="connsiteX45" fmla="*/ 3662939 w 4269817"/>
              <a:gd name="connsiteY45" fmla="*/ 1263851 h 4483735"/>
              <a:gd name="connsiteX46" fmla="*/ 3695967 w 4269817"/>
              <a:gd name="connsiteY46" fmla="*/ 1313292 h 4483735"/>
              <a:gd name="connsiteX47" fmla="*/ 3730026 w 4269817"/>
              <a:gd name="connsiteY47" fmla="*/ 1359644 h 4483735"/>
              <a:gd name="connsiteX48" fmla="*/ 3711448 w 4269817"/>
              <a:gd name="connsiteY48" fmla="*/ 1383334 h 4483735"/>
              <a:gd name="connsiteX49" fmla="*/ 3736219 w 4269817"/>
              <a:gd name="connsiteY49" fmla="*/ 1426596 h 4483735"/>
              <a:gd name="connsiteX50" fmla="*/ 3758925 w 4269817"/>
              <a:gd name="connsiteY50" fmla="*/ 1426596 h 4483735"/>
              <a:gd name="connsiteX51" fmla="*/ 3765118 w 4269817"/>
              <a:gd name="connsiteY51" fmla="*/ 1418355 h 4483735"/>
              <a:gd name="connsiteX52" fmla="*/ 3766150 w 4269817"/>
              <a:gd name="connsiteY52" fmla="*/ 1336983 h 4483735"/>
              <a:gd name="connsiteX53" fmla="*/ 3819819 w 4269817"/>
              <a:gd name="connsiteY53" fmla="*/ 1410115 h 4483735"/>
              <a:gd name="connsiteX54" fmla="*/ 3840462 w 4269817"/>
              <a:gd name="connsiteY54" fmla="*/ 1456467 h 4483735"/>
              <a:gd name="connsiteX55" fmla="*/ 3860072 w 4269817"/>
              <a:gd name="connsiteY55" fmla="*/ 1494578 h 4483735"/>
              <a:gd name="connsiteX56" fmla="*/ 3896195 w 4269817"/>
              <a:gd name="connsiteY56" fmla="*/ 1580071 h 4483735"/>
              <a:gd name="connsiteX57" fmla="*/ 3906516 w 4269817"/>
              <a:gd name="connsiteY57" fmla="*/ 1594491 h 4483735"/>
              <a:gd name="connsiteX58" fmla="*/ 3916837 w 4269817"/>
              <a:gd name="connsiteY58" fmla="*/ 1604792 h 4483735"/>
              <a:gd name="connsiteX59" fmla="*/ 3885874 w 4269817"/>
              <a:gd name="connsiteY59" fmla="*/ 1633633 h 4483735"/>
              <a:gd name="connsiteX60" fmla="*/ 3859039 w 4269817"/>
              <a:gd name="connsiteY60" fmla="*/ 1621272 h 4483735"/>
              <a:gd name="connsiteX61" fmla="*/ 3843558 w 4269817"/>
              <a:gd name="connsiteY61" fmla="*/ 1614062 h 4483735"/>
              <a:gd name="connsiteX62" fmla="*/ 3840462 w 4269817"/>
              <a:gd name="connsiteY62" fmla="*/ 1638783 h 4483735"/>
              <a:gd name="connsiteX63" fmla="*/ 3910645 w 4269817"/>
              <a:gd name="connsiteY63" fmla="*/ 1653203 h 4483735"/>
              <a:gd name="connsiteX64" fmla="*/ 3887938 w 4269817"/>
              <a:gd name="connsiteY64" fmla="*/ 1683074 h 4483735"/>
              <a:gd name="connsiteX65" fmla="*/ 3860072 w 4269817"/>
              <a:gd name="connsiteY65" fmla="*/ 1689255 h 4483735"/>
              <a:gd name="connsiteX66" fmla="*/ 3860072 w 4269817"/>
              <a:gd name="connsiteY66" fmla="*/ 1734576 h 4483735"/>
              <a:gd name="connsiteX67" fmla="*/ 3902388 w 4269817"/>
              <a:gd name="connsiteY67" fmla="*/ 1765477 h 4483735"/>
              <a:gd name="connsiteX68" fmla="*/ 3856975 w 4269817"/>
              <a:gd name="connsiteY68" fmla="*/ 1805648 h 4483735"/>
              <a:gd name="connsiteX69" fmla="*/ 3805370 w 4269817"/>
              <a:gd name="connsiteY69" fmla="*/ 1831399 h 4483735"/>
              <a:gd name="connsiteX70" fmla="*/ 3775439 w 4269817"/>
              <a:gd name="connsiteY70" fmla="*/ 1831399 h 4483735"/>
              <a:gd name="connsiteX71" fmla="*/ 3755829 w 4269817"/>
              <a:gd name="connsiteY71" fmla="*/ 1849939 h 4483735"/>
              <a:gd name="connsiteX72" fmla="*/ 3719705 w 4269817"/>
              <a:gd name="connsiteY72" fmla="*/ 1849939 h 4483735"/>
              <a:gd name="connsiteX73" fmla="*/ 3699063 w 4269817"/>
              <a:gd name="connsiteY73" fmla="*/ 1831399 h 4483735"/>
              <a:gd name="connsiteX74" fmla="*/ 3670164 w 4269817"/>
              <a:gd name="connsiteY74" fmla="*/ 1831399 h 4483735"/>
              <a:gd name="connsiteX75" fmla="*/ 3661907 w 4269817"/>
              <a:gd name="connsiteY75" fmla="*/ 1829339 h 4483735"/>
              <a:gd name="connsiteX76" fmla="*/ 3599981 w 4269817"/>
              <a:gd name="connsiteY76" fmla="*/ 1776807 h 4483735"/>
              <a:gd name="connsiteX77" fmla="*/ 3530830 w 4269817"/>
              <a:gd name="connsiteY77" fmla="*/ 1738696 h 4483735"/>
              <a:gd name="connsiteX78" fmla="*/ 3521541 w 4269817"/>
              <a:gd name="connsiteY78" fmla="*/ 1765477 h 4483735"/>
              <a:gd name="connsiteX79" fmla="*/ 3558697 w 4269817"/>
              <a:gd name="connsiteY79" fmla="*/ 1804618 h 4483735"/>
              <a:gd name="connsiteX80" fmla="*/ 3580371 w 4269817"/>
              <a:gd name="connsiteY80" fmla="*/ 1840669 h 4483735"/>
              <a:gd name="connsiteX81" fmla="*/ 3605142 w 4269817"/>
              <a:gd name="connsiteY81" fmla="*/ 1883931 h 4483735"/>
              <a:gd name="connsiteX82" fmla="*/ 3631976 w 4269817"/>
              <a:gd name="connsiteY82" fmla="*/ 1890111 h 4483735"/>
              <a:gd name="connsiteX83" fmla="*/ 3638169 w 4269817"/>
              <a:gd name="connsiteY83" fmla="*/ 1937492 h 4483735"/>
              <a:gd name="connsiteX84" fmla="*/ 3666036 w 4269817"/>
              <a:gd name="connsiteY84" fmla="*/ 1943672 h 4483735"/>
              <a:gd name="connsiteX85" fmla="*/ 3676357 w 4269817"/>
              <a:gd name="connsiteY85" fmla="*/ 1971484 h 4483735"/>
              <a:gd name="connsiteX86" fmla="*/ 3709384 w 4269817"/>
              <a:gd name="connsiteY86" fmla="*/ 2005475 h 4483735"/>
              <a:gd name="connsiteX87" fmla="*/ 3709384 w 4269817"/>
              <a:gd name="connsiteY87" fmla="*/ 2077577 h 4483735"/>
              <a:gd name="connsiteX88" fmla="*/ 3728994 w 4269817"/>
              <a:gd name="connsiteY88" fmla="*/ 2097148 h 4483735"/>
              <a:gd name="connsiteX89" fmla="*/ 3728994 w 4269817"/>
              <a:gd name="connsiteY89" fmla="*/ 2133199 h 4483735"/>
              <a:gd name="connsiteX90" fmla="*/ 3710416 w 4269817"/>
              <a:gd name="connsiteY90" fmla="*/ 2152769 h 4483735"/>
              <a:gd name="connsiteX91" fmla="*/ 3753765 w 4269817"/>
              <a:gd name="connsiteY91" fmla="*/ 2161010 h 4483735"/>
              <a:gd name="connsiteX92" fmla="*/ 3792985 w 4269817"/>
              <a:gd name="connsiteY92" fmla="*/ 2216631 h 4483735"/>
              <a:gd name="connsiteX93" fmla="*/ 3852847 w 4269817"/>
              <a:gd name="connsiteY93" fmla="*/ 2252683 h 4483735"/>
              <a:gd name="connsiteX94" fmla="*/ 3896195 w 4269817"/>
              <a:gd name="connsiteY94" fmla="*/ 2279464 h 4483735"/>
              <a:gd name="connsiteX95" fmla="*/ 3896195 w 4269817"/>
              <a:gd name="connsiteY95" fmla="*/ 2335085 h 4483735"/>
              <a:gd name="connsiteX96" fmla="*/ 3923030 w 4269817"/>
              <a:gd name="connsiteY96" fmla="*/ 2360836 h 4483735"/>
              <a:gd name="connsiteX97" fmla="*/ 3970507 w 4269817"/>
              <a:gd name="connsiteY97" fmla="*/ 2363926 h 4483735"/>
              <a:gd name="connsiteX98" fmla="*/ 3934383 w 4269817"/>
              <a:gd name="connsiteY98" fmla="*/ 2432938 h 4483735"/>
              <a:gd name="connsiteX99" fmla="*/ 4001470 w 4269817"/>
              <a:gd name="connsiteY99" fmla="*/ 2437059 h 4483735"/>
              <a:gd name="connsiteX100" fmla="*/ 4027272 w 4269817"/>
              <a:gd name="connsiteY100" fmla="*/ 2472080 h 4483735"/>
              <a:gd name="connsiteX101" fmla="*/ 3998374 w 4269817"/>
              <a:gd name="connsiteY101" fmla="*/ 2472080 h 4483735"/>
              <a:gd name="connsiteX102" fmla="*/ 3987020 w 4269817"/>
              <a:gd name="connsiteY102" fmla="*/ 2541092 h 4483735"/>
              <a:gd name="connsiteX103" fmla="*/ 4021080 w 4269817"/>
              <a:gd name="connsiteY103" fmla="*/ 2547272 h 4483735"/>
              <a:gd name="connsiteX104" fmla="*/ 4032433 w 4269817"/>
              <a:gd name="connsiteY104" fmla="*/ 2580233 h 4483735"/>
              <a:gd name="connsiteX105" fmla="*/ 4074749 w 4269817"/>
              <a:gd name="connsiteY105" fmla="*/ 2583323 h 4483735"/>
              <a:gd name="connsiteX106" fmla="*/ 4101584 w 4269817"/>
              <a:gd name="connsiteY106" fmla="*/ 2609074 h 4483735"/>
              <a:gd name="connsiteX107" fmla="*/ 4093327 w 4269817"/>
              <a:gd name="connsiteY107" fmla="*/ 2654396 h 4483735"/>
              <a:gd name="connsiteX108" fmla="*/ 4074749 w 4269817"/>
              <a:gd name="connsiteY108" fmla="*/ 2638945 h 4483735"/>
              <a:gd name="connsiteX109" fmla="*/ 4092295 w 4269817"/>
              <a:gd name="connsiteY109" fmla="*/ 2691477 h 4483735"/>
              <a:gd name="connsiteX110" fmla="*/ 4105712 w 4269817"/>
              <a:gd name="connsiteY110" fmla="*/ 2679116 h 4483735"/>
              <a:gd name="connsiteX111" fmla="*/ 4165575 w 4269817"/>
              <a:gd name="connsiteY111" fmla="*/ 2671906 h 4483735"/>
              <a:gd name="connsiteX112" fmla="*/ 4181056 w 4269817"/>
              <a:gd name="connsiteY112" fmla="*/ 2741948 h 4483735"/>
              <a:gd name="connsiteX113" fmla="*/ 4216147 w 4269817"/>
              <a:gd name="connsiteY113" fmla="*/ 2723408 h 4483735"/>
              <a:gd name="connsiteX114" fmla="*/ 4231629 w 4269817"/>
              <a:gd name="connsiteY114" fmla="*/ 2764609 h 4483735"/>
              <a:gd name="connsiteX115" fmla="*/ 4201698 w 4269817"/>
              <a:gd name="connsiteY115" fmla="*/ 2764609 h 4483735"/>
              <a:gd name="connsiteX116" fmla="*/ 4195505 w 4269817"/>
              <a:gd name="connsiteY116" fmla="*/ 2787270 h 4483735"/>
              <a:gd name="connsiteX117" fmla="*/ 4242983 w 4269817"/>
              <a:gd name="connsiteY117" fmla="*/ 2854222 h 4483735"/>
              <a:gd name="connsiteX118" fmla="*/ 4261560 w 4269817"/>
              <a:gd name="connsiteY118" fmla="*/ 2839802 h 4483735"/>
              <a:gd name="connsiteX119" fmla="*/ 4269817 w 4269817"/>
              <a:gd name="connsiteY119" fmla="*/ 2886153 h 4483735"/>
              <a:gd name="connsiteX120" fmla="*/ 4236789 w 4269817"/>
              <a:gd name="connsiteY120" fmla="*/ 2897484 h 4483735"/>
              <a:gd name="connsiteX121" fmla="*/ 4232661 w 4269817"/>
              <a:gd name="connsiteY121" fmla="*/ 2958255 h 4483735"/>
              <a:gd name="connsiteX122" fmla="*/ 4267753 w 4269817"/>
              <a:gd name="connsiteY122" fmla="*/ 2992247 h 4483735"/>
              <a:gd name="connsiteX123" fmla="*/ 4269817 w 4269817"/>
              <a:gd name="connsiteY123" fmla="*/ 3033448 h 4483735"/>
              <a:gd name="connsiteX124" fmla="*/ 4236789 w 4269817"/>
              <a:gd name="connsiteY124" fmla="*/ 3053018 h 4483735"/>
              <a:gd name="connsiteX125" fmla="*/ 4220276 w 4269817"/>
              <a:gd name="connsiteY125" fmla="*/ 3038598 h 4483735"/>
              <a:gd name="connsiteX126" fmla="*/ 4159382 w 4269817"/>
              <a:gd name="connsiteY126" fmla="*/ 3083919 h 4483735"/>
              <a:gd name="connsiteX127" fmla="*/ 4153189 w 4269817"/>
              <a:gd name="connsiteY127" fmla="*/ 3109670 h 4483735"/>
              <a:gd name="connsiteX128" fmla="*/ 4102616 w 4269817"/>
              <a:gd name="connsiteY128" fmla="*/ 3058169 h 4483735"/>
              <a:gd name="connsiteX129" fmla="*/ 4064428 w 4269817"/>
              <a:gd name="connsiteY129" fmla="*/ 3058169 h 4483735"/>
              <a:gd name="connsiteX130" fmla="*/ 4053075 w 4269817"/>
              <a:gd name="connsiteY130" fmla="*/ 3023148 h 4483735"/>
              <a:gd name="connsiteX131" fmla="*/ 4030369 w 4269817"/>
              <a:gd name="connsiteY131" fmla="*/ 3056109 h 4483735"/>
              <a:gd name="connsiteX132" fmla="*/ 4064428 w 4269817"/>
              <a:gd name="connsiteY132" fmla="*/ 3058169 h 4483735"/>
              <a:gd name="connsiteX133" fmla="*/ 4099520 w 4269817"/>
              <a:gd name="connsiteY133" fmla="*/ 3105550 h 4483735"/>
              <a:gd name="connsiteX134" fmla="*/ 4029337 w 4269817"/>
              <a:gd name="connsiteY134" fmla="*/ 3137481 h 4483735"/>
              <a:gd name="connsiteX135" fmla="*/ 4027272 w 4269817"/>
              <a:gd name="connsiteY135" fmla="*/ 3154992 h 4483735"/>
              <a:gd name="connsiteX136" fmla="*/ 4062364 w 4269817"/>
              <a:gd name="connsiteY136" fmla="*/ 3215764 h 4483735"/>
              <a:gd name="connsiteX137" fmla="*/ 4012823 w 4269817"/>
              <a:gd name="connsiteY137" fmla="*/ 3259025 h 4483735"/>
              <a:gd name="connsiteX138" fmla="*/ 3962250 w 4269817"/>
              <a:gd name="connsiteY138" fmla="*/ 3259025 h 4483735"/>
              <a:gd name="connsiteX139" fmla="*/ 3950897 w 4269817"/>
              <a:gd name="connsiteY139" fmla="*/ 3227094 h 4483735"/>
              <a:gd name="connsiteX140" fmla="*/ 3923030 w 4269817"/>
              <a:gd name="connsiteY140" fmla="*/ 3220914 h 4483735"/>
              <a:gd name="connsiteX141" fmla="*/ 3903420 w 4269817"/>
              <a:gd name="connsiteY141" fmla="*/ 3203403 h 4483735"/>
              <a:gd name="connsiteX142" fmla="*/ 3893099 w 4269817"/>
              <a:gd name="connsiteY142" fmla="*/ 3232244 h 4483735"/>
              <a:gd name="connsiteX143" fmla="*/ 3936447 w 4269817"/>
              <a:gd name="connsiteY143" fmla="*/ 3264175 h 4483735"/>
              <a:gd name="connsiteX144" fmla="*/ 3915805 w 4269817"/>
              <a:gd name="connsiteY144" fmla="*/ 3286836 h 4483735"/>
              <a:gd name="connsiteX145" fmla="*/ 3915805 w 4269817"/>
              <a:gd name="connsiteY145" fmla="*/ 3307437 h 4483735"/>
              <a:gd name="connsiteX146" fmla="*/ 3942640 w 4269817"/>
              <a:gd name="connsiteY146" fmla="*/ 3316707 h 4483735"/>
              <a:gd name="connsiteX147" fmla="*/ 3976699 w 4269817"/>
              <a:gd name="connsiteY147" fmla="*/ 3274476 h 4483735"/>
              <a:gd name="connsiteX148" fmla="*/ 3985988 w 4269817"/>
              <a:gd name="connsiteY148" fmla="*/ 3283746 h 4483735"/>
              <a:gd name="connsiteX149" fmla="*/ 3991149 w 4269817"/>
              <a:gd name="connsiteY149" fmla="*/ 3372329 h 4483735"/>
              <a:gd name="connsiteX150" fmla="*/ 3972571 w 4269817"/>
              <a:gd name="connsiteY150" fmla="*/ 3399110 h 4483735"/>
              <a:gd name="connsiteX151" fmla="*/ 3983924 w 4269817"/>
              <a:gd name="connsiteY151" fmla="*/ 3456792 h 4483735"/>
              <a:gd name="connsiteX152" fmla="*/ 3971539 w 4269817"/>
              <a:gd name="connsiteY152" fmla="*/ 3451641 h 4483735"/>
              <a:gd name="connsiteX153" fmla="*/ 3934383 w 4269817"/>
              <a:gd name="connsiteY153" fmla="*/ 3451641 h 4483735"/>
              <a:gd name="connsiteX154" fmla="*/ 3949865 w 4269817"/>
              <a:gd name="connsiteY154" fmla="*/ 3467092 h 4483735"/>
              <a:gd name="connsiteX155" fmla="*/ 3933351 w 4269817"/>
              <a:gd name="connsiteY155" fmla="*/ 3491813 h 4483735"/>
              <a:gd name="connsiteX156" fmla="*/ 3952961 w 4269817"/>
              <a:gd name="connsiteY156" fmla="*/ 3533014 h 4483735"/>
              <a:gd name="connsiteX157" fmla="*/ 3924062 w 4269817"/>
              <a:gd name="connsiteY157" fmla="*/ 3588636 h 4483735"/>
              <a:gd name="connsiteX158" fmla="*/ 3893099 w 4269817"/>
              <a:gd name="connsiteY158" fmla="*/ 3558765 h 4483735"/>
              <a:gd name="connsiteX159" fmla="*/ 3916837 w 4269817"/>
              <a:gd name="connsiteY159" fmla="*/ 3512413 h 4483735"/>
              <a:gd name="connsiteX160" fmla="*/ 3868328 w 4269817"/>
              <a:gd name="connsiteY160" fmla="*/ 3460912 h 4483735"/>
              <a:gd name="connsiteX161" fmla="*/ 3847686 w 4269817"/>
              <a:gd name="connsiteY161" fmla="*/ 3460912 h 4483735"/>
              <a:gd name="connsiteX162" fmla="*/ 3838397 w 4269817"/>
              <a:gd name="connsiteY162" fmla="*/ 3436191 h 4483735"/>
              <a:gd name="connsiteX163" fmla="*/ 3865232 w 4269817"/>
              <a:gd name="connsiteY163" fmla="*/ 3408380 h 4483735"/>
              <a:gd name="connsiteX164" fmla="*/ 3906516 w 4269817"/>
              <a:gd name="connsiteY164" fmla="*/ 3404260 h 4483735"/>
              <a:gd name="connsiteX165" fmla="*/ 3937479 w 4269817"/>
              <a:gd name="connsiteY165" fmla="*/ 3375419 h 4483735"/>
              <a:gd name="connsiteX166" fmla="*/ 3880714 w 4269817"/>
              <a:gd name="connsiteY166" fmla="*/ 3365119 h 4483735"/>
              <a:gd name="connsiteX167" fmla="*/ 3875553 w 4269817"/>
              <a:gd name="connsiteY167" fmla="*/ 3338338 h 4483735"/>
              <a:gd name="connsiteX168" fmla="*/ 3850783 w 4269817"/>
              <a:gd name="connsiteY168" fmla="*/ 3330097 h 4483735"/>
              <a:gd name="connsiteX169" fmla="*/ 3832205 w 4269817"/>
              <a:gd name="connsiteY169" fmla="*/ 3369239 h 4483735"/>
              <a:gd name="connsiteX170" fmla="*/ 3813627 w 4269817"/>
              <a:gd name="connsiteY170" fmla="*/ 3369239 h 4483735"/>
              <a:gd name="connsiteX171" fmla="*/ 3803306 w 4269817"/>
              <a:gd name="connsiteY171" fmla="*/ 3337308 h 4483735"/>
              <a:gd name="connsiteX172" fmla="*/ 3784728 w 4269817"/>
              <a:gd name="connsiteY172" fmla="*/ 3314647 h 4483735"/>
              <a:gd name="connsiteX173" fmla="*/ 3778535 w 4269817"/>
              <a:gd name="connsiteY173" fmla="*/ 3299196 h 4483735"/>
              <a:gd name="connsiteX174" fmla="*/ 3763054 w 4269817"/>
              <a:gd name="connsiteY174" fmla="*/ 3278596 h 4483735"/>
              <a:gd name="connsiteX175" fmla="*/ 3776471 w 4269817"/>
              <a:gd name="connsiteY175" fmla="*/ 3261085 h 4483735"/>
              <a:gd name="connsiteX176" fmla="*/ 3763054 w 4269817"/>
              <a:gd name="connsiteY176" fmla="*/ 3278596 h 4483735"/>
              <a:gd name="connsiteX177" fmla="*/ 3756861 w 4269817"/>
              <a:gd name="connsiteY177" fmla="*/ 3277566 h 4483735"/>
              <a:gd name="connsiteX178" fmla="*/ 3750668 w 4269817"/>
              <a:gd name="connsiteY178" fmla="*/ 3283746 h 4483735"/>
              <a:gd name="connsiteX179" fmla="*/ 3728994 w 4269817"/>
              <a:gd name="connsiteY179" fmla="*/ 3355848 h 4483735"/>
              <a:gd name="connsiteX180" fmla="*/ 3728994 w 4269817"/>
              <a:gd name="connsiteY180" fmla="*/ 3386749 h 4483735"/>
              <a:gd name="connsiteX181" fmla="*/ 3790920 w 4269817"/>
              <a:gd name="connsiteY181" fmla="*/ 3446491 h 4483735"/>
              <a:gd name="connsiteX182" fmla="*/ 3728994 w 4269817"/>
              <a:gd name="connsiteY182" fmla="*/ 3500053 h 4483735"/>
              <a:gd name="connsiteX183" fmla="*/ 3728994 w 4269817"/>
              <a:gd name="connsiteY183" fmla="*/ 3534044 h 4483735"/>
              <a:gd name="connsiteX184" fmla="*/ 3699063 w 4269817"/>
              <a:gd name="connsiteY184" fmla="*/ 3516533 h 4483735"/>
              <a:gd name="connsiteX185" fmla="*/ 3673261 w 4269817"/>
              <a:gd name="connsiteY185" fmla="*/ 3542284 h 4483735"/>
              <a:gd name="connsiteX186" fmla="*/ 3673261 w 4269817"/>
              <a:gd name="connsiteY186" fmla="*/ 3561855 h 4483735"/>
              <a:gd name="connsiteX187" fmla="*/ 3710416 w 4269817"/>
              <a:gd name="connsiteY187" fmla="*/ 3579365 h 4483735"/>
              <a:gd name="connsiteX188" fmla="*/ 3693903 w 4269817"/>
              <a:gd name="connsiteY188" fmla="*/ 3594816 h 4483735"/>
              <a:gd name="connsiteX189" fmla="*/ 3739315 w 4269817"/>
              <a:gd name="connsiteY189" fmla="*/ 3680309 h 4483735"/>
              <a:gd name="connsiteX190" fmla="*/ 3742412 w 4269817"/>
              <a:gd name="connsiteY190" fmla="*/ 3733870 h 4483735"/>
              <a:gd name="connsiteX191" fmla="*/ 3713513 w 4269817"/>
              <a:gd name="connsiteY191" fmla="*/ 3717390 h 4483735"/>
              <a:gd name="connsiteX192" fmla="*/ 3705256 w 4269817"/>
              <a:gd name="connsiteY192" fmla="*/ 3773012 h 4483735"/>
              <a:gd name="connsiteX193" fmla="*/ 3683582 w 4269817"/>
              <a:gd name="connsiteY193" fmla="*/ 3756531 h 4483735"/>
              <a:gd name="connsiteX194" fmla="*/ 3653651 w 4269817"/>
              <a:gd name="connsiteY194" fmla="*/ 3775072 h 4483735"/>
              <a:gd name="connsiteX195" fmla="*/ 3624752 w 4269817"/>
              <a:gd name="connsiteY195" fmla="*/ 3754471 h 4483735"/>
              <a:gd name="connsiteX196" fmla="*/ 3606174 w 4269817"/>
              <a:gd name="connsiteY196" fmla="*/ 3771982 h 4483735"/>
              <a:gd name="connsiteX197" fmla="*/ 3548376 w 4269817"/>
              <a:gd name="connsiteY197" fmla="*/ 3737991 h 4483735"/>
              <a:gd name="connsiteX198" fmla="*/ 3541151 w 4269817"/>
              <a:gd name="connsiteY198" fmla="*/ 3802883 h 4483735"/>
              <a:gd name="connsiteX199" fmla="*/ 3601013 w 4269817"/>
              <a:gd name="connsiteY199" fmla="*/ 3814213 h 4483735"/>
              <a:gd name="connsiteX200" fmla="*/ 3533926 w 4269817"/>
              <a:gd name="connsiteY200" fmla="*/ 3844084 h 4483735"/>
              <a:gd name="connsiteX201" fmla="*/ 3477161 w 4269817"/>
              <a:gd name="connsiteY201" fmla="*/ 3844084 h 4483735"/>
              <a:gd name="connsiteX202" fmla="*/ 3457551 w 4269817"/>
              <a:gd name="connsiteY202" fmla="*/ 3826573 h 4483735"/>
              <a:gd name="connsiteX203" fmla="*/ 3412138 w 4269817"/>
              <a:gd name="connsiteY203" fmla="*/ 3873955 h 4483735"/>
              <a:gd name="connsiteX204" fmla="*/ 3412138 w 4269817"/>
              <a:gd name="connsiteY204" fmla="*/ 3905886 h 4483735"/>
              <a:gd name="connsiteX205" fmla="*/ 3392528 w 4269817"/>
              <a:gd name="connsiteY205" fmla="*/ 3936787 h 4483735"/>
              <a:gd name="connsiteX206" fmla="*/ 3363629 w 4269817"/>
              <a:gd name="connsiteY206" fmla="*/ 3954298 h 4483735"/>
              <a:gd name="connsiteX207" fmla="*/ 3327505 w 4269817"/>
              <a:gd name="connsiteY207" fmla="*/ 3954298 h 4483735"/>
              <a:gd name="connsiteX208" fmla="*/ 3310992 w 4269817"/>
              <a:gd name="connsiteY208" fmla="*/ 3938847 h 4483735"/>
              <a:gd name="connsiteX209" fmla="*/ 3269708 w 4269817"/>
              <a:gd name="connsiteY209" fmla="*/ 3938847 h 4483735"/>
              <a:gd name="connsiteX210" fmla="*/ 3255258 w 4269817"/>
              <a:gd name="connsiteY210" fmla="*/ 3953268 h 4483735"/>
              <a:gd name="connsiteX211" fmla="*/ 3163401 w 4269817"/>
              <a:gd name="connsiteY211" fmla="*/ 3953268 h 4483735"/>
              <a:gd name="connsiteX212" fmla="*/ 3117988 w 4269817"/>
              <a:gd name="connsiteY212" fmla="*/ 3930607 h 4483735"/>
              <a:gd name="connsiteX213" fmla="*/ 3066383 w 4269817"/>
              <a:gd name="connsiteY213" fmla="*/ 3846144 h 4483735"/>
              <a:gd name="connsiteX214" fmla="*/ 3039548 w 4269817"/>
              <a:gd name="connsiteY214" fmla="*/ 3896616 h 4483735"/>
              <a:gd name="connsiteX215" fmla="*/ 3039548 w 4269817"/>
              <a:gd name="connsiteY215" fmla="*/ 3926487 h 4483735"/>
              <a:gd name="connsiteX216" fmla="*/ 3057094 w 4269817"/>
              <a:gd name="connsiteY216" fmla="*/ 3955328 h 4483735"/>
              <a:gd name="connsiteX217" fmla="*/ 3041612 w 4269817"/>
              <a:gd name="connsiteY217" fmla="*/ 3971808 h 4483735"/>
              <a:gd name="connsiteX218" fmla="*/ 3028195 w 4269817"/>
              <a:gd name="connsiteY218" fmla="*/ 3989319 h 4483735"/>
              <a:gd name="connsiteX219" fmla="*/ 3041612 w 4269817"/>
              <a:gd name="connsiteY219" fmla="*/ 3971808 h 4483735"/>
              <a:gd name="connsiteX220" fmla="*/ 3057094 w 4269817"/>
              <a:gd name="connsiteY220" fmla="*/ 3955328 h 4483735"/>
              <a:gd name="connsiteX221" fmla="*/ 3085993 w 4269817"/>
              <a:gd name="connsiteY221" fmla="*/ 3955328 h 4483735"/>
              <a:gd name="connsiteX222" fmla="*/ 3110763 w 4269817"/>
              <a:gd name="connsiteY222" fmla="*/ 3981078 h 4483735"/>
              <a:gd name="connsiteX223" fmla="*/ 3093218 w 4269817"/>
              <a:gd name="connsiteY223" fmla="*/ 4006829 h 4483735"/>
              <a:gd name="connsiteX224" fmla="*/ 3119020 w 4269817"/>
              <a:gd name="connsiteY224" fmla="*/ 4058331 h 4483735"/>
              <a:gd name="connsiteX225" fmla="*/ 3083929 w 4269817"/>
              <a:gd name="connsiteY225" fmla="*/ 4065541 h 4483735"/>
              <a:gd name="connsiteX226" fmla="*/ 3068447 w 4269817"/>
              <a:gd name="connsiteY226" fmla="*/ 4027430 h 4483735"/>
              <a:gd name="connsiteX227" fmla="*/ 3009617 w 4269817"/>
              <a:gd name="connsiteY227" fmla="*/ 4120133 h 4483735"/>
              <a:gd name="connsiteX228" fmla="*/ 2981750 w 4269817"/>
              <a:gd name="connsiteY228" fmla="*/ 4114983 h 4483735"/>
              <a:gd name="connsiteX229" fmla="*/ 2998264 w 4269817"/>
              <a:gd name="connsiteY229" fmla="*/ 4094382 h 4483735"/>
              <a:gd name="connsiteX230" fmla="*/ 2976590 w 4269817"/>
              <a:gd name="connsiteY230" fmla="*/ 4049061 h 4483735"/>
              <a:gd name="connsiteX231" fmla="*/ 2934274 w 4269817"/>
              <a:gd name="connsiteY231" fmla="*/ 4044941 h 4483735"/>
              <a:gd name="connsiteX232" fmla="*/ 2908471 w 4269817"/>
              <a:gd name="connsiteY232" fmla="*/ 4019190 h 4483735"/>
              <a:gd name="connsiteX233" fmla="*/ 2908471 w 4269817"/>
              <a:gd name="connsiteY233" fmla="*/ 3961508 h 4483735"/>
              <a:gd name="connsiteX234" fmla="*/ 2884732 w 4269817"/>
              <a:gd name="connsiteY234" fmla="*/ 3954298 h 4483735"/>
              <a:gd name="connsiteX235" fmla="*/ 2822806 w 4269817"/>
              <a:gd name="connsiteY235" fmla="*/ 3899706 h 4483735"/>
              <a:gd name="connsiteX236" fmla="*/ 2805260 w 4269817"/>
              <a:gd name="connsiteY236" fmla="*/ 3899706 h 4483735"/>
              <a:gd name="connsiteX237" fmla="*/ 2787715 w 4269817"/>
              <a:gd name="connsiteY237" fmla="*/ 3863655 h 4483735"/>
              <a:gd name="connsiteX238" fmla="*/ 2759848 w 4269817"/>
              <a:gd name="connsiteY238" fmla="*/ 3865715 h 4483735"/>
              <a:gd name="connsiteX239" fmla="*/ 2742302 w 4269817"/>
              <a:gd name="connsiteY239" fmla="*/ 3852324 h 4483735"/>
              <a:gd name="connsiteX240" fmla="*/ 2759848 w 4269817"/>
              <a:gd name="connsiteY240" fmla="*/ 3865715 h 4483735"/>
              <a:gd name="connsiteX241" fmla="*/ 2772233 w 4269817"/>
              <a:gd name="connsiteY241" fmla="*/ 3885285 h 4483735"/>
              <a:gd name="connsiteX242" fmla="*/ 2769137 w 4269817"/>
              <a:gd name="connsiteY242" fmla="*/ 3917216 h 4483735"/>
              <a:gd name="connsiteX243" fmla="*/ 2748495 w 4269817"/>
              <a:gd name="connsiteY243" fmla="*/ 3899706 h 4483735"/>
              <a:gd name="connsiteX244" fmla="*/ 2724756 w 4269817"/>
              <a:gd name="connsiteY244" fmla="*/ 3928547 h 4483735"/>
              <a:gd name="connsiteX245" fmla="*/ 2803196 w 4269817"/>
              <a:gd name="connsiteY245" fmla="*/ 3992409 h 4483735"/>
              <a:gd name="connsiteX246" fmla="*/ 2865122 w 4269817"/>
              <a:gd name="connsiteY246" fmla="*/ 3992409 h 4483735"/>
              <a:gd name="connsiteX247" fmla="*/ 2888861 w 4269817"/>
              <a:gd name="connsiteY247" fmla="*/ 4038760 h 4483735"/>
              <a:gd name="connsiteX248" fmla="*/ 2888861 w 4269817"/>
              <a:gd name="connsiteY248" fmla="*/ 4093352 h 4483735"/>
              <a:gd name="connsiteX249" fmla="*/ 2874411 w 4269817"/>
              <a:gd name="connsiteY249" fmla="*/ 4106743 h 4483735"/>
              <a:gd name="connsiteX250" fmla="*/ 2907439 w 4269817"/>
              <a:gd name="connsiteY250" fmla="*/ 4146914 h 4483735"/>
              <a:gd name="connsiteX251" fmla="*/ 2907439 w 4269817"/>
              <a:gd name="connsiteY251" fmla="*/ 4204596 h 4483735"/>
              <a:gd name="connsiteX252" fmla="*/ 2871315 w 4269817"/>
              <a:gd name="connsiteY252" fmla="*/ 4233437 h 4483735"/>
              <a:gd name="connsiteX253" fmla="*/ 2871315 w 4269817"/>
              <a:gd name="connsiteY253" fmla="*/ 4266398 h 4483735"/>
              <a:gd name="connsiteX254" fmla="*/ 2842416 w 4269817"/>
              <a:gd name="connsiteY254" fmla="*/ 4266398 h 4483735"/>
              <a:gd name="connsiteX255" fmla="*/ 2805260 w 4269817"/>
              <a:gd name="connsiteY255" fmla="*/ 4193265 h 4483735"/>
              <a:gd name="connsiteX256" fmla="*/ 2772233 w 4269817"/>
              <a:gd name="connsiteY256" fmla="*/ 4206656 h 4483735"/>
              <a:gd name="connsiteX257" fmla="*/ 2740238 w 4269817"/>
              <a:gd name="connsiteY257" fmla="*/ 4220046 h 4483735"/>
              <a:gd name="connsiteX258" fmla="*/ 2716499 w 4269817"/>
              <a:gd name="connsiteY258" fmla="*/ 4229317 h 4483735"/>
              <a:gd name="connsiteX259" fmla="*/ 2684504 w 4269817"/>
              <a:gd name="connsiteY259" fmla="*/ 4240647 h 4483735"/>
              <a:gd name="connsiteX260" fmla="*/ 2719596 w 4269817"/>
              <a:gd name="connsiteY260" fmla="*/ 4253007 h 4483735"/>
              <a:gd name="connsiteX261" fmla="*/ 2723724 w 4269817"/>
              <a:gd name="connsiteY261" fmla="*/ 4297299 h 4483735"/>
              <a:gd name="connsiteX262" fmla="*/ 2758816 w 4269817"/>
              <a:gd name="connsiteY262" fmla="*/ 4309659 h 4483735"/>
              <a:gd name="connsiteX263" fmla="*/ 2757784 w 4269817"/>
              <a:gd name="connsiteY263" fmla="*/ 4342620 h 4483735"/>
              <a:gd name="connsiteX264" fmla="*/ 2690697 w 4269817"/>
              <a:gd name="connsiteY264" fmla="*/ 4429143 h 4483735"/>
              <a:gd name="connsiteX265" fmla="*/ 2651477 w 4269817"/>
              <a:gd name="connsiteY265" fmla="*/ 4433263 h 4483735"/>
              <a:gd name="connsiteX266" fmla="*/ 2645284 w 4269817"/>
              <a:gd name="connsiteY266" fmla="*/ 4460044 h 4483735"/>
              <a:gd name="connsiteX267" fmla="*/ 2620514 w 4269817"/>
              <a:gd name="connsiteY267" fmla="*/ 4483735 h 4483735"/>
              <a:gd name="connsiteX268" fmla="*/ 2557555 w 4269817"/>
              <a:gd name="connsiteY268" fmla="*/ 4483735 h 4483735"/>
              <a:gd name="connsiteX269" fmla="*/ 2552395 w 4269817"/>
              <a:gd name="connsiteY269" fmla="*/ 4455924 h 4483735"/>
              <a:gd name="connsiteX270" fmla="*/ 2460537 w 4269817"/>
              <a:gd name="connsiteY270" fmla="*/ 4366311 h 4483735"/>
              <a:gd name="connsiteX271" fmla="*/ 2460537 w 4269817"/>
              <a:gd name="connsiteY271" fmla="*/ 4348800 h 4483735"/>
              <a:gd name="connsiteX272" fmla="*/ 2441960 w 4269817"/>
              <a:gd name="connsiteY272" fmla="*/ 4328200 h 4483735"/>
              <a:gd name="connsiteX273" fmla="*/ 2441960 w 4269817"/>
              <a:gd name="connsiteY273" fmla="*/ 4291119 h 4483735"/>
              <a:gd name="connsiteX274" fmla="*/ 2409964 w 4269817"/>
              <a:gd name="connsiteY274" fmla="*/ 4278758 h 4483735"/>
              <a:gd name="connsiteX275" fmla="*/ 2376937 w 4269817"/>
              <a:gd name="connsiteY275" fmla="*/ 4266398 h 4483735"/>
              <a:gd name="connsiteX276" fmla="*/ 2357327 w 4269817"/>
              <a:gd name="connsiteY276" fmla="*/ 4283908 h 4483735"/>
              <a:gd name="connsiteX277" fmla="*/ 2330492 w 4269817"/>
              <a:gd name="connsiteY277" fmla="*/ 4283908 h 4483735"/>
              <a:gd name="connsiteX278" fmla="*/ 2347006 w 4269817"/>
              <a:gd name="connsiteY278" fmla="*/ 4255067 h 4483735"/>
              <a:gd name="connsiteX279" fmla="*/ 2299529 w 4269817"/>
              <a:gd name="connsiteY279" fmla="*/ 4266398 h 4483735"/>
              <a:gd name="connsiteX280" fmla="*/ 2255149 w 4269817"/>
              <a:gd name="connsiteY280" fmla="*/ 4266398 h 4483735"/>
              <a:gd name="connsiteX281" fmla="*/ 2255149 w 4269817"/>
              <a:gd name="connsiteY281" fmla="*/ 4237557 h 4483735"/>
              <a:gd name="connsiteX282" fmla="*/ 2217993 w 4269817"/>
              <a:gd name="connsiteY282" fmla="*/ 4221076 h 4483735"/>
              <a:gd name="connsiteX283" fmla="*/ 2217993 w 4269817"/>
              <a:gd name="connsiteY283" fmla="*/ 4200476 h 4483735"/>
              <a:gd name="connsiteX284" fmla="*/ 2216961 w 4269817"/>
              <a:gd name="connsiteY284" fmla="*/ 4182965 h 4483735"/>
              <a:gd name="connsiteX285" fmla="*/ 2201479 w 4269817"/>
              <a:gd name="connsiteY285" fmla="*/ 4176785 h 4483735"/>
              <a:gd name="connsiteX286" fmla="*/ 2198383 w 4269817"/>
              <a:gd name="connsiteY286" fmla="*/ 4238587 h 4483735"/>
              <a:gd name="connsiteX287" fmla="*/ 2190126 w 4269817"/>
              <a:gd name="connsiteY287" fmla="*/ 4266398 h 4483735"/>
              <a:gd name="connsiteX288" fmla="*/ 2255149 w 4269817"/>
              <a:gd name="connsiteY288" fmla="*/ 4266398 h 4483735"/>
              <a:gd name="connsiteX289" fmla="*/ 2255149 w 4269817"/>
              <a:gd name="connsiteY289" fmla="*/ 4293179 h 4483735"/>
              <a:gd name="connsiteX290" fmla="*/ 2236571 w 4269817"/>
              <a:gd name="connsiteY290" fmla="*/ 4312749 h 4483735"/>
              <a:gd name="connsiteX291" fmla="*/ 2236571 w 4269817"/>
              <a:gd name="connsiteY291" fmla="*/ 4348800 h 4483735"/>
              <a:gd name="connsiteX292" fmla="*/ 2191158 w 4269817"/>
              <a:gd name="connsiteY292" fmla="*/ 4339530 h 4483735"/>
              <a:gd name="connsiteX293" fmla="*/ 2168452 w 4269817"/>
              <a:gd name="connsiteY293" fmla="*/ 4360131 h 4483735"/>
              <a:gd name="connsiteX294" fmla="*/ 2158131 w 4269817"/>
              <a:gd name="connsiteY294" fmla="*/ 4306569 h 4483735"/>
              <a:gd name="connsiteX295" fmla="*/ 2138521 w 4269817"/>
              <a:gd name="connsiteY295" fmla="*/ 4335410 h 4483735"/>
              <a:gd name="connsiteX296" fmla="*/ 2119943 w 4269817"/>
              <a:gd name="connsiteY296" fmla="*/ 4372491 h 4483735"/>
              <a:gd name="connsiteX297" fmla="*/ 2061113 w 4269817"/>
              <a:gd name="connsiteY297" fmla="*/ 4394122 h 4483735"/>
              <a:gd name="connsiteX298" fmla="*/ 2040471 w 4269817"/>
              <a:gd name="connsiteY298" fmla="*/ 4376611 h 4483735"/>
              <a:gd name="connsiteX299" fmla="*/ 2003315 w 4269817"/>
              <a:gd name="connsiteY299" fmla="*/ 4376611 h 4483735"/>
              <a:gd name="connsiteX300" fmla="*/ 1985769 w 4269817"/>
              <a:gd name="connsiteY300" fmla="*/ 4412662 h 4483735"/>
              <a:gd name="connsiteX301" fmla="*/ 1958935 w 4269817"/>
              <a:gd name="connsiteY301" fmla="*/ 4386912 h 4483735"/>
              <a:gd name="connsiteX302" fmla="*/ 1939325 w 4269817"/>
              <a:gd name="connsiteY302" fmla="*/ 4320989 h 4483735"/>
              <a:gd name="connsiteX303" fmla="*/ 1912490 w 4269817"/>
              <a:gd name="connsiteY303" fmla="*/ 4268458 h 4483735"/>
              <a:gd name="connsiteX304" fmla="*/ 1849531 w 4269817"/>
              <a:gd name="connsiteY304" fmla="*/ 4302449 h 4483735"/>
              <a:gd name="connsiteX305" fmla="*/ 1798958 w 4269817"/>
              <a:gd name="connsiteY305" fmla="*/ 4302449 h 4483735"/>
              <a:gd name="connsiteX306" fmla="*/ 1778316 w 4269817"/>
              <a:gd name="connsiteY306" fmla="*/ 4283908 h 4483735"/>
              <a:gd name="connsiteX307" fmla="*/ 1742193 w 4269817"/>
              <a:gd name="connsiteY307" fmla="*/ 4283908 h 4483735"/>
              <a:gd name="connsiteX308" fmla="*/ 1689555 w 4269817"/>
              <a:gd name="connsiteY308" fmla="*/ 4231377 h 4483735"/>
              <a:gd name="connsiteX309" fmla="*/ 1681298 w 4269817"/>
              <a:gd name="connsiteY309" fmla="*/ 4234467 h 4483735"/>
              <a:gd name="connsiteX310" fmla="*/ 1672009 w 4269817"/>
              <a:gd name="connsiteY310" fmla="*/ 4292149 h 4483735"/>
              <a:gd name="connsiteX311" fmla="*/ 1566735 w 4269817"/>
              <a:gd name="connsiteY311" fmla="*/ 4221076 h 4483735"/>
              <a:gd name="connsiteX312" fmla="*/ 1558478 w 4269817"/>
              <a:gd name="connsiteY312" fmla="*/ 4156184 h 4483735"/>
              <a:gd name="connsiteX313" fmla="*/ 1512033 w 4269817"/>
              <a:gd name="connsiteY313" fmla="*/ 4197385 h 4483735"/>
              <a:gd name="connsiteX314" fmla="*/ 1479006 w 4269817"/>
              <a:gd name="connsiteY314" fmla="*/ 4174725 h 4483735"/>
              <a:gd name="connsiteX315" fmla="*/ 1407791 w 4269817"/>
              <a:gd name="connsiteY315" fmla="*/ 4174725 h 4483735"/>
              <a:gd name="connsiteX316" fmla="*/ 1399534 w 4269817"/>
              <a:gd name="connsiteY316" fmla="*/ 4181935 h 4483735"/>
              <a:gd name="connsiteX317" fmla="*/ 1416047 w 4269817"/>
              <a:gd name="connsiteY317" fmla="*/ 4202536 h 4483735"/>
              <a:gd name="connsiteX318" fmla="*/ 1396437 w 4269817"/>
              <a:gd name="connsiteY318" fmla="*/ 4212836 h 4483735"/>
              <a:gd name="connsiteX319" fmla="*/ 1341736 w 4269817"/>
              <a:gd name="connsiteY319" fmla="*/ 4163394 h 4483735"/>
              <a:gd name="connsiteX320" fmla="*/ 1304580 w 4269817"/>
              <a:gd name="connsiteY320" fmla="*/ 4108803 h 4483735"/>
              <a:gd name="connsiteX321" fmla="*/ 1304580 w 4269817"/>
              <a:gd name="connsiteY321" fmla="*/ 4034640 h 4483735"/>
              <a:gd name="connsiteX322" fmla="*/ 1248846 w 4269817"/>
              <a:gd name="connsiteY322" fmla="*/ 4002709 h 4483735"/>
              <a:gd name="connsiteX323" fmla="*/ 1216851 w 4269817"/>
              <a:gd name="connsiteY323" fmla="*/ 3951207 h 4483735"/>
              <a:gd name="connsiteX324" fmla="*/ 1183824 w 4269817"/>
              <a:gd name="connsiteY324" fmla="*/ 3900736 h 4483735"/>
              <a:gd name="connsiteX325" fmla="*/ 1164214 w 4269817"/>
              <a:gd name="connsiteY325" fmla="*/ 3918246 h 4483735"/>
              <a:gd name="connsiteX326" fmla="*/ 1127058 w 4269817"/>
              <a:gd name="connsiteY326" fmla="*/ 3918246 h 4483735"/>
              <a:gd name="connsiteX327" fmla="*/ 1100223 w 4269817"/>
              <a:gd name="connsiteY327" fmla="*/ 3864685 h 4483735"/>
              <a:gd name="connsiteX328" fmla="*/ 1064100 w 4269817"/>
              <a:gd name="connsiteY328" fmla="*/ 3816273 h 4483735"/>
              <a:gd name="connsiteX329" fmla="*/ 1025912 w 4269817"/>
              <a:gd name="connsiteY329" fmla="*/ 3762711 h 4483735"/>
              <a:gd name="connsiteX330" fmla="*/ 1024880 w 4269817"/>
              <a:gd name="connsiteY330" fmla="*/ 3729750 h 4483735"/>
              <a:gd name="connsiteX331" fmla="*/ 985660 w 4269817"/>
              <a:gd name="connsiteY331" fmla="*/ 3697819 h 4483735"/>
              <a:gd name="connsiteX332" fmla="*/ 944376 w 4269817"/>
              <a:gd name="connsiteY332" fmla="*/ 3646318 h 4483735"/>
              <a:gd name="connsiteX333" fmla="*/ 918573 w 4269817"/>
              <a:gd name="connsiteY333" fmla="*/ 3640137 h 4483735"/>
              <a:gd name="connsiteX334" fmla="*/ 912380 w 4269817"/>
              <a:gd name="connsiteY334" fmla="*/ 3596876 h 4483735"/>
              <a:gd name="connsiteX335" fmla="*/ 856647 w 4269817"/>
              <a:gd name="connsiteY335" fmla="*/ 3548464 h 4483735"/>
              <a:gd name="connsiteX336" fmla="*/ 834972 w 4269817"/>
              <a:gd name="connsiteY336" fmla="*/ 3520654 h 4483735"/>
              <a:gd name="connsiteX337" fmla="*/ 735890 w 4269817"/>
              <a:gd name="connsiteY337" fmla="*/ 3423830 h 4483735"/>
              <a:gd name="connsiteX338" fmla="*/ 717312 w 4269817"/>
              <a:gd name="connsiteY338" fmla="*/ 3423830 h 4483735"/>
              <a:gd name="connsiteX339" fmla="*/ 691510 w 4269817"/>
              <a:gd name="connsiteY339" fmla="*/ 3398080 h 4483735"/>
              <a:gd name="connsiteX340" fmla="*/ 694606 w 4269817"/>
              <a:gd name="connsiteY340" fmla="*/ 3335248 h 4483735"/>
              <a:gd name="connsiteX341" fmla="*/ 741051 w 4269817"/>
              <a:gd name="connsiteY341" fmla="*/ 3330097 h 4483735"/>
              <a:gd name="connsiteX342" fmla="*/ 742083 w 4269817"/>
              <a:gd name="connsiteY342" fmla="*/ 3263145 h 4483735"/>
              <a:gd name="connsiteX343" fmla="*/ 732794 w 4269817"/>
              <a:gd name="connsiteY343" fmla="*/ 3262115 h 4483735"/>
              <a:gd name="connsiteX344" fmla="*/ 680157 w 4269817"/>
              <a:gd name="connsiteY344" fmla="*/ 3313617 h 4483735"/>
              <a:gd name="connsiteX345" fmla="*/ 660547 w 4269817"/>
              <a:gd name="connsiteY345" fmla="*/ 3296106 h 4483735"/>
              <a:gd name="connsiteX346" fmla="*/ 639905 w 4269817"/>
              <a:gd name="connsiteY346" fmla="*/ 3295076 h 4483735"/>
              <a:gd name="connsiteX347" fmla="*/ 628551 w 4269817"/>
              <a:gd name="connsiteY347" fmla="*/ 3264175 h 4483735"/>
              <a:gd name="connsiteX348" fmla="*/ 597588 w 4269817"/>
              <a:gd name="connsiteY348" fmla="*/ 3252845 h 4483735"/>
              <a:gd name="connsiteX349" fmla="*/ 596556 w 4269817"/>
              <a:gd name="connsiteY349" fmla="*/ 3231214 h 4483735"/>
              <a:gd name="connsiteX350" fmla="*/ 559400 w 4269817"/>
              <a:gd name="connsiteY350" fmla="*/ 3214734 h 4483735"/>
              <a:gd name="connsiteX351" fmla="*/ 559400 w 4269817"/>
              <a:gd name="connsiteY351" fmla="*/ 3195163 h 4483735"/>
              <a:gd name="connsiteX352" fmla="*/ 576946 w 4269817"/>
              <a:gd name="connsiteY352" fmla="*/ 3176622 h 4483735"/>
              <a:gd name="connsiteX353" fmla="*/ 563529 w 4269817"/>
              <a:gd name="connsiteY353" fmla="*/ 3143661 h 4483735"/>
              <a:gd name="connsiteX354" fmla="*/ 552176 w 4269817"/>
              <a:gd name="connsiteY354" fmla="*/ 3112760 h 4483735"/>
              <a:gd name="connsiteX355" fmla="*/ 511924 w 4269817"/>
              <a:gd name="connsiteY355" fmla="*/ 3112760 h 4483735"/>
              <a:gd name="connsiteX356" fmla="*/ 447933 w 4269817"/>
              <a:gd name="connsiteY356" fmla="*/ 3047868 h 4483735"/>
              <a:gd name="connsiteX357" fmla="*/ 477864 w 4269817"/>
              <a:gd name="connsiteY357" fmla="*/ 3017997 h 4483735"/>
              <a:gd name="connsiteX358" fmla="*/ 530502 w 4269817"/>
              <a:gd name="connsiteY358" fmla="*/ 3076709 h 4483735"/>
              <a:gd name="connsiteX359" fmla="*/ 558368 w 4269817"/>
              <a:gd name="connsiteY359" fmla="*/ 3049928 h 4483735"/>
              <a:gd name="connsiteX360" fmla="*/ 493346 w 4269817"/>
              <a:gd name="connsiteY360" fmla="*/ 2984006 h 4483735"/>
              <a:gd name="connsiteX361" fmla="*/ 457222 w 4269817"/>
              <a:gd name="connsiteY361" fmla="*/ 2984006 h 4483735"/>
              <a:gd name="connsiteX362" fmla="*/ 436580 w 4269817"/>
              <a:gd name="connsiteY362" fmla="*/ 2967526 h 4483735"/>
              <a:gd name="connsiteX363" fmla="*/ 423163 w 4269817"/>
              <a:gd name="connsiteY363" fmla="*/ 2980916 h 4483735"/>
              <a:gd name="connsiteX364" fmla="*/ 416970 w 4269817"/>
              <a:gd name="connsiteY364" fmla="*/ 2981946 h 4483735"/>
              <a:gd name="connsiteX365" fmla="*/ 317888 w 4269817"/>
              <a:gd name="connsiteY365" fmla="*/ 2898514 h 4483735"/>
              <a:gd name="connsiteX366" fmla="*/ 317888 w 4269817"/>
              <a:gd name="connsiteY366" fmla="*/ 2845982 h 4483735"/>
              <a:gd name="connsiteX367" fmla="*/ 276604 w 4269817"/>
              <a:gd name="connsiteY367" fmla="*/ 2814051 h 4483735"/>
              <a:gd name="connsiteX368" fmla="*/ 297246 w 4269817"/>
              <a:gd name="connsiteY368" fmla="*/ 2792420 h 4483735"/>
              <a:gd name="connsiteX369" fmla="*/ 283828 w 4269817"/>
              <a:gd name="connsiteY369" fmla="*/ 2779030 h 4483735"/>
              <a:gd name="connsiteX370" fmla="*/ 295182 w 4269817"/>
              <a:gd name="connsiteY370" fmla="*/ 2734738 h 4483735"/>
              <a:gd name="connsiteX371" fmla="*/ 287957 w 4269817"/>
              <a:gd name="connsiteY371" fmla="*/ 2728558 h 4483735"/>
              <a:gd name="connsiteX372" fmla="*/ 213645 w 4269817"/>
              <a:gd name="connsiteY372" fmla="*/ 2728558 h 4483735"/>
              <a:gd name="connsiteX373" fmla="*/ 185778 w 4269817"/>
              <a:gd name="connsiteY373" fmla="*/ 2647185 h 4483735"/>
              <a:gd name="connsiteX374" fmla="*/ 149655 w 4269817"/>
              <a:gd name="connsiteY374" fmla="*/ 2609074 h 4483735"/>
              <a:gd name="connsiteX375" fmla="*/ 176490 w 4269817"/>
              <a:gd name="connsiteY375" fmla="*/ 2582293 h 4483735"/>
              <a:gd name="connsiteX376" fmla="*/ 196100 w 4269817"/>
              <a:gd name="connsiteY376" fmla="*/ 2599804 h 4483735"/>
              <a:gd name="connsiteX377" fmla="*/ 220870 w 4269817"/>
              <a:gd name="connsiteY377" fmla="*/ 2552422 h 4483735"/>
              <a:gd name="connsiteX378" fmla="*/ 116628 w 4269817"/>
              <a:gd name="connsiteY378" fmla="*/ 2504011 h 4483735"/>
              <a:gd name="connsiteX379" fmla="*/ 113531 w 4269817"/>
              <a:gd name="connsiteY379" fmla="*/ 2460749 h 4483735"/>
              <a:gd name="connsiteX380" fmla="*/ 167201 w 4269817"/>
              <a:gd name="connsiteY380" fmla="*/ 2436028 h 4483735"/>
              <a:gd name="connsiteX381" fmla="*/ 179586 w 4269817"/>
              <a:gd name="connsiteY381" fmla="*/ 2453539 h 4483735"/>
              <a:gd name="connsiteX382" fmla="*/ 204356 w 4269817"/>
              <a:gd name="connsiteY382" fmla="*/ 2453539 h 4483735"/>
              <a:gd name="connsiteX383" fmla="*/ 213645 w 4269817"/>
              <a:gd name="connsiteY383" fmla="*/ 2510191 h 4483735"/>
              <a:gd name="connsiteX384" fmla="*/ 222934 w 4269817"/>
              <a:gd name="connsiteY384" fmla="*/ 2489590 h 4483735"/>
              <a:gd name="connsiteX385" fmla="*/ 236352 w 4269817"/>
              <a:gd name="connsiteY385" fmla="*/ 2476200 h 4483735"/>
              <a:gd name="connsiteX386" fmla="*/ 249769 w 4269817"/>
              <a:gd name="connsiteY386" fmla="*/ 2512251 h 4483735"/>
              <a:gd name="connsiteX387" fmla="*/ 269379 w 4269817"/>
              <a:gd name="connsiteY387" fmla="*/ 2472080 h 4483735"/>
              <a:gd name="connsiteX388" fmla="*/ 282796 w 4269817"/>
              <a:gd name="connsiteY388" fmla="*/ 2484440 h 4483735"/>
              <a:gd name="connsiteX389" fmla="*/ 333369 w 4269817"/>
              <a:gd name="connsiteY389" fmla="*/ 2497830 h 4483735"/>
              <a:gd name="connsiteX390" fmla="*/ 333369 w 4269817"/>
              <a:gd name="connsiteY390" fmla="*/ 2521521 h 4483735"/>
              <a:gd name="connsiteX391" fmla="*/ 261122 w 4269817"/>
              <a:gd name="connsiteY391" fmla="*/ 2573023 h 4483735"/>
              <a:gd name="connsiteX392" fmla="*/ 260090 w 4269817"/>
              <a:gd name="connsiteY392" fmla="*/ 2671906 h 4483735"/>
              <a:gd name="connsiteX393" fmla="*/ 254930 w 4269817"/>
              <a:gd name="connsiteY393" fmla="*/ 2689417 h 4483735"/>
              <a:gd name="connsiteX394" fmla="*/ 248737 w 4269817"/>
              <a:gd name="connsiteY394" fmla="*/ 2706927 h 4483735"/>
              <a:gd name="connsiteX395" fmla="*/ 298278 w 4269817"/>
              <a:gd name="connsiteY395" fmla="*/ 2700747 h 4483735"/>
              <a:gd name="connsiteX396" fmla="*/ 280732 w 4269817"/>
              <a:gd name="connsiteY396" fmla="*/ 2662636 h 4483735"/>
              <a:gd name="connsiteX397" fmla="*/ 320984 w 4269817"/>
              <a:gd name="connsiteY397" fmla="*/ 2643065 h 4483735"/>
              <a:gd name="connsiteX398" fmla="*/ 301374 w 4269817"/>
              <a:gd name="connsiteY398" fmla="*/ 2605984 h 4483735"/>
              <a:gd name="connsiteX399" fmla="*/ 335434 w 4269817"/>
              <a:gd name="connsiteY399" fmla="*/ 2599804 h 4483735"/>
              <a:gd name="connsiteX400" fmla="*/ 345755 w 4269817"/>
              <a:gd name="connsiteY400" fmla="*/ 2635855 h 4483735"/>
              <a:gd name="connsiteX401" fmla="*/ 335434 w 4269817"/>
              <a:gd name="connsiteY401" fmla="*/ 2599804 h 4483735"/>
              <a:gd name="connsiteX402" fmla="*/ 324081 w 4269817"/>
              <a:gd name="connsiteY402" fmla="*/ 2582293 h 4483735"/>
              <a:gd name="connsiteX403" fmla="*/ 342658 w 4269817"/>
              <a:gd name="connsiteY403" fmla="*/ 2545212 h 4483735"/>
              <a:gd name="connsiteX404" fmla="*/ 372589 w 4269817"/>
              <a:gd name="connsiteY404" fmla="*/ 2563753 h 4483735"/>
              <a:gd name="connsiteX405" fmla="*/ 401488 w 4269817"/>
              <a:gd name="connsiteY405" fmla="*/ 2582293 h 4483735"/>
              <a:gd name="connsiteX406" fmla="*/ 426259 w 4269817"/>
              <a:gd name="connsiteY406" fmla="*/ 2546242 h 4483735"/>
              <a:gd name="connsiteX407" fmla="*/ 439676 w 4269817"/>
              <a:gd name="connsiteY407" fmla="*/ 2528732 h 4483735"/>
              <a:gd name="connsiteX408" fmla="*/ 426259 w 4269817"/>
              <a:gd name="connsiteY408" fmla="*/ 2546242 h 4483735"/>
              <a:gd name="connsiteX409" fmla="*/ 400456 w 4269817"/>
              <a:gd name="connsiteY409" fmla="*/ 2545212 h 4483735"/>
              <a:gd name="connsiteX410" fmla="*/ 374654 w 4269817"/>
              <a:gd name="connsiteY410" fmla="*/ 2519461 h 4483735"/>
              <a:gd name="connsiteX411" fmla="*/ 391167 w 4269817"/>
              <a:gd name="connsiteY411" fmla="*/ 2481350 h 4483735"/>
              <a:gd name="connsiteX412" fmla="*/ 372589 w 4269817"/>
              <a:gd name="connsiteY412" fmla="*/ 2462809 h 4483735"/>
              <a:gd name="connsiteX413" fmla="*/ 372589 w 4269817"/>
              <a:gd name="connsiteY413" fmla="*/ 2424698 h 4483735"/>
              <a:gd name="connsiteX414" fmla="*/ 346787 w 4269817"/>
              <a:gd name="connsiteY414" fmla="*/ 2401007 h 4483735"/>
              <a:gd name="connsiteX415" fmla="*/ 317888 w 4269817"/>
              <a:gd name="connsiteY415" fmla="*/ 2372167 h 4483735"/>
              <a:gd name="connsiteX416" fmla="*/ 236352 w 4269817"/>
              <a:gd name="connsiteY416" fmla="*/ 2219722 h 4483735"/>
              <a:gd name="connsiteX417" fmla="*/ 235320 w 4269817"/>
              <a:gd name="connsiteY417" fmla="*/ 2219722 h 4483735"/>
              <a:gd name="connsiteX418" fmla="*/ 184746 w 4269817"/>
              <a:gd name="connsiteY418" fmla="*/ 2244442 h 4483735"/>
              <a:gd name="connsiteX419" fmla="*/ 191971 w 4269817"/>
              <a:gd name="connsiteY419" fmla="*/ 2272253 h 4483735"/>
              <a:gd name="connsiteX420" fmla="*/ 213645 w 4269817"/>
              <a:gd name="connsiteY420" fmla="*/ 2253713 h 4483735"/>
              <a:gd name="connsiteX421" fmla="*/ 243576 w 4269817"/>
              <a:gd name="connsiteY421" fmla="*/ 2294914 h 4483735"/>
              <a:gd name="connsiteX422" fmla="*/ 271443 w 4269817"/>
              <a:gd name="connsiteY422" fmla="*/ 2346416 h 4483735"/>
              <a:gd name="connsiteX423" fmla="*/ 295182 w 4269817"/>
              <a:gd name="connsiteY423" fmla="*/ 2391737 h 4483735"/>
              <a:gd name="connsiteX424" fmla="*/ 204356 w 4269817"/>
              <a:gd name="connsiteY424" fmla="*/ 2453539 h 4483735"/>
              <a:gd name="connsiteX425" fmla="*/ 191971 w 4269817"/>
              <a:gd name="connsiteY425" fmla="*/ 2436028 h 4483735"/>
              <a:gd name="connsiteX426" fmla="*/ 167201 w 4269817"/>
              <a:gd name="connsiteY426" fmla="*/ 2436028 h 4483735"/>
              <a:gd name="connsiteX427" fmla="*/ 168233 w 4269817"/>
              <a:gd name="connsiteY427" fmla="*/ 2411308 h 4483735"/>
              <a:gd name="connsiteX428" fmla="*/ 185778 w 4269817"/>
              <a:gd name="connsiteY428" fmla="*/ 2398947 h 4483735"/>
              <a:gd name="connsiteX429" fmla="*/ 209517 w 4269817"/>
              <a:gd name="connsiteY429" fmla="*/ 2417488 h 4483735"/>
              <a:gd name="connsiteX430" fmla="*/ 239448 w 4269817"/>
              <a:gd name="connsiteY430" fmla="*/ 2399977 h 4483735"/>
              <a:gd name="connsiteX431" fmla="*/ 252865 w 4269817"/>
              <a:gd name="connsiteY431" fmla="*/ 2382467 h 4483735"/>
              <a:gd name="connsiteX432" fmla="*/ 239448 w 4269817"/>
              <a:gd name="connsiteY432" fmla="*/ 2399977 h 4483735"/>
              <a:gd name="connsiteX433" fmla="*/ 185778 w 4269817"/>
              <a:gd name="connsiteY433" fmla="*/ 2398947 h 4483735"/>
              <a:gd name="connsiteX434" fmla="*/ 151719 w 4269817"/>
              <a:gd name="connsiteY434" fmla="*/ 2361866 h 4483735"/>
              <a:gd name="connsiteX435" fmla="*/ 135205 w 4269817"/>
              <a:gd name="connsiteY435" fmla="*/ 2367016 h 4483735"/>
              <a:gd name="connsiteX436" fmla="*/ 116628 w 4269817"/>
              <a:gd name="connsiteY436" fmla="*/ 2405128 h 4483735"/>
              <a:gd name="connsiteX437" fmla="*/ 77408 w 4269817"/>
              <a:gd name="connsiteY437" fmla="*/ 2423668 h 4483735"/>
              <a:gd name="connsiteX438" fmla="*/ 63990 w 4269817"/>
              <a:gd name="connsiteY438" fmla="*/ 2433969 h 4483735"/>
              <a:gd name="connsiteX439" fmla="*/ 18578 w 4269817"/>
              <a:gd name="connsiteY439" fmla="*/ 2389677 h 4483735"/>
              <a:gd name="connsiteX440" fmla="*/ 36124 w 4269817"/>
              <a:gd name="connsiteY440" fmla="*/ 2371137 h 4483735"/>
              <a:gd name="connsiteX441" fmla="*/ 36124 w 4269817"/>
              <a:gd name="connsiteY441" fmla="*/ 2331995 h 4483735"/>
              <a:gd name="connsiteX442" fmla="*/ 1032 w 4269817"/>
              <a:gd name="connsiteY442" fmla="*/ 2319635 h 4483735"/>
              <a:gd name="connsiteX443" fmla="*/ 17546 w 4269817"/>
              <a:gd name="connsiteY443" fmla="*/ 2293884 h 4483735"/>
              <a:gd name="connsiteX444" fmla="*/ 18578 w 4269817"/>
              <a:gd name="connsiteY444" fmla="*/ 2261953 h 4483735"/>
              <a:gd name="connsiteX445" fmla="*/ 27867 w 4269817"/>
              <a:gd name="connsiteY445" fmla="*/ 2252683 h 4483735"/>
              <a:gd name="connsiteX446" fmla="*/ 59862 w 4269817"/>
              <a:gd name="connsiteY446" fmla="*/ 2265043 h 4483735"/>
              <a:gd name="connsiteX447" fmla="*/ 90825 w 4269817"/>
              <a:gd name="connsiteY447" fmla="*/ 2276373 h 4483735"/>
              <a:gd name="connsiteX448" fmla="*/ 92889 w 4269817"/>
              <a:gd name="connsiteY448" fmla="*/ 2296974 h 4483735"/>
              <a:gd name="connsiteX449" fmla="*/ 143462 w 4269817"/>
              <a:gd name="connsiteY449" fmla="*/ 2324785 h 4483735"/>
              <a:gd name="connsiteX450" fmla="*/ 170297 w 4269817"/>
              <a:gd name="connsiteY450" fmla="*/ 2318605 h 4483735"/>
              <a:gd name="connsiteX451" fmla="*/ 152751 w 4269817"/>
              <a:gd name="connsiteY451" fmla="*/ 2302124 h 4483735"/>
              <a:gd name="connsiteX452" fmla="*/ 144494 w 4269817"/>
              <a:gd name="connsiteY452" fmla="*/ 2250623 h 4483735"/>
              <a:gd name="connsiteX453" fmla="*/ 120756 w 4269817"/>
              <a:gd name="connsiteY453" fmla="*/ 2270193 h 4483735"/>
              <a:gd name="connsiteX454" fmla="*/ 102178 w 4269817"/>
              <a:gd name="connsiteY454" fmla="*/ 2234142 h 4483735"/>
              <a:gd name="connsiteX455" fmla="*/ 68119 w 4269817"/>
              <a:gd name="connsiteY455" fmla="*/ 2201181 h 4483735"/>
              <a:gd name="connsiteX456" fmla="*/ 90825 w 4269817"/>
              <a:gd name="connsiteY456" fmla="*/ 2170280 h 4483735"/>
              <a:gd name="connsiteX457" fmla="*/ 74311 w 4269817"/>
              <a:gd name="connsiteY457" fmla="*/ 2142469 h 4483735"/>
              <a:gd name="connsiteX458" fmla="*/ 120756 w 4269817"/>
              <a:gd name="connsiteY458" fmla="*/ 2142469 h 4483735"/>
              <a:gd name="connsiteX459" fmla="*/ 140366 w 4269817"/>
              <a:gd name="connsiteY459" fmla="*/ 2124958 h 4483735"/>
              <a:gd name="connsiteX460" fmla="*/ 167201 w 4269817"/>
              <a:gd name="connsiteY460" fmla="*/ 2151739 h 4483735"/>
              <a:gd name="connsiteX461" fmla="*/ 167201 w 4269817"/>
              <a:gd name="connsiteY461" fmla="*/ 2205301 h 4483735"/>
              <a:gd name="connsiteX462" fmla="*/ 198164 w 4269817"/>
              <a:gd name="connsiteY462" fmla="*/ 2212511 h 4483735"/>
              <a:gd name="connsiteX463" fmla="*/ 204356 w 4269817"/>
              <a:gd name="connsiteY463" fmla="*/ 2173370 h 4483735"/>
              <a:gd name="connsiteX464" fmla="*/ 227063 w 4269817"/>
              <a:gd name="connsiteY464" fmla="*/ 2143499 h 4483735"/>
              <a:gd name="connsiteX465" fmla="*/ 177522 w 4269817"/>
              <a:gd name="connsiteY465" fmla="*/ 2089937 h 4483735"/>
              <a:gd name="connsiteX466" fmla="*/ 149655 w 4269817"/>
              <a:gd name="connsiteY466" fmla="*/ 2083757 h 4483735"/>
              <a:gd name="connsiteX467" fmla="*/ 149655 w 4269817"/>
              <a:gd name="connsiteY467" fmla="*/ 2040496 h 4483735"/>
              <a:gd name="connsiteX468" fmla="*/ 111467 w 4269817"/>
              <a:gd name="connsiteY468" fmla="*/ 2016805 h 4483735"/>
              <a:gd name="connsiteX469" fmla="*/ 111467 w 4269817"/>
              <a:gd name="connsiteY469" fmla="*/ 1986934 h 4483735"/>
              <a:gd name="connsiteX470" fmla="*/ 74311 w 4269817"/>
              <a:gd name="connsiteY470" fmla="*/ 1969424 h 4483735"/>
              <a:gd name="connsiteX471" fmla="*/ 91857 w 4269817"/>
              <a:gd name="connsiteY471" fmla="*/ 1949853 h 4483735"/>
              <a:gd name="connsiteX472" fmla="*/ 74311 w 4269817"/>
              <a:gd name="connsiteY472" fmla="*/ 1930282 h 4483735"/>
              <a:gd name="connsiteX473" fmla="*/ 88761 w 4269817"/>
              <a:gd name="connsiteY473" fmla="*/ 1855090 h 4483735"/>
              <a:gd name="connsiteX474" fmla="*/ 71215 w 4269817"/>
              <a:gd name="connsiteY474" fmla="*/ 1863330 h 4483735"/>
              <a:gd name="connsiteX475" fmla="*/ 27867 w 4269817"/>
              <a:gd name="connsiteY475" fmla="*/ 1867450 h 4483735"/>
              <a:gd name="connsiteX476" fmla="*/ 0 w 4269817"/>
              <a:gd name="connsiteY476" fmla="*/ 1840669 h 4483735"/>
              <a:gd name="connsiteX477" fmla="*/ 77408 w 4269817"/>
              <a:gd name="connsiteY477" fmla="*/ 1793288 h 4483735"/>
              <a:gd name="connsiteX478" fmla="*/ 107339 w 4269817"/>
              <a:gd name="connsiteY478" fmla="*/ 1815949 h 4483735"/>
              <a:gd name="connsiteX479" fmla="*/ 179586 w 4269817"/>
              <a:gd name="connsiteY479" fmla="*/ 1779897 h 4483735"/>
              <a:gd name="connsiteX480" fmla="*/ 211581 w 4269817"/>
              <a:gd name="connsiteY480" fmla="*/ 1810798 h 4483735"/>
              <a:gd name="connsiteX481" fmla="*/ 254930 w 4269817"/>
              <a:gd name="connsiteY481" fmla="*/ 1810798 h 4483735"/>
              <a:gd name="connsiteX482" fmla="*/ 252865 w 4269817"/>
              <a:gd name="connsiteY482" fmla="*/ 1777837 h 4483735"/>
              <a:gd name="connsiteX483" fmla="*/ 200228 w 4269817"/>
              <a:gd name="connsiteY483" fmla="*/ 1745906 h 4483735"/>
              <a:gd name="connsiteX484" fmla="*/ 152751 w 4269817"/>
              <a:gd name="connsiteY484" fmla="*/ 1720156 h 4483735"/>
              <a:gd name="connsiteX485" fmla="*/ 167201 w 4269817"/>
              <a:gd name="connsiteY485" fmla="*/ 1675864 h 4483735"/>
              <a:gd name="connsiteX486" fmla="*/ 167201 w 4269817"/>
              <a:gd name="connsiteY486" fmla="*/ 1630543 h 4483735"/>
              <a:gd name="connsiteX487" fmla="*/ 195067 w 4269817"/>
              <a:gd name="connsiteY487" fmla="*/ 1630543 h 4483735"/>
              <a:gd name="connsiteX488" fmla="*/ 217774 w 4269817"/>
              <a:gd name="connsiteY488" fmla="*/ 1651143 h 4483735"/>
              <a:gd name="connsiteX489" fmla="*/ 227063 w 4269817"/>
              <a:gd name="connsiteY489" fmla="*/ 1598612 h 4483735"/>
              <a:gd name="connsiteX490" fmla="*/ 273507 w 4269817"/>
              <a:gd name="connsiteY490" fmla="*/ 1594491 h 4483735"/>
              <a:gd name="connsiteX491" fmla="*/ 284861 w 4269817"/>
              <a:gd name="connsiteY491" fmla="*/ 1627453 h 4483735"/>
              <a:gd name="connsiteX492" fmla="*/ 335434 w 4269817"/>
              <a:gd name="connsiteY492" fmla="*/ 1602732 h 4483735"/>
              <a:gd name="connsiteX493" fmla="*/ 335434 w 4269817"/>
              <a:gd name="connsiteY493" fmla="*/ 1593461 h 4483735"/>
              <a:gd name="connsiteX494" fmla="*/ 369493 w 4269817"/>
              <a:gd name="connsiteY494" fmla="*/ 1599642 h 4483735"/>
              <a:gd name="connsiteX495" fmla="*/ 382911 w 4269817"/>
              <a:gd name="connsiteY495" fmla="*/ 1641873 h 4483735"/>
              <a:gd name="connsiteX496" fmla="*/ 389103 w 4269817"/>
              <a:gd name="connsiteY496" fmla="*/ 1565650 h 4483735"/>
              <a:gd name="connsiteX497" fmla="*/ 363301 w 4269817"/>
              <a:gd name="connsiteY497" fmla="*/ 1538869 h 4483735"/>
              <a:gd name="connsiteX498" fmla="*/ 335434 w 4269817"/>
              <a:gd name="connsiteY498" fmla="*/ 1538869 h 4483735"/>
              <a:gd name="connsiteX499" fmla="*/ 316856 w 4269817"/>
              <a:gd name="connsiteY499" fmla="*/ 1520329 h 4483735"/>
              <a:gd name="connsiteX500" fmla="*/ 316856 w 4269817"/>
              <a:gd name="connsiteY500" fmla="*/ 1501788 h 4483735"/>
              <a:gd name="connsiteX501" fmla="*/ 390135 w 4269817"/>
              <a:gd name="connsiteY501" fmla="*/ 1455437 h 4483735"/>
              <a:gd name="connsiteX502" fmla="*/ 372589 w 4269817"/>
              <a:gd name="connsiteY502" fmla="*/ 1436896 h 4483735"/>
              <a:gd name="connsiteX503" fmla="*/ 372589 w 4269817"/>
              <a:gd name="connsiteY503" fmla="*/ 1382305 h 4483735"/>
              <a:gd name="connsiteX504" fmla="*/ 356076 w 4269817"/>
              <a:gd name="connsiteY504" fmla="*/ 1366854 h 4483735"/>
              <a:gd name="connsiteX505" fmla="*/ 372589 w 4269817"/>
              <a:gd name="connsiteY505" fmla="*/ 1342133 h 4483735"/>
              <a:gd name="connsiteX506" fmla="*/ 360204 w 4269817"/>
              <a:gd name="connsiteY506" fmla="*/ 1265911 h 4483735"/>
              <a:gd name="connsiteX507" fmla="*/ 384975 w 4269817"/>
              <a:gd name="connsiteY507" fmla="*/ 1282391 h 4483735"/>
              <a:gd name="connsiteX508" fmla="*/ 428323 w 4269817"/>
              <a:gd name="connsiteY508" fmla="*/ 1254580 h 4483735"/>
              <a:gd name="connsiteX509" fmla="*/ 428323 w 4269817"/>
              <a:gd name="connsiteY509" fmla="*/ 1218529 h 4483735"/>
              <a:gd name="connsiteX510" fmla="*/ 409745 w 4269817"/>
              <a:gd name="connsiteY510" fmla="*/ 1198958 h 4483735"/>
              <a:gd name="connsiteX511" fmla="*/ 411809 w 4269817"/>
              <a:gd name="connsiteY511" fmla="*/ 1180418 h 4483735"/>
              <a:gd name="connsiteX512" fmla="*/ 453094 w 4269817"/>
              <a:gd name="connsiteY512" fmla="*/ 1171148 h 4483735"/>
              <a:gd name="connsiteX513" fmla="*/ 468575 w 4269817"/>
              <a:gd name="connsiteY513" fmla="*/ 1241190 h 4483735"/>
              <a:gd name="connsiteX514" fmla="*/ 498506 w 4269817"/>
              <a:gd name="connsiteY514" fmla="*/ 1260761 h 4483735"/>
              <a:gd name="connsiteX515" fmla="*/ 506763 w 4269817"/>
              <a:gd name="connsiteY515" fmla="*/ 1297842 h 4483735"/>
              <a:gd name="connsiteX516" fmla="*/ 521213 w 4269817"/>
              <a:gd name="connsiteY516" fmla="*/ 1292691 h 4483735"/>
              <a:gd name="connsiteX517" fmla="*/ 559400 w 4269817"/>
              <a:gd name="connsiteY517" fmla="*/ 1273121 h 4483735"/>
              <a:gd name="connsiteX518" fmla="*/ 543919 w 4269817"/>
              <a:gd name="connsiteY518" fmla="*/ 1258701 h 4483735"/>
              <a:gd name="connsiteX519" fmla="*/ 539790 w 4269817"/>
              <a:gd name="connsiteY519" fmla="*/ 1218529 h 4483735"/>
              <a:gd name="connsiteX520" fmla="*/ 557336 w 4269817"/>
              <a:gd name="connsiteY520" fmla="*/ 1202049 h 4483735"/>
              <a:gd name="connsiteX521" fmla="*/ 560433 w 4269817"/>
              <a:gd name="connsiteY521" fmla="*/ 1140246 h 4483735"/>
              <a:gd name="connsiteX522" fmla="*/ 586235 w 4269817"/>
              <a:gd name="connsiteY522" fmla="*/ 1135097 h 4483735"/>
              <a:gd name="connsiteX523" fmla="*/ 612038 w 4269817"/>
              <a:gd name="connsiteY523" fmla="*/ 1183508 h 4483735"/>
              <a:gd name="connsiteX524" fmla="*/ 597588 w 4269817"/>
              <a:gd name="connsiteY524" fmla="*/ 1199989 h 4483735"/>
              <a:gd name="connsiteX525" fmla="*/ 614102 w 4269817"/>
              <a:gd name="connsiteY525" fmla="*/ 1218529 h 4483735"/>
              <a:gd name="connsiteX526" fmla="*/ 595524 w 4269817"/>
              <a:gd name="connsiteY526" fmla="*/ 1239130 h 4483735"/>
              <a:gd name="connsiteX527" fmla="*/ 625455 w 4269817"/>
              <a:gd name="connsiteY527" fmla="*/ 1248400 h 4483735"/>
              <a:gd name="connsiteX528" fmla="*/ 661579 w 4269817"/>
              <a:gd name="connsiteY528" fmla="*/ 1318443 h 4483735"/>
              <a:gd name="connsiteX529" fmla="*/ 671900 w 4269817"/>
              <a:gd name="connsiteY529" fmla="*/ 1276211 h 4483735"/>
              <a:gd name="connsiteX530" fmla="*/ 653322 w 4269817"/>
              <a:gd name="connsiteY530" fmla="*/ 1255610 h 4483735"/>
              <a:gd name="connsiteX531" fmla="*/ 665707 w 4269817"/>
              <a:gd name="connsiteY531" fmla="*/ 1246340 h 4483735"/>
              <a:gd name="connsiteX532" fmla="*/ 729698 w 4269817"/>
              <a:gd name="connsiteY532" fmla="*/ 1232950 h 4483735"/>
              <a:gd name="connsiteX533" fmla="*/ 676028 w 4269817"/>
              <a:gd name="connsiteY533" fmla="*/ 1222649 h 4483735"/>
              <a:gd name="connsiteX534" fmla="*/ 629584 w 4269817"/>
              <a:gd name="connsiteY534" fmla="*/ 1195868 h 4483735"/>
              <a:gd name="connsiteX535" fmla="*/ 650226 w 4269817"/>
              <a:gd name="connsiteY535" fmla="*/ 1158787 h 4483735"/>
              <a:gd name="connsiteX536" fmla="*/ 617198 w 4269817"/>
              <a:gd name="connsiteY536" fmla="*/ 1145397 h 4483735"/>
              <a:gd name="connsiteX537" fmla="*/ 615134 w 4269817"/>
              <a:gd name="connsiteY537" fmla="*/ 1106256 h 4483735"/>
              <a:gd name="connsiteX538" fmla="*/ 584171 w 4269817"/>
              <a:gd name="connsiteY538" fmla="*/ 1096985 h 4483735"/>
              <a:gd name="connsiteX539" fmla="*/ 577978 w 4269817"/>
              <a:gd name="connsiteY539" fmla="*/ 1080505 h 4483735"/>
              <a:gd name="connsiteX540" fmla="*/ 577978 w 4269817"/>
              <a:gd name="connsiteY540" fmla="*/ 1044454 h 4483735"/>
              <a:gd name="connsiteX541" fmla="*/ 605845 w 4269817"/>
              <a:gd name="connsiteY541" fmla="*/ 1044454 h 4483735"/>
              <a:gd name="connsiteX542" fmla="*/ 631648 w 4269817"/>
              <a:gd name="connsiteY542" fmla="*/ 1070204 h 4483735"/>
              <a:gd name="connsiteX543" fmla="*/ 636808 w 4269817"/>
              <a:gd name="connsiteY543" fmla="*/ 1118616 h 4483735"/>
              <a:gd name="connsiteX544" fmla="*/ 660547 w 4269817"/>
              <a:gd name="connsiteY544" fmla="*/ 1101105 h 4483735"/>
              <a:gd name="connsiteX545" fmla="*/ 682221 w 4269817"/>
              <a:gd name="connsiteY545" fmla="*/ 1117586 h 4483735"/>
              <a:gd name="connsiteX546" fmla="*/ 755500 w 4269817"/>
              <a:gd name="connsiteY546" fmla="*/ 1117586 h 4483735"/>
              <a:gd name="connsiteX547" fmla="*/ 756532 w 4269817"/>
              <a:gd name="connsiteY547" fmla="*/ 1153637 h 4483735"/>
              <a:gd name="connsiteX548" fmla="*/ 736922 w 4269817"/>
              <a:gd name="connsiteY548" fmla="*/ 1137156 h 4483735"/>
              <a:gd name="connsiteX549" fmla="*/ 717312 w 4269817"/>
              <a:gd name="connsiteY549" fmla="*/ 1153637 h 4483735"/>
              <a:gd name="connsiteX550" fmla="*/ 673964 w 4269817"/>
              <a:gd name="connsiteY550" fmla="*/ 1158787 h 4483735"/>
              <a:gd name="connsiteX551" fmla="*/ 699767 w 4269817"/>
              <a:gd name="connsiteY551" fmla="*/ 1189688 h 4483735"/>
              <a:gd name="connsiteX552" fmla="*/ 736922 w 4269817"/>
              <a:gd name="connsiteY552" fmla="*/ 1173208 h 4483735"/>
              <a:gd name="connsiteX553" fmla="*/ 746211 w 4269817"/>
              <a:gd name="connsiteY553" fmla="*/ 1219559 h 4483735"/>
              <a:gd name="connsiteX554" fmla="*/ 762725 w 4269817"/>
              <a:gd name="connsiteY554" fmla="*/ 1226770 h 4483735"/>
              <a:gd name="connsiteX555" fmla="*/ 842197 w 4269817"/>
              <a:gd name="connsiteY555" fmla="*/ 1148487 h 4483735"/>
              <a:gd name="connsiteX556" fmla="*/ 886578 w 4269817"/>
              <a:gd name="connsiteY556" fmla="*/ 1192778 h 4483735"/>
              <a:gd name="connsiteX557" fmla="*/ 931990 w 4269817"/>
              <a:gd name="connsiteY557" fmla="*/ 1218529 h 4483735"/>
              <a:gd name="connsiteX558" fmla="*/ 931990 w 4269817"/>
              <a:gd name="connsiteY558" fmla="*/ 1254580 h 4483735"/>
              <a:gd name="connsiteX559" fmla="*/ 950568 w 4269817"/>
              <a:gd name="connsiteY559" fmla="*/ 1274151 h 4483735"/>
              <a:gd name="connsiteX560" fmla="*/ 950568 w 4269817"/>
              <a:gd name="connsiteY560" fmla="*/ 1314322 h 4483735"/>
              <a:gd name="connsiteX561" fmla="*/ 1001141 w 4269817"/>
              <a:gd name="connsiteY561" fmla="*/ 1322563 h 4483735"/>
              <a:gd name="connsiteX562" fmla="*/ 1012494 w 4269817"/>
              <a:gd name="connsiteY562" fmla="*/ 1411146 h 4483735"/>
              <a:gd name="connsiteX563" fmla="*/ 1033137 w 4269817"/>
              <a:gd name="connsiteY563" fmla="*/ 1393635 h 4483735"/>
              <a:gd name="connsiteX564" fmla="*/ 1061003 w 4269817"/>
              <a:gd name="connsiteY564" fmla="*/ 1408055 h 4483735"/>
              <a:gd name="connsiteX565" fmla="*/ 1079581 w 4269817"/>
              <a:gd name="connsiteY565" fmla="*/ 1421446 h 4483735"/>
              <a:gd name="connsiteX566" fmla="*/ 1061003 w 4269817"/>
              <a:gd name="connsiteY566" fmla="*/ 1408055 h 4483735"/>
              <a:gd name="connsiteX567" fmla="*/ 1062036 w 4269817"/>
              <a:gd name="connsiteY567" fmla="*/ 1364794 h 4483735"/>
              <a:gd name="connsiteX568" fmla="*/ 1027976 w 4269817"/>
              <a:gd name="connsiteY568" fmla="*/ 1331833 h 4483735"/>
              <a:gd name="connsiteX569" fmla="*/ 1001141 w 4269817"/>
              <a:gd name="connsiteY569" fmla="*/ 1245310 h 4483735"/>
              <a:gd name="connsiteX570" fmla="*/ 976371 w 4269817"/>
              <a:gd name="connsiteY570" fmla="*/ 1245310 h 4483735"/>
              <a:gd name="connsiteX571" fmla="*/ 967082 w 4269817"/>
              <a:gd name="connsiteY571" fmla="*/ 1221619 h 4483735"/>
              <a:gd name="connsiteX572" fmla="*/ 1017655 w 4269817"/>
              <a:gd name="connsiteY572" fmla="*/ 1192778 h 4483735"/>
              <a:gd name="connsiteX573" fmla="*/ 1037265 w 4269817"/>
              <a:gd name="connsiteY573" fmla="*/ 1211319 h 4483735"/>
              <a:gd name="connsiteX574" fmla="*/ 1050682 w 4269817"/>
              <a:gd name="connsiteY574" fmla="*/ 1179388 h 4483735"/>
              <a:gd name="connsiteX575" fmla="*/ 1061003 w 4269817"/>
              <a:gd name="connsiteY575" fmla="*/ 1143337 h 4483735"/>
              <a:gd name="connsiteX576" fmla="*/ 1024880 w 4269817"/>
              <a:gd name="connsiteY576" fmla="*/ 1117586 h 4483735"/>
              <a:gd name="connsiteX577" fmla="*/ 1043458 w 4269817"/>
              <a:gd name="connsiteY577" fmla="*/ 1087715 h 4483735"/>
              <a:gd name="connsiteX578" fmla="*/ 1043458 w 4269817"/>
              <a:gd name="connsiteY578" fmla="*/ 1061964 h 4483735"/>
              <a:gd name="connsiteX579" fmla="*/ 1006302 w 4269817"/>
              <a:gd name="connsiteY579" fmla="*/ 967201 h 4483735"/>
              <a:gd name="connsiteX580" fmla="*/ 969146 w 4269817"/>
              <a:gd name="connsiteY580" fmla="*/ 923940 h 4483735"/>
              <a:gd name="connsiteX581" fmla="*/ 1001141 w 4269817"/>
              <a:gd name="connsiteY581" fmla="*/ 898189 h 4483735"/>
              <a:gd name="connsiteX582" fmla="*/ 1026944 w 4269817"/>
              <a:gd name="connsiteY582" fmla="*/ 935270 h 4483735"/>
              <a:gd name="connsiteX583" fmla="*/ 1077517 w 4269817"/>
              <a:gd name="connsiteY583" fmla="*/ 928060 h 4483735"/>
              <a:gd name="connsiteX584" fmla="*/ 1069260 w 4269817"/>
              <a:gd name="connsiteY584" fmla="*/ 881708 h 4483735"/>
              <a:gd name="connsiteX585" fmla="*/ 1097127 w 4269817"/>
              <a:gd name="connsiteY585" fmla="*/ 899219 h 4483735"/>
              <a:gd name="connsiteX586" fmla="*/ 1117769 w 4269817"/>
              <a:gd name="connsiteY586" fmla="*/ 887888 h 4483735"/>
              <a:gd name="connsiteX587" fmla="*/ 1152861 w 4269817"/>
              <a:gd name="connsiteY587" fmla="*/ 814756 h 4483735"/>
              <a:gd name="connsiteX588" fmla="*/ 1152861 w 4269817"/>
              <a:gd name="connsiteY588" fmla="*/ 813726 h 4483735"/>
              <a:gd name="connsiteX589" fmla="*/ 1099191 w 4269817"/>
              <a:gd name="connsiteY589" fmla="*/ 761194 h 4483735"/>
              <a:gd name="connsiteX590" fmla="*/ 1099191 w 4269817"/>
              <a:gd name="connsiteY590" fmla="*/ 726173 h 4483735"/>
              <a:gd name="connsiteX591" fmla="*/ 1046554 w 4269817"/>
              <a:gd name="connsiteY591" fmla="*/ 656131 h 4483735"/>
              <a:gd name="connsiteX592" fmla="*/ 1040361 w 4269817"/>
              <a:gd name="connsiteY592" fmla="*/ 611839 h 4483735"/>
              <a:gd name="connsiteX593" fmla="*/ 1024880 w 4269817"/>
              <a:gd name="connsiteY593" fmla="*/ 604629 h 4483735"/>
              <a:gd name="connsiteX594" fmla="*/ 993917 w 4269817"/>
              <a:gd name="connsiteY594" fmla="*/ 513986 h 4483735"/>
              <a:gd name="connsiteX595" fmla="*/ 1022815 w 4269817"/>
              <a:gd name="connsiteY595" fmla="*/ 477935 h 4483735"/>
              <a:gd name="connsiteX596" fmla="*/ 1036233 w 4269817"/>
              <a:gd name="connsiteY596" fmla="*/ 460425 h 4483735"/>
              <a:gd name="connsiteX597" fmla="*/ 1022815 w 4269817"/>
              <a:gd name="connsiteY597" fmla="*/ 477935 h 4483735"/>
              <a:gd name="connsiteX598" fmla="*/ 998045 w 4269817"/>
              <a:gd name="connsiteY598" fmla="*/ 476905 h 4483735"/>
              <a:gd name="connsiteX599" fmla="*/ 978435 w 4269817"/>
              <a:gd name="connsiteY599" fmla="*/ 494416 h 4483735"/>
              <a:gd name="connsiteX600" fmla="*/ 969146 w 4269817"/>
              <a:gd name="connsiteY600" fmla="*/ 452184 h 4483735"/>
              <a:gd name="connsiteX601" fmla="*/ 913412 w 4269817"/>
              <a:gd name="connsiteY601" fmla="*/ 416133 h 4483735"/>
              <a:gd name="connsiteX602" fmla="*/ 913412 w 4269817"/>
              <a:gd name="connsiteY602" fmla="*/ 320340 h 4483735"/>
              <a:gd name="connsiteX603" fmla="*/ 940247 w 4269817"/>
              <a:gd name="connsiteY603" fmla="*/ 297679 h 4483735"/>
              <a:gd name="connsiteX604" fmla="*/ 985660 w 4269817"/>
              <a:gd name="connsiteY604" fmla="*/ 318280 h 4483735"/>
              <a:gd name="connsiteX605" fmla="*/ 987724 w 4269817"/>
              <a:gd name="connsiteY605" fmla="*/ 345061 h 4483735"/>
              <a:gd name="connsiteX606" fmla="*/ 930958 w 4269817"/>
              <a:gd name="connsiteY606" fmla="*/ 353301 h 4483735"/>
              <a:gd name="connsiteX607" fmla="*/ 937151 w 4269817"/>
              <a:gd name="connsiteY607" fmla="*/ 390382 h 4483735"/>
              <a:gd name="connsiteX608" fmla="*/ 952632 w 4269817"/>
              <a:gd name="connsiteY608" fmla="*/ 373902 h 4483735"/>
              <a:gd name="connsiteX609" fmla="*/ 1014559 w 4269817"/>
              <a:gd name="connsiteY609" fmla="*/ 365661 h 4483735"/>
              <a:gd name="connsiteX610" fmla="*/ 1062036 w 4269817"/>
              <a:gd name="connsiteY610" fmla="*/ 412013 h 4483735"/>
              <a:gd name="connsiteX611" fmla="*/ 1074421 w 4269817"/>
              <a:gd name="connsiteY611" fmla="*/ 437764 h 4483735"/>
              <a:gd name="connsiteX612" fmla="*/ 1084742 w 4269817"/>
              <a:gd name="connsiteY612" fmla="*/ 372872 h 4483735"/>
              <a:gd name="connsiteX613" fmla="*/ 1107448 w 4269817"/>
              <a:gd name="connsiteY613" fmla="*/ 350211 h 4483735"/>
              <a:gd name="connsiteX614" fmla="*/ 1137379 w 4269817"/>
              <a:gd name="connsiteY614" fmla="*/ 369782 h 4483735"/>
              <a:gd name="connsiteX615" fmla="*/ 1146668 w 4269817"/>
              <a:gd name="connsiteY615" fmla="*/ 387292 h 4483735"/>
              <a:gd name="connsiteX616" fmla="*/ 1159053 w 4269817"/>
              <a:gd name="connsiteY616" fmla="*/ 355361 h 4483735"/>
              <a:gd name="connsiteX617" fmla="*/ 1174535 w 4269817"/>
              <a:gd name="connsiteY617" fmla="*/ 349181 h 4483735"/>
              <a:gd name="connsiteX618" fmla="*/ 1192081 w 4269817"/>
              <a:gd name="connsiteY618" fmla="*/ 376992 h 4483735"/>
              <a:gd name="connsiteX619" fmla="*/ 1175567 w 4269817"/>
              <a:gd name="connsiteY619" fmla="*/ 392442 h 4483735"/>
              <a:gd name="connsiteX620" fmla="*/ 1190016 w 4269817"/>
              <a:gd name="connsiteY620" fmla="*/ 410983 h 4483735"/>
              <a:gd name="connsiteX621" fmla="*/ 1174535 w 4269817"/>
              <a:gd name="connsiteY621" fmla="*/ 436734 h 4483735"/>
              <a:gd name="connsiteX622" fmla="*/ 1203434 w 4269817"/>
              <a:gd name="connsiteY622" fmla="*/ 457335 h 4483735"/>
              <a:gd name="connsiteX623" fmla="*/ 1214787 w 4269817"/>
              <a:gd name="connsiteY623" fmla="*/ 412013 h 4483735"/>
              <a:gd name="connsiteX624" fmla="*/ 1259168 w 4269817"/>
              <a:gd name="connsiteY624" fmla="*/ 389352 h 4483735"/>
              <a:gd name="connsiteX625" fmla="*/ 1275681 w 4269817"/>
              <a:gd name="connsiteY625" fmla="*/ 401713 h 4483735"/>
              <a:gd name="connsiteX626" fmla="*/ 1266392 w 4269817"/>
              <a:gd name="connsiteY626" fmla="*/ 351241 h 4483735"/>
              <a:gd name="connsiteX627" fmla="*/ 1270521 w 4269817"/>
              <a:gd name="connsiteY627" fmla="*/ 319310 h 4483735"/>
              <a:gd name="connsiteX628" fmla="*/ 1286002 w 4269817"/>
              <a:gd name="connsiteY628" fmla="*/ 312100 h 4483735"/>
              <a:gd name="connsiteX629" fmla="*/ 1288066 w 4269817"/>
              <a:gd name="connsiteY629" fmla="*/ 349181 h 4483735"/>
              <a:gd name="connsiteX630" fmla="*/ 1326254 w 4269817"/>
              <a:gd name="connsiteY630" fmla="*/ 345061 h 4483735"/>
              <a:gd name="connsiteX631" fmla="*/ 1316965 w 4269817"/>
              <a:gd name="connsiteY631" fmla="*/ 312100 h 4483735"/>
              <a:gd name="connsiteX632" fmla="*/ 1286002 w 4269817"/>
              <a:gd name="connsiteY632" fmla="*/ 312100 h 4483735"/>
              <a:gd name="connsiteX633" fmla="*/ 1286002 w 4269817"/>
              <a:gd name="connsiteY633" fmla="*/ 256478 h 4483735"/>
              <a:gd name="connsiteX634" fmla="*/ 1249879 w 4269817"/>
              <a:gd name="connsiteY634" fmla="*/ 181286 h 4483735"/>
              <a:gd name="connsiteX635" fmla="*/ 1258135 w 4269817"/>
              <a:gd name="connsiteY635" fmla="*/ 147295 h 4483735"/>
              <a:gd name="connsiteX636" fmla="*/ 1275681 w 4269817"/>
              <a:gd name="connsiteY636" fmla="*/ 184376 h 4483735"/>
              <a:gd name="connsiteX637" fmla="*/ 1313869 w 4269817"/>
              <a:gd name="connsiteY637" fmla="*/ 184376 h 4483735"/>
              <a:gd name="connsiteX638" fmla="*/ 1342768 w 4269817"/>
              <a:gd name="connsiteY638" fmla="*/ 239998 h 4483735"/>
              <a:gd name="connsiteX639" fmla="*/ 1342768 w 4269817"/>
              <a:gd name="connsiteY639" fmla="*/ 306950 h 4483735"/>
              <a:gd name="connsiteX640" fmla="*/ 1415015 w 4269817"/>
              <a:gd name="connsiteY640" fmla="*/ 357421 h 4483735"/>
              <a:gd name="connsiteX641" fmla="*/ 1422240 w 4269817"/>
              <a:gd name="connsiteY641" fmla="*/ 386262 h 4483735"/>
              <a:gd name="connsiteX642" fmla="*/ 1433593 w 4269817"/>
              <a:gd name="connsiteY642" fmla="*/ 311070 h 4483735"/>
              <a:gd name="connsiteX643" fmla="*/ 1394373 w 4269817"/>
              <a:gd name="connsiteY643" fmla="*/ 285319 h 4483735"/>
              <a:gd name="connsiteX644" fmla="*/ 1441850 w 4269817"/>
              <a:gd name="connsiteY644" fmla="*/ 187466 h 4483735"/>
              <a:gd name="connsiteX645" fmla="*/ 1466621 w 4269817"/>
              <a:gd name="connsiteY645" fmla="*/ 204976 h 4483735"/>
              <a:gd name="connsiteX646" fmla="*/ 1480038 w 4269817"/>
              <a:gd name="connsiteY646" fmla="*/ 273989 h 4483735"/>
              <a:gd name="connsiteX647" fmla="*/ 1516162 w 4269817"/>
              <a:gd name="connsiteY647" fmla="*/ 220427 h 4483735"/>
              <a:gd name="connsiteX648" fmla="*/ 1539900 w 4269817"/>
              <a:gd name="connsiteY648" fmla="*/ 220427 h 4483735"/>
              <a:gd name="connsiteX649" fmla="*/ 1551253 w 4269817"/>
              <a:gd name="connsiteY649" fmla="*/ 251328 h 4483735"/>
              <a:gd name="connsiteX650" fmla="*/ 1593569 w 4269817"/>
              <a:gd name="connsiteY650" fmla="*/ 293559 h 4483735"/>
              <a:gd name="connsiteX651" fmla="*/ 1610083 w 4269817"/>
              <a:gd name="connsiteY651" fmla="*/ 278109 h 4483735"/>
              <a:gd name="connsiteX652" fmla="*/ 1622468 w 4269817"/>
              <a:gd name="connsiteY652" fmla="*/ 303859 h 4483735"/>
              <a:gd name="connsiteX653" fmla="*/ 1665817 w 4269817"/>
              <a:gd name="connsiteY653" fmla="*/ 312100 h 4483735"/>
              <a:gd name="connsiteX654" fmla="*/ 1706069 w 4269817"/>
              <a:gd name="connsiteY654" fmla="*/ 257508 h 4483735"/>
              <a:gd name="connsiteX655" fmla="*/ 1771091 w 4269817"/>
              <a:gd name="connsiteY655" fmla="*/ 257508 h 4483735"/>
              <a:gd name="connsiteX656" fmla="*/ 1777284 w 4269817"/>
              <a:gd name="connsiteY656" fmla="*/ 271929 h 4483735"/>
              <a:gd name="connsiteX657" fmla="*/ 1822697 w 4269817"/>
              <a:gd name="connsiteY657" fmla="*/ 277079 h 4483735"/>
              <a:gd name="connsiteX658" fmla="*/ 1846435 w 4269817"/>
              <a:gd name="connsiteY658" fmla="*/ 301799 h 4483735"/>
              <a:gd name="connsiteX659" fmla="*/ 1829921 w 4269817"/>
              <a:gd name="connsiteY659" fmla="*/ 379052 h 4483735"/>
              <a:gd name="connsiteX660" fmla="*/ 1843339 w 4269817"/>
              <a:gd name="connsiteY660" fmla="*/ 379052 h 4483735"/>
              <a:gd name="connsiteX661" fmla="*/ 1866045 w 4269817"/>
              <a:gd name="connsiteY661" fmla="*/ 366692 h 4483735"/>
              <a:gd name="connsiteX662" fmla="*/ 1882559 w 4269817"/>
              <a:gd name="connsiteY662" fmla="*/ 358451 h 4483735"/>
              <a:gd name="connsiteX663" fmla="*/ 1882559 w 4269817"/>
              <a:gd name="connsiteY663" fmla="*/ 319310 h 4483735"/>
              <a:gd name="connsiteX664" fmla="*/ 1913522 w 4269817"/>
              <a:gd name="connsiteY664" fmla="*/ 310040 h 4483735"/>
              <a:gd name="connsiteX665" fmla="*/ 1972352 w 4269817"/>
              <a:gd name="connsiteY665" fmla="*/ 215277 h 4483735"/>
              <a:gd name="connsiteX666" fmla="*/ 1914554 w 4269817"/>
              <a:gd name="connsiteY666" fmla="*/ 169955 h 4483735"/>
              <a:gd name="connsiteX667" fmla="*/ 1821665 w 4269817"/>
              <a:gd name="connsiteY667" fmla="*/ 153475 h 4483735"/>
              <a:gd name="connsiteX668" fmla="*/ 1876366 w 4269817"/>
              <a:gd name="connsiteY668" fmla="*/ 142144 h 4483735"/>
              <a:gd name="connsiteX669" fmla="*/ 1931068 w 4269817"/>
              <a:gd name="connsiteY669" fmla="*/ 128754 h 4483735"/>
              <a:gd name="connsiteX670" fmla="*/ 1983705 w 4269817"/>
              <a:gd name="connsiteY670" fmla="*/ 55622 h 4483735"/>
              <a:gd name="connsiteX671" fmla="*/ 2005379 w 4269817"/>
              <a:gd name="connsiteY671" fmla="*/ 73132 h 4483735"/>
              <a:gd name="connsiteX672" fmla="*/ 1995058 w 4269817"/>
              <a:gd name="connsiteY672" fmla="*/ 25751 h 4483735"/>
              <a:gd name="connsiteX673" fmla="*/ 2019829 w 4269817"/>
              <a:gd name="connsiteY673" fmla="*/ 17510 h 4483735"/>
              <a:gd name="connsiteX674" fmla="*/ 2040471 w 4269817"/>
              <a:gd name="connsiteY674" fmla="*/ 37081 h 4483735"/>
              <a:gd name="connsiteX675" fmla="*/ 2061113 w 4269817"/>
              <a:gd name="connsiteY675" fmla="*/ 19570 h 4483735"/>
              <a:gd name="connsiteX676" fmla="*/ 2095172 w 4269817"/>
              <a:gd name="connsiteY676" fmla="*/ 19570 h 4483735"/>
              <a:gd name="connsiteX677" fmla="*/ 2122007 w 4269817"/>
              <a:gd name="connsiteY677" fmla="*/ 0 h 4483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</a:cxnLst>
            <a:rect l="l" t="t" r="r" b="b"/>
            <a:pathLst>
              <a:path w="4269817" h="4483735">
                <a:moveTo>
                  <a:pt x="2122007" y="0"/>
                </a:moveTo>
                <a:cubicBezTo>
                  <a:pt x="2140585" y="3090"/>
                  <a:pt x="2159163" y="42231"/>
                  <a:pt x="2164323" y="71072"/>
                </a:cubicBezTo>
                <a:cubicBezTo>
                  <a:pt x="2145745" y="81372"/>
                  <a:pt x="2126135" y="65922"/>
                  <a:pt x="2109622" y="80342"/>
                </a:cubicBezTo>
                <a:cubicBezTo>
                  <a:pt x="2113750" y="88583"/>
                  <a:pt x="2117879" y="96823"/>
                  <a:pt x="2123039" y="105063"/>
                </a:cubicBezTo>
                <a:cubicBezTo>
                  <a:pt x="2110654" y="110213"/>
                  <a:pt x="2099301" y="114333"/>
                  <a:pt x="2088980" y="118454"/>
                </a:cubicBezTo>
                <a:cubicBezTo>
                  <a:pt x="2090012" y="120514"/>
                  <a:pt x="2092076" y="122574"/>
                  <a:pt x="2094140" y="126694"/>
                </a:cubicBezTo>
                <a:lnTo>
                  <a:pt x="2136457" y="126694"/>
                </a:lnTo>
                <a:cubicBezTo>
                  <a:pt x="2144713" y="109183"/>
                  <a:pt x="2154002" y="91673"/>
                  <a:pt x="2164323" y="71072"/>
                </a:cubicBezTo>
                <a:cubicBezTo>
                  <a:pt x="2197351" y="92703"/>
                  <a:pt x="2197351" y="92703"/>
                  <a:pt x="2236571" y="92703"/>
                </a:cubicBezTo>
                <a:cubicBezTo>
                  <a:pt x="2234506" y="104033"/>
                  <a:pt x="2241731" y="109183"/>
                  <a:pt x="2251020" y="110213"/>
                </a:cubicBezTo>
                <a:cubicBezTo>
                  <a:pt x="2263405" y="112273"/>
                  <a:pt x="2275791" y="110213"/>
                  <a:pt x="2274759" y="92703"/>
                </a:cubicBezTo>
                <a:cubicBezTo>
                  <a:pt x="2304690" y="85493"/>
                  <a:pt x="2322235" y="111243"/>
                  <a:pt x="2347006" y="119484"/>
                </a:cubicBezTo>
                <a:cubicBezTo>
                  <a:pt x="2357327" y="122574"/>
                  <a:pt x="2364552" y="135964"/>
                  <a:pt x="2374873" y="146264"/>
                </a:cubicBezTo>
                <a:lnTo>
                  <a:pt x="2437831" y="146264"/>
                </a:lnTo>
                <a:cubicBezTo>
                  <a:pt x="2439895" y="135964"/>
                  <a:pt x="2441960" y="127724"/>
                  <a:pt x="2444024" y="116394"/>
                </a:cubicBezTo>
                <a:cubicBezTo>
                  <a:pt x="2450216" y="114333"/>
                  <a:pt x="2458473" y="112273"/>
                  <a:pt x="2465698" y="110213"/>
                </a:cubicBezTo>
                <a:cubicBezTo>
                  <a:pt x="2469826" y="112273"/>
                  <a:pt x="2472923" y="113303"/>
                  <a:pt x="2474987" y="115363"/>
                </a:cubicBezTo>
                <a:cubicBezTo>
                  <a:pt x="2531753" y="170985"/>
                  <a:pt x="2588518" y="227637"/>
                  <a:pt x="2646316" y="283259"/>
                </a:cubicBezTo>
                <a:cubicBezTo>
                  <a:pt x="2646316" y="289439"/>
                  <a:pt x="2646316" y="295619"/>
                  <a:pt x="2647348" y="302829"/>
                </a:cubicBezTo>
                <a:cubicBezTo>
                  <a:pt x="2679344" y="334761"/>
                  <a:pt x="2709275" y="369782"/>
                  <a:pt x="2745398" y="397592"/>
                </a:cubicBezTo>
                <a:cubicBezTo>
                  <a:pt x="2782554" y="427463"/>
                  <a:pt x="2794939" y="472785"/>
                  <a:pt x="2830031" y="501626"/>
                </a:cubicBezTo>
                <a:cubicBezTo>
                  <a:pt x="2827967" y="529437"/>
                  <a:pt x="2853769" y="528407"/>
                  <a:pt x="2868219" y="539737"/>
                </a:cubicBezTo>
                <a:cubicBezTo>
                  <a:pt x="2879572" y="547977"/>
                  <a:pt x="2896086" y="556218"/>
                  <a:pt x="2887829" y="575788"/>
                </a:cubicBezTo>
                <a:cubicBezTo>
                  <a:pt x="2927049" y="612870"/>
                  <a:pt x="2964205" y="648921"/>
                  <a:pt x="3001360" y="683942"/>
                </a:cubicBezTo>
                <a:lnTo>
                  <a:pt x="3001360" y="704542"/>
                </a:lnTo>
                <a:cubicBezTo>
                  <a:pt x="3031291" y="737503"/>
                  <a:pt x="3070511" y="763254"/>
                  <a:pt x="3087025" y="807546"/>
                </a:cubicBezTo>
                <a:cubicBezTo>
                  <a:pt x="3089089" y="812696"/>
                  <a:pt x="3095282" y="815786"/>
                  <a:pt x="3099410" y="820936"/>
                </a:cubicBezTo>
                <a:cubicBezTo>
                  <a:pt x="3108699" y="830207"/>
                  <a:pt x="3134502" y="817846"/>
                  <a:pt x="3131406" y="842567"/>
                </a:cubicBezTo>
                <a:cubicBezTo>
                  <a:pt x="3130373" y="858017"/>
                  <a:pt x="3145855" y="861107"/>
                  <a:pt x="3149983" y="871408"/>
                </a:cubicBezTo>
                <a:cubicBezTo>
                  <a:pt x="3154112" y="879648"/>
                  <a:pt x="3153080" y="889948"/>
                  <a:pt x="3158240" y="895099"/>
                </a:cubicBezTo>
                <a:cubicBezTo>
                  <a:pt x="3169593" y="909519"/>
                  <a:pt x="3185075" y="920850"/>
                  <a:pt x="3197460" y="935270"/>
                </a:cubicBezTo>
                <a:cubicBezTo>
                  <a:pt x="3208813" y="947631"/>
                  <a:pt x="3224295" y="955871"/>
                  <a:pt x="3227391" y="977501"/>
                </a:cubicBezTo>
                <a:cubicBezTo>
                  <a:pt x="3229455" y="992952"/>
                  <a:pt x="3250098" y="1004282"/>
                  <a:pt x="3262483" y="1018703"/>
                </a:cubicBezTo>
                <a:lnTo>
                  <a:pt x="3262483" y="1038273"/>
                </a:lnTo>
                <a:cubicBezTo>
                  <a:pt x="3273836" y="1041364"/>
                  <a:pt x="3284157" y="1045484"/>
                  <a:pt x="3296542" y="1049604"/>
                </a:cubicBezTo>
                <a:cubicBezTo>
                  <a:pt x="3297574" y="1056814"/>
                  <a:pt x="3299639" y="1065054"/>
                  <a:pt x="3301703" y="1074325"/>
                </a:cubicBezTo>
                <a:cubicBezTo>
                  <a:pt x="3325441" y="1084625"/>
                  <a:pt x="3348148" y="1094925"/>
                  <a:pt x="3371886" y="1106256"/>
                </a:cubicBezTo>
                <a:cubicBezTo>
                  <a:pt x="3372918" y="1111406"/>
                  <a:pt x="3373950" y="1117586"/>
                  <a:pt x="3373950" y="1119646"/>
                </a:cubicBezTo>
                <a:cubicBezTo>
                  <a:pt x="3411106" y="1155697"/>
                  <a:pt x="3446197" y="1189688"/>
                  <a:pt x="3484385" y="1227799"/>
                </a:cubicBezTo>
                <a:lnTo>
                  <a:pt x="3495739" y="1227799"/>
                </a:lnTo>
                <a:cubicBezTo>
                  <a:pt x="3510188" y="1244280"/>
                  <a:pt x="3508124" y="1273121"/>
                  <a:pt x="3535991" y="1279301"/>
                </a:cubicBezTo>
                <a:cubicBezTo>
                  <a:pt x="3548376" y="1270031"/>
                  <a:pt x="3540119" y="1256641"/>
                  <a:pt x="3542183" y="1245310"/>
                </a:cubicBezTo>
                <a:cubicBezTo>
                  <a:pt x="3577275" y="1263851"/>
                  <a:pt x="3577275" y="1263851"/>
                  <a:pt x="3616495" y="1263851"/>
                </a:cubicBezTo>
                <a:cubicBezTo>
                  <a:pt x="3618559" y="1269001"/>
                  <a:pt x="3619591" y="1278271"/>
                  <a:pt x="3622687" y="1278271"/>
                </a:cubicBezTo>
                <a:cubicBezTo>
                  <a:pt x="3634041" y="1281361"/>
                  <a:pt x="3636105" y="1273121"/>
                  <a:pt x="3635073" y="1263851"/>
                </a:cubicBezTo>
                <a:lnTo>
                  <a:pt x="3662939" y="1263851"/>
                </a:lnTo>
                <a:cubicBezTo>
                  <a:pt x="3678421" y="1277241"/>
                  <a:pt x="3689774" y="1292691"/>
                  <a:pt x="3695967" y="1313292"/>
                </a:cubicBezTo>
                <a:cubicBezTo>
                  <a:pt x="3701127" y="1328743"/>
                  <a:pt x="3723834" y="1334923"/>
                  <a:pt x="3730026" y="1359644"/>
                </a:cubicBezTo>
                <a:cubicBezTo>
                  <a:pt x="3724866" y="1365824"/>
                  <a:pt x="3717641" y="1374064"/>
                  <a:pt x="3711448" y="1383334"/>
                </a:cubicBezTo>
                <a:cubicBezTo>
                  <a:pt x="3727962" y="1392605"/>
                  <a:pt x="3725898" y="1412176"/>
                  <a:pt x="3736219" y="1426596"/>
                </a:cubicBezTo>
                <a:lnTo>
                  <a:pt x="3758925" y="1426596"/>
                </a:lnTo>
                <a:cubicBezTo>
                  <a:pt x="3762022" y="1422476"/>
                  <a:pt x="3765118" y="1420416"/>
                  <a:pt x="3765118" y="1418355"/>
                </a:cubicBezTo>
                <a:cubicBezTo>
                  <a:pt x="3766150" y="1391575"/>
                  <a:pt x="3766150" y="1364794"/>
                  <a:pt x="3766150" y="1336983"/>
                </a:cubicBezTo>
                <a:cubicBezTo>
                  <a:pt x="3804338" y="1346253"/>
                  <a:pt x="3807434" y="1383334"/>
                  <a:pt x="3819819" y="1410115"/>
                </a:cubicBezTo>
                <a:cubicBezTo>
                  <a:pt x="3827044" y="1424536"/>
                  <a:pt x="3822916" y="1445136"/>
                  <a:pt x="3840462" y="1456467"/>
                </a:cubicBezTo>
                <a:cubicBezTo>
                  <a:pt x="3835301" y="1475008"/>
                  <a:pt x="3850783" y="1483248"/>
                  <a:pt x="3860072" y="1494578"/>
                </a:cubicBezTo>
                <a:cubicBezTo>
                  <a:pt x="3874521" y="1510029"/>
                  <a:pt x="3887938" y="1545050"/>
                  <a:pt x="3896195" y="1580071"/>
                </a:cubicBezTo>
                <a:cubicBezTo>
                  <a:pt x="3898259" y="1585221"/>
                  <a:pt x="3902388" y="1589341"/>
                  <a:pt x="3906516" y="1594491"/>
                </a:cubicBezTo>
                <a:cubicBezTo>
                  <a:pt x="3908580" y="1596552"/>
                  <a:pt x="3910645" y="1598612"/>
                  <a:pt x="3916837" y="1604792"/>
                </a:cubicBezTo>
                <a:cubicBezTo>
                  <a:pt x="3906516" y="1614062"/>
                  <a:pt x="3896195" y="1623332"/>
                  <a:pt x="3885874" y="1633633"/>
                </a:cubicBezTo>
                <a:cubicBezTo>
                  <a:pt x="3874521" y="1628483"/>
                  <a:pt x="3867296" y="1624362"/>
                  <a:pt x="3859039" y="1621272"/>
                </a:cubicBezTo>
                <a:cubicBezTo>
                  <a:pt x="3854911" y="1619212"/>
                  <a:pt x="3850783" y="1617152"/>
                  <a:pt x="3843558" y="1614062"/>
                </a:cubicBezTo>
                <a:cubicBezTo>
                  <a:pt x="3842526" y="1623332"/>
                  <a:pt x="3841494" y="1631573"/>
                  <a:pt x="3840462" y="1638783"/>
                </a:cubicBezTo>
                <a:cubicBezTo>
                  <a:pt x="3861104" y="1660414"/>
                  <a:pt x="3888970" y="1638783"/>
                  <a:pt x="3910645" y="1653203"/>
                </a:cubicBezTo>
                <a:cubicBezTo>
                  <a:pt x="3910645" y="1669684"/>
                  <a:pt x="3894131" y="1673804"/>
                  <a:pt x="3887938" y="1683074"/>
                </a:cubicBezTo>
                <a:cubicBezTo>
                  <a:pt x="3877617" y="1685134"/>
                  <a:pt x="3869360" y="1687194"/>
                  <a:pt x="3860072" y="1689255"/>
                </a:cubicBezTo>
                <a:lnTo>
                  <a:pt x="3860072" y="1734576"/>
                </a:lnTo>
                <a:cubicBezTo>
                  <a:pt x="3870393" y="1741786"/>
                  <a:pt x="3884842" y="1752087"/>
                  <a:pt x="3902388" y="1765477"/>
                </a:cubicBezTo>
                <a:cubicBezTo>
                  <a:pt x="3884842" y="1780927"/>
                  <a:pt x="3872457" y="1795348"/>
                  <a:pt x="3856975" y="1805648"/>
                </a:cubicBezTo>
                <a:cubicBezTo>
                  <a:pt x="3843558" y="1814918"/>
                  <a:pt x="3827044" y="1821099"/>
                  <a:pt x="3805370" y="1831399"/>
                </a:cubicBezTo>
                <a:lnTo>
                  <a:pt x="3775439" y="1831399"/>
                </a:lnTo>
                <a:cubicBezTo>
                  <a:pt x="3769246" y="1837579"/>
                  <a:pt x="3762022" y="1843759"/>
                  <a:pt x="3755829" y="1849939"/>
                </a:cubicBezTo>
                <a:lnTo>
                  <a:pt x="3719705" y="1849939"/>
                </a:lnTo>
                <a:cubicBezTo>
                  <a:pt x="3712481" y="1842729"/>
                  <a:pt x="3705256" y="1836549"/>
                  <a:pt x="3699063" y="1831399"/>
                </a:cubicBezTo>
                <a:lnTo>
                  <a:pt x="3670164" y="1831399"/>
                </a:lnTo>
                <a:cubicBezTo>
                  <a:pt x="3667068" y="1831399"/>
                  <a:pt x="3663972" y="1831399"/>
                  <a:pt x="3661907" y="1829339"/>
                </a:cubicBezTo>
                <a:cubicBezTo>
                  <a:pt x="3641265" y="1811828"/>
                  <a:pt x="3621655" y="1793288"/>
                  <a:pt x="3599981" y="1776807"/>
                </a:cubicBezTo>
                <a:cubicBezTo>
                  <a:pt x="3579339" y="1761357"/>
                  <a:pt x="3551472" y="1759297"/>
                  <a:pt x="3530830" y="1738696"/>
                </a:cubicBezTo>
                <a:cubicBezTo>
                  <a:pt x="3527734" y="1747966"/>
                  <a:pt x="3524637" y="1755177"/>
                  <a:pt x="3521541" y="1765477"/>
                </a:cubicBezTo>
                <a:cubicBezTo>
                  <a:pt x="3534958" y="1778867"/>
                  <a:pt x="3554568" y="1789168"/>
                  <a:pt x="3558697" y="1804618"/>
                </a:cubicBezTo>
                <a:cubicBezTo>
                  <a:pt x="3562825" y="1820068"/>
                  <a:pt x="3566954" y="1833459"/>
                  <a:pt x="3580371" y="1840669"/>
                </a:cubicBezTo>
                <a:cubicBezTo>
                  <a:pt x="3599981" y="1850970"/>
                  <a:pt x="3592756" y="1873630"/>
                  <a:pt x="3605142" y="1883931"/>
                </a:cubicBezTo>
                <a:cubicBezTo>
                  <a:pt x="3614431" y="1885991"/>
                  <a:pt x="3623720" y="1888051"/>
                  <a:pt x="3631976" y="1890111"/>
                </a:cubicBezTo>
                <a:cubicBezTo>
                  <a:pt x="3634041" y="1905561"/>
                  <a:pt x="3636105" y="1919982"/>
                  <a:pt x="3638169" y="1937492"/>
                </a:cubicBezTo>
                <a:cubicBezTo>
                  <a:pt x="3645394" y="1939553"/>
                  <a:pt x="3654683" y="1940582"/>
                  <a:pt x="3666036" y="1943672"/>
                </a:cubicBezTo>
                <a:cubicBezTo>
                  <a:pt x="3669132" y="1950883"/>
                  <a:pt x="3670164" y="1963243"/>
                  <a:pt x="3676357" y="1971484"/>
                </a:cubicBezTo>
                <a:cubicBezTo>
                  <a:pt x="3685646" y="1983844"/>
                  <a:pt x="3698031" y="1994144"/>
                  <a:pt x="3709384" y="2005475"/>
                </a:cubicBezTo>
                <a:lnTo>
                  <a:pt x="3709384" y="2077577"/>
                </a:lnTo>
                <a:cubicBezTo>
                  <a:pt x="3715577" y="2083757"/>
                  <a:pt x="3721769" y="2090967"/>
                  <a:pt x="3728994" y="2097148"/>
                </a:cubicBezTo>
                <a:lnTo>
                  <a:pt x="3728994" y="2133199"/>
                </a:lnTo>
                <a:cubicBezTo>
                  <a:pt x="3722802" y="2139379"/>
                  <a:pt x="3716609" y="2145559"/>
                  <a:pt x="3710416" y="2152769"/>
                </a:cubicBezTo>
                <a:cubicBezTo>
                  <a:pt x="3722802" y="2167190"/>
                  <a:pt x="3739315" y="2157919"/>
                  <a:pt x="3753765" y="2161010"/>
                </a:cubicBezTo>
                <a:cubicBezTo>
                  <a:pt x="3766150" y="2179550"/>
                  <a:pt x="3776471" y="2200151"/>
                  <a:pt x="3792985" y="2216631"/>
                </a:cubicBezTo>
                <a:cubicBezTo>
                  <a:pt x="3810530" y="2235172"/>
                  <a:pt x="3837365" y="2234142"/>
                  <a:pt x="3852847" y="2252683"/>
                </a:cubicBezTo>
                <a:cubicBezTo>
                  <a:pt x="3876585" y="2248562"/>
                  <a:pt x="3881746" y="2271223"/>
                  <a:pt x="3896195" y="2279464"/>
                </a:cubicBezTo>
                <a:lnTo>
                  <a:pt x="3896195" y="2335085"/>
                </a:lnTo>
                <a:cubicBezTo>
                  <a:pt x="3905484" y="2344356"/>
                  <a:pt x="3914773" y="2352596"/>
                  <a:pt x="3923030" y="2360836"/>
                </a:cubicBezTo>
                <a:cubicBezTo>
                  <a:pt x="3937479" y="2361866"/>
                  <a:pt x="3952961" y="2362896"/>
                  <a:pt x="3970507" y="2363926"/>
                </a:cubicBezTo>
                <a:cubicBezTo>
                  <a:pt x="3957089" y="2388647"/>
                  <a:pt x="3946768" y="2409247"/>
                  <a:pt x="3934383" y="2432938"/>
                </a:cubicBezTo>
                <a:cubicBezTo>
                  <a:pt x="3959154" y="2434999"/>
                  <a:pt x="3979796" y="2436028"/>
                  <a:pt x="4001470" y="2437059"/>
                </a:cubicBezTo>
                <a:cubicBezTo>
                  <a:pt x="4007662" y="2449419"/>
                  <a:pt x="4027272" y="2453539"/>
                  <a:pt x="4027272" y="2472080"/>
                </a:cubicBezTo>
                <a:lnTo>
                  <a:pt x="3998374" y="2472080"/>
                </a:lnTo>
                <a:cubicBezTo>
                  <a:pt x="3977731" y="2492680"/>
                  <a:pt x="3997341" y="2517401"/>
                  <a:pt x="3987020" y="2541092"/>
                </a:cubicBezTo>
                <a:cubicBezTo>
                  <a:pt x="4001470" y="2543152"/>
                  <a:pt x="4009727" y="2545212"/>
                  <a:pt x="4021080" y="2547272"/>
                </a:cubicBezTo>
                <a:cubicBezTo>
                  <a:pt x="4024176" y="2556542"/>
                  <a:pt x="4027272" y="2566843"/>
                  <a:pt x="4032433" y="2580233"/>
                </a:cubicBezTo>
                <a:cubicBezTo>
                  <a:pt x="4045850" y="2581263"/>
                  <a:pt x="4060300" y="2582293"/>
                  <a:pt x="4074749" y="2583323"/>
                </a:cubicBezTo>
                <a:cubicBezTo>
                  <a:pt x="4084038" y="2592594"/>
                  <a:pt x="4092295" y="2600834"/>
                  <a:pt x="4101584" y="2609074"/>
                </a:cubicBezTo>
                <a:cubicBezTo>
                  <a:pt x="4098488" y="2623494"/>
                  <a:pt x="4107777" y="2638945"/>
                  <a:pt x="4093327" y="2654396"/>
                </a:cubicBezTo>
                <a:cubicBezTo>
                  <a:pt x="4087135" y="2649245"/>
                  <a:pt x="4080942" y="2644095"/>
                  <a:pt x="4074749" y="2638945"/>
                </a:cubicBezTo>
                <a:cubicBezTo>
                  <a:pt x="4060300" y="2659546"/>
                  <a:pt x="4060300" y="2659546"/>
                  <a:pt x="4092295" y="2691477"/>
                </a:cubicBezTo>
                <a:cubicBezTo>
                  <a:pt x="4096423" y="2687357"/>
                  <a:pt x="4100552" y="2683237"/>
                  <a:pt x="4105712" y="2679116"/>
                </a:cubicBezTo>
                <a:cubicBezTo>
                  <a:pt x="4125322" y="2666756"/>
                  <a:pt x="4146997" y="2678086"/>
                  <a:pt x="4165575" y="2671906"/>
                </a:cubicBezTo>
                <a:cubicBezTo>
                  <a:pt x="4188281" y="2694567"/>
                  <a:pt x="4165575" y="2721348"/>
                  <a:pt x="4181056" y="2741948"/>
                </a:cubicBezTo>
                <a:cubicBezTo>
                  <a:pt x="4197569" y="2748129"/>
                  <a:pt x="4203763" y="2708987"/>
                  <a:pt x="4216147" y="2723408"/>
                </a:cubicBezTo>
                <a:cubicBezTo>
                  <a:pt x="4237821" y="2740918"/>
                  <a:pt x="4229565" y="2754309"/>
                  <a:pt x="4231629" y="2764609"/>
                </a:cubicBezTo>
                <a:lnTo>
                  <a:pt x="4201698" y="2764609"/>
                </a:lnTo>
                <a:cubicBezTo>
                  <a:pt x="4199634" y="2771819"/>
                  <a:pt x="4192409" y="2784180"/>
                  <a:pt x="4195505" y="2787270"/>
                </a:cubicBezTo>
                <a:cubicBezTo>
                  <a:pt x="4213051" y="2808901"/>
                  <a:pt x="4213051" y="2842892"/>
                  <a:pt x="4242983" y="2854222"/>
                </a:cubicBezTo>
                <a:cubicBezTo>
                  <a:pt x="4249175" y="2849072"/>
                  <a:pt x="4255367" y="2843922"/>
                  <a:pt x="4261560" y="2839802"/>
                </a:cubicBezTo>
                <a:cubicBezTo>
                  <a:pt x="4274977" y="2854222"/>
                  <a:pt x="4266721" y="2869672"/>
                  <a:pt x="4269817" y="2886153"/>
                </a:cubicBezTo>
                <a:cubicBezTo>
                  <a:pt x="4258464" y="2890273"/>
                  <a:pt x="4248143" y="2893363"/>
                  <a:pt x="4236789" y="2897484"/>
                </a:cubicBezTo>
                <a:cubicBezTo>
                  <a:pt x="4226469" y="2917054"/>
                  <a:pt x="4233693" y="2937655"/>
                  <a:pt x="4232661" y="2958255"/>
                </a:cubicBezTo>
                <a:cubicBezTo>
                  <a:pt x="4244015" y="2968556"/>
                  <a:pt x="4254335" y="2978856"/>
                  <a:pt x="4267753" y="2992247"/>
                </a:cubicBezTo>
                <a:cubicBezTo>
                  <a:pt x="4268785" y="3001517"/>
                  <a:pt x="4268785" y="3012847"/>
                  <a:pt x="4269817" y="3033448"/>
                </a:cubicBezTo>
                <a:cubicBezTo>
                  <a:pt x="4262592" y="3037568"/>
                  <a:pt x="4249175" y="3045808"/>
                  <a:pt x="4236789" y="3053018"/>
                </a:cubicBezTo>
                <a:cubicBezTo>
                  <a:pt x="4234725" y="3050958"/>
                  <a:pt x="4227501" y="3044778"/>
                  <a:pt x="4220276" y="3038598"/>
                </a:cubicBezTo>
                <a:cubicBezTo>
                  <a:pt x="4189313" y="3041688"/>
                  <a:pt x="4177960" y="3070529"/>
                  <a:pt x="4159382" y="3083919"/>
                </a:cubicBezTo>
                <a:cubicBezTo>
                  <a:pt x="4157317" y="3094220"/>
                  <a:pt x="4155253" y="3102460"/>
                  <a:pt x="4153189" y="3109670"/>
                </a:cubicBezTo>
                <a:cubicBezTo>
                  <a:pt x="4133579" y="3090100"/>
                  <a:pt x="4116033" y="3071559"/>
                  <a:pt x="4102616" y="3058169"/>
                </a:cubicBezTo>
                <a:cubicBezTo>
                  <a:pt x="4083006" y="3058169"/>
                  <a:pt x="4073717" y="3058169"/>
                  <a:pt x="4064428" y="3058169"/>
                </a:cubicBezTo>
                <a:cubicBezTo>
                  <a:pt x="4060300" y="3045808"/>
                  <a:pt x="4073717" y="3029328"/>
                  <a:pt x="4053075" y="3023148"/>
                </a:cubicBezTo>
                <a:cubicBezTo>
                  <a:pt x="4045850" y="3033448"/>
                  <a:pt x="4031401" y="3037568"/>
                  <a:pt x="4030369" y="3056109"/>
                </a:cubicBezTo>
                <a:cubicBezTo>
                  <a:pt x="4041722" y="3057139"/>
                  <a:pt x="4053075" y="3058169"/>
                  <a:pt x="4064428" y="3058169"/>
                </a:cubicBezTo>
                <a:cubicBezTo>
                  <a:pt x="4065460" y="3080829"/>
                  <a:pt x="4093327" y="3085979"/>
                  <a:pt x="4099520" y="3105550"/>
                </a:cubicBezTo>
                <a:cubicBezTo>
                  <a:pt x="4075781" y="3116880"/>
                  <a:pt x="4053075" y="3127181"/>
                  <a:pt x="4029337" y="3137481"/>
                </a:cubicBezTo>
                <a:cubicBezTo>
                  <a:pt x="4028305" y="3143661"/>
                  <a:pt x="4025208" y="3150872"/>
                  <a:pt x="4027272" y="3154992"/>
                </a:cubicBezTo>
                <a:cubicBezTo>
                  <a:pt x="4037594" y="3174562"/>
                  <a:pt x="4049979" y="3194133"/>
                  <a:pt x="4062364" y="3215764"/>
                </a:cubicBezTo>
                <a:cubicBezTo>
                  <a:pt x="4048947" y="3228124"/>
                  <a:pt x="4032433" y="3241515"/>
                  <a:pt x="4012823" y="3259025"/>
                </a:cubicBezTo>
                <a:lnTo>
                  <a:pt x="3962250" y="3259025"/>
                </a:lnTo>
                <a:cubicBezTo>
                  <a:pt x="3949865" y="3253875"/>
                  <a:pt x="3952961" y="3240484"/>
                  <a:pt x="3950897" y="3227094"/>
                </a:cubicBezTo>
                <a:cubicBezTo>
                  <a:pt x="3942640" y="3225034"/>
                  <a:pt x="3934383" y="3222974"/>
                  <a:pt x="3923030" y="3220914"/>
                </a:cubicBezTo>
                <a:cubicBezTo>
                  <a:pt x="3918901" y="3216794"/>
                  <a:pt x="3911677" y="3210614"/>
                  <a:pt x="3903420" y="3203403"/>
                </a:cubicBezTo>
                <a:cubicBezTo>
                  <a:pt x="3900324" y="3211644"/>
                  <a:pt x="3897227" y="3219884"/>
                  <a:pt x="3893099" y="3232244"/>
                </a:cubicBezTo>
                <a:cubicBezTo>
                  <a:pt x="3907548" y="3242545"/>
                  <a:pt x="3921998" y="3253875"/>
                  <a:pt x="3936447" y="3264175"/>
                </a:cubicBezTo>
                <a:cubicBezTo>
                  <a:pt x="3927158" y="3274476"/>
                  <a:pt x="3920966" y="3280656"/>
                  <a:pt x="3915805" y="3286836"/>
                </a:cubicBezTo>
                <a:lnTo>
                  <a:pt x="3915805" y="3307437"/>
                </a:lnTo>
                <a:cubicBezTo>
                  <a:pt x="3923030" y="3310527"/>
                  <a:pt x="3931287" y="3312587"/>
                  <a:pt x="3942640" y="3316707"/>
                </a:cubicBezTo>
                <a:cubicBezTo>
                  <a:pt x="3953993" y="3303317"/>
                  <a:pt x="3965346" y="3288896"/>
                  <a:pt x="3976699" y="3274476"/>
                </a:cubicBezTo>
                <a:cubicBezTo>
                  <a:pt x="3981860" y="3279626"/>
                  <a:pt x="3985988" y="3281686"/>
                  <a:pt x="3985988" y="3283746"/>
                </a:cubicBezTo>
                <a:cubicBezTo>
                  <a:pt x="3988052" y="3313617"/>
                  <a:pt x="3989085" y="3343488"/>
                  <a:pt x="3991149" y="3372329"/>
                </a:cubicBezTo>
                <a:cubicBezTo>
                  <a:pt x="3982892" y="3382629"/>
                  <a:pt x="3976699" y="3392929"/>
                  <a:pt x="3972571" y="3399110"/>
                </a:cubicBezTo>
                <a:cubicBezTo>
                  <a:pt x="3964314" y="3422800"/>
                  <a:pt x="4007662" y="3432071"/>
                  <a:pt x="3983924" y="3456792"/>
                </a:cubicBezTo>
                <a:cubicBezTo>
                  <a:pt x="3979796" y="3455761"/>
                  <a:pt x="3975667" y="3453701"/>
                  <a:pt x="3971539" y="3451641"/>
                </a:cubicBezTo>
                <a:cubicBezTo>
                  <a:pt x="3955025" y="3442371"/>
                  <a:pt x="3955025" y="3442371"/>
                  <a:pt x="3934383" y="3451641"/>
                </a:cubicBezTo>
                <a:cubicBezTo>
                  <a:pt x="3938511" y="3456792"/>
                  <a:pt x="3942640" y="3460912"/>
                  <a:pt x="3949865" y="3467092"/>
                </a:cubicBezTo>
                <a:cubicBezTo>
                  <a:pt x="3944704" y="3475332"/>
                  <a:pt x="3939544" y="3483572"/>
                  <a:pt x="3933351" y="3491813"/>
                </a:cubicBezTo>
                <a:cubicBezTo>
                  <a:pt x="3927158" y="3510353"/>
                  <a:pt x="3949865" y="3515503"/>
                  <a:pt x="3952961" y="3533014"/>
                </a:cubicBezTo>
                <a:cubicBezTo>
                  <a:pt x="3943672" y="3549495"/>
                  <a:pt x="3934383" y="3569065"/>
                  <a:pt x="3924062" y="3588636"/>
                </a:cubicBezTo>
                <a:cubicBezTo>
                  <a:pt x="3913741" y="3578335"/>
                  <a:pt x="3905484" y="3570095"/>
                  <a:pt x="3893099" y="3558765"/>
                </a:cubicBezTo>
                <a:cubicBezTo>
                  <a:pt x="3900324" y="3544344"/>
                  <a:pt x="3907548" y="3528894"/>
                  <a:pt x="3916837" y="3512413"/>
                </a:cubicBezTo>
                <a:cubicBezTo>
                  <a:pt x="3906516" y="3490783"/>
                  <a:pt x="3883810" y="3478422"/>
                  <a:pt x="3868328" y="3460912"/>
                </a:cubicBezTo>
                <a:lnTo>
                  <a:pt x="3847686" y="3460912"/>
                </a:lnTo>
                <a:cubicBezTo>
                  <a:pt x="3844590" y="3453701"/>
                  <a:pt x="3841494" y="3445461"/>
                  <a:pt x="3838397" y="3436191"/>
                </a:cubicBezTo>
                <a:cubicBezTo>
                  <a:pt x="3847686" y="3426921"/>
                  <a:pt x="3855943" y="3418680"/>
                  <a:pt x="3865232" y="3408380"/>
                </a:cubicBezTo>
                <a:cubicBezTo>
                  <a:pt x="3878649" y="3407350"/>
                  <a:pt x="3893099" y="3405290"/>
                  <a:pt x="3906516" y="3404260"/>
                </a:cubicBezTo>
                <a:cubicBezTo>
                  <a:pt x="3915805" y="3394989"/>
                  <a:pt x="3925094" y="3386749"/>
                  <a:pt x="3937479" y="3375419"/>
                </a:cubicBezTo>
                <a:cubicBezTo>
                  <a:pt x="3916837" y="3371299"/>
                  <a:pt x="3900324" y="3368209"/>
                  <a:pt x="3880714" y="3365119"/>
                </a:cubicBezTo>
                <a:cubicBezTo>
                  <a:pt x="3879681" y="3356878"/>
                  <a:pt x="3877617" y="3348638"/>
                  <a:pt x="3875553" y="3338338"/>
                </a:cubicBezTo>
                <a:cubicBezTo>
                  <a:pt x="3869360" y="3336278"/>
                  <a:pt x="3861104" y="3333187"/>
                  <a:pt x="3850783" y="3330097"/>
                </a:cubicBezTo>
                <a:cubicBezTo>
                  <a:pt x="3844590" y="3343488"/>
                  <a:pt x="3838397" y="3355848"/>
                  <a:pt x="3832205" y="3369239"/>
                </a:cubicBezTo>
                <a:lnTo>
                  <a:pt x="3813627" y="3369239"/>
                </a:lnTo>
                <a:cubicBezTo>
                  <a:pt x="3800209" y="3362028"/>
                  <a:pt x="3803306" y="3349668"/>
                  <a:pt x="3803306" y="3337308"/>
                </a:cubicBezTo>
                <a:cubicBezTo>
                  <a:pt x="3803306" y="3324947"/>
                  <a:pt x="3803306" y="3312587"/>
                  <a:pt x="3784728" y="3314647"/>
                </a:cubicBezTo>
                <a:cubicBezTo>
                  <a:pt x="3782664" y="3309497"/>
                  <a:pt x="3780599" y="3304347"/>
                  <a:pt x="3778535" y="3299196"/>
                </a:cubicBezTo>
                <a:cubicBezTo>
                  <a:pt x="3774407" y="3291986"/>
                  <a:pt x="3770278" y="3284776"/>
                  <a:pt x="3763054" y="3278596"/>
                </a:cubicBezTo>
                <a:cubicBezTo>
                  <a:pt x="3775439" y="3275506"/>
                  <a:pt x="3789888" y="3276536"/>
                  <a:pt x="3776471" y="3261085"/>
                </a:cubicBezTo>
                <a:cubicBezTo>
                  <a:pt x="3772343" y="3266235"/>
                  <a:pt x="3768214" y="3271385"/>
                  <a:pt x="3763054" y="3278596"/>
                </a:cubicBezTo>
                <a:cubicBezTo>
                  <a:pt x="3763054" y="3277566"/>
                  <a:pt x="3758925" y="3276536"/>
                  <a:pt x="3756861" y="3277566"/>
                </a:cubicBezTo>
                <a:cubicBezTo>
                  <a:pt x="3753765" y="3278596"/>
                  <a:pt x="3750668" y="3281686"/>
                  <a:pt x="3750668" y="3283746"/>
                </a:cubicBezTo>
                <a:cubicBezTo>
                  <a:pt x="3752733" y="3310527"/>
                  <a:pt x="3735187" y="3331127"/>
                  <a:pt x="3728994" y="3355848"/>
                </a:cubicBezTo>
                <a:cubicBezTo>
                  <a:pt x="3725898" y="3367179"/>
                  <a:pt x="3728994" y="3379539"/>
                  <a:pt x="3728994" y="3386749"/>
                </a:cubicBezTo>
                <a:cubicBezTo>
                  <a:pt x="3749636" y="3407350"/>
                  <a:pt x="3769246" y="3425890"/>
                  <a:pt x="3790920" y="3446491"/>
                </a:cubicBezTo>
                <a:cubicBezTo>
                  <a:pt x="3765118" y="3469152"/>
                  <a:pt x="3744476" y="3485632"/>
                  <a:pt x="3728994" y="3500053"/>
                </a:cubicBezTo>
                <a:lnTo>
                  <a:pt x="3728994" y="3534044"/>
                </a:lnTo>
                <a:cubicBezTo>
                  <a:pt x="3713513" y="3537134"/>
                  <a:pt x="3710416" y="3520654"/>
                  <a:pt x="3699063" y="3516533"/>
                </a:cubicBezTo>
                <a:cubicBezTo>
                  <a:pt x="3690806" y="3524774"/>
                  <a:pt x="3682549" y="3534044"/>
                  <a:pt x="3673261" y="3542284"/>
                </a:cubicBezTo>
                <a:lnTo>
                  <a:pt x="3673261" y="3561855"/>
                </a:lnTo>
                <a:cubicBezTo>
                  <a:pt x="3684614" y="3567005"/>
                  <a:pt x="3696999" y="3573185"/>
                  <a:pt x="3710416" y="3579365"/>
                </a:cubicBezTo>
                <a:cubicBezTo>
                  <a:pt x="3705256" y="3584516"/>
                  <a:pt x="3701127" y="3588636"/>
                  <a:pt x="3693903" y="3594816"/>
                </a:cubicBezTo>
                <a:cubicBezTo>
                  <a:pt x="3708352" y="3622627"/>
                  <a:pt x="3720737" y="3653528"/>
                  <a:pt x="3739315" y="3680309"/>
                </a:cubicBezTo>
                <a:cubicBezTo>
                  <a:pt x="3750668" y="3697819"/>
                  <a:pt x="3747572" y="3713270"/>
                  <a:pt x="3742412" y="3733870"/>
                </a:cubicBezTo>
                <a:cubicBezTo>
                  <a:pt x="3733123" y="3728720"/>
                  <a:pt x="3724866" y="3723570"/>
                  <a:pt x="3713513" y="3717390"/>
                </a:cubicBezTo>
                <a:cubicBezTo>
                  <a:pt x="3711448" y="3735931"/>
                  <a:pt x="3708352" y="3752411"/>
                  <a:pt x="3705256" y="3773012"/>
                </a:cubicBezTo>
                <a:cubicBezTo>
                  <a:pt x="3695967" y="3765802"/>
                  <a:pt x="3689774" y="3760651"/>
                  <a:pt x="3683582" y="3756531"/>
                </a:cubicBezTo>
                <a:cubicBezTo>
                  <a:pt x="3675325" y="3761681"/>
                  <a:pt x="3666036" y="3767862"/>
                  <a:pt x="3653651" y="3775072"/>
                </a:cubicBezTo>
                <a:cubicBezTo>
                  <a:pt x="3644362" y="3767862"/>
                  <a:pt x="3635073" y="3761681"/>
                  <a:pt x="3624752" y="3754471"/>
                </a:cubicBezTo>
                <a:cubicBezTo>
                  <a:pt x="3619591" y="3759621"/>
                  <a:pt x="3613398" y="3765802"/>
                  <a:pt x="3606174" y="3771982"/>
                </a:cubicBezTo>
                <a:cubicBezTo>
                  <a:pt x="3577275" y="3776102"/>
                  <a:pt x="3571082" y="3744171"/>
                  <a:pt x="3548376" y="3737991"/>
                </a:cubicBezTo>
                <a:cubicBezTo>
                  <a:pt x="3535991" y="3757561"/>
                  <a:pt x="3544247" y="3779192"/>
                  <a:pt x="3541151" y="3802883"/>
                </a:cubicBezTo>
                <a:cubicBezTo>
                  <a:pt x="3560761" y="3807003"/>
                  <a:pt x="3579339" y="3810093"/>
                  <a:pt x="3601013" y="3814213"/>
                </a:cubicBezTo>
                <a:cubicBezTo>
                  <a:pt x="3580371" y="3836874"/>
                  <a:pt x="3546312" y="3814213"/>
                  <a:pt x="3533926" y="3844084"/>
                </a:cubicBezTo>
                <a:lnTo>
                  <a:pt x="3477161" y="3844084"/>
                </a:lnTo>
                <a:cubicBezTo>
                  <a:pt x="3472000" y="3838934"/>
                  <a:pt x="3464775" y="3832754"/>
                  <a:pt x="3457551" y="3826573"/>
                </a:cubicBezTo>
                <a:cubicBezTo>
                  <a:pt x="3443101" y="3842024"/>
                  <a:pt x="3428652" y="3857474"/>
                  <a:pt x="3412138" y="3873955"/>
                </a:cubicBezTo>
                <a:lnTo>
                  <a:pt x="3412138" y="3905886"/>
                </a:lnTo>
                <a:cubicBezTo>
                  <a:pt x="3406978" y="3918246"/>
                  <a:pt x="3390464" y="3921337"/>
                  <a:pt x="3392528" y="3936787"/>
                </a:cubicBezTo>
                <a:cubicBezTo>
                  <a:pt x="3377046" y="3933697"/>
                  <a:pt x="3373950" y="3950177"/>
                  <a:pt x="3363629" y="3954298"/>
                </a:cubicBezTo>
                <a:lnTo>
                  <a:pt x="3327505" y="3954298"/>
                </a:lnTo>
                <a:cubicBezTo>
                  <a:pt x="3322345" y="3949147"/>
                  <a:pt x="3318216" y="3945027"/>
                  <a:pt x="3310992" y="3938847"/>
                </a:cubicBezTo>
                <a:lnTo>
                  <a:pt x="3269708" y="3938847"/>
                </a:lnTo>
                <a:cubicBezTo>
                  <a:pt x="3265579" y="3942967"/>
                  <a:pt x="3261451" y="3947087"/>
                  <a:pt x="3255258" y="3953268"/>
                </a:cubicBezTo>
                <a:lnTo>
                  <a:pt x="3163401" y="3953268"/>
                </a:lnTo>
                <a:cubicBezTo>
                  <a:pt x="3149983" y="3946057"/>
                  <a:pt x="3134502" y="3938847"/>
                  <a:pt x="3117988" y="3930607"/>
                </a:cubicBezTo>
                <a:cubicBezTo>
                  <a:pt x="3104571" y="3901766"/>
                  <a:pt x="3096314" y="3867775"/>
                  <a:pt x="3066383" y="3846144"/>
                </a:cubicBezTo>
                <a:cubicBezTo>
                  <a:pt x="3058126" y="3860565"/>
                  <a:pt x="3049869" y="3876015"/>
                  <a:pt x="3039548" y="3896616"/>
                </a:cubicBezTo>
                <a:lnTo>
                  <a:pt x="3039548" y="3926487"/>
                </a:lnTo>
                <a:cubicBezTo>
                  <a:pt x="3042645" y="3936787"/>
                  <a:pt x="3060190" y="3939877"/>
                  <a:pt x="3057094" y="3955328"/>
                </a:cubicBezTo>
                <a:cubicBezTo>
                  <a:pt x="3044709" y="3954298"/>
                  <a:pt x="3038516" y="3960478"/>
                  <a:pt x="3041612" y="3971808"/>
                </a:cubicBezTo>
                <a:cubicBezTo>
                  <a:pt x="3029227" y="3974898"/>
                  <a:pt x="3014778" y="3973868"/>
                  <a:pt x="3028195" y="3989319"/>
                </a:cubicBezTo>
                <a:cubicBezTo>
                  <a:pt x="3032323" y="3985199"/>
                  <a:pt x="3036452" y="3980048"/>
                  <a:pt x="3041612" y="3971808"/>
                </a:cubicBezTo>
                <a:cubicBezTo>
                  <a:pt x="3051933" y="3973868"/>
                  <a:pt x="3058126" y="3967688"/>
                  <a:pt x="3057094" y="3955328"/>
                </a:cubicBezTo>
                <a:lnTo>
                  <a:pt x="3085993" y="3955328"/>
                </a:lnTo>
                <a:cubicBezTo>
                  <a:pt x="3094250" y="3963568"/>
                  <a:pt x="3102507" y="3971808"/>
                  <a:pt x="3110763" y="3981078"/>
                </a:cubicBezTo>
                <a:cubicBezTo>
                  <a:pt x="3105603" y="3989319"/>
                  <a:pt x="3099410" y="3998589"/>
                  <a:pt x="3093218" y="4006829"/>
                </a:cubicBezTo>
                <a:cubicBezTo>
                  <a:pt x="3101474" y="4023310"/>
                  <a:pt x="3108699" y="4037730"/>
                  <a:pt x="3119020" y="4058331"/>
                </a:cubicBezTo>
                <a:cubicBezTo>
                  <a:pt x="3103539" y="4061421"/>
                  <a:pt x="3093218" y="4063481"/>
                  <a:pt x="3083929" y="4065541"/>
                </a:cubicBezTo>
                <a:cubicBezTo>
                  <a:pt x="3077736" y="4051121"/>
                  <a:pt x="3073608" y="4040820"/>
                  <a:pt x="3068447" y="4027430"/>
                </a:cubicBezTo>
                <a:cubicBezTo>
                  <a:pt x="3048837" y="4059361"/>
                  <a:pt x="3040580" y="4096442"/>
                  <a:pt x="3009617" y="4120133"/>
                </a:cubicBezTo>
                <a:cubicBezTo>
                  <a:pt x="3002392" y="4119103"/>
                  <a:pt x="2994136" y="4118073"/>
                  <a:pt x="2981750" y="4114983"/>
                </a:cubicBezTo>
                <a:cubicBezTo>
                  <a:pt x="2988975" y="4105713"/>
                  <a:pt x="2994136" y="4099532"/>
                  <a:pt x="2998264" y="4094382"/>
                </a:cubicBezTo>
                <a:cubicBezTo>
                  <a:pt x="2991039" y="4079962"/>
                  <a:pt x="2983815" y="4065541"/>
                  <a:pt x="2976590" y="4049061"/>
                </a:cubicBezTo>
                <a:cubicBezTo>
                  <a:pt x="2963172" y="4048031"/>
                  <a:pt x="2948723" y="4045971"/>
                  <a:pt x="2934274" y="4044941"/>
                </a:cubicBezTo>
                <a:cubicBezTo>
                  <a:pt x="2926017" y="4035670"/>
                  <a:pt x="2916728" y="4027430"/>
                  <a:pt x="2908471" y="4019190"/>
                </a:cubicBezTo>
                <a:lnTo>
                  <a:pt x="2908471" y="3961508"/>
                </a:lnTo>
                <a:cubicBezTo>
                  <a:pt x="2901246" y="3959448"/>
                  <a:pt x="2890925" y="3959448"/>
                  <a:pt x="2884732" y="3954298"/>
                </a:cubicBezTo>
                <a:cubicBezTo>
                  <a:pt x="2864090" y="3937817"/>
                  <a:pt x="2844480" y="3919276"/>
                  <a:pt x="2822806" y="3899706"/>
                </a:cubicBezTo>
                <a:lnTo>
                  <a:pt x="2805260" y="3899706"/>
                </a:lnTo>
                <a:cubicBezTo>
                  <a:pt x="2799068" y="3888375"/>
                  <a:pt x="2793907" y="3876015"/>
                  <a:pt x="2787715" y="3863655"/>
                </a:cubicBezTo>
                <a:cubicBezTo>
                  <a:pt x="2777394" y="3863655"/>
                  <a:pt x="2768105" y="3863655"/>
                  <a:pt x="2759848" y="3865715"/>
                </a:cubicBezTo>
                <a:cubicBezTo>
                  <a:pt x="2756751" y="3854384"/>
                  <a:pt x="2758816" y="3839964"/>
                  <a:pt x="2742302" y="3852324"/>
                </a:cubicBezTo>
                <a:cubicBezTo>
                  <a:pt x="2747463" y="3856444"/>
                  <a:pt x="2752623" y="3860565"/>
                  <a:pt x="2759848" y="3865715"/>
                </a:cubicBezTo>
                <a:cubicBezTo>
                  <a:pt x="2755719" y="3874985"/>
                  <a:pt x="2767073" y="3879105"/>
                  <a:pt x="2772233" y="3885285"/>
                </a:cubicBezTo>
                <a:cubicBezTo>
                  <a:pt x="2781522" y="3896616"/>
                  <a:pt x="2780490" y="3906916"/>
                  <a:pt x="2769137" y="3917216"/>
                </a:cubicBezTo>
                <a:cubicBezTo>
                  <a:pt x="2762944" y="3912066"/>
                  <a:pt x="2756751" y="3906916"/>
                  <a:pt x="2748495" y="3899706"/>
                </a:cubicBezTo>
                <a:cubicBezTo>
                  <a:pt x="2741270" y="3907946"/>
                  <a:pt x="2734045" y="3917216"/>
                  <a:pt x="2724756" y="3928547"/>
                </a:cubicBezTo>
                <a:cubicBezTo>
                  <a:pt x="2745398" y="3945027"/>
                  <a:pt x="2768105" y="3963568"/>
                  <a:pt x="2803196" y="3992409"/>
                </a:cubicBezTo>
                <a:lnTo>
                  <a:pt x="2865122" y="3992409"/>
                </a:lnTo>
                <a:cubicBezTo>
                  <a:pt x="2870283" y="4011979"/>
                  <a:pt x="2876476" y="4027430"/>
                  <a:pt x="2888861" y="4038760"/>
                </a:cubicBezTo>
                <a:lnTo>
                  <a:pt x="2888861" y="4093352"/>
                </a:lnTo>
                <a:cubicBezTo>
                  <a:pt x="2883700" y="4098502"/>
                  <a:pt x="2878540" y="4102622"/>
                  <a:pt x="2874411" y="4106743"/>
                </a:cubicBezTo>
                <a:cubicBezTo>
                  <a:pt x="2878540" y="4125283"/>
                  <a:pt x="2896086" y="4132493"/>
                  <a:pt x="2907439" y="4146914"/>
                </a:cubicBezTo>
                <a:lnTo>
                  <a:pt x="2907439" y="4204596"/>
                </a:lnTo>
                <a:cubicBezTo>
                  <a:pt x="2896086" y="4212836"/>
                  <a:pt x="2882668" y="4224166"/>
                  <a:pt x="2871315" y="4233437"/>
                </a:cubicBezTo>
                <a:lnTo>
                  <a:pt x="2871315" y="4266398"/>
                </a:lnTo>
                <a:lnTo>
                  <a:pt x="2842416" y="4266398"/>
                </a:lnTo>
                <a:cubicBezTo>
                  <a:pt x="2830031" y="4241677"/>
                  <a:pt x="2817646" y="4216956"/>
                  <a:pt x="2805260" y="4193265"/>
                </a:cubicBezTo>
                <a:cubicBezTo>
                  <a:pt x="2788747" y="4190175"/>
                  <a:pt x="2781522" y="4199446"/>
                  <a:pt x="2772233" y="4206656"/>
                </a:cubicBezTo>
                <a:cubicBezTo>
                  <a:pt x="2762944" y="4213866"/>
                  <a:pt x="2750559" y="4215926"/>
                  <a:pt x="2740238" y="4220046"/>
                </a:cubicBezTo>
                <a:cubicBezTo>
                  <a:pt x="2733013" y="4223136"/>
                  <a:pt x="2724756" y="4227256"/>
                  <a:pt x="2716499" y="4229317"/>
                </a:cubicBezTo>
                <a:cubicBezTo>
                  <a:pt x="2705146" y="4231377"/>
                  <a:pt x="2692761" y="4226226"/>
                  <a:pt x="2684504" y="4240647"/>
                </a:cubicBezTo>
                <a:cubicBezTo>
                  <a:pt x="2695857" y="4244767"/>
                  <a:pt x="2706178" y="4248887"/>
                  <a:pt x="2719596" y="4253007"/>
                </a:cubicBezTo>
                <a:cubicBezTo>
                  <a:pt x="2720628" y="4266398"/>
                  <a:pt x="2721660" y="4280818"/>
                  <a:pt x="2723724" y="4297299"/>
                </a:cubicBezTo>
                <a:cubicBezTo>
                  <a:pt x="2734045" y="4300389"/>
                  <a:pt x="2744366" y="4304509"/>
                  <a:pt x="2758816" y="4309659"/>
                </a:cubicBezTo>
                <a:cubicBezTo>
                  <a:pt x="2758816" y="4319959"/>
                  <a:pt x="2762944" y="4333350"/>
                  <a:pt x="2757784" y="4342620"/>
                </a:cubicBezTo>
                <a:cubicBezTo>
                  <a:pt x="2741270" y="4372491"/>
                  <a:pt x="2729917" y="4406482"/>
                  <a:pt x="2690697" y="4429143"/>
                </a:cubicBezTo>
                <a:cubicBezTo>
                  <a:pt x="2683472" y="4430173"/>
                  <a:pt x="2667990" y="4431203"/>
                  <a:pt x="2651477" y="4433263"/>
                </a:cubicBezTo>
                <a:cubicBezTo>
                  <a:pt x="2649413" y="4441503"/>
                  <a:pt x="2647348" y="4449744"/>
                  <a:pt x="2645284" y="4460044"/>
                </a:cubicBezTo>
                <a:cubicBezTo>
                  <a:pt x="2639092" y="4466224"/>
                  <a:pt x="2629803" y="4475494"/>
                  <a:pt x="2620514" y="4483735"/>
                </a:cubicBezTo>
                <a:lnTo>
                  <a:pt x="2557555" y="4483735"/>
                </a:lnTo>
                <a:cubicBezTo>
                  <a:pt x="2555491" y="4473434"/>
                  <a:pt x="2554459" y="4465194"/>
                  <a:pt x="2552395" y="4455924"/>
                </a:cubicBezTo>
                <a:cubicBezTo>
                  <a:pt x="2522464" y="4426053"/>
                  <a:pt x="2491501" y="4396182"/>
                  <a:pt x="2460537" y="4366311"/>
                </a:cubicBezTo>
                <a:lnTo>
                  <a:pt x="2460537" y="4348800"/>
                </a:lnTo>
                <a:cubicBezTo>
                  <a:pt x="2454345" y="4341590"/>
                  <a:pt x="2448152" y="4335410"/>
                  <a:pt x="2441960" y="4328200"/>
                </a:cubicBezTo>
                <a:lnTo>
                  <a:pt x="2441960" y="4291119"/>
                </a:lnTo>
                <a:cubicBezTo>
                  <a:pt x="2430606" y="4286998"/>
                  <a:pt x="2418221" y="4285968"/>
                  <a:pt x="2409964" y="4278758"/>
                </a:cubicBezTo>
                <a:cubicBezTo>
                  <a:pt x="2399643" y="4271548"/>
                  <a:pt x="2392419" y="4263308"/>
                  <a:pt x="2376937" y="4266398"/>
                </a:cubicBezTo>
                <a:cubicBezTo>
                  <a:pt x="2370744" y="4271548"/>
                  <a:pt x="2364552" y="4277728"/>
                  <a:pt x="2357327" y="4283908"/>
                </a:cubicBezTo>
                <a:lnTo>
                  <a:pt x="2330492" y="4283908"/>
                </a:lnTo>
                <a:cubicBezTo>
                  <a:pt x="2335653" y="4274638"/>
                  <a:pt x="2340813" y="4265368"/>
                  <a:pt x="2347006" y="4255067"/>
                </a:cubicBezTo>
                <a:cubicBezTo>
                  <a:pt x="2327396" y="4233437"/>
                  <a:pt x="2315011" y="4257127"/>
                  <a:pt x="2299529" y="4266398"/>
                </a:cubicBezTo>
                <a:lnTo>
                  <a:pt x="2255149" y="4266398"/>
                </a:lnTo>
                <a:lnTo>
                  <a:pt x="2255149" y="4237557"/>
                </a:lnTo>
                <a:cubicBezTo>
                  <a:pt x="2242763" y="4232407"/>
                  <a:pt x="2230378" y="4226226"/>
                  <a:pt x="2217993" y="4221076"/>
                </a:cubicBezTo>
                <a:cubicBezTo>
                  <a:pt x="2217993" y="4212836"/>
                  <a:pt x="2217993" y="4206656"/>
                  <a:pt x="2217993" y="4200476"/>
                </a:cubicBezTo>
                <a:cubicBezTo>
                  <a:pt x="2217993" y="4194295"/>
                  <a:pt x="2219025" y="4188115"/>
                  <a:pt x="2216961" y="4182965"/>
                </a:cubicBezTo>
                <a:cubicBezTo>
                  <a:pt x="2215929" y="4179875"/>
                  <a:pt x="2208704" y="4179875"/>
                  <a:pt x="2201479" y="4176785"/>
                </a:cubicBezTo>
                <a:cubicBezTo>
                  <a:pt x="2200447" y="4199446"/>
                  <a:pt x="2199415" y="4220046"/>
                  <a:pt x="2198383" y="4238587"/>
                </a:cubicBezTo>
                <a:cubicBezTo>
                  <a:pt x="2194254" y="4248887"/>
                  <a:pt x="2173612" y="4251977"/>
                  <a:pt x="2190126" y="4266398"/>
                </a:cubicBezTo>
                <a:lnTo>
                  <a:pt x="2255149" y="4266398"/>
                </a:lnTo>
                <a:lnTo>
                  <a:pt x="2255149" y="4293179"/>
                </a:lnTo>
                <a:cubicBezTo>
                  <a:pt x="2248956" y="4299359"/>
                  <a:pt x="2242763" y="4306569"/>
                  <a:pt x="2236571" y="4312749"/>
                </a:cubicBezTo>
                <a:lnTo>
                  <a:pt x="2236571" y="4348800"/>
                </a:lnTo>
                <a:cubicBezTo>
                  <a:pt x="2222121" y="4363221"/>
                  <a:pt x="2217993" y="4362191"/>
                  <a:pt x="2191158" y="4339530"/>
                </a:cubicBezTo>
                <a:cubicBezTo>
                  <a:pt x="2183933" y="4345710"/>
                  <a:pt x="2177741" y="4351890"/>
                  <a:pt x="2168452" y="4360131"/>
                </a:cubicBezTo>
                <a:cubicBezTo>
                  <a:pt x="2164323" y="4340560"/>
                  <a:pt x="2161227" y="4324080"/>
                  <a:pt x="2158131" y="4306569"/>
                </a:cubicBezTo>
                <a:cubicBezTo>
                  <a:pt x="2134392" y="4305539"/>
                  <a:pt x="2150906" y="4330260"/>
                  <a:pt x="2138521" y="4335410"/>
                </a:cubicBezTo>
                <a:cubicBezTo>
                  <a:pt x="2120975" y="4342620"/>
                  <a:pt x="2129232" y="4362191"/>
                  <a:pt x="2119943" y="4372491"/>
                </a:cubicBezTo>
                <a:cubicBezTo>
                  <a:pt x="2100333" y="4379701"/>
                  <a:pt x="2074530" y="4368371"/>
                  <a:pt x="2061113" y="4394122"/>
                </a:cubicBezTo>
                <a:cubicBezTo>
                  <a:pt x="2054920" y="4387942"/>
                  <a:pt x="2047696" y="4382791"/>
                  <a:pt x="2040471" y="4376611"/>
                </a:cubicBezTo>
                <a:lnTo>
                  <a:pt x="2003315" y="4376611"/>
                </a:lnTo>
                <a:cubicBezTo>
                  <a:pt x="1998155" y="4387942"/>
                  <a:pt x="1991962" y="4400302"/>
                  <a:pt x="1985769" y="4412662"/>
                </a:cubicBezTo>
                <a:cubicBezTo>
                  <a:pt x="1976480" y="4403392"/>
                  <a:pt x="1967191" y="4395152"/>
                  <a:pt x="1958935" y="4386912"/>
                </a:cubicBezTo>
                <a:cubicBezTo>
                  <a:pt x="1963063" y="4361161"/>
                  <a:pt x="1949646" y="4341590"/>
                  <a:pt x="1939325" y="4320989"/>
                </a:cubicBezTo>
                <a:cubicBezTo>
                  <a:pt x="1929004" y="4304509"/>
                  <a:pt x="1921779" y="4285968"/>
                  <a:pt x="1912490" y="4268458"/>
                </a:cubicBezTo>
                <a:cubicBezTo>
                  <a:pt x="1892880" y="4278758"/>
                  <a:pt x="1873270" y="4290088"/>
                  <a:pt x="1849531" y="4302449"/>
                </a:cubicBezTo>
                <a:lnTo>
                  <a:pt x="1798958" y="4302449"/>
                </a:lnTo>
                <a:cubicBezTo>
                  <a:pt x="1792766" y="4296269"/>
                  <a:pt x="1785541" y="4290088"/>
                  <a:pt x="1778316" y="4283908"/>
                </a:cubicBezTo>
                <a:lnTo>
                  <a:pt x="1742193" y="4283908"/>
                </a:lnTo>
                <a:cubicBezTo>
                  <a:pt x="1724647" y="4266398"/>
                  <a:pt x="1707101" y="4248887"/>
                  <a:pt x="1689555" y="4231377"/>
                </a:cubicBezTo>
                <a:cubicBezTo>
                  <a:pt x="1688523" y="4231377"/>
                  <a:pt x="1684395" y="4233437"/>
                  <a:pt x="1681298" y="4234467"/>
                </a:cubicBezTo>
                <a:cubicBezTo>
                  <a:pt x="1679234" y="4249917"/>
                  <a:pt x="1676138" y="4267428"/>
                  <a:pt x="1672009" y="4292149"/>
                </a:cubicBezTo>
                <a:cubicBezTo>
                  <a:pt x="1644143" y="4247857"/>
                  <a:pt x="1600794" y="4242707"/>
                  <a:pt x="1566735" y="4221076"/>
                </a:cubicBezTo>
                <a:cubicBezTo>
                  <a:pt x="1562606" y="4200476"/>
                  <a:pt x="1570863" y="4178845"/>
                  <a:pt x="1558478" y="4156184"/>
                </a:cubicBezTo>
                <a:cubicBezTo>
                  <a:pt x="1542996" y="4169575"/>
                  <a:pt x="1528547" y="4182965"/>
                  <a:pt x="1512033" y="4197385"/>
                </a:cubicBezTo>
                <a:cubicBezTo>
                  <a:pt x="1499648" y="4189145"/>
                  <a:pt x="1490359" y="4182965"/>
                  <a:pt x="1479006" y="4174725"/>
                </a:cubicBezTo>
                <a:cubicBezTo>
                  <a:pt x="1457332" y="4174725"/>
                  <a:pt x="1432561" y="4174725"/>
                  <a:pt x="1407791" y="4174725"/>
                </a:cubicBezTo>
                <a:cubicBezTo>
                  <a:pt x="1405726" y="4174725"/>
                  <a:pt x="1403662" y="4178845"/>
                  <a:pt x="1399534" y="4181935"/>
                </a:cubicBezTo>
                <a:cubicBezTo>
                  <a:pt x="1404694" y="4188115"/>
                  <a:pt x="1408823" y="4194295"/>
                  <a:pt x="1416047" y="4202536"/>
                </a:cubicBezTo>
                <a:cubicBezTo>
                  <a:pt x="1409855" y="4205626"/>
                  <a:pt x="1402630" y="4208716"/>
                  <a:pt x="1396437" y="4212836"/>
                </a:cubicBezTo>
                <a:cubicBezTo>
                  <a:pt x="1372699" y="4201506"/>
                  <a:pt x="1359282" y="4180905"/>
                  <a:pt x="1341736" y="4163394"/>
                </a:cubicBezTo>
                <a:cubicBezTo>
                  <a:pt x="1345864" y="4137644"/>
                  <a:pt x="1320062" y="4130433"/>
                  <a:pt x="1304580" y="4108803"/>
                </a:cubicBezTo>
                <a:lnTo>
                  <a:pt x="1304580" y="4034640"/>
                </a:lnTo>
                <a:cubicBezTo>
                  <a:pt x="1281874" y="4027430"/>
                  <a:pt x="1265360" y="4017130"/>
                  <a:pt x="1248846" y="4002709"/>
                </a:cubicBezTo>
                <a:cubicBezTo>
                  <a:pt x="1231301" y="3988289"/>
                  <a:pt x="1235429" y="3963568"/>
                  <a:pt x="1216851" y="3951207"/>
                </a:cubicBezTo>
                <a:cubicBezTo>
                  <a:pt x="1198273" y="3938847"/>
                  <a:pt x="1196209" y="3916186"/>
                  <a:pt x="1183824" y="3900736"/>
                </a:cubicBezTo>
                <a:cubicBezTo>
                  <a:pt x="1177631" y="3906916"/>
                  <a:pt x="1170407" y="3912066"/>
                  <a:pt x="1164214" y="3918246"/>
                </a:cubicBezTo>
                <a:lnTo>
                  <a:pt x="1127058" y="3918246"/>
                </a:lnTo>
                <a:cubicBezTo>
                  <a:pt x="1117769" y="3900736"/>
                  <a:pt x="1104352" y="3883225"/>
                  <a:pt x="1100223" y="3864685"/>
                </a:cubicBezTo>
                <a:cubicBezTo>
                  <a:pt x="1095063" y="3840994"/>
                  <a:pt x="1066164" y="3834814"/>
                  <a:pt x="1064100" y="3816273"/>
                </a:cubicBezTo>
                <a:cubicBezTo>
                  <a:pt x="1061003" y="3790522"/>
                  <a:pt x="1040361" y="3782282"/>
                  <a:pt x="1025912" y="3762711"/>
                </a:cubicBezTo>
                <a:cubicBezTo>
                  <a:pt x="1025912" y="3754471"/>
                  <a:pt x="1024880" y="3743141"/>
                  <a:pt x="1024880" y="3729750"/>
                </a:cubicBezTo>
                <a:cubicBezTo>
                  <a:pt x="1015591" y="3716360"/>
                  <a:pt x="1007334" y="3700909"/>
                  <a:pt x="985660" y="3697819"/>
                </a:cubicBezTo>
                <a:cubicBezTo>
                  <a:pt x="956761" y="3693699"/>
                  <a:pt x="953664" y="3667948"/>
                  <a:pt x="944376" y="3646318"/>
                </a:cubicBezTo>
                <a:cubicBezTo>
                  <a:pt x="936119" y="3644258"/>
                  <a:pt x="927862" y="3642198"/>
                  <a:pt x="918573" y="3640137"/>
                </a:cubicBezTo>
                <a:cubicBezTo>
                  <a:pt x="907220" y="3627777"/>
                  <a:pt x="916509" y="3611297"/>
                  <a:pt x="912380" y="3596876"/>
                </a:cubicBezTo>
                <a:cubicBezTo>
                  <a:pt x="893802" y="3581426"/>
                  <a:pt x="859743" y="3584516"/>
                  <a:pt x="856647" y="3548464"/>
                </a:cubicBezTo>
                <a:cubicBezTo>
                  <a:pt x="855615" y="3539194"/>
                  <a:pt x="843229" y="3528894"/>
                  <a:pt x="834972" y="3520654"/>
                </a:cubicBezTo>
                <a:cubicBezTo>
                  <a:pt x="801945" y="3488723"/>
                  <a:pt x="768918" y="3455761"/>
                  <a:pt x="735890" y="3423830"/>
                </a:cubicBezTo>
                <a:lnTo>
                  <a:pt x="717312" y="3423830"/>
                </a:lnTo>
                <a:cubicBezTo>
                  <a:pt x="709056" y="3415590"/>
                  <a:pt x="699767" y="3406320"/>
                  <a:pt x="691510" y="3398080"/>
                </a:cubicBezTo>
                <a:cubicBezTo>
                  <a:pt x="689446" y="3377479"/>
                  <a:pt x="685317" y="3356878"/>
                  <a:pt x="694606" y="3335248"/>
                </a:cubicBezTo>
                <a:cubicBezTo>
                  <a:pt x="709056" y="3334218"/>
                  <a:pt x="723505" y="3332157"/>
                  <a:pt x="741051" y="3330097"/>
                </a:cubicBezTo>
                <a:cubicBezTo>
                  <a:pt x="748276" y="3308467"/>
                  <a:pt x="747244" y="3285806"/>
                  <a:pt x="742083" y="3263145"/>
                </a:cubicBezTo>
                <a:cubicBezTo>
                  <a:pt x="736922" y="3262115"/>
                  <a:pt x="733826" y="3261085"/>
                  <a:pt x="732794" y="3262115"/>
                </a:cubicBezTo>
                <a:cubicBezTo>
                  <a:pt x="715248" y="3279626"/>
                  <a:pt x="697702" y="3297136"/>
                  <a:pt x="680157" y="3313617"/>
                </a:cubicBezTo>
                <a:cubicBezTo>
                  <a:pt x="673964" y="3307437"/>
                  <a:pt x="666739" y="3302286"/>
                  <a:pt x="660547" y="3296106"/>
                </a:cubicBezTo>
                <a:cubicBezTo>
                  <a:pt x="654354" y="3296106"/>
                  <a:pt x="648161" y="3295076"/>
                  <a:pt x="639905" y="3295076"/>
                </a:cubicBezTo>
                <a:cubicBezTo>
                  <a:pt x="636808" y="3284776"/>
                  <a:pt x="632680" y="3274476"/>
                  <a:pt x="628551" y="3264175"/>
                </a:cubicBezTo>
                <a:cubicBezTo>
                  <a:pt x="618230" y="3260055"/>
                  <a:pt x="606877" y="3255935"/>
                  <a:pt x="597588" y="3252845"/>
                </a:cubicBezTo>
                <a:cubicBezTo>
                  <a:pt x="596556" y="3244605"/>
                  <a:pt x="596556" y="3239454"/>
                  <a:pt x="596556" y="3231214"/>
                </a:cubicBezTo>
                <a:cubicBezTo>
                  <a:pt x="584171" y="3226064"/>
                  <a:pt x="571786" y="3219884"/>
                  <a:pt x="559400" y="3214734"/>
                </a:cubicBezTo>
                <a:lnTo>
                  <a:pt x="559400" y="3195163"/>
                </a:lnTo>
                <a:cubicBezTo>
                  <a:pt x="565593" y="3188983"/>
                  <a:pt x="571786" y="3181773"/>
                  <a:pt x="576946" y="3176622"/>
                </a:cubicBezTo>
                <a:cubicBezTo>
                  <a:pt x="581075" y="3161172"/>
                  <a:pt x="571786" y="3153962"/>
                  <a:pt x="563529" y="3143661"/>
                </a:cubicBezTo>
                <a:cubicBezTo>
                  <a:pt x="557336" y="3135421"/>
                  <a:pt x="555272" y="3123061"/>
                  <a:pt x="552176" y="3112760"/>
                </a:cubicBezTo>
                <a:lnTo>
                  <a:pt x="511924" y="3112760"/>
                </a:lnTo>
                <a:cubicBezTo>
                  <a:pt x="491282" y="3091130"/>
                  <a:pt x="469607" y="3069499"/>
                  <a:pt x="447933" y="3047868"/>
                </a:cubicBezTo>
                <a:cubicBezTo>
                  <a:pt x="456190" y="3039628"/>
                  <a:pt x="464447" y="3031388"/>
                  <a:pt x="477864" y="3017997"/>
                </a:cubicBezTo>
                <a:cubicBezTo>
                  <a:pt x="495410" y="3037568"/>
                  <a:pt x="512956" y="3057139"/>
                  <a:pt x="530502" y="3076709"/>
                </a:cubicBezTo>
                <a:cubicBezTo>
                  <a:pt x="541855" y="3066409"/>
                  <a:pt x="550112" y="3057139"/>
                  <a:pt x="558368" y="3049928"/>
                </a:cubicBezTo>
                <a:cubicBezTo>
                  <a:pt x="536694" y="3028298"/>
                  <a:pt x="515020" y="3005637"/>
                  <a:pt x="493346" y="2984006"/>
                </a:cubicBezTo>
                <a:lnTo>
                  <a:pt x="457222" y="2984006"/>
                </a:lnTo>
                <a:cubicBezTo>
                  <a:pt x="449997" y="2977826"/>
                  <a:pt x="443805" y="2972676"/>
                  <a:pt x="436580" y="2967526"/>
                </a:cubicBezTo>
                <a:cubicBezTo>
                  <a:pt x="431419" y="2972676"/>
                  <a:pt x="427291" y="2976796"/>
                  <a:pt x="423163" y="2980916"/>
                </a:cubicBezTo>
                <a:cubicBezTo>
                  <a:pt x="421098" y="2980916"/>
                  <a:pt x="416970" y="2982976"/>
                  <a:pt x="416970" y="2981946"/>
                </a:cubicBezTo>
                <a:cubicBezTo>
                  <a:pt x="391167" y="2946925"/>
                  <a:pt x="341626" y="2941775"/>
                  <a:pt x="317888" y="2898514"/>
                </a:cubicBezTo>
                <a:lnTo>
                  <a:pt x="317888" y="2845982"/>
                </a:lnTo>
                <a:cubicBezTo>
                  <a:pt x="305503" y="2836712"/>
                  <a:pt x="291053" y="2825381"/>
                  <a:pt x="276604" y="2814051"/>
                </a:cubicBezTo>
                <a:cubicBezTo>
                  <a:pt x="285893" y="2804781"/>
                  <a:pt x="291053" y="2798600"/>
                  <a:pt x="297246" y="2792420"/>
                </a:cubicBezTo>
                <a:cubicBezTo>
                  <a:pt x="292085" y="2787270"/>
                  <a:pt x="287957" y="2783150"/>
                  <a:pt x="283828" y="2779030"/>
                </a:cubicBezTo>
                <a:cubicBezTo>
                  <a:pt x="281764" y="2762549"/>
                  <a:pt x="309631" y="2753279"/>
                  <a:pt x="295182" y="2734738"/>
                </a:cubicBezTo>
                <a:cubicBezTo>
                  <a:pt x="292085" y="2732678"/>
                  <a:pt x="290021" y="2728558"/>
                  <a:pt x="287957" y="2728558"/>
                </a:cubicBezTo>
                <a:cubicBezTo>
                  <a:pt x="263186" y="2728558"/>
                  <a:pt x="238416" y="2728558"/>
                  <a:pt x="213645" y="2728558"/>
                </a:cubicBezTo>
                <a:cubicBezTo>
                  <a:pt x="202292" y="2701777"/>
                  <a:pt x="181650" y="2679116"/>
                  <a:pt x="185778" y="2647185"/>
                </a:cubicBezTo>
                <a:cubicBezTo>
                  <a:pt x="174425" y="2634825"/>
                  <a:pt x="162040" y="2621435"/>
                  <a:pt x="149655" y="2609074"/>
                </a:cubicBezTo>
                <a:cubicBezTo>
                  <a:pt x="157912" y="2599804"/>
                  <a:pt x="167201" y="2591563"/>
                  <a:pt x="176490" y="2582293"/>
                </a:cubicBezTo>
                <a:cubicBezTo>
                  <a:pt x="182682" y="2588473"/>
                  <a:pt x="188875" y="2594654"/>
                  <a:pt x="196100" y="2599804"/>
                </a:cubicBezTo>
                <a:cubicBezTo>
                  <a:pt x="203324" y="2585383"/>
                  <a:pt x="211581" y="2569933"/>
                  <a:pt x="220870" y="2552422"/>
                </a:cubicBezTo>
                <a:cubicBezTo>
                  <a:pt x="196100" y="2520491"/>
                  <a:pt x="156880" y="2512251"/>
                  <a:pt x="116628" y="2504011"/>
                </a:cubicBezTo>
                <a:cubicBezTo>
                  <a:pt x="107339" y="2490620"/>
                  <a:pt x="112499" y="2476200"/>
                  <a:pt x="113531" y="2460749"/>
                </a:cubicBezTo>
                <a:cubicBezTo>
                  <a:pt x="131077" y="2452509"/>
                  <a:pt x="149655" y="2444269"/>
                  <a:pt x="167201" y="2436028"/>
                </a:cubicBezTo>
                <a:cubicBezTo>
                  <a:pt x="171329" y="2441179"/>
                  <a:pt x="174425" y="2450449"/>
                  <a:pt x="179586" y="2453539"/>
                </a:cubicBezTo>
                <a:cubicBezTo>
                  <a:pt x="186811" y="2456629"/>
                  <a:pt x="196100" y="2453539"/>
                  <a:pt x="204356" y="2453539"/>
                </a:cubicBezTo>
                <a:cubicBezTo>
                  <a:pt x="207453" y="2471050"/>
                  <a:pt x="199196" y="2489590"/>
                  <a:pt x="213645" y="2510191"/>
                </a:cubicBezTo>
                <a:cubicBezTo>
                  <a:pt x="217774" y="2501951"/>
                  <a:pt x="221902" y="2495771"/>
                  <a:pt x="222934" y="2489590"/>
                </a:cubicBezTo>
                <a:cubicBezTo>
                  <a:pt x="224998" y="2481350"/>
                  <a:pt x="223966" y="2472080"/>
                  <a:pt x="236352" y="2476200"/>
                </a:cubicBezTo>
                <a:cubicBezTo>
                  <a:pt x="240480" y="2486500"/>
                  <a:pt x="244608" y="2497830"/>
                  <a:pt x="249769" y="2512251"/>
                </a:cubicBezTo>
                <a:cubicBezTo>
                  <a:pt x="256994" y="2495771"/>
                  <a:pt x="263186" y="2484440"/>
                  <a:pt x="269379" y="2472080"/>
                </a:cubicBezTo>
                <a:cubicBezTo>
                  <a:pt x="275572" y="2478260"/>
                  <a:pt x="282796" y="2484440"/>
                  <a:pt x="282796" y="2484440"/>
                </a:cubicBezTo>
                <a:cubicBezTo>
                  <a:pt x="303438" y="2495771"/>
                  <a:pt x="319952" y="2482380"/>
                  <a:pt x="333369" y="2497830"/>
                </a:cubicBezTo>
                <a:lnTo>
                  <a:pt x="333369" y="2521521"/>
                </a:lnTo>
                <a:cubicBezTo>
                  <a:pt x="299310" y="2526671"/>
                  <a:pt x="282796" y="2553452"/>
                  <a:pt x="261122" y="2573023"/>
                </a:cubicBezTo>
                <a:cubicBezTo>
                  <a:pt x="261122" y="2605984"/>
                  <a:pt x="261122" y="2638945"/>
                  <a:pt x="260090" y="2671906"/>
                </a:cubicBezTo>
                <a:cubicBezTo>
                  <a:pt x="260090" y="2677056"/>
                  <a:pt x="256994" y="2683237"/>
                  <a:pt x="254930" y="2689417"/>
                </a:cubicBezTo>
                <a:cubicBezTo>
                  <a:pt x="253897" y="2694567"/>
                  <a:pt x="235320" y="2695597"/>
                  <a:pt x="248737" y="2706927"/>
                </a:cubicBezTo>
                <a:cubicBezTo>
                  <a:pt x="265251" y="2708987"/>
                  <a:pt x="283828" y="2718258"/>
                  <a:pt x="298278" y="2700747"/>
                </a:cubicBezTo>
                <a:cubicBezTo>
                  <a:pt x="305503" y="2682206"/>
                  <a:pt x="286925" y="2674996"/>
                  <a:pt x="280732" y="2662636"/>
                </a:cubicBezTo>
                <a:cubicBezTo>
                  <a:pt x="293117" y="2656456"/>
                  <a:pt x="305503" y="2651306"/>
                  <a:pt x="320984" y="2643065"/>
                </a:cubicBezTo>
                <a:cubicBezTo>
                  <a:pt x="313759" y="2629675"/>
                  <a:pt x="307567" y="2618344"/>
                  <a:pt x="301374" y="2605984"/>
                </a:cubicBezTo>
                <a:cubicBezTo>
                  <a:pt x="310663" y="2594654"/>
                  <a:pt x="324081" y="2602894"/>
                  <a:pt x="335434" y="2599804"/>
                </a:cubicBezTo>
                <a:cubicBezTo>
                  <a:pt x="338530" y="2612164"/>
                  <a:pt x="326145" y="2628645"/>
                  <a:pt x="345755" y="2635855"/>
                </a:cubicBezTo>
                <a:cubicBezTo>
                  <a:pt x="354012" y="2611134"/>
                  <a:pt x="354012" y="2611134"/>
                  <a:pt x="335434" y="2599804"/>
                </a:cubicBezTo>
                <a:cubicBezTo>
                  <a:pt x="329241" y="2590534"/>
                  <a:pt x="324081" y="2581263"/>
                  <a:pt x="324081" y="2582293"/>
                </a:cubicBezTo>
                <a:cubicBezTo>
                  <a:pt x="331305" y="2566843"/>
                  <a:pt x="338530" y="2553452"/>
                  <a:pt x="342658" y="2545212"/>
                </a:cubicBezTo>
                <a:cubicBezTo>
                  <a:pt x="363301" y="2545212"/>
                  <a:pt x="373622" y="2547272"/>
                  <a:pt x="372589" y="2563753"/>
                </a:cubicBezTo>
                <a:cubicBezTo>
                  <a:pt x="371557" y="2581263"/>
                  <a:pt x="382911" y="2581263"/>
                  <a:pt x="401488" y="2582293"/>
                </a:cubicBezTo>
                <a:cubicBezTo>
                  <a:pt x="403553" y="2567873"/>
                  <a:pt x="429355" y="2567873"/>
                  <a:pt x="426259" y="2546242"/>
                </a:cubicBezTo>
                <a:cubicBezTo>
                  <a:pt x="437612" y="2543152"/>
                  <a:pt x="452062" y="2545212"/>
                  <a:pt x="439676" y="2528732"/>
                </a:cubicBezTo>
                <a:cubicBezTo>
                  <a:pt x="435548" y="2533882"/>
                  <a:pt x="430387" y="2539032"/>
                  <a:pt x="426259" y="2546242"/>
                </a:cubicBezTo>
                <a:cubicBezTo>
                  <a:pt x="419034" y="2545212"/>
                  <a:pt x="409745" y="2545212"/>
                  <a:pt x="400456" y="2545212"/>
                </a:cubicBezTo>
                <a:cubicBezTo>
                  <a:pt x="392199" y="2536972"/>
                  <a:pt x="382911" y="2528732"/>
                  <a:pt x="374654" y="2519461"/>
                </a:cubicBezTo>
                <a:cubicBezTo>
                  <a:pt x="378782" y="2507101"/>
                  <a:pt x="398392" y="2500921"/>
                  <a:pt x="391167" y="2481350"/>
                </a:cubicBezTo>
                <a:cubicBezTo>
                  <a:pt x="384975" y="2476200"/>
                  <a:pt x="378782" y="2470020"/>
                  <a:pt x="372589" y="2462809"/>
                </a:cubicBezTo>
                <a:lnTo>
                  <a:pt x="372589" y="2424698"/>
                </a:lnTo>
                <a:cubicBezTo>
                  <a:pt x="364333" y="2417488"/>
                  <a:pt x="356076" y="2409248"/>
                  <a:pt x="346787" y="2401007"/>
                </a:cubicBezTo>
                <a:cubicBezTo>
                  <a:pt x="336466" y="2390707"/>
                  <a:pt x="318920" y="2381437"/>
                  <a:pt x="317888" y="2372167"/>
                </a:cubicBezTo>
                <a:cubicBezTo>
                  <a:pt x="310663" y="2324785"/>
                  <a:pt x="264218" y="2236202"/>
                  <a:pt x="236352" y="2219722"/>
                </a:cubicBezTo>
                <a:cubicBezTo>
                  <a:pt x="234287" y="2218691"/>
                  <a:pt x="232223" y="2219722"/>
                  <a:pt x="235320" y="2219722"/>
                </a:cubicBezTo>
                <a:cubicBezTo>
                  <a:pt x="215710" y="2228992"/>
                  <a:pt x="200228" y="2236202"/>
                  <a:pt x="184746" y="2244442"/>
                </a:cubicBezTo>
                <a:cubicBezTo>
                  <a:pt x="186811" y="2253713"/>
                  <a:pt x="188875" y="2261953"/>
                  <a:pt x="191971" y="2272253"/>
                </a:cubicBezTo>
                <a:cubicBezTo>
                  <a:pt x="201260" y="2264013"/>
                  <a:pt x="207453" y="2258863"/>
                  <a:pt x="213645" y="2253713"/>
                </a:cubicBezTo>
                <a:cubicBezTo>
                  <a:pt x="223966" y="2266073"/>
                  <a:pt x="240480" y="2273283"/>
                  <a:pt x="243576" y="2294914"/>
                </a:cubicBezTo>
                <a:cubicBezTo>
                  <a:pt x="245641" y="2312424"/>
                  <a:pt x="262154" y="2328905"/>
                  <a:pt x="271443" y="2346416"/>
                </a:cubicBezTo>
                <a:cubicBezTo>
                  <a:pt x="279700" y="2360836"/>
                  <a:pt x="287957" y="2376287"/>
                  <a:pt x="295182" y="2391737"/>
                </a:cubicBezTo>
                <a:cubicBezTo>
                  <a:pt x="273507" y="2419548"/>
                  <a:pt x="241512" y="2440149"/>
                  <a:pt x="204356" y="2453539"/>
                </a:cubicBezTo>
                <a:cubicBezTo>
                  <a:pt x="200228" y="2447359"/>
                  <a:pt x="198164" y="2439119"/>
                  <a:pt x="191971" y="2436028"/>
                </a:cubicBezTo>
                <a:cubicBezTo>
                  <a:pt x="185778" y="2432938"/>
                  <a:pt x="175457" y="2436028"/>
                  <a:pt x="167201" y="2436028"/>
                </a:cubicBezTo>
                <a:cubicBezTo>
                  <a:pt x="167201" y="2427788"/>
                  <a:pt x="165136" y="2418518"/>
                  <a:pt x="168233" y="2411308"/>
                </a:cubicBezTo>
                <a:cubicBezTo>
                  <a:pt x="170297" y="2405128"/>
                  <a:pt x="179586" y="2403068"/>
                  <a:pt x="185778" y="2398947"/>
                </a:cubicBezTo>
                <a:cubicBezTo>
                  <a:pt x="184746" y="2416458"/>
                  <a:pt x="197132" y="2417488"/>
                  <a:pt x="209517" y="2417488"/>
                </a:cubicBezTo>
                <a:cubicBezTo>
                  <a:pt x="222934" y="2416458"/>
                  <a:pt x="241512" y="2423668"/>
                  <a:pt x="239448" y="2399977"/>
                </a:cubicBezTo>
                <a:cubicBezTo>
                  <a:pt x="250801" y="2396887"/>
                  <a:pt x="265251" y="2397917"/>
                  <a:pt x="252865" y="2382467"/>
                </a:cubicBezTo>
                <a:cubicBezTo>
                  <a:pt x="248737" y="2387617"/>
                  <a:pt x="244608" y="2392767"/>
                  <a:pt x="239448" y="2399977"/>
                </a:cubicBezTo>
                <a:cubicBezTo>
                  <a:pt x="222934" y="2398947"/>
                  <a:pt x="204356" y="2398947"/>
                  <a:pt x="185778" y="2398947"/>
                </a:cubicBezTo>
                <a:cubicBezTo>
                  <a:pt x="181650" y="2379377"/>
                  <a:pt x="168233" y="2370107"/>
                  <a:pt x="151719" y="2361866"/>
                </a:cubicBezTo>
                <a:cubicBezTo>
                  <a:pt x="145526" y="2363926"/>
                  <a:pt x="138302" y="2363926"/>
                  <a:pt x="135205" y="2367016"/>
                </a:cubicBezTo>
                <a:cubicBezTo>
                  <a:pt x="126949" y="2378347"/>
                  <a:pt x="126949" y="2392767"/>
                  <a:pt x="116628" y="2405128"/>
                </a:cubicBezTo>
                <a:cubicBezTo>
                  <a:pt x="104242" y="2418518"/>
                  <a:pt x="86697" y="2412338"/>
                  <a:pt x="77408" y="2423668"/>
                </a:cubicBezTo>
                <a:cubicBezTo>
                  <a:pt x="73279" y="2427788"/>
                  <a:pt x="68119" y="2430878"/>
                  <a:pt x="63990" y="2433969"/>
                </a:cubicBezTo>
                <a:cubicBezTo>
                  <a:pt x="48509" y="2419548"/>
                  <a:pt x="34059" y="2405128"/>
                  <a:pt x="18578" y="2389677"/>
                </a:cubicBezTo>
                <a:cubicBezTo>
                  <a:pt x="24770" y="2383497"/>
                  <a:pt x="30963" y="2376287"/>
                  <a:pt x="36124" y="2371137"/>
                </a:cubicBezTo>
                <a:lnTo>
                  <a:pt x="36124" y="2331995"/>
                </a:lnTo>
                <a:cubicBezTo>
                  <a:pt x="25802" y="2328905"/>
                  <a:pt x="14449" y="2324785"/>
                  <a:pt x="1032" y="2319635"/>
                </a:cubicBezTo>
                <a:cubicBezTo>
                  <a:pt x="7225" y="2311395"/>
                  <a:pt x="15481" y="2303154"/>
                  <a:pt x="17546" y="2293884"/>
                </a:cubicBezTo>
                <a:cubicBezTo>
                  <a:pt x="20642" y="2282554"/>
                  <a:pt x="18578" y="2270193"/>
                  <a:pt x="18578" y="2261953"/>
                </a:cubicBezTo>
                <a:cubicBezTo>
                  <a:pt x="23738" y="2256803"/>
                  <a:pt x="24770" y="2253713"/>
                  <a:pt x="27867" y="2252683"/>
                </a:cubicBezTo>
                <a:cubicBezTo>
                  <a:pt x="41284" y="2249593"/>
                  <a:pt x="49541" y="2255773"/>
                  <a:pt x="59862" y="2265043"/>
                </a:cubicBezTo>
                <a:cubicBezTo>
                  <a:pt x="68119" y="2271223"/>
                  <a:pt x="80504" y="2273283"/>
                  <a:pt x="90825" y="2276373"/>
                </a:cubicBezTo>
                <a:cubicBezTo>
                  <a:pt x="91857" y="2283583"/>
                  <a:pt x="91857" y="2289764"/>
                  <a:pt x="92889" y="2296974"/>
                </a:cubicBezTo>
                <a:cubicBezTo>
                  <a:pt x="109403" y="2306244"/>
                  <a:pt x="125917" y="2317575"/>
                  <a:pt x="143462" y="2324785"/>
                </a:cubicBezTo>
                <a:cubicBezTo>
                  <a:pt x="149655" y="2327875"/>
                  <a:pt x="159976" y="2321695"/>
                  <a:pt x="170297" y="2318605"/>
                </a:cubicBezTo>
                <a:cubicBezTo>
                  <a:pt x="163072" y="2312424"/>
                  <a:pt x="158944" y="2308305"/>
                  <a:pt x="152751" y="2302124"/>
                </a:cubicBezTo>
                <a:cubicBezTo>
                  <a:pt x="149655" y="2287704"/>
                  <a:pt x="147591" y="2270193"/>
                  <a:pt x="144494" y="2250623"/>
                </a:cubicBezTo>
                <a:cubicBezTo>
                  <a:pt x="134173" y="2258863"/>
                  <a:pt x="127981" y="2264013"/>
                  <a:pt x="120756" y="2270193"/>
                </a:cubicBezTo>
                <a:cubicBezTo>
                  <a:pt x="114563" y="2258863"/>
                  <a:pt x="109403" y="2245472"/>
                  <a:pt x="102178" y="2234142"/>
                </a:cubicBezTo>
                <a:cubicBezTo>
                  <a:pt x="92889" y="2222812"/>
                  <a:pt x="81536" y="2213541"/>
                  <a:pt x="68119" y="2201181"/>
                </a:cubicBezTo>
                <a:cubicBezTo>
                  <a:pt x="77408" y="2188821"/>
                  <a:pt x="83600" y="2179550"/>
                  <a:pt x="90825" y="2170280"/>
                </a:cubicBezTo>
                <a:cubicBezTo>
                  <a:pt x="85665" y="2162040"/>
                  <a:pt x="79472" y="2152769"/>
                  <a:pt x="74311" y="2142469"/>
                </a:cubicBezTo>
                <a:lnTo>
                  <a:pt x="120756" y="2142469"/>
                </a:lnTo>
                <a:cubicBezTo>
                  <a:pt x="126949" y="2136289"/>
                  <a:pt x="133141" y="2131139"/>
                  <a:pt x="140366" y="2124958"/>
                </a:cubicBezTo>
                <a:cubicBezTo>
                  <a:pt x="149655" y="2134229"/>
                  <a:pt x="157912" y="2142469"/>
                  <a:pt x="167201" y="2151739"/>
                </a:cubicBezTo>
                <a:lnTo>
                  <a:pt x="167201" y="2205301"/>
                </a:lnTo>
                <a:cubicBezTo>
                  <a:pt x="175457" y="2217662"/>
                  <a:pt x="185778" y="2218691"/>
                  <a:pt x="198164" y="2212511"/>
                </a:cubicBezTo>
                <a:cubicBezTo>
                  <a:pt x="211581" y="2200151"/>
                  <a:pt x="201260" y="2184701"/>
                  <a:pt x="204356" y="2173370"/>
                </a:cubicBezTo>
                <a:cubicBezTo>
                  <a:pt x="212613" y="2162040"/>
                  <a:pt x="219838" y="2152769"/>
                  <a:pt x="227063" y="2143499"/>
                </a:cubicBezTo>
                <a:cubicBezTo>
                  <a:pt x="214677" y="2117748"/>
                  <a:pt x="191971" y="2105388"/>
                  <a:pt x="177522" y="2089937"/>
                </a:cubicBezTo>
                <a:cubicBezTo>
                  <a:pt x="167201" y="2086847"/>
                  <a:pt x="158944" y="2085817"/>
                  <a:pt x="149655" y="2083757"/>
                </a:cubicBezTo>
                <a:lnTo>
                  <a:pt x="149655" y="2040496"/>
                </a:lnTo>
                <a:cubicBezTo>
                  <a:pt x="136238" y="2032256"/>
                  <a:pt x="120756" y="2021955"/>
                  <a:pt x="111467" y="2016805"/>
                </a:cubicBezTo>
                <a:lnTo>
                  <a:pt x="111467" y="1986934"/>
                </a:lnTo>
                <a:cubicBezTo>
                  <a:pt x="99082" y="1980754"/>
                  <a:pt x="86697" y="1975604"/>
                  <a:pt x="74311" y="1969424"/>
                </a:cubicBezTo>
                <a:cubicBezTo>
                  <a:pt x="80504" y="1962213"/>
                  <a:pt x="86697" y="1956033"/>
                  <a:pt x="91857" y="1949853"/>
                </a:cubicBezTo>
                <a:cubicBezTo>
                  <a:pt x="84632" y="1942643"/>
                  <a:pt x="79472" y="1935432"/>
                  <a:pt x="74311" y="1930282"/>
                </a:cubicBezTo>
                <a:cubicBezTo>
                  <a:pt x="77408" y="1903501"/>
                  <a:pt x="106307" y="1883931"/>
                  <a:pt x="88761" y="1855090"/>
                </a:cubicBezTo>
                <a:cubicBezTo>
                  <a:pt x="77408" y="1844790"/>
                  <a:pt x="76376" y="1862300"/>
                  <a:pt x="71215" y="1863330"/>
                </a:cubicBezTo>
                <a:cubicBezTo>
                  <a:pt x="55734" y="1873630"/>
                  <a:pt x="40252" y="1865390"/>
                  <a:pt x="27867" y="1867450"/>
                </a:cubicBezTo>
                <a:cubicBezTo>
                  <a:pt x="17546" y="1858180"/>
                  <a:pt x="8257" y="1848910"/>
                  <a:pt x="0" y="1840669"/>
                </a:cubicBezTo>
                <a:cubicBezTo>
                  <a:pt x="18578" y="1816978"/>
                  <a:pt x="47477" y="1807708"/>
                  <a:pt x="77408" y="1793288"/>
                </a:cubicBezTo>
                <a:cubicBezTo>
                  <a:pt x="84632" y="1798438"/>
                  <a:pt x="93921" y="1805648"/>
                  <a:pt x="107339" y="1815949"/>
                </a:cubicBezTo>
                <a:cubicBezTo>
                  <a:pt x="130045" y="1804618"/>
                  <a:pt x="154815" y="1792258"/>
                  <a:pt x="179586" y="1779897"/>
                </a:cubicBezTo>
                <a:cubicBezTo>
                  <a:pt x="189907" y="1789168"/>
                  <a:pt x="201260" y="1800498"/>
                  <a:pt x="211581" y="1810798"/>
                </a:cubicBezTo>
                <a:lnTo>
                  <a:pt x="254930" y="1810798"/>
                </a:lnTo>
                <a:cubicBezTo>
                  <a:pt x="264218" y="1797408"/>
                  <a:pt x="260090" y="1789168"/>
                  <a:pt x="252865" y="1777837"/>
                </a:cubicBezTo>
                <a:cubicBezTo>
                  <a:pt x="240480" y="1757237"/>
                  <a:pt x="214677" y="1762387"/>
                  <a:pt x="200228" y="1745906"/>
                </a:cubicBezTo>
                <a:cubicBezTo>
                  <a:pt x="186811" y="1730456"/>
                  <a:pt x="175457" y="1710885"/>
                  <a:pt x="152751" y="1720156"/>
                </a:cubicBezTo>
                <a:cubicBezTo>
                  <a:pt x="142430" y="1694404"/>
                  <a:pt x="157912" y="1686164"/>
                  <a:pt x="167201" y="1675864"/>
                </a:cubicBezTo>
                <a:cubicBezTo>
                  <a:pt x="167201" y="1660414"/>
                  <a:pt x="167201" y="1644963"/>
                  <a:pt x="167201" y="1630543"/>
                </a:cubicBezTo>
                <a:lnTo>
                  <a:pt x="195067" y="1630543"/>
                </a:lnTo>
                <a:cubicBezTo>
                  <a:pt x="201260" y="1635693"/>
                  <a:pt x="208485" y="1641873"/>
                  <a:pt x="217774" y="1651143"/>
                </a:cubicBezTo>
                <a:cubicBezTo>
                  <a:pt x="220870" y="1631573"/>
                  <a:pt x="223966" y="1615092"/>
                  <a:pt x="227063" y="1598612"/>
                </a:cubicBezTo>
                <a:cubicBezTo>
                  <a:pt x="241512" y="1589341"/>
                  <a:pt x="256994" y="1594491"/>
                  <a:pt x="273507" y="1594491"/>
                </a:cubicBezTo>
                <a:cubicBezTo>
                  <a:pt x="276604" y="1604792"/>
                  <a:pt x="280732" y="1615092"/>
                  <a:pt x="284861" y="1627453"/>
                </a:cubicBezTo>
                <a:cubicBezTo>
                  <a:pt x="301374" y="1619212"/>
                  <a:pt x="318920" y="1610972"/>
                  <a:pt x="335434" y="1602732"/>
                </a:cubicBezTo>
                <a:cubicBezTo>
                  <a:pt x="336466" y="1601702"/>
                  <a:pt x="335434" y="1596552"/>
                  <a:pt x="335434" y="1593461"/>
                </a:cubicBezTo>
                <a:cubicBezTo>
                  <a:pt x="346787" y="1595521"/>
                  <a:pt x="359172" y="1588311"/>
                  <a:pt x="369493" y="1599642"/>
                </a:cubicBezTo>
                <a:cubicBezTo>
                  <a:pt x="372589" y="1609942"/>
                  <a:pt x="375686" y="1620242"/>
                  <a:pt x="382911" y="1641873"/>
                </a:cubicBezTo>
                <a:cubicBezTo>
                  <a:pt x="393232" y="1608912"/>
                  <a:pt x="393232" y="1586251"/>
                  <a:pt x="389103" y="1565650"/>
                </a:cubicBezTo>
                <a:cubicBezTo>
                  <a:pt x="379814" y="1555350"/>
                  <a:pt x="371557" y="1547110"/>
                  <a:pt x="363301" y="1538869"/>
                </a:cubicBezTo>
                <a:lnTo>
                  <a:pt x="335434" y="1538869"/>
                </a:lnTo>
                <a:cubicBezTo>
                  <a:pt x="335434" y="1525479"/>
                  <a:pt x="329241" y="1520329"/>
                  <a:pt x="316856" y="1520329"/>
                </a:cubicBezTo>
                <a:lnTo>
                  <a:pt x="316856" y="1501788"/>
                </a:lnTo>
                <a:cubicBezTo>
                  <a:pt x="341626" y="1487368"/>
                  <a:pt x="372589" y="1482218"/>
                  <a:pt x="390135" y="1455437"/>
                </a:cubicBezTo>
                <a:cubicBezTo>
                  <a:pt x="384975" y="1450287"/>
                  <a:pt x="378782" y="1444107"/>
                  <a:pt x="372589" y="1436896"/>
                </a:cubicBezTo>
                <a:lnTo>
                  <a:pt x="372589" y="1382305"/>
                </a:lnTo>
                <a:cubicBezTo>
                  <a:pt x="367429" y="1378184"/>
                  <a:pt x="363301" y="1374064"/>
                  <a:pt x="356076" y="1366854"/>
                </a:cubicBezTo>
                <a:cubicBezTo>
                  <a:pt x="361236" y="1359644"/>
                  <a:pt x="367429" y="1351403"/>
                  <a:pt x="372589" y="1342133"/>
                </a:cubicBezTo>
                <a:cubicBezTo>
                  <a:pt x="369493" y="1318443"/>
                  <a:pt x="339562" y="1298872"/>
                  <a:pt x="360204" y="1265911"/>
                </a:cubicBezTo>
                <a:cubicBezTo>
                  <a:pt x="368461" y="1271061"/>
                  <a:pt x="375686" y="1276211"/>
                  <a:pt x="384975" y="1282391"/>
                </a:cubicBezTo>
                <a:cubicBezTo>
                  <a:pt x="407681" y="1285481"/>
                  <a:pt x="414906" y="1264881"/>
                  <a:pt x="428323" y="1254580"/>
                </a:cubicBezTo>
                <a:lnTo>
                  <a:pt x="428323" y="1218529"/>
                </a:lnTo>
                <a:cubicBezTo>
                  <a:pt x="422130" y="1211319"/>
                  <a:pt x="415938" y="1205139"/>
                  <a:pt x="409745" y="1198958"/>
                </a:cubicBezTo>
                <a:cubicBezTo>
                  <a:pt x="410777" y="1191748"/>
                  <a:pt x="410777" y="1185568"/>
                  <a:pt x="411809" y="1180418"/>
                </a:cubicBezTo>
                <a:cubicBezTo>
                  <a:pt x="423163" y="1164968"/>
                  <a:pt x="440708" y="1177328"/>
                  <a:pt x="453094" y="1171148"/>
                </a:cubicBezTo>
                <a:cubicBezTo>
                  <a:pt x="476832" y="1188658"/>
                  <a:pt x="461350" y="1211319"/>
                  <a:pt x="468575" y="1241190"/>
                </a:cubicBezTo>
                <a:cubicBezTo>
                  <a:pt x="475800" y="1246340"/>
                  <a:pt x="491282" y="1255610"/>
                  <a:pt x="498506" y="1260761"/>
                </a:cubicBezTo>
                <a:cubicBezTo>
                  <a:pt x="502635" y="1279301"/>
                  <a:pt x="504699" y="1287542"/>
                  <a:pt x="506763" y="1297842"/>
                </a:cubicBezTo>
                <a:cubicBezTo>
                  <a:pt x="511924" y="1295782"/>
                  <a:pt x="517084" y="1293722"/>
                  <a:pt x="521213" y="1292691"/>
                </a:cubicBezTo>
                <a:cubicBezTo>
                  <a:pt x="533598" y="1286511"/>
                  <a:pt x="545983" y="1279301"/>
                  <a:pt x="559400" y="1273121"/>
                </a:cubicBezTo>
                <a:cubicBezTo>
                  <a:pt x="554240" y="1269001"/>
                  <a:pt x="550112" y="1263851"/>
                  <a:pt x="543919" y="1258701"/>
                </a:cubicBezTo>
                <a:cubicBezTo>
                  <a:pt x="534630" y="1246340"/>
                  <a:pt x="543919" y="1230889"/>
                  <a:pt x="539790" y="1218529"/>
                </a:cubicBezTo>
                <a:cubicBezTo>
                  <a:pt x="545983" y="1212349"/>
                  <a:pt x="550112" y="1208229"/>
                  <a:pt x="557336" y="1202049"/>
                </a:cubicBezTo>
                <a:cubicBezTo>
                  <a:pt x="558368" y="1183508"/>
                  <a:pt x="559400" y="1162907"/>
                  <a:pt x="560433" y="1140246"/>
                </a:cubicBezTo>
                <a:cubicBezTo>
                  <a:pt x="569721" y="1138187"/>
                  <a:pt x="577978" y="1136127"/>
                  <a:pt x="586235" y="1135097"/>
                </a:cubicBezTo>
                <a:cubicBezTo>
                  <a:pt x="594492" y="1150547"/>
                  <a:pt x="602749" y="1165998"/>
                  <a:pt x="612038" y="1183508"/>
                </a:cubicBezTo>
                <a:cubicBezTo>
                  <a:pt x="608941" y="1186598"/>
                  <a:pt x="602749" y="1192778"/>
                  <a:pt x="597588" y="1199989"/>
                </a:cubicBezTo>
                <a:cubicBezTo>
                  <a:pt x="602749" y="1206169"/>
                  <a:pt x="608941" y="1212349"/>
                  <a:pt x="614102" y="1218529"/>
                </a:cubicBezTo>
                <a:cubicBezTo>
                  <a:pt x="608941" y="1224709"/>
                  <a:pt x="602749" y="1230889"/>
                  <a:pt x="595524" y="1239130"/>
                </a:cubicBezTo>
                <a:cubicBezTo>
                  <a:pt x="604813" y="1242220"/>
                  <a:pt x="613070" y="1245310"/>
                  <a:pt x="625455" y="1248400"/>
                </a:cubicBezTo>
                <a:cubicBezTo>
                  <a:pt x="635776" y="1270031"/>
                  <a:pt x="649194" y="1293722"/>
                  <a:pt x="661579" y="1318443"/>
                </a:cubicBezTo>
                <a:cubicBezTo>
                  <a:pt x="678092" y="1307112"/>
                  <a:pt x="666739" y="1289601"/>
                  <a:pt x="671900" y="1276211"/>
                </a:cubicBezTo>
                <a:cubicBezTo>
                  <a:pt x="665707" y="1269001"/>
                  <a:pt x="659515" y="1261791"/>
                  <a:pt x="653322" y="1255610"/>
                </a:cubicBezTo>
                <a:cubicBezTo>
                  <a:pt x="657450" y="1252520"/>
                  <a:pt x="660547" y="1247370"/>
                  <a:pt x="665707" y="1246340"/>
                </a:cubicBezTo>
                <a:cubicBezTo>
                  <a:pt x="685317" y="1242220"/>
                  <a:pt x="709056" y="1255610"/>
                  <a:pt x="729698" y="1232950"/>
                </a:cubicBezTo>
                <a:cubicBezTo>
                  <a:pt x="710088" y="1229860"/>
                  <a:pt x="692542" y="1228830"/>
                  <a:pt x="676028" y="1222649"/>
                </a:cubicBezTo>
                <a:cubicBezTo>
                  <a:pt x="660547" y="1217499"/>
                  <a:pt x="647129" y="1206169"/>
                  <a:pt x="629584" y="1195868"/>
                </a:cubicBezTo>
                <a:cubicBezTo>
                  <a:pt x="635776" y="1185568"/>
                  <a:pt x="640937" y="1175268"/>
                  <a:pt x="650226" y="1158787"/>
                </a:cubicBezTo>
                <a:cubicBezTo>
                  <a:pt x="637840" y="1153637"/>
                  <a:pt x="621327" y="1146427"/>
                  <a:pt x="617198" y="1145397"/>
                </a:cubicBezTo>
                <a:cubicBezTo>
                  <a:pt x="615134" y="1121706"/>
                  <a:pt x="615134" y="1115526"/>
                  <a:pt x="615134" y="1106256"/>
                </a:cubicBezTo>
                <a:cubicBezTo>
                  <a:pt x="604813" y="1103166"/>
                  <a:pt x="594492" y="1100075"/>
                  <a:pt x="584171" y="1096985"/>
                </a:cubicBezTo>
                <a:cubicBezTo>
                  <a:pt x="582107" y="1091835"/>
                  <a:pt x="577978" y="1086685"/>
                  <a:pt x="577978" y="1080505"/>
                </a:cubicBezTo>
                <a:cubicBezTo>
                  <a:pt x="576946" y="1069174"/>
                  <a:pt x="577978" y="1056814"/>
                  <a:pt x="577978" y="1044454"/>
                </a:cubicBezTo>
                <a:lnTo>
                  <a:pt x="605845" y="1044454"/>
                </a:lnTo>
                <a:cubicBezTo>
                  <a:pt x="614102" y="1052694"/>
                  <a:pt x="622359" y="1061964"/>
                  <a:pt x="631648" y="1070204"/>
                </a:cubicBezTo>
                <a:cubicBezTo>
                  <a:pt x="633712" y="1084625"/>
                  <a:pt x="634744" y="1099045"/>
                  <a:pt x="636808" y="1118616"/>
                </a:cubicBezTo>
                <a:cubicBezTo>
                  <a:pt x="646097" y="1112436"/>
                  <a:pt x="652290" y="1108316"/>
                  <a:pt x="660547" y="1101105"/>
                </a:cubicBezTo>
                <a:cubicBezTo>
                  <a:pt x="665707" y="1105225"/>
                  <a:pt x="671900" y="1109346"/>
                  <a:pt x="682221" y="1117586"/>
                </a:cubicBezTo>
                <a:lnTo>
                  <a:pt x="755500" y="1117586"/>
                </a:lnTo>
                <a:cubicBezTo>
                  <a:pt x="767886" y="1130976"/>
                  <a:pt x="767886" y="1141277"/>
                  <a:pt x="756532" y="1153637"/>
                </a:cubicBezTo>
                <a:cubicBezTo>
                  <a:pt x="750340" y="1148487"/>
                  <a:pt x="744147" y="1143337"/>
                  <a:pt x="736922" y="1137156"/>
                </a:cubicBezTo>
                <a:cubicBezTo>
                  <a:pt x="730730" y="1142307"/>
                  <a:pt x="724537" y="1147457"/>
                  <a:pt x="717312" y="1153637"/>
                </a:cubicBezTo>
                <a:cubicBezTo>
                  <a:pt x="703895" y="1156727"/>
                  <a:pt x="687381" y="1149517"/>
                  <a:pt x="673964" y="1158787"/>
                </a:cubicBezTo>
                <a:cubicBezTo>
                  <a:pt x="677060" y="1175268"/>
                  <a:pt x="690478" y="1181448"/>
                  <a:pt x="699767" y="1189688"/>
                </a:cubicBezTo>
                <a:cubicBezTo>
                  <a:pt x="717312" y="1195868"/>
                  <a:pt x="725569" y="1181448"/>
                  <a:pt x="736922" y="1173208"/>
                </a:cubicBezTo>
                <a:cubicBezTo>
                  <a:pt x="752404" y="1186598"/>
                  <a:pt x="742083" y="1203079"/>
                  <a:pt x="746211" y="1219559"/>
                </a:cubicBezTo>
                <a:cubicBezTo>
                  <a:pt x="752404" y="1222649"/>
                  <a:pt x="759629" y="1225740"/>
                  <a:pt x="762725" y="1226770"/>
                </a:cubicBezTo>
                <a:cubicBezTo>
                  <a:pt x="790592" y="1199989"/>
                  <a:pt x="816395" y="1174238"/>
                  <a:pt x="842197" y="1148487"/>
                </a:cubicBezTo>
                <a:cubicBezTo>
                  <a:pt x="860775" y="1167028"/>
                  <a:pt x="877289" y="1178358"/>
                  <a:pt x="886578" y="1192778"/>
                </a:cubicBezTo>
                <a:cubicBezTo>
                  <a:pt x="896899" y="1212349"/>
                  <a:pt x="921669" y="1202049"/>
                  <a:pt x="931990" y="1218529"/>
                </a:cubicBezTo>
                <a:lnTo>
                  <a:pt x="931990" y="1254580"/>
                </a:lnTo>
                <a:cubicBezTo>
                  <a:pt x="938183" y="1260761"/>
                  <a:pt x="944376" y="1267971"/>
                  <a:pt x="950568" y="1274151"/>
                </a:cubicBezTo>
                <a:lnTo>
                  <a:pt x="950568" y="1314322"/>
                </a:lnTo>
                <a:cubicBezTo>
                  <a:pt x="967082" y="1316382"/>
                  <a:pt x="984628" y="1319472"/>
                  <a:pt x="1001141" y="1322563"/>
                </a:cubicBezTo>
                <a:cubicBezTo>
                  <a:pt x="1015591" y="1350374"/>
                  <a:pt x="997013" y="1382305"/>
                  <a:pt x="1012494" y="1411146"/>
                </a:cubicBezTo>
                <a:cubicBezTo>
                  <a:pt x="1020751" y="1403935"/>
                  <a:pt x="1026944" y="1398785"/>
                  <a:pt x="1033137" y="1393635"/>
                </a:cubicBezTo>
                <a:cubicBezTo>
                  <a:pt x="1042425" y="1399815"/>
                  <a:pt x="1052747" y="1404965"/>
                  <a:pt x="1061003" y="1408055"/>
                </a:cubicBezTo>
                <a:cubicBezTo>
                  <a:pt x="1064100" y="1419386"/>
                  <a:pt x="1063068" y="1433806"/>
                  <a:pt x="1079581" y="1421446"/>
                </a:cubicBezTo>
                <a:cubicBezTo>
                  <a:pt x="1074421" y="1417326"/>
                  <a:pt x="1069260" y="1413205"/>
                  <a:pt x="1061003" y="1408055"/>
                </a:cubicBezTo>
                <a:cubicBezTo>
                  <a:pt x="1062036" y="1395695"/>
                  <a:pt x="1062036" y="1380244"/>
                  <a:pt x="1062036" y="1364794"/>
                </a:cubicBezTo>
                <a:cubicBezTo>
                  <a:pt x="1051714" y="1354494"/>
                  <a:pt x="1040361" y="1343163"/>
                  <a:pt x="1027976" y="1331833"/>
                </a:cubicBezTo>
                <a:cubicBezTo>
                  <a:pt x="1029008" y="1299902"/>
                  <a:pt x="1009398" y="1274151"/>
                  <a:pt x="1001141" y="1245310"/>
                </a:cubicBezTo>
                <a:lnTo>
                  <a:pt x="976371" y="1245310"/>
                </a:lnTo>
                <a:cubicBezTo>
                  <a:pt x="973274" y="1238100"/>
                  <a:pt x="970178" y="1229860"/>
                  <a:pt x="967082" y="1221619"/>
                </a:cubicBezTo>
                <a:cubicBezTo>
                  <a:pt x="984628" y="1211319"/>
                  <a:pt x="1001141" y="1202049"/>
                  <a:pt x="1017655" y="1192778"/>
                </a:cubicBezTo>
                <a:cubicBezTo>
                  <a:pt x="1022815" y="1197929"/>
                  <a:pt x="1026944" y="1202049"/>
                  <a:pt x="1037265" y="1211319"/>
                </a:cubicBezTo>
                <a:cubicBezTo>
                  <a:pt x="1041393" y="1201019"/>
                  <a:pt x="1046554" y="1190718"/>
                  <a:pt x="1050682" y="1179388"/>
                </a:cubicBezTo>
                <a:cubicBezTo>
                  <a:pt x="1066164" y="1172178"/>
                  <a:pt x="1062036" y="1157757"/>
                  <a:pt x="1061003" y="1143337"/>
                </a:cubicBezTo>
                <a:cubicBezTo>
                  <a:pt x="1047586" y="1136127"/>
                  <a:pt x="1044490" y="1116556"/>
                  <a:pt x="1024880" y="1117586"/>
                </a:cubicBezTo>
                <a:cubicBezTo>
                  <a:pt x="1021783" y="1102135"/>
                  <a:pt x="1039329" y="1099045"/>
                  <a:pt x="1043458" y="1087715"/>
                </a:cubicBezTo>
                <a:cubicBezTo>
                  <a:pt x="1043458" y="1079475"/>
                  <a:pt x="1047586" y="1068144"/>
                  <a:pt x="1043458" y="1061964"/>
                </a:cubicBezTo>
                <a:cubicBezTo>
                  <a:pt x="1025912" y="1031063"/>
                  <a:pt x="1023848" y="996042"/>
                  <a:pt x="1006302" y="967201"/>
                </a:cubicBezTo>
                <a:cubicBezTo>
                  <a:pt x="997013" y="951751"/>
                  <a:pt x="982563" y="939390"/>
                  <a:pt x="969146" y="923940"/>
                </a:cubicBezTo>
                <a:cubicBezTo>
                  <a:pt x="977403" y="916729"/>
                  <a:pt x="986692" y="909519"/>
                  <a:pt x="1001141" y="898189"/>
                </a:cubicBezTo>
                <a:cubicBezTo>
                  <a:pt x="1009398" y="910549"/>
                  <a:pt x="1018687" y="924970"/>
                  <a:pt x="1026944" y="935270"/>
                </a:cubicBezTo>
                <a:cubicBezTo>
                  <a:pt x="1048618" y="932180"/>
                  <a:pt x="1065132" y="940420"/>
                  <a:pt x="1077517" y="928060"/>
                </a:cubicBezTo>
                <a:cubicBezTo>
                  <a:pt x="1075453" y="913639"/>
                  <a:pt x="1049650" y="904369"/>
                  <a:pt x="1069260" y="881708"/>
                </a:cubicBezTo>
                <a:cubicBezTo>
                  <a:pt x="1077517" y="886858"/>
                  <a:pt x="1085774" y="892008"/>
                  <a:pt x="1097127" y="899219"/>
                </a:cubicBezTo>
                <a:cubicBezTo>
                  <a:pt x="1103320" y="896129"/>
                  <a:pt x="1116737" y="893039"/>
                  <a:pt x="1117769" y="887888"/>
                </a:cubicBezTo>
                <a:cubicBezTo>
                  <a:pt x="1122930" y="862138"/>
                  <a:pt x="1137379" y="841537"/>
                  <a:pt x="1152861" y="814756"/>
                </a:cubicBezTo>
                <a:lnTo>
                  <a:pt x="1152861" y="813726"/>
                </a:lnTo>
                <a:cubicBezTo>
                  <a:pt x="1135315" y="796215"/>
                  <a:pt x="1117769" y="778705"/>
                  <a:pt x="1099191" y="761194"/>
                </a:cubicBezTo>
                <a:cubicBezTo>
                  <a:pt x="1099191" y="748834"/>
                  <a:pt x="1104352" y="733384"/>
                  <a:pt x="1099191" y="726173"/>
                </a:cubicBezTo>
                <a:cubicBezTo>
                  <a:pt x="1080613" y="702482"/>
                  <a:pt x="1076485" y="670551"/>
                  <a:pt x="1046554" y="656131"/>
                </a:cubicBezTo>
                <a:cubicBezTo>
                  <a:pt x="1044490" y="640680"/>
                  <a:pt x="1043458" y="626260"/>
                  <a:pt x="1040361" y="611839"/>
                </a:cubicBezTo>
                <a:cubicBezTo>
                  <a:pt x="1039329" y="608749"/>
                  <a:pt x="1030040" y="607720"/>
                  <a:pt x="1024880" y="604629"/>
                </a:cubicBezTo>
                <a:cubicBezTo>
                  <a:pt x="1032104" y="569608"/>
                  <a:pt x="997013" y="552097"/>
                  <a:pt x="993917" y="513986"/>
                </a:cubicBezTo>
                <a:cubicBezTo>
                  <a:pt x="999077" y="506776"/>
                  <a:pt x="1021783" y="499566"/>
                  <a:pt x="1022815" y="477935"/>
                </a:cubicBezTo>
                <a:cubicBezTo>
                  <a:pt x="1034169" y="474845"/>
                  <a:pt x="1048618" y="475875"/>
                  <a:pt x="1036233" y="460425"/>
                </a:cubicBezTo>
                <a:cubicBezTo>
                  <a:pt x="1032104" y="465575"/>
                  <a:pt x="1027976" y="470725"/>
                  <a:pt x="1022815" y="477935"/>
                </a:cubicBezTo>
                <a:cubicBezTo>
                  <a:pt x="1015591" y="476905"/>
                  <a:pt x="1006302" y="476905"/>
                  <a:pt x="998045" y="476905"/>
                </a:cubicBezTo>
                <a:cubicBezTo>
                  <a:pt x="990820" y="483085"/>
                  <a:pt x="984628" y="489265"/>
                  <a:pt x="978435" y="494416"/>
                </a:cubicBezTo>
                <a:cubicBezTo>
                  <a:pt x="961921" y="483085"/>
                  <a:pt x="972242" y="466605"/>
                  <a:pt x="969146" y="452184"/>
                </a:cubicBezTo>
                <a:cubicBezTo>
                  <a:pt x="950568" y="439824"/>
                  <a:pt x="930958" y="427463"/>
                  <a:pt x="913412" y="416133"/>
                </a:cubicBezTo>
                <a:lnTo>
                  <a:pt x="913412" y="320340"/>
                </a:lnTo>
                <a:cubicBezTo>
                  <a:pt x="921669" y="313130"/>
                  <a:pt x="930958" y="305920"/>
                  <a:pt x="940247" y="297679"/>
                </a:cubicBezTo>
                <a:cubicBezTo>
                  <a:pt x="953664" y="303859"/>
                  <a:pt x="968114" y="311070"/>
                  <a:pt x="985660" y="318280"/>
                </a:cubicBezTo>
                <a:cubicBezTo>
                  <a:pt x="985660" y="325490"/>
                  <a:pt x="986692" y="333730"/>
                  <a:pt x="987724" y="345061"/>
                </a:cubicBezTo>
                <a:cubicBezTo>
                  <a:pt x="969146" y="347121"/>
                  <a:pt x="952632" y="350211"/>
                  <a:pt x="930958" y="353301"/>
                </a:cubicBezTo>
                <a:cubicBezTo>
                  <a:pt x="933022" y="365661"/>
                  <a:pt x="935087" y="375962"/>
                  <a:pt x="937151" y="390382"/>
                </a:cubicBezTo>
                <a:cubicBezTo>
                  <a:pt x="945408" y="381112"/>
                  <a:pt x="949536" y="376992"/>
                  <a:pt x="952632" y="373902"/>
                </a:cubicBezTo>
                <a:cubicBezTo>
                  <a:pt x="974307" y="360511"/>
                  <a:pt x="995981" y="371842"/>
                  <a:pt x="1014559" y="365661"/>
                </a:cubicBezTo>
                <a:cubicBezTo>
                  <a:pt x="1031072" y="382142"/>
                  <a:pt x="1046554" y="397592"/>
                  <a:pt x="1062036" y="412013"/>
                </a:cubicBezTo>
                <a:cubicBezTo>
                  <a:pt x="1065132" y="421283"/>
                  <a:pt x="1055843" y="436734"/>
                  <a:pt x="1074421" y="437764"/>
                </a:cubicBezTo>
                <a:cubicBezTo>
                  <a:pt x="1088870" y="418193"/>
                  <a:pt x="1075453" y="396562"/>
                  <a:pt x="1084742" y="372872"/>
                </a:cubicBezTo>
                <a:cubicBezTo>
                  <a:pt x="1089902" y="367722"/>
                  <a:pt x="1099191" y="359481"/>
                  <a:pt x="1107448" y="350211"/>
                </a:cubicBezTo>
                <a:cubicBezTo>
                  <a:pt x="1123962" y="347121"/>
                  <a:pt x="1137379" y="348151"/>
                  <a:pt x="1137379" y="369782"/>
                </a:cubicBezTo>
                <a:cubicBezTo>
                  <a:pt x="1137379" y="374932"/>
                  <a:pt x="1142540" y="380082"/>
                  <a:pt x="1146668" y="387292"/>
                </a:cubicBezTo>
                <a:cubicBezTo>
                  <a:pt x="1151829" y="374932"/>
                  <a:pt x="1153893" y="364631"/>
                  <a:pt x="1159053" y="355361"/>
                </a:cubicBezTo>
                <a:cubicBezTo>
                  <a:pt x="1161118" y="351241"/>
                  <a:pt x="1169374" y="351241"/>
                  <a:pt x="1174535" y="349181"/>
                </a:cubicBezTo>
                <a:cubicBezTo>
                  <a:pt x="1171439" y="363602"/>
                  <a:pt x="1187952" y="366692"/>
                  <a:pt x="1192081" y="376992"/>
                </a:cubicBezTo>
                <a:cubicBezTo>
                  <a:pt x="1187952" y="382142"/>
                  <a:pt x="1182792" y="386262"/>
                  <a:pt x="1175567" y="392442"/>
                </a:cubicBezTo>
                <a:cubicBezTo>
                  <a:pt x="1179695" y="398623"/>
                  <a:pt x="1184856" y="403773"/>
                  <a:pt x="1190016" y="410983"/>
                </a:cubicBezTo>
                <a:cubicBezTo>
                  <a:pt x="1184856" y="419223"/>
                  <a:pt x="1179695" y="428494"/>
                  <a:pt x="1174535" y="436734"/>
                </a:cubicBezTo>
                <a:cubicBezTo>
                  <a:pt x="1174535" y="455274"/>
                  <a:pt x="1175567" y="456304"/>
                  <a:pt x="1203434" y="457335"/>
                </a:cubicBezTo>
                <a:cubicBezTo>
                  <a:pt x="1218915" y="444974"/>
                  <a:pt x="1206530" y="428494"/>
                  <a:pt x="1214787" y="412013"/>
                </a:cubicBezTo>
                <a:cubicBezTo>
                  <a:pt x="1226140" y="405833"/>
                  <a:pt x="1241622" y="398623"/>
                  <a:pt x="1259168" y="389352"/>
                </a:cubicBezTo>
                <a:cubicBezTo>
                  <a:pt x="1262264" y="391412"/>
                  <a:pt x="1268456" y="396562"/>
                  <a:pt x="1275681" y="401713"/>
                </a:cubicBezTo>
                <a:cubicBezTo>
                  <a:pt x="1308709" y="380082"/>
                  <a:pt x="1270521" y="369782"/>
                  <a:pt x="1266392" y="351241"/>
                </a:cubicBezTo>
                <a:cubicBezTo>
                  <a:pt x="1267424" y="341971"/>
                  <a:pt x="1268456" y="330640"/>
                  <a:pt x="1270521" y="319310"/>
                </a:cubicBezTo>
                <a:cubicBezTo>
                  <a:pt x="1271553" y="315190"/>
                  <a:pt x="1280842" y="314160"/>
                  <a:pt x="1286002" y="312100"/>
                </a:cubicBezTo>
                <a:cubicBezTo>
                  <a:pt x="1286002" y="323430"/>
                  <a:pt x="1287034" y="333730"/>
                  <a:pt x="1288066" y="349181"/>
                </a:cubicBezTo>
                <a:cubicBezTo>
                  <a:pt x="1301484" y="348151"/>
                  <a:pt x="1311805" y="346091"/>
                  <a:pt x="1326254" y="345061"/>
                </a:cubicBezTo>
                <a:cubicBezTo>
                  <a:pt x="1322126" y="330640"/>
                  <a:pt x="1320062" y="320340"/>
                  <a:pt x="1316965" y="312100"/>
                </a:cubicBezTo>
                <a:lnTo>
                  <a:pt x="1286002" y="312100"/>
                </a:lnTo>
                <a:cubicBezTo>
                  <a:pt x="1286002" y="291499"/>
                  <a:pt x="1286002" y="269868"/>
                  <a:pt x="1286002" y="256478"/>
                </a:cubicBezTo>
                <a:cubicBezTo>
                  <a:pt x="1271553" y="227637"/>
                  <a:pt x="1258135" y="204976"/>
                  <a:pt x="1249879" y="181286"/>
                </a:cubicBezTo>
                <a:cubicBezTo>
                  <a:pt x="1245750" y="172015"/>
                  <a:pt x="1244718" y="157595"/>
                  <a:pt x="1258135" y="147295"/>
                </a:cubicBezTo>
                <a:cubicBezTo>
                  <a:pt x="1264328" y="159655"/>
                  <a:pt x="1270521" y="172015"/>
                  <a:pt x="1275681" y="184376"/>
                </a:cubicBezTo>
                <a:lnTo>
                  <a:pt x="1313869" y="184376"/>
                </a:lnTo>
                <a:cubicBezTo>
                  <a:pt x="1322126" y="198796"/>
                  <a:pt x="1329351" y="214247"/>
                  <a:pt x="1342768" y="239998"/>
                </a:cubicBezTo>
                <a:lnTo>
                  <a:pt x="1342768" y="306950"/>
                </a:lnTo>
                <a:cubicBezTo>
                  <a:pt x="1378892" y="313130"/>
                  <a:pt x="1396437" y="337851"/>
                  <a:pt x="1415015" y="357421"/>
                </a:cubicBezTo>
                <a:cubicBezTo>
                  <a:pt x="1417080" y="367722"/>
                  <a:pt x="1419144" y="375962"/>
                  <a:pt x="1422240" y="386262"/>
                </a:cubicBezTo>
                <a:cubicBezTo>
                  <a:pt x="1435657" y="362571"/>
                  <a:pt x="1436690" y="362571"/>
                  <a:pt x="1433593" y="311070"/>
                </a:cubicBezTo>
                <a:cubicBezTo>
                  <a:pt x="1423272" y="304890"/>
                  <a:pt x="1408823" y="294589"/>
                  <a:pt x="1394373" y="285319"/>
                </a:cubicBezTo>
                <a:cubicBezTo>
                  <a:pt x="1411919" y="249268"/>
                  <a:pt x="1426368" y="218367"/>
                  <a:pt x="1441850" y="187466"/>
                </a:cubicBezTo>
                <a:cubicBezTo>
                  <a:pt x="1455267" y="186436"/>
                  <a:pt x="1457332" y="200856"/>
                  <a:pt x="1466621" y="204976"/>
                </a:cubicBezTo>
                <a:cubicBezTo>
                  <a:pt x="1483134" y="226607"/>
                  <a:pt x="1461460" y="253388"/>
                  <a:pt x="1480038" y="273989"/>
                </a:cubicBezTo>
                <a:cubicBezTo>
                  <a:pt x="1492423" y="255448"/>
                  <a:pt x="1504808" y="236907"/>
                  <a:pt x="1516162" y="220427"/>
                </a:cubicBezTo>
                <a:lnTo>
                  <a:pt x="1539900" y="220427"/>
                </a:lnTo>
                <a:cubicBezTo>
                  <a:pt x="1542996" y="230727"/>
                  <a:pt x="1545061" y="243088"/>
                  <a:pt x="1551253" y="251328"/>
                </a:cubicBezTo>
                <a:cubicBezTo>
                  <a:pt x="1563638" y="266778"/>
                  <a:pt x="1579120" y="280169"/>
                  <a:pt x="1593569" y="293559"/>
                </a:cubicBezTo>
                <a:cubicBezTo>
                  <a:pt x="1600794" y="286349"/>
                  <a:pt x="1604923" y="282229"/>
                  <a:pt x="1610083" y="278109"/>
                </a:cubicBezTo>
                <a:cubicBezTo>
                  <a:pt x="1620404" y="289439"/>
                  <a:pt x="1620404" y="289439"/>
                  <a:pt x="1622468" y="303859"/>
                </a:cubicBezTo>
                <a:cubicBezTo>
                  <a:pt x="1634854" y="318280"/>
                  <a:pt x="1651367" y="309010"/>
                  <a:pt x="1665817" y="312100"/>
                </a:cubicBezTo>
                <a:cubicBezTo>
                  <a:pt x="1687491" y="299740"/>
                  <a:pt x="1696780" y="279139"/>
                  <a:pt x="1706069" y="257508"/>
                </a:cubicBezTo>
                <a:lnTo>
                  <a:pt x="1771091" y="257508"/>
                </a:lnTo>
                <a:cubicBezTo>
                  <a:pt x="1773156" y="262658"/>
                  <a:pt x="1774188" y="270899"/>
                  <a:pt x="1777284" y="271929"/>
                </a:cubicBezTo>
                <a:cubicBezTo>
                  <a:pt x="1789669" y="275019"/>
                  <a:pt x="1801023" y="275019"/>
                  <a:pt x="1822697" y="277079"/>
                </a:cubicBezTo>
                <a:cubicBezTo>
                  <a:pt x="1827857" y="282229"/>
                  <a:pt x="1837146" y="293559"/>
                  <a:pt x="1846435" y="301799"/>
                </a:cubicBezTo>
                <a:cubicBezTo>
                  <a:pt x="1842307" y="330640"/>
                  <a:pt x="1814440" y="351241"/>
                  <a:pt x="1829921" y="379052"/>
                </a:cubicBezTo>
                <a:cubicBezTo>
                  <a:pt x="1834050" y="387292"/>
                  <a:pt x="1837146" y="385232"/>
                  <a:pt x="1843339" y="379052"/>
                </a:cubicBezTo>
                <a:cubicBezTo>
                  <a:pt x="1849531" y="372872"/>
                  <a:pt x="1858820" y="370812"/>
                  <a:pt x="1866045" y="366692"/>
                </a:cubicBezTo>
                <a:cubicBezTo>
                  <a:pt x="1871206" y="364631"/>
                  <a:pt x="1876366" y="361541"/>
                  <a:pt x="1882559" y="358451"/>
                </a:cubicBezTo>
                <a:lnTo>
                  <a:pt x="1882559" y="319310"/>
                </a:lnTo>
                <a:cubicBezTo>
                  <a:pt x="1891848" y="316220"/>
                  <a:pt x="1903201" y="313130"/>
                  <a:pt x="1913522" y="310040"/>
                </a:cubicBezTo>
                <a:cubicBezTo>
                  <a:pt x="1929004" y="276049"/>
                  <a:pt x="1940357" y="238967"/>
                  <a:pt x="1972352" y="215277"/>
                </a:cubicBezTo>
                <a:cubicBezTo>
                  <a:pt x="1965127" y="184376"/>
                  <a:pt x="1930036" y="189526"/>
                  <a:pt x="1914554" y="169955"/>
                </a:cubicBezTo>
                <a:cubicBezTo>
                  <a:pt x="1886687" y="158625"/>
                  <a:pt x="1853660" y="175105"/>
                  <a:pt x="1821665" y="153475"/>
                </a:cubicBezTo>
                <a:cubicBezTo>
                  <a:pt x="1843339" y="150385"/>
                  <a:pt x="1866045" y="152445"/>
                  <a:pt x="1876366" y="142144"/>
                </a:cubicBezTo>
                <a:cubicBezTo>
                  <a:pt x="1892880" y="126694"/>
                  <a:pt x="1909394" y="129784"/>
                  <a:pt x="1931068" y="128754"/>
                </a:cubicBezTo>
                <a:cubicBezTo>
                  <a:pt x="1947581" y="106093"/>
                  <a:pt x="1966159" y="80342"/>
                  <a:pt x="1983705" y="55622"/>
                </a:cubicBezTo>
                <a:cubicBezTo>
                  <a:pt x="1992994" y="62832"/>
                  <a:pt x="1999187" y="67982"/>
                  <a:pt x="2005379" y="73132"/>
                </a:cubicBezTo>
                <a:cubicBezTo>
                  <a:pt x="2032214" y="50471"/>
                  <a:pt x="2001251" y="41201"/>
                  <a:pt x="1995058" y="25751"/>
                </a:cubicBezTo>
                <a:cubicBezTo>
                  <a:pt x="2003315" y="22660"/>
                  <a:pt x="2011572" y="20600"/>
                  <a:pt x="2019829" y="17510"/>
                </a:cubicBezTo>
                <a:cubicBezTo>
                  <a:pt x="2027053" y="24721"/>
                  <a:pt x="2034278" y="30901"/>
                  <a:pt x="2040471" y="37081"/>
                </a:cubicBezTo>
                <a:cubicBezTo>
                  <a:pt x="2047696" y="30901"/>
                  <a:pt x="2053888" y="25751"/>
                  <a:pt x="2061113" y="19570"/>
                </a:cubicBezTo>
                <a:lnTo>
                  <a:pt x="2095172" y="19570"/>
                </a:lnTo>
                <a:cubicBezTo>
                  <a:pt x="2106525" y="11330"/>
                  <a:pt x="2115814" y="4120"/>
                  <a:pt x="212200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29224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22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9" grpId="0" animBg="1"/>
      <p:bldP spid="9" grpId="1" animBg="1"/>
      <p:bldP spid="8" grpId="0" animBg="1"/>
      <p:bldP spid="8" grpId="1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8205304" y="742390"/>
            <a:ext cx="9240942" cy="8714439"/>
          </a:xfrm>
          <a:custGeom>
            <a:avLst/>
            <a:gdLst>
              <a:gd name="connsiteX0" fmla="*/ 2483909 w 9240942"/>
              <a:gd name="connsiteY0" fmla="*/ 5416442 h 8714439"/>
              <a:gd name="connsiteX1" fmla="*/ 2484933 w 9240942"/>
              <a:gd name="connsiteY1" fmla="*/ 5416551 h 8714439"/>
              <a:gd name="connsiteX2" fmla="*/ 2482757 w 9240942"/>
              <a:gd name="connsiteY2" fmla="*/ 5419032 h 8714439"/>
              <a:gd name="connsiteX3" fmla="*/ 2485869 w 9240942"/>
              <a:gd name="connsiteY3" fmla="*/ 5415483 h 8714439"/>
              <a:gd name="connsiteX4" fmla="*/ 2485609 w 9240942"/>
              <a:gd name="connsiteY4" fmla="*/ 5416622 h 8714439"/>
              <a:gd name="connsiteX5" fmla="*/ 2484933 w 9240942"/>
              <a:gd name="connsiteY5" fmla="*/ 5416551 h 8714439"/>
              <a:gd name="connsiteX6" fmla="*/ 8617896 w 9240942"/>
              <a:gd name="connsiteY6" fmla="*/ 3186723 h 8714439"/>
              <a:gd name="connsiteX7" fmla="*/ 8627030 w 9240942"/>
              <a:gd name="connsiteY7" fmla="*/ 3186949 h 8714439"/>
              <a:gd name="connsiteX8" fmla="*/ 8617738 w 9240942"/>
              <a:gd name="connsiteY8" fmla="*/ 3268580 h 8714439"/>
              <a:gd name="connsiteX9" fmla="*/ 8684744 w 9240942"/>
              <a:gd name="connsiteY9" fmla="*/ 3226315 h 8714439"/>
              <a:gd name="connsiteX10" fmla="*/ 8655120 w 9240942"/>
              <a:gd name="connsiteY10" fmla="*/ 3312827 h 8714439"/>
              <a:gd name="connsiteX11" fmla="*/ 8616590 w 9240942"/>
              <a:gd name="connsiteY11" fmla="*/ 3345379 h 8714439"/>
              <a:gd name="connsiteX12" fmla="*/ 8608204 w 9240942"/>
              <a:gd name="connsiteY12" fmla="*/ 3358612 h 8714439"/>
              <a:gd name="connsiteX13" fmla="*/ 8606954 w 9240942"/>
              <a:gd name="connsiteY13" fmla="*/ 3365816 h 8714439"/>
              <a:gd name="connsiteX14" fmla="*/ 8555936 w 9240942"/>
              <a:gd name="connsiteY14" fmla="*/ 3421216 h 8714439"/>
              <a:gd name="connsiteX15" fmla="*/ 8619432 w 9240942"/>
              <a:gd name="connsiteY15" fmla="*/ 3392165 h 8714439"/>
              <a:gd name="connsiteX16" fmla="*/ 8694106 w 9240942"/>
              <a:gd name="connsiteY16" fmla="*/ 3361868 h 8714439"/>
              <a:gd name="connsiteX17" fmla="*/ 8707178 w 9240942"/>
              <a:gd name="connsiteY17" fmla="*/ 3391814 h 8714439"/>
              <a:gd name="connsiteX18" fmla="*/ 8598724 w 9240942"/>
              <a:gd name="connsiteY18" fmla="*/ 3483441 h 8714439"/>
              <a:gd name="connsiteX19" fmla="*/ 8580224 w 9240942"/>
              <a:gd name="connsiteY19" fmla="*/ 3533911 h 8714439"/>
              <a:gd name="connsiteX20" fmla="*/ 8616494 w 9240942"/>
              <a:gd name="connsiteY20" fmla="*/ 3507368 h 8714439"/>
              <a:gd name="connsiteX21" fmla="*/ 8636410 w 9240942"/>
              <a:gd name="connsiteY21" fmla="*/ 3504889 h 8714439"/>
              <a:gd name="connsiteX22" fmla="*/ 8676188 w 9240942"/>
              <a:gd name="connsiteY22" fmla="*/ 3465133 h 8714439"/>
              <a:gd name="connsiteX23" fmla="*/ 8683022 w 9240942"/>
              <a:gd name="connsiteY23" fmla="*/ 3481904 h 8714439"/>
              <a:gd name="connsiteX24" fmla="*/ 8645680 w 9240942"/>
              <a:gd name="connsiteY24" fmla="*/ 3521650 h 8714439"/>
              <a:gd name="connsiteX25" fmla="*/ 8626586 w 9240942"/>
              <a:gd name="connsiteY25" fmla="*/ 3568523 h 8714439"/>
              <a:gd name="connsiteX26" fmla="*/ 8529548 w 9240942"/>
              <a:gd name="connsiteY26" fmla="*/ 3650505 h 8714439"/>
              <a:gd name="connsiteX27" fmla="*/ 8528299 w 9240942"/>
              <a:gd name="connsiteY27" fmla="*/ 3657710 h 8714439"/>
              <a:gd name="connsiteX28" fmla="*/ 8564328 w 9240942"/>
              <a:gd name="connsiteY28" fmla="*/ 3639567 h 8714439"/>
              <a:gd name="connsiteX29" fmla="*/ 8593576 w 9240942"/>
              <a:gd name="connsiteY29" fmla="*/ 3639450 h 8714439"/>
              <a:gd name="connsiteX30" fmla="*/ 8570618 w 9240942"/>
              <a:gd name="connsiteY30" fmla="*/ 3687539 h 8714439"/>
              <a:gd name="connsiteX31" fmla="*/ 8527808 w 9240942"/>
              <a:gd name="connsiteY31" fmla="*/ 3723706 h 8714439"/>
              <a:gd name="connsiteX32" fmla="*/ 8524474 w 9240942"/>
              <a:gd name="connsiteY32" fmla="*/ 3742918 h 8714439"/>
              <a:gd name="connsiteX33" fmla="*/ 8502538 w 9240942"/>
              <a:gd name="connsiteY33" fmla="*/ 3743006 h 8714439"/>
              <a:gd name="connsiteX34" fmla="*/ 8466863 w 9240942"/>
              <a:gd name="connsiteY34" fmla="*/ 3773147 h 8714439"/>
              <a:gd name="connsiteX35" fmla="*/ 8464363 w 9240942"/>
              <a:gd name="connsiteY35" fmla="*/ 3787556 h 8714439"/>
              <a:gd name="connsiteX36" fmla="*/ 8444322 w 9240942"/>
              <a:gd name="connsiteY36" fmla="*/ 3818834 h 8714439"/>
              <a:gd name="connsiteX37" fmla="*/ 8491288 w 9240942"/>
              <a:gd name="connsiteY37" fmla="*/ 3807847 h 8714439"/>
              <a:gd name="connsiteX38" fmla="*/ 8512984 w 9240942"/>
              <a:gd name="connsiteY38" fmla="*/ 3816159 h 8714439"/>
              <a:gd name="connsiteX39" fmla="*/ 8495142 w 9240942"/>
              <a:gd name="connsiteY39" fmla="*/ 3855828 h 8714439"/>
              <a:gd name="connsiteX40" fmla="*/ 8475642 w 9240942"/>
              <a:gd name="connsiteY40" fmla="*/ 3855906 h 8714439"/>
              <a:gd name="connsiteX41" fmla="*/ 8466184 w 9240942"/>
              <a:gd name="connsiteY41" fmla="*/ 3882341 h 8714439"/>
              <a:gd name="connsiteX42" fmla="*/ 8430395 w 9240942"/>
              <a:gd name="connsiteY42" fmla="*/ 3892084 h 8714439"/>
              <a:gd name="connsiteX43" fmla="*/ 8417665 w 9240942"/>
              <a:gd name="connsiteY43" fmla="*/ 3923333 h 8714439"/>
              <a:gd name="connsiteX44" fmla="*/ 8360584 w 9240942"/>
              <a:gd name="connsiteY44" fmla="*/ 3971557 h 8714439"/>
              <a:gd name="connsiteX45" fmla="*/ 8358678 w 9240942"/>
              <a:gd name="connsiteY45" fmla="*/ 3989563 h 8714439"/>
              <a:gd name="connsiteX46" fmla="*/ 8336742 w 9240942"/>
              <a:gd name="connsiteY46" fmla="*/ 3989651 h 8714439"/>
              <a:gd name="connsiteX47" fmla="*/ 8252548 w 9240942"/>
              <a:gd name="connsiteY47" fmla="*/ 4060783 h 8714439"/>
              <a:gd name="connsiteX48" fmla="*/ 8248799 w 9240942"/>
              <a:gd name="connsiteY48" fmla="*/ 4082396 h 8714439"/>
              <a:gd name="connsiteX49" fmla="*/ 8200279 w 9240942"/>
              <a:gd name="connsiteY49" fmla="*/ 4123387 h 8714439"/>
              <a:gd name="connsiteX50" fmla="*/ 8179353 w 9240942"/>
              <a:gd name="connsiteY50" fmla="*/ 4124671 h 8714439"/>
              <a:gd name="connsiteX51" fmla="*/ 8173582 w 9240942"/>
              <a:gd name="connsiteY51" fmla="*/ 4143892 h 8714439"/>
              <a:gd name="connsiteX52" fmla="*/ 8154084 w 9240942"/>
              <a:gd name="connsiteY52" fmla="*/ 4143971 h 8714439"/>
              <a:gd name="connsiteX53" fmla="*/ 8045630 w 9240942"/>
              <a:gd name="connsiteY53" fmla="*/ 4235598 h 8714439"/>
              <a:gd name="connsiteX54" fmla="*/ 8026132 w 9240942"/>
              <a:gd name="connsiteY54" fmla="*/ 4235675 h 8714439"/>
              <a:gd name="connsiteX55" fmla="*/ 8021788 w 9240942"/>
              <a:gd name="connsiteY55" fmla="*/ 4253691 h 8714439"/>
              <a:gd name="connsiteX56" fmla="*/ 7973446 w 9240942"/>
              <a:gd name="connsiteY56" fmla="*/ 4300682 h 8714439"/>
              <a:gd name="connsiteX57" fmla="*/ 7969102 w 9240942"/>
              <a:gd name="connsiteY57" fmla="*/ 4318697 h 8714439"/>
              <a:gd name="connsiteX58" fmla="*/ 7948177 w 9240942"/>
              <a:gd name="connsiteY58" fmla="*/ 4319981 h 8714439"/>
              <a:gd name="connsiteX59" fmla="*/ 7946271 w 9240942"/>
              <a:gd name="connsiteY59" fmla="*/ 4337987 h 8714439"/>
              <a:gd name="connsiteX60" fmla="*/ 7752196 w 9240942"/>
              <a:gd name="connsiteY60" fmla="*/ 4501951 h 8714439"/>
              <a:gd name="connsiteX61" fmla="*/ 7746008 w 9240942"/>
              <a:gd name="connsiteY61" fmla="*/ 4523574 h 8714439"/>
              <a:gd name="connsiteX62" fmla="*/ 7704333 w 9240942"/>
              <a:gd name="connsiteY62" fmla="*/ 4532140 h 8714439"/>
              <a:gd name="connsiteX63" fmla="*/ 7725550 w 9240942"/>
              <a:gd name="connsiteY63" fmla="*/ 4557254 h 8714439"/>
              <a:gd name="connsiteX64" fmla="*/ 7789766 w 9240942"/>
              <a:gd name="connsiteY64" fmla="*/ 4503001 h 8714439"/>
              <a:gd name="connsiteX65" fmla="*/ 7816577 w 9240942"/>
              <a:gd name="connsiteY65" fmla="*/ 4502894 h 8714439"/>
              <a:gd name="connsiteX66" fmla="*/ 7936447 w 9240942"/>
              <a:gd name="connsiteY66" fmla="*/ 4401622 h 8714439"/>
              <a:gd name="connsiteX67" fmla="*/ 7955945 w 9240942"/>
              <a:gd name="connsiteY67" fmla="*/ 4401544 h 8714439"/>
              <a:gd name="connsiteX68" fmla="*/ 8101501 w 9240942"/>
              <a:gd name="connsiteY68" fmla="*/ 4278571 h 8714439"/>
              <a:gd name="connsiteX69" fmla="*/ 8121000 w 9240942"/>
              <a:gd name="connsiteY69" fmla="*/ 4278493 h 8714439"/>
              <a:gd name="connsiteX70" fmla="*/ 8126771 w 9240942"/>
              <a:gd name="connsiteY70" fmla="*/ 4259271 h 8714439"/>
              <a:gd name="connsiteX71" fmla="*/ 8137177 w 9240942"/>
              <a:gd name="connsiteY71" fmla="*/ 4248430 h 8714439"/>
              <a:gd name="connsiteX72" fmla="*/ 8159530 w 9240942"/>
              <a:gd name="connsiteY72" fmla="*/ 4245942 h 8714439"/>
              <a:gd name="connsiteX73" fmla="*/ 8162863 w 9240942"/>
              <a:gd name="connsiteY73" fmla="*/ 4226729 h 8714439"/>
              <a:gd name="connsiteX74" fmla="*/ 8200496 w 9240942"/>
              <a:gd name="connsiteY74" fmla="*/ 4213380 h 8714439"/>
              <a:gd name="connsiteX75" fmla="*/ 8330355 w 9240942"/>
              <a:gd name="connsiteY75" fmla="*/ 4103669 h 8714439"/>
              <a:gd name="connsiteX76" fmla="*/ 8350271 w 9240942"/>
              <a:gd name="connsiteY76" fmla="*/ 4101189 h 8714439"/>
              <a:gd name="connsiteX77" fmla="*/ 8353187 w 9240942"/>
              <a:gd name="connsiteY77" fmla="*/ 4084379 h 8714439"/>
              <a:gd name="connsiteX78" fmla="*/ 8375540 w 9240942"/>
              <a:gd name="connsiteY78" fmla="*/ 4081890 h 8714439"/>
              <a:gd name="connsiteX79" fmla="*/ 8531085 w 9240942"/>
              <a:gd name="connsiteY79" fmla="*/ 3950477 h 8714439"/>
              <a:gd name="connsiteX80" fmla="*/ 8538397 w 9240942"/>
              <a:gd name="connsiteY80" fmla="*/ 3950448 h 8714439"/>
              <a:gd name="connsiteX81" fmla="*/ 8553021 w 9240942"/>
              <a:gd name="connsiteY81" fmla="*/ 3950389 h 8714439"/>
              <a:gd name="connsiteX82" fmla="*/ 8759938 w 9240942"/>
              <a:gd name="connsiteY82" fmla="*/ 3775575 h 8714439"/>
              <a:gd name="connsiteX83" fmla="*/ 8780864 w 9240942"/>
              <a:gd name="connsiteY83" fmla="*/ 3774292 h 8714439"/>
              <a:gd name="connsiteX84" fmla="*/ 8816540 w 9240942"/>
              <a:gd name="connsiteY84" fmla="*/ 3744151 h 8714439"/>
              <a:gd name="connsiteX85" fmla="*/ 8821300 w 9240942"/>
              <a:gd name="connsiteY85" fmla="*/ 3723733 h 8714439"/>
              <a:gd name="connsiteX86" fmla="*/ 8863216 w 9240942"/>
              <a:gd name="connsiteY86" fmla="*/ 3706767 h 8714439"/>
              <a:gd name="connsiteX87" fmla="*/ 8977376 w 9240942"/>
              <a:gd name="connsiteY87" fmla="*/ 3610318 h 8714439"/>
              <a:gd name="connsiteX88" fmla="*/ 8995448 w 9240942"/>
              <a:gd name="connsiteY88" fmla="*/ 3611445 h 8714439"/>
              <a:gd name="connsiteX89" fmla="*/ 9055382 w 9240942"/>
              <a:gd name="connsiteY89" fmla="*/ 3560810 h 8714439"/>
              <a:gd name="connsiteX90" fmla="*/ 9081184 w 9240942"/>
              <a:gd name="connsiteY90" fmla="*/ 3559506 h 8714439"/>
              <a:gd name="connsiteX91" fmla="*/ 9129702 w 9240942"/>
              <a:gd name="connsiteY91" fmla="*/ 3518516 h 8714439"/>
              <a:gd name="connsiteX92" fmla="*/ 9163408 w 9240942"/>
              <a:gd name="connsiteY92" fmla="*/ 3520780 h 8714439"/>
              <a:gd name="connsiteX93" fmla="*/ 9164294 w 9240942"/>
              <a:gd name="connsiteY93" fmla="*/ 3550775 h 8714439"/>
              <a:gd name="connsiteX94" fmla="*/ 9186344 w 9240942"/>
              <a:gd name="connsiteY94" fmla="*/ 3571085 h 8714439"/>
              <a:gd name="connsiteX95" fmla="*/ 9208936 w 9240942"/>
              <a:gd name="connsiteY95" fmla="*/ 3560196 h 8714439"/>
              <a:gd name="connsiteX96" fmla="*/ 9187040 w 9240942"/>
              <a:gd name="connsiteY96" fmla="*/ 3644277 h 8714439"/>
              <a:gd name="connsiteX97" fmla="*/ 9152792 w 9240942"/>
              <a:gd name="connsiteY97" fmla="*/ 3673212 h 8714439"/>
              <a:gd name="connsiteX98" fmla="*/ 9149042 w 9240942"/>
              <a:gd name="connsiteY98" fmla="*/ 3694825 h 8714439"/>
              <a:gd name="connsiteX99" fmla="*/ 9109970 w 9240942"/>
              <a:gd name="connsiteY99" fmla="*/ 3758577 h 8714439"/>
              <a:gd name="connsiteX100" fmla="*/ 9189580 w 9240942"/>
              <a:gd name="connsiteY100" fmla="*/ 3713862 h 8714439"/>
              <a:gd name="connsiteX101" fmla="*/ 9240942 w 9240942"/>
              <a:gd name="connsiteY101" fmla="*/ 3719656 h 8714439"/>
              <a:gd name="connsiteX102" fmla="*/ 9233504 w 9240942"/>
              <a:gd name="connsiteY102" fmla="*/ 3748484 h 8714439"/>
              <a:gd name="connsiteX103" fmla="*/ 9199256 w 9240942"/>
              <a:gd name="connsiteY103" fmla="*/ 3777419 h 8714439"/>
              <a:gd name="connsiteX104" fmla="*/ 9194496 w 9240942"/>
              <a:gd name="connsiteY104" fmla="*/ 3797836 h 8714439"/>
              <a:gd name="connsiteX105" fmla="*/ 9174996 w 9240942"/>
              <a:gd name="connsiteY105" fmla="*/ 3797914 h 8714439"/>
              <a:gd name="connsiteX106" fmla="*/ 9152164 w 9240942"/>
              <a:gd name="connsiteY106" fmla="*/ 3817204 h 8714439"/>
              <a:gd name="connsiteX107" fmla="*/ 9119280 w 9240942"/>
              <a:gd name="connsiteY107" fmla="*/ 3859332 h 8714439"/>
              <a:gd name="connsiteX108" fmla="*/ 9109052 w 9240942"/>
              <a:gd name="connsiteY108" fmla="*/ 3876172 h 8714439"/>
              <a:gd name="connsiteX109" fmla="*/ 9112082 w 9240942"/>
              <a:gd name="connsiteY109" fmla="*/ 3879759 h 8714439"/>
              <a:gd name="connsiteX110" fmla="*/ 9156612 w 9240942"/>
              <a:gd name="connsiteY110" fmla="*/ 3868782 h 8714439"/>
              <a:gd name="connsiteX111" fmla="*/ 9203702 w 9240942"/>
              <a:gd name="connsiteY111" fmla="*/ 3828997 h 8714439"/>
              <a:gd name="connsiteX112" fmla="*/ 9211016 w 9240942"/>
              <a:gd name="connsiteY112" fmla="*/ 3828968 h 8714439"/>
              <a:gd name="connsiteX113" fmla="*/ 9181996 w 9240942"/>
              <a:gd name="connsiteY113" fmla="*/ 3869881 h 8714439"/>
              <a:gd name="connsiteX114" fmla="*/ 9161892 w 9240942"/>
              <a:gd name="connsiteY114" fmla="*/ 3915558 h 8714439"/>
              <a:gd name="connsiteX115" fmla="*/ 9113374 w 9240942"/>
              <a:gd name="connsiteY115" fmla="*/ 3956549 h 8714439"/>
              <a:gd name="connsiteX116" fmla="*/ 9105404 w 9240942"/>
              <a:gd name="connsiteY116" fmla="*/ 3967380 h 8714439"/>
              <a:gd name="connsiteX117" fmla="*/ 9102904 w 9240942"/>
              <a:gd name="connsiteY117" fmla="*/ 3981789 h 8714439"/>
              <a:gd name="connsiteX118" fmla="*/ 9075260 w 9240942"/>
              <a:gd name="connsiteY118" fmla="*/ 3986699 h 8714439"/>
              <a:gd name="connsiteX119" fmla="*/ 9059678 w 9240942"/>
              <a:gd name="connsiteY119" fmla="*/ 4020359 h 8714439"/>
              <a:gd name="connsiteX120" fmla="*/ 9031616 w 9240942"/>
              <a:gd name="connsiteY120" fmla="*/ 4027671 h 8714439"/>
              <a:gd name="connsiteX121" fmla="*/ 9029116 w 9240942"/>
              <a:gd name="connsiteY121" fmla="*/ 4042079 h 8714439"/>
              <a:gd name="connsiteX122" fmla="*/ 8979524 w 9240942"/>
              <a:gd name="connsiteY122" fmla="*/ 4096274 h 8714439"/>
              <a:gd name="connsiteX123" fmla="*/ 9019242 w 9240942"/>
              <a:gd name="connsiteY123" fmla="*/ 4070917 h 8714439"/>
              <a:gd name="connsiteX124" fmla="*/ 9054916 w 9240942"/>
              <a:gd name="connsiteY124" fmla="*/ 4040777 h 8714439"/>
              <a:gd name="connsiteX125" fmla="*/ 9093624 w 9240942"/>
              <a:gd name="connsiteY125" fmla="*/ 4014223 h 8714439"/>
              <a:gd name="connsiteX126" fmla="*/ 9118590 w 9240942"/>
              <a:gd name="connsiteY126" fmla="*/ 4017724 h 8714439"/>
              <a:gd name="connsiteX127" fmla="*/ 9096404 w 9240942"/>
              <a:gd name="connsiteY127" fmla="*/ 4075408 h 8714439"/>
              <a:gd name="connsiteX128" fmla="*/ 9082790 w 9240942"/>
              <a:gd name="connsiteY128" fmla="*/ 4076663 h 8714439"/>
              <a:gd name="connsiteX129" fmla="*/ 9037478 w 9240942"/>
              <a:gd name="connsiteY129" fmla="*/ 4127240 h 8714439"/>
              <a:gd name="connsiteX130" fmla="*/ 9015542 w 9240942"/>
              <a:gd name="connsiteY130" fmla="*/ 4127328 h 8714439"/>
              <a:gd name="connsiteX131" fmla="*/ 9011792 w 9240942"/>
              <a:gd name="connsiteY131" fmla="*/ 4148941 h 8714439"/>
              <a:gd name="connsiteX132" fmla="*/ 8991284 w 9240942"/>
              <a:gd name="connsiteY132" fmla="*/ 4147824 h 8714439"/>
              <a:gd name="connsiteX133" fmla="*/ 8942348 w 9240942"/>
              <a:gd name="connsiteY133" fmla="*/ 4191216 h 8714439"/>
              <a:gd name="connsiteX134" fmla="*/ 8941098 w 9240942"/>
              <a:gd name="connsiteY134" fmla="*/ 4198420 h 8714439"/>
              <a:gd name="connsiteX135" fmla="*/ 8950192 w 9240942"/>
              <a:gd name="connsiteY135" fmla="*/ 4209183 h 8714439"/>
              <a:gd name="connsiteX136" fmla="*/ 9047092 w 9240942"/>
              <a:gd name="connsiteY136" fmla="*/ 4205196 h 8714439"/>
              <a:gd name="connsiteX137" fmla="*/ 8997146 w 9240942"/>
              <a:gd name="connsiteY137" fmla="*/ 4247392 h 8714439"/>
              <a:gd name="connsiteX138" fmla="*/ 8990126 w 9240942"/>
              <a:gd name="connsiteY138" fmla="*/ 4273819 h 8714439"/>
              <a:gd name="connsiteX139" fmla="*/ 8935898 w 9240942"/>
              <a:gd name="connsiteY139" fmla="*/ 4319632 h 8714439"/>
              <a:gd name="connsiteX140" fmla="*/ 8892244 w 9240942"/>
              <a:gd name="connsiteY140" fmla="*/ 4409800 h 8714439"/>
              <a:gd name="connsiteX141" fmla="*/ 8870838 w 9240942"/>
              <a:gd name="connsiteY141" fmla="*/ 4427885 h 8714439"/>
              <a:gd name="connsiteX142" fmla="*/ 8868692 w 9240942"/>
              <a:gd name="connsiteY142" fmla="*/ 4454291 h 8714439"/>
              <a:gd name="connsiteX143" fmla="*/ 8857682 w 9240942"/>
              <a:gd name="connsiteY143" fmla="*/ 4510731 h 8714439"/>
              <a:gd name="connsiteX144" fmla="*/ 8799996 w 9240942"/>
              <a:gd name="connsiteY144" fmla="*/ 4604555 h 8714439"/>
              <a:gd name="connsiteX145" fmla="*/ 8831024 w 9240942"/>
              <a:gd name="connsiteY145" fmla="*/ 4615230 h 8714439"/>
              <a:gd name="connsiteX146" fmla="*/ 8787860 w 9240942"/>
              <a:gd name="connsiteY146" fmla="*/ 4639401 h 8714439"/>
              <a:gd name="connsiteX147" fmla="*/ 8762288 w 9240942"/>
              <a:gd name="connsiteY147" fmla="*/ 4681500 h 8714439"/>
              <a:gd name="connsiteX148" fmla="*/ 8742424 w 9240942"/>
              <a:gd name="connsiteY148" fmla="*/ 4718777 h 8714439"/>
              <a:gd name="connsiteX149" fmla="*/ 8723332 w 9240942"/>
              <a:gd name="connsiteY149" fmla="*/ 4765650 h 8714439"/>
              <a:gd name="connsiteX150" fmla="*/ 8699968 w 9240942"/>
              <a:gd name="connsiteY150" fmla="*/ 4766943 h 8714439"/>
              <a:gd name="connsiteX151" fmla="*/ 8707988 w 9240942"/>
              <a:gd name="connsiteY151" fmla="*/ 4790909 h 8714439"/>
              <a:gd name="connsiteX152" fmla="*/ 8691634 w 9240942"/>
              <a:gd name="connsiteY152" fmla="*/ 4814973 h 8714439"/>
              <a:gd name="connsiteX153" fmla="*/ 8701738 w 9240942"/>
              <a:gd name="connsiteY153" fmla="*/ 4826931 h 8714439"/>
              <a:gd name="connsiteX154" fmla="*/ 8722246 w 9240942"/>
              <a:gd name="connsiteY154" fmla="*/ 4828050 h 8714439"/>
              <a:gd name="connsiteX155" fmla="*/ 8744474 w 9240942"/>
              <a:gd name="connsiteY155" fmla="*/ 4854358 h 8714439"/>
              <a:gd name="connsiteX156" fmla="*/ 8719798 w 9240942"/>
              <a:gd name="connsiteY156" fmla="*/ 4877256 h 8714439"/>
              <a:gd name="connsiteX157" fmla="*/ 8719506 w 9240942"/>
              <a:gd name="connsiteY157" fmla="*/ 4850859 h 8714439"/>
              <a:gd name="connsiteX158" fmla="*/ 8679144 w 9240942"/>
              <a:gd name="connsiteY158" fmla="*/ 4837821 h 8714439"/>
              <a:gd name="connsiteX159" fmla="*/ 8620636 w 9240942"/>
              <a:gd name="connsiteY159" fmla="*/ 4887252 h 8714439"/>
              <a:gd name="connsiteX160" fmla="*/ 8616950 w 9240942"/>
              <a:gd name="connsiteY160" fmla="*/ 4894466 h 8714439"/>
              <a:gd name="connsiteX161" fmla="*/ 8662552 w 9240942"/>
              <a:gd name="connsiteY161" fmla="*/ 4870285 h 8714439"/>
              <a:gd name="connsiteX162" fmla="*/ 8719798 w 9240942"/>
              <a:gd name="connsiteY162" fmla="*/ 4877256 h 8714439"/>
              <a:gd name="connsiteX163" fmla="*/ 8729598 w 9240942"/>
              <a:gd name="connsiteY163" fmla="*/ 4912014 h 8714439"/>
              <a:gd name="connsiteX164" fmla="*/ 8723058 w 9240942"/>
              <a:gd name="connsiteY164" fmla="*/ 4921639 h 8714439"/>
              <a:gd name="connsiteX165" fmla="*/ 8687924 w 9240942"/>
              <a:gd name="connsiteY165" fmla="*/ 4920580 h 8714439"/>
              <a:gd name="connsiteX166" fmla="*/ 8678404 w 9240942"/>
              <a:gd name="connsiteY166" fmla="*/ 4961416 h 8714439"/>
              <a:gd name="connsiteX167" fmla="*/ 8655040 w 9240942"/>
              <a:gd name="connsiteY167" fmla="*/ 4962708 h 8714439"/>
              <a:gd name="connsiteX168" fmla="*/ 8625124 w 9240942"/>
              <a:gd name="connsiteY168" fmla="*/ 5022824 h 8714439"/>
              <a:gd name="connsiteX169" fmla="*/ 8608062 w 9240942"/>
              <a:gd name="connsiteY169" fmla="*/ 5022892 h 8714439"/>
              <a:gd name="connsiteX170" fmla="*/ 8554253 w 9240942"/>
              <a:gd name="connsiteY170" fmla="*/ 5066304 h 8714439"/>
              <a:gd name="connsiteX171" fmla="*/ 8529942 w 9240942"/>
              <a:gd name="connsiteY171" fmla="*/ 5052003 h 8714439"/>
              <a:gd name="connsiteX172" fmla="*/ 8514838 w 9240942"/>
              <a:gd name="connsiteY172" fmla="*/ 5068861 h 8714439"/>
              <a:gd name="connsiteX173" fmla="*/ 8522858 w 9240942"/>
              <a:gd name="connsiteY173" fmla="*/ 5092828 h 8714439"/>
              <a:gd name="connsiteX174" fmla="*/ 8468820 w 9240942"/>
              <a:gd name="connsiteY174" fmla="*/ 5095443 h 8714439"/>
              <a:gd name="connsiteX175" fmla="*/ 8430479 w 9240942"/>
              <a:gd name="connsiteY175" fmla="*/ 5084798 h 8714439"/>
              <a:gd name="connsiteX176" fmla="*/ 8428624 w 9240942"/>
              <a:gd name="connsiteY176" fmla="*/ 5137602 h 8714439"/>
              <a:gd name="connsiteX177" fmla="*/ 8405323 w 9240942"/>
              <a:gd name="connsiteY177" fmla="*/ 5124495 h 8714439"/>
              <a:gd name="connsiteX178" fmla="*/ 8381532 w 9240942"/>
              <a:gd name="connsiteY178" fmla="*/ 5177386 h 8714439"/>
              <a:gd name="connsiteX179" fmla="*/ 8343004 w 9240942"/>
              <a:gd name="connsiteY179" fmla="*/ 5209938 h 8714439"/>
              <a:gd name="connsiteX180" fmla="*/ 8314234 w 9240942"/>
              <a:gd name="connsiteY180" fmla="*/ 5193255 h 8714439"/>
              <a:gd name="connsiteX181" fmla="*/ 8322670 w 9240942"/>
              <a:gd name="connsiteY181" fmla="*/ 5214819 h 8714439"/>
              <a:gd name="connsiteX182" fmla="*/ 8330690 w 9240942"/>
              <a:gd name="connsiteY182" fmla="*/ 5238785 h 8714439"/>
              <a:gd name="connsiteX183" fmla="*/ 8301442 w 9240942"/>
              <a:gd name="connsiteY183" fmla="*/ 5238902 h 8714439"/>
              <a:gd name="connsiteX184" fmla="*/ 8285277 w 9240942"/>
              <a:gd name="connsiteY184" fmla="*/ 5219768 h 8714439"/>
              <a:gd name="connsiteX185" fmla="*/ 8251987 w 9240942"/>
              <a:gd name="connsiteY185" fmla="*/ 5215102 h 8714439"/>
              <a:gd name="connsiteX186" fmla="*/ 8200614 w 9240942"/>
              <a:gd name="connsiteY186" fmla="*/ 5258504 h 8714439"/>
              <a:gd name="connsiteX187" fmla="*/ 8183136 w 9240942"/>
              <a:gd name="connsiteY187" fmla="*/ 5260974 h 8714439"/>
              <a:gd name="connsiteX188" fmla="*/ 8177948 w 9240942"/>
              <a:gd name="connsiteY188" fmla="*/ 5332989 h 8714439"/>
              <a:gd name="connsiteX189" fmla="*/ 8165522 w 9240942"/>
              <a:gd name="connsiteY189" fmla="*/ 5341438 h 8714439"/>
              <a:gd name="connsiteX190" fmla="*/ 8144242 w 9240942"/>
              <a:gd name="connsiteY190" fmla="*/ 5330724 h 8714439"/>
              <a:gd name="connsiteX191" fmla="*/ 8096026 w 9240942"/>
              <a:gd name="connsiteY191" fmla="*/ 5348916 h 8714439"/>
              <a:gd name="connsiteX192" fmla="*/ 8078421 w 9240942"/>
              <a:gd name="connsiteY192" fmla="*/ 5380184 h 8714439"/>
              <a:gd name="connsiteX193" fmla="*/ 8004051 w 9240942"/>
              <a:gd name="connsiteY193" fmla="*/ 5387681 h 8714439"/>
              <a:gd name="connsiteX194" fmla="*/ 8005884 w 9240942"/>
              <a:gd name="connsiteY194" fmla="*/ 5433269 h 8714439"/>
              <a:gd name="connsiteX195" fmla="*/ 8001780 w 9240942"/>
              <a:gd name="connsiteY195" fmla="*/ 5442885 h 8714439"/>
              <a:gd name="connsiteX196" fmla="*/ 7958198 w 9240942"/>
              <a:gd name="connsiteY196" fmla="*/ 5469458 h 8714439"/>
              <a:gd name="connsiteX197" fmla="*/ 7956115 w 9240942"/>
              <a:gd name="connsiteY197" fmla="*/ 5481466 h 8714439"/>
              <a:gd name="connsiteX198" fmla="*/ 7906181 w 9240942"/>
              <a:gd name="connsiteY198" fmla="*/ 5474465 h 8714439"/>
              <a:gd name="connsiteX199" fmla="*/ 7893338 w 9240942"/>
              <a:gd name="connsiteY199" fmla="*/ 5485315 h 8714439"/>
              <a:gd name="connsiteX200" fmla="*/ 7890004 w 9240942"/>
              <a:gd name="connsiteY200" fmla="*/ 5504528 h 8714439"/>
              <a:gd name="connsiteX201" fmla="*/ 7891899 w 9240942"/>
              <a:gd name="connsiteY201" fmla="*/ 5535718 h 8714439"/>
              <a:gd name="connsiteX202" fmla="*/ 7869193 w 9240942"/>
              <a:gd name="connsiteY202" fmla="*/ 5526209 h 8714439"/>
              <a:gd name="connsiteX203" fmla="*/ 7850995 w 9240942"/>
              <a:gd name="connsiteY203" fmla="*/ 5553881 h 8714439"/>
              <a:gd name="connsiteX204" fmla="*/ 7815205 w 9240942"/>
              <a:gd name="connsiteY204" fmla="*/ 5563623 h 8714439"/>
              <a:gd name="connsiteX205" fmla="*/ 7823756 w 9240942"/>
              <a:gd name="connsiteY205" fmla="*/ 5605585 h 8714439"/>
              <a:gd name="connsiteX206" fmla="*/ 7783988 w 9240942"/>
              <a:gd name="connsiteY206" fmla="*/ 5596145 h 8714439"/>
              <a:gd name="connsiteX207" fmla="*/ 7770249 w 9240942"/>
              <a:gd name="connsiteY207" fmla="*/ 5626198 h 8714439"/>
              <a:gd name="connsiteX208" fmla="*/ 7745458 w 9240942"/>
              <a:gd name="connsiteY208" fmla="*/ 5628697 h 8714439"/>
              <a:gd name="connsiteX209" fmla="*/ 7740698 w 9240942"/>
              <a:gd name="connsiteY209" fmla="*/ 5649114 h 8714439"/>
              <a:gd name="connsiteX210" fmla="*/ 7718762 w 9240942"/>
              <a:gd name="connsiteY210" fmla="*/ 5649201 h 8714439"/>
              <a:gd name="connsiteX211" fmla="*/ 7724522 w 9240942"/>
              <a:gd name="connsiteY211" fmla="*/ 5679177 h 8714439"/>
              <a:gd name="connsiteX212" fmla="*/ 7663587 w 9240942"/>
              <a:gd name="connsiteY212" fmla="*/ 5679420 h 8714439"/>
              <a:gd name="connsiteX213" fmla="*/ 7661327 w 9240942"/>
              <a:gd name="connsiteY213" fmla="*/ 5685429 h 8714439"/>
              <a:gd name="connsiteX214" fmla="*/ 7684679 w 9240942"/>
              <a:gd name="connsiteY214" fmla="*/ 5733332 h 8714439"/>
              <a:gd name="connsiteX215" fmla="*/ 7629391 w 9240942"/>
              <a:gd name="connsiteY215" fmla="*/ 5743153 h 8714439"/>
              <a:gd name="connsiteX216" fmla="*/ 7606558 w 9240942"/>
              <a:gd name="connsiteY216" fmla="*/ 5762442 h 8714439"/>
              <a:gd name="connsiteX217" fmla="*/ 7583070 w 9240942"/>
              <a:gd name="connsiteY217" fmla="*/ 5792534 h 8714439"/>
              <a:gd name="connsiteX218" fmla="*/ 7565654 w 9240942"/>
              <a:gd name="connsiteY218" fmla="*/ 5780604 h 8714439"/>
              <a:gd name="connsiteX219" fmla="*/ 7517136 w 9240942"/>
              <a:gd name="connsiteY219" fmla="*/ 5821595 h 8714439"/>
              <a:gd name="connsiteX220" fmla="*/ 7497866 w 9240942"/>
              <a:gd name="connsiteY220" fmla="*/ 5862469 h 8714439"/>
              <a:gd name="connsiteX221" fmla="*/ 7505292 w 9240942"/>
              <a:gd name="connsiteY221" fmla="*/ 5882838 h 8714439"/>
              <a:gd name="connsiteX222" fmla="*/ 7491022 w 9240942"/>
              <a:gd name="connsiteY222" fmla="*/ 5894895 h 8714439"/>
              <a:gd name="connsiteX223" fmla="*/ 7469085 w 9240942"/>
              <a:gd name="connsiteY223" fmla="*/ 5894982 h 8714439"/>
              <a:gd name="connsiteX224" fmla="*/ 7444826 w 9240942"/>
              <a:gd name="connsiteY224" fmla="*/ 5915477 h 8714439"/>
              <a:gd name="connsiteX225" fmla="*/ 7413797 w 9240942"/>
              <a:gd name="connsiteY225" fmla="*/ 5904803 h 8714439"/>
              <a:gd name="connsiteX226" fmla="*/ 7423004 w 9240942"/>
              <a:gd name="connsiteY226" fmla="*/ 5935964 h 8714439"/>
              <a:gd name="connsiteX227" fmla="*/ 7402432 w 9240942"/>
              <a:gd name="connsiteY227" fmla="*/ 5949245 h 8714439"/>
              <a:gd name="connsiteX228" fmla="*/ 7372476 w 9240942"/>
              <a:gd name="connsiteY228" fmla="*/ 5925367 h 8714439"/>
              <a:gd name="connsiteX229" fmla="*/ 7367716 w 9240942"/>
              <a:gd name="connsiteY229" fmla="*/ 5945784 h 8714439"/>
              <a:gd name="connsiteX230" fmla="*/ 7330613 w 9240942"/>
              <a:gd name="connsiteY230" fmla="*/ 5977130 h 8714439"/>
              <a:gd name="connsiteX231" fmla="*/ 7298270 w 9240942"/>
              <a:gd name="connsiteY231" fmla="*/ 5988058 h 8714439"/>
              <a:gd name="connsiteX232" fmla="*/ 7293511 w 9240942"/>
              <a:gd name="connsiteY232" fmla="*/ 6008476 h 8714439"/>
              <a:gd name="connsiteX233" fmla="*/ 7270678 w 9240942"/>
              <a:gd name="connsiteY233" fmla="*/ 6027766 h 8714439"/>
              <a:gd name="connsiteX234" fmla="*/ 7266928 w 9240942"/>
              <a:gd name="connsiteY234" fmla="*/ 6049379 h 8714439"/>
              <a:gd name="connsiteX235" fmla="*/ 7223650 w 9240942"/>
              <a:gd name="connsiteY235" fmla="*/ 6053151 h 8714439"/>
              <a:gd name="connsiteX236" fmla="*/ 7232680 w 9240942"/>
              <a:gd name="connsiteY236" fmla="*/ 6078314 h 8714439"/>
              <a:gd name="connsiteX237" fmla="*/ 7208420 w 9240942"/>
              <a:gd name="connsiteY237" fmla="*/ 6098810 h 8714439"/>
              <a:gd name="connsiteX238" fmla="*/ 7199379 w 9240942"/>
              <a:gd name="connsiteY238" fmla="*/ 6122845 h 8714439"/>
              <a:gd name="connsiteX239" fmla="*/ 7173641 w 9240942"/>
              <a:gd name="connsiteY239" fmla="*/ 6109748 h 8714439"/>
              <a:gd name="connsiteX240" fmla="*/ 7157528 w 9240942"/>
              <a:gd name="connsiteY240" fmla="*/ 6125411 h 8714439"/>
              <a:gd name="connsiteX241" fmla="*/ 7139872 w 9240942"/>
              <a:gd name="connsiteY241" fmla="*/ 6121882 h 8714439"/>
              <a:gd name="connsiteX242" fmla="*/ 7157528 w 9240942"/>
              <a:gd name="connsiteY242" fmla="*/ 6125411 h 8714439"/>
              <a:gd name="connsiteX243" fmla="*/ 7144205 w 9240942"/>
              <a:gd name="connsiteY243" fmla="*/ 6153062 h 8714439"/>
              <a:gd name="connsiteX244" fmla="*/ 7102593 w 9240942"/>
              <a:gd name="connsiteY244" fmla="*/ 6147229 h 8714439"/>
              <a:gd name="connsiteX245" fmla="*/ 7109956 w 9240942"/>
              <a:gd name="connsiteY245" fmla="*/ 6181998 h 8714439"/>
              <a:gd name="connsiteX246" fmla="*/ 7095686 w 9240942"/>
              <a:gd name="connsiteY246" fmla="*/ 6194053 h 8714439"/>
              <a:gd name="connsiteX247" fmla="*/ 7067094 w 9240942"/>
              <a:gd name="connsiteY247" fmla="*/ 6183369 h 8714439"/>
              <a:gd name="connsiteX248" fmla="*/ 7029992 w 9240942"/>
              <a:gd name="connsiteY248" fmla="*/ 6214714 h 8714439"/>
              <a:gd name="connsiteX249" fmla="*/ 7027492 w 9240942"/>
              <a:gd name="connsiteY249" fmla="*/ 6229124 h 8714439"/>
              <a:gd name="connsiteX250" fmla="*/ 6999722 w 9240942"/>
              <a:gd name="connsiteY250" fmla="*/ 6262832 h 8714439"/>
              <a:gd name="connsiteX251" fmla="*/ 7011847 w 9240942"/>
              <a:gd name="connsiteY251" fmla="*/ 6277182 h 8714439"/>
              <a:gd name="connsiteX252" fmla="*/ 6993472 w 9240942"/>
              <a:gd name="connsiteY252" fmla="*/ 6298855 h 8714439"/>
              <a:gd name="connsiteX253" fmla="*/ 6959474 w 9240942"/>
              <a:gd name="connsiteY253" fmla="*/ 6270192 h 8714439"/>
              <a:gd name="connsiteX254" fmla="*/ 6953880 w 9240942"/>
              <a:gd name="connsiteY254" fmla="*/ 6295413 h 8714439"/>
              <a:gd name="connsiteX255" fmla="*/ 6931048 w 9240942"/>
              <a:gd name="connsiteY255" fmla="*/ 6314703 h 8714439"/>
              <a:gd name="connsiteX256" fmla="*/ 6925871 w 9240942"/>
              <a:gd name="connsiteY256" fmla="*/ 6337521 h 8714439"/>
              <a:gd name="connsiteX257" fmla="*/ 6903039 w 9240942"/>
              <a:gd name="connsiteY257" fmla="*/ 6356812 h 8714439"/>
              <a:gd name="connsiteX258" fmla="*/ 6881102 w 9240942"/>
              <a:gd name="connsiteY258" fmla="*/ 6356899 h 8714439"/>
              <a:gd name="connsiteX259" fmla="*/ 6851666 w 9240942"/>
              <a:gd name="connsiteY259" fmla="*/ 6400214 h 8714439"/>
              <a:gd name="connsiteX260" fmla="*/ 6821636 w 9240942"/>
              <a:gd name="connsiteY260" fmla="*/ 6439931 h 8714439"/>
              <a:gd name="connsiteX261" fmla="*/ 6798336 w 9240942"/>
              <a:gd name="connsiteY261" fmla="*/ 6426825 h 8714439"/>
              <a:gd name="connsiteX262" fmla="*/ 6783232 w 9240942"/>
              <a:gd name="connsiteY262" fmla="*/ 6443684 h 8714439"/>
              <a:gd name="connsiteX263" fmla="*/ 6790835 w 9240942"/>
              <a:gd name="connsiteY263" fmla="*/ 6470052 h 8714439"/>
              <a:gd name="connsiteX264" fmla="*/ 6768899 w 9240942"/>
              <a:gd name="connsiteY264" fmla="*/ 6470140 h 8714439"/>
              <a:gd name="connsiteX265" fmla="*/ 6744640 w 9240942"/>
              <a:gd name="connsiteY265" fmla="*/ 6490636 h 8714439"/>
              <a:gd name="connsiteX266" fmla="*/ 6721151 w 9240942"/>
              <a:gd name="connsiteY266" fmla="*/ 6520727 h 8714439"/>
              <a:gd name="connsiteX267" fmla="*/ 6705756 w 9240942"/>
              <a:gd name="connsiteY267" fmla="*/ 6511189 h 8714439"/>
              <a:gd name="connsiteX268" fmla="*/ 6656530 w 9240942"/>
              <a:gd name="connsiteY268" fmla="*/ 6528185 h 8714439"/>
              <a:gd name="connsiteX269" fmla="*/ 6649926 w 9240942"/>
              <a:gd name="connsiteY269" fmla="*/ 6552209 h 8714439"/>
              <a:gd name="connsiteX270" fmla="*/ 6628520 w 9240942"/>
              <a:gd name="connsiteY270" fmla="*/ 6570294 h 8714439"/>
              <a:gd name="connsiteX271" fmla="*/ 6558608 w 9240942"/>
              <a:gd name="connsiteY271" fmla="*/ 6580172 h 8714439"/>
              <a:gd name="connsiteX272" fmla="*/ 6568169 w 9240942"/>
              <a:gd name="connsiteY272" fmla="*/ 6623331 h 8714439"/>
              <a:gd name="connsiteX273" fmla="*/ 6546233 w 9240942"/>
              <a:gd name="connsiteY273" fmla="*/ 6623419 h 8714439"/>
              <a:gd name="connsiteX274" fmla="*/ 6541472 w 9240942"/>
              <a:gd name="connsiteY274" fmla="*/ 6643836 h 8714439"/>
              <a:gd name="connsiteX275" fmla="*/ 6520547 w 9240942"/>
              <a:gd name="connsiteY275" fmla="*/ 6645119 h 8714439"/>
              <a:gd name="connsiteX276" fmla="*/ 6488621 w 9240942"/>
              <a:gd name="connsiteY276" fmla="*/ 6653647 h 8714439"/>
              <a:gd name="connsiteX277" fmla="*/ 6478684 w 9240942"/>
              <a:gd name="connsiteY277" fmla="*/ 6696884 h 8714439"/>
              <a:gd name="connsiteX278" fmla="*/ 6465840 w 9240942"/>
              <a:gd name="connsiteY278" fmla="*/ 6707734 h 8714439"/>
              <a:gd name="connsiteX279" fmla="*/ 6438602 w 9240942"/>
              <a:gd name="connsiteY279" fmla="*/ 6759440 h 8714439"/>
              <a:gd name="connsiteX280" fmla="*/ 6432477 w 9240942"/>
              <a:gd name="connsiteY280" fmla="*/ 6766663 h 8714439"/>
              <a:gd name="connsiteX281" fmla="*/ 6418863 w 9240942"/>
              <a:gd name="connsiteY281" fmla="*/ 6767918 h 8714439"/>
              <a:gd name="connsiteX282" fmla="*/ 6400134 w 9240942"/>
              <a:gd name="connsiteY282" fmla="*/ 6777592 h 8714439"/>
              <a:gd name="connsiteX283" fmla="*/ 6362033 w 9240942"/>
              <a:gd name="connsiteY283" fmla="*/ 6758546 h 8714439"/>
              <a:gd name="connsiteX284" fmla="*/ 6381584 w 9240942"/>
              <a:gd name="connsiteY284" fmla="*/ 6793265 h 8714439"/>
              <a:gd name="connsiteX285" fmla="*/ 6346742 w 9240942"/>
              <a:gd name="connsiteY285" fmla="*/ 6818602 h 8714439"/>
              <a:gd name="connsiteX286" fmla="*/ 6348054 w 9240942"/>
              <a:gd name="connsiteY286" fmla="*/ 6796998 h 8714439"/>
              <a:gd name="connsiteX287" fmla="*/ 6328316 w 9240942"/>
              <a:gd name="connsiteY287" fmla="*/ 6805477 h 8714439"/>
              <a:gd name="connsiteX288" fmla="*/ 6323139 w 9240942"/>
              <a:gd name="connsiteY288" fmla="*/ 6828296 h 8714439"/>
              <a:gd name="connsiteX289" fmla="*/ 6299775 w 9240942"/>
              <a:gd name="connsiteY289" fmla="*/ 6829589 h 8714439"/>
              <a:gd name="connsiteX290" fmla="*/ 6302795 w 9240942"/>
              <a:gd name="connsiteY290" fmla="*/ 6882373 h 8714439"/>
              <a:gd name="connsiteX291" fmla="*/ 6262547 w 9240942"/>
              <a:gd name="connsiteY291" fmla="*/ 6889733 h 8714439"/>
              <a:gd name="connsiteX292" fmla="*/ 6246142 w 9240942"/>
              <a:gd name="connsiteY292" fmla="*/ 6879000 h 8714439"/>
              <a:gd name="connsiteX293" fmla="*/ 6229195 w 9240942"/>
              <a:gd name="connsiteY293" fmla="*/ 6899467 h 8714439"/>
              <a:gd name="connsiteX294" fmla="*/ 6246850 w 9240942"/>
              <a:gd name="connsiteY294" fmla="*/ 6902995 h 8714439"/>
              <a:gd name="connsiteX295" fmla="*/ 6224663 w 9240942"/>
              <a:gd name="connsiteY295" fmla="*/ 6960679 h 8714439"/>
              <a:gd name="connsiteX296" fmla="*/ 6185009 w 9240942"/>
              <a:gd name="connsiteY296" fmla="*/ 6971637 h 8714439"/>
              <a:gd name="connsiteX297" fmla="*/ 6167594 w 9240942"/>
              <a:gd name="connsiteY297" fmla="*/ 6959708 h 8714439"/>
              <a:gd name="connsiteX298" fmla="*/ 6160573 w 9240942"/>
              <a:gd name="connsiteY298" fmla="*/ 6986134 h 8714439"/>
              <a:gd name="connsiteX299" fmla="*/ 6123470 w 9240942"/>
              <a:gd name="connsiteY299" fmla="*/ 7017480 h 8714439"/>
              <a:gd name="connsiteX300" fmla="*/ 6131074 w 9240942"/>
              <a:gd name="connsiteY300" fmla="*/ 7043849 h 8714439"/>
              <a:gd name="connsiteX301" fmla="*/ 6115376 w 9240942"/>
              <a:gd name="connsiteY301" fmla="*/ 7057109 h 8714439"/>
              <a:gd name="connsiteX302" fmla="*/ 6064847 w 9240942"/>
              <a:gd name="connsiteY302" fmla="*/ 7046513 h 8714439"/>
              <a:gd name="connsiteX303" fmla="*/ 6051765 w 9240942"/>
              <a:gd name="connsiteY303" fmla="*/ 7065764 h 8714439"/>
              <a:gd name="connsiteX304" fmla="*/ 6076139 w 9240942"/>
              <a:gd name="connsiteY304" fmla="*/ 7065667 h 8714439"/>
              <a:gd name="connsiteX305" fmla="*/ 6062640 w 9240942"/>
              <a:gd name="connsiteY305" fmla="*/ 7087318 h 8714439"/>
              <a:gd name="connsiteX306" fmla="*/ 6019601 w 9240942"/>
              <a:gd name="connsiteY306" fmla="*/ 7082691 h 8714439"/>
              <a:gd name="connsiteX307" fmla="*/ 6015850 w 9240942"/>
              <a:gd name="connsiteY307" fmla="*/ 7104305 h 8714439"/>
              <a:gd name="connsiteX308" fmla="*/ 5986779 w 9240942"/>
              <a:gd name="connsiteY308" fmla="*/ 7110420 h 8714439"/>
              <a:gd name="connsiteX309" fmla="*/ 5975060 w 9240942"/>
              <a:gd name="connsiteY309" fmla="*/ 7142864 h 8714439"/>
              <a:gd name="connsiteX310" fmla="*/ 5956155 w 9240942"/>
              <a:gd name="connsiteY310" fmla="*/ 7146540 h 8714439"/>
              <a:gd name="connsiteX311" fmla="*/ 5929283 w 9240942"/>
              <a:gd name="connsiteY311" fmla="*/ 7161046 h 8714439"/>
              <a:gd name="connsiteX312" fmla="*/ 5910970 w 9240942"/>
              <a:gd name="connsiteY312" fmla="*/ 7168319 h 8714439"/>
              <a:gd name="connsiteX313" fmla="*/ 5912283 w 9240942"/>
              <a:gd name="connsiteY313" fmla="*/ 7146716 h 8714439"/>
              <a:gd name="connsiteX314" fmla="*/ 5884045 w 9240942"/>
              <a:gd name="connsiteY314" fmla="*/ 7148028 h 8714439"/>
              <a:gd name="connsiteX315" fmla="*/ 5894502 w 9240942"/>
              <a:gd name="connsiteY315" fmla="*/ 7171984 h 8714439"/>
              <a:gd name="connsiteX316" fmla="*/ 5897887 w 9240942"/>
              <a:gd name="connsiteY316" fmla="*/ 7187570 h 8714439"/>
              <a:gd name="connsiteX317" fmla="*/ 5850744 w 9240942"/>
              <a:gd name="connsiteY317" fmla="*/ 7192558 h 8714439"/>
              <a:gd name="connsiteX318" fmla="*/ 5849369 w 9240942"/>
              <a:gd name="connsiteY318" fmla="*/ 7228561 h 8714439"/>
              <a:gd name="connsiteX319" fmla="*/ 5802174 w 9240942"/>
              <a:gd name="connsiteY319" fmla="*/ 7198752 h 8714439"/>
              <a:gd name="connsiteX320" fmla="*/ 5818631 w 9240942"/>
              <a:gd name="connsiteY320" fmla="*/ 7244283 h 8714439"/>
              <a:gd name="connsiteX321" fmla="*/ 5823797 w 9240942"/>
              <a:gd name="connsiteY321" fmla="*/ 7270660 h 8714439"/>
              <a:gd name="connsiteX322" fmla="*/ 5787174 w 9240942"/>
              <a:gd name="connsiteY322" fmla="*/ 7285206 h 8714439"/>
              <a:gd name="connsiteX323" fmla="*/ 5796204 w 9240942"/>
              <a:gd name="connsiteY323" fmla="*/ 7310368 h 8714439"/>
              <a:gd name="connsiteX324" fmla="*/ 5747040 w 9240942"/>
              <a:gd name="connsiteY324" fmla="*/ 7312964 h 8714439"/>
              <a:gd name="connsiteX325" fmla="*/ 5746258 w 9240942"/>
              <a:gd name="connsiteY325" fmla="*/ 7352565 h 8714439"/>
              <a:gd name="connsiteX326" fmla="*/ 5718197 w 9240942"/>
              <a:gd name="connsiteY326" fmla="*/ 7359876 h 8714439"/>
              <a:gd name="connsiteX327" fmla="*/ 5723551 w 9240942"/>
              <a:gd name="connsiteY327" fmla="*/ 7343056 h 8714439"/>
              <a:gd name="connsiteX328" fmla="*/ 5718197 w 9240942"/>
              <a:gd name="connsiteY328" fmla="*/ 7359876 h 8714439"/>
              <a:gd name="connsiteX329" fmla="*/ 5698699 w 9240942"/>
              <a:gd name="connsiteY329" fmla="*/ 7359954 h 8714439"/>
              <a:gd name="connsiteX330" fmla="*/ 5684313 w 9240942"/>
              <a:gd name="connsiteY330" fmla="*/ 7351612 h 8714439"/>
              <a:gd name="connsiteX331" fmla="*/ 5660054 w 9240942"/>
              <a:gd name="connsiteY331" fmla="*/ 7372107 h 8714439"/>
              <a:gd name="connsiteX332" fmla="*/ 5642086 w 9240942"/>
              <a:gd name="connsiteY332" fmla="*/ 7440574 h 8714439"/>
              <a:gd name="connsiteX333" fmla="*/ 5563497 w 9240942"/>
              <a:gd name="connsiteY333" fmla="*/ 7437289 h 8714439"/>
              <a:gd name="connsiteX334" fmla="*/ 5557247 w 9240942"/>
              <a:gd name="connsiteY334" fmla="*/ 7473310 h 8714439"/>
              <a:gd name="connsiteX335" fmla="*/ 5543091 w 9240942"/>
              <a:gd name="connsiteY335" fmla="*/ 7505766 h 8714439"/>
              <a:gd name="connsiteX336" fmla="*/ 5500229 w 9240942"/>
              <a:gd name="connsiteY336" fmla="*/ 7507137 h 8714439"/>
              <a:gd name="connsiteX337" fmla="*/ 5494458 w 9240942"/>
              <a:gd name="connsiteY337" fmla="*/ 7526358 h 8714439"/>
              <a:gd name="connsiteX338" fmla="*/ 5488156 w 9240942"/>
              <a:gd name="connsiteY338" fmla="*/ 7527584 h 8714439"/>
              <a:gd name="connsiteX339" fmla="*/ 5419243 w 9240942"/>
              <a:gd name="connsiteY339" fmla="*/ 7587855 h 8714439"/>
              <a:gd name="connsiteX340" fmla="*/ 5395525 w 9240942"/>
              <a:gd name="connsiteY340" fmla="*/ 7577150 h 8714439"/>
              <a:gd name="connsiteX341" fmla="*/ 5394452 w 9240942"/>
              <a:gd name="connsiteY341" fmla="*/ 7590353 h 8714439"/>
              <a:gd name="connsiteX342" fmla="*/ 5399681 w 9240942"/>
              <a:gd name="connsiteY342" fmla="*/ 7602332 h 8714439"/>
              <a:gd name="connsiteX343" fmla="*/ 5392723 w 9240942"/>
              <a:gd name="connsiteY343" fmla="*/ 7614358 h 8714439"/>
              <a:gd name="connsiteX344" fmla="*/ 5379589 w 9240942"/>
              <a:gd name="connsiteY344" fmla="*/ 7598813 h 8714439"/>
              <a:gd name="connsiteX345" fmla="*/ 5369006 w 9240942"/>
              <a:gd name="connsiteY345" fmla="*/ 7603654 h 8714439"/>
              <a:gd name="connsiteX346" fmla="*/ 5368173 w 9240942"/>
              <a:gd name="connsiteY346" fmla="*/ 7608456 h 8714439"/>
              <a:gd name="connsiteX347" fmla="*/ 5381307 w 9240942"/>
              <a:gd name="connsiteY347" fmla="*/ 7624003 h 8714439"/>
              <a:gd name="connsiteX348" fmla="*/ 5368287 w 9240942"/>
              <a:gd name="connsiteY348" fmla="*/ 7628856 h 8714439"/>
              <a:gd name="connsiteX349" fmla="*/ 5344570 w 9240942"/>
              <a:gd name="connsiteY349" fmla="*/ 7618151 h 8714439"/>
              <a:gd name="connsiteX350" fmla="*/ 5331904 w 9240942"/>
              <a:gd name="connsiteY350" fmla="*/ 7635000 h 8714439"/>
              <a:gd name="connsiteX351" fmla="*/ 5343725 w 9240942"/>
              <a:gd name="connsiteY351" fmla="*/ 7672150 h 8714439"/>
              <a:gd name="connsiteX352" fmla="*/ 5318998 w 9240942"/>
              <a:gd name="connsiteY352" fmla="*/ 7660250 h 8714439"/>
              <a:gd name="connsiteX353" fmla="*/ 5233375 w 9240942"/>
              <a:gd name="connsiteY353" fmla="*/ 7732587 h 8714439"/>
              <a:gd name="connsiteX354" fmla="*/ 5213878 w 9240942"/>
              <a:gd name="connsiteY354" fmla="*/ 7732665 h 8714439"/>
              <a:gd name="connsiteX355" fmla="*/ 5191930 w 9240942"/>
              <a:gd name="connsiteY355" fmla="*/ 7781949 h 8714439"/>
              <a:gd name="connsiteX356" fmla="*/ 5150849 w 9240942"/>
              <a:gd name="connsiteY356" fmla="*/ 7794112 h 8714439"/>
              <a:gd name="connsiteX357" fmla="*/ 5136881 w 9240942"/>
              <a:gd name="connsiteY357" fmla="*/ 7783369 h 8714439"/>
              <a:gd name="connsiteX358" fmla="*/ 5090091 w 9240942"/>
              <a:gd name="connsiteY358" fmla="*/ 7800355 h 8714439"/>
              <a:gd name="connsiteX359" fmla="*/ 5084019 w 9240942"/>
              <a:gd name="connsiteY359" fmla="*/ 7842376 h 8714439"/>
              <a:gd name="connsiteX360" fmla="*/ 5057334 w 9240942"/>
              <a:gd name="connsiteY360" fmla="*/ 7813685 h 8714439"/>
              <a:gd name="connsiteX361" fmla="*/ 5033844 w 9240942"/>
              <a:gd name="connsiteY361" fmla="*/ 7843776 h 8714439"/>
              <a:gd name="connsiteX362" fmla="*/ 5019220 w 9240942"/>
              <a:gd name="connsiteY362" fmla="*/ 7843835 h 8714439"/>
              <a:gd name="connsiteX363" fmla="*/ 5017366 w 9240942"/>
              <a:gd name="connsiteY363" fmla="*/ 7896638 h 8714439"/>
              <a:gd name="connsiteX364" fmla="*/ 4996857 w 9240942"/>
              <a:gd name="connsiteY364" fmla="*/ 7895520 h 8714439"/>
              <a:gd name="connsiteX365" fmla="*/ 4992096 w 9240942"/>
              <a:gd name="connsiteY365" fmla="*/ 7915938 h 8714439"/>
              <a:gd name="connsiteX366" fmla="*/ 4942151 w 9240942"/>
              <a:gd name="connsiteY366" fmla="*/ 7958135 h 8714439"/>
              <a:gd name="connsiteX367" fmla="*/ 4934839 w 9240942"/>
              <a:gd name="connsiteY367" fmla="*/ 7958164 h 8714439"/>
              <a:gd name="connsiteX368" fmla="*/ 4937162 w 9240942"/>
              <a:gd name="connsiteY368" fmla="*/ 7937756 h 8714439"/>
              <a:gd name="connsiteX369" fmla="*/ 4912486 w 9240942"/>
              <a:gd name="connsiteY369" fmla="*/ 7960653 h 8714439"/>
              <a:gd name="connsiteX370" fmla="*/ 4881987 w 9240942"/>
              <a:gd name="connsiteY370" fmla="*/ 7967974 h 8714439"/>
              <a:gd name="connsiteX371" fmla="*/ 4851615 w 9240942"/>
              <a:gd name="connsiteY371" fmla="*/ 7946497 h 8714439"/>
              <a:gd name="connsiteX372" fmla="*/ 4838771 w 9240942"/>
              <a:gd name="connsiteY372" fmla="*/ 7957348 h 8714439"/>
              <a:gd name="connsiteX373" fmla="*/ 4810180 w 9240942"/>
              <a:gd name="connsiteY373" fmla="*/ 7946663 h 8714439"/>
              <a:gd name="connsiteX374" fmla="*/ 4834542 w 9240942"/>
              <a:gd name="connsiteY374" fmla="*/ 7995762 h 8714439"/>
              <a:gd name="connsiteX375" fmla="*/ 4827938 w 9240942"/>
              <a:gd name="connsiteY375" fmla="*/ 8019787 h 8714439"/>
              <a:gd name="connsiteX376" fmla="*/ 4801835 w 9240942"/>
              <a:gd name="connsiteY376" fmla="*/ 8043889 h 8714439"/>
              <a:gd name="connsiteX377" fmla="*/ 4807115 w 9240942"/>
              <a:gd name="connsiteY377" fmla="*/ 8090665 h 8714439"/>
              <a:gd name="connsiteX378" fmla="*/ 4786188 w 9240942"/>
              <a:gd name="connsiteY378" fmla="*/ 8091948 h 8714439"/>
              <a:gd name="connsiteX379" fmla="*/ 4726254 w 9240942"/>
              <a:gd name="connsiteY379" fmla="*/ 8142584 h 8714439"/>
              <a:gd name="connsiteX380" fmla="*/ 4674059 w 9240942"/>
              <a:gd name="connsiteY380" fmla="*/ 8141593 h 8714439"/>
              <a:gd name="connsiteX381" fmla="*/ 4676383 w 9240942"/>
              <a:gd name="connsiteY381" fmla="*/ 8121185 h 8714439"/>
              <a:gd name="connsiteX382" fmla="*/ 4662238 w 9240942"/>
              <a:gd name="connsiteY382" fmla="*/ 8104444 h 8714439"/>
              <a:gd name="connsiteX383" fmla="*/ 4655113 w 9240942"/>
              <a:gd name="connsiteY383" fmla="*/ 8061275 h 8714439"/>
              <a:gd name="connsiteX384" fmla="*/ 4663145 w 9240942"/>
              <a:gd name="connsiteY384" fmla="*/ 8036044 h 8714439"/>
              <a:gd name="connsiteX385" fmla="*/ 4586085 w 9240942"/>
              <a:gd name="connsiteY385" fmla="*/ 8101148 h 8714439"/>
              <a:gd name="connsiteX386" fmla="*/ 4562722 w 9240942"/>
              <a:gd name="connsiteY386" fmla="*/ 8102441 h 8714439"/>
              <a:gd name="connsiteX387" fmla="*/ 4570566 w 9240942"/>
              <a:gd name="connsiteY387" fmla="*/ 8120408 h 8714439"/>
              <a:gd name="connsiteX388" fmla="*/ 4613011 w 9240942"/>
              <a:gd name="connsiteY388" fmla="*/ 8121439 h 8714439"/>
              <a:gd name="connsiteX389" fmla="*/ 4605271 w 9240942"/>
              <a:gd name="connsiteY389" fmla="*/ 8173067 h 8714439"/>
              <a:gd name="connsiteX390" fmla="*/ 4575303 w 9240942"/>
              <a:gd name="connsiteY390" fmla="*/ 8198384 h 8714439"/>
              <a:gd name="connsiteX391" fmla="*/ 4577376 w 9240942"/>
              <a:gd name="connsiteY391" fmla="*/ 8235573 h 8714439"/>
              <a:gd name="connsiteX392" fmla="*/ 4556867 w 9240942"/>
              <a:gd name="connsiteY392" fmla="*/ 8234455 h 8714439"/>
              <a:gd name="connsiteX393" fmla="*/ 4543128 w 9240942"/>
              <a:gd name="connsiteY393" fmla="*/ 8264508 h 8714439"/>
              <a:gd name="connsiteX394" fmla="*/ 4517327 w 9240942"/>
              <a:gd name="connsiteY394" fmla="*/ 8265811 h 8714439"/>
              <a:gd name="connsiteX395" fmla="*/ 4493068 w 9240942"/>
              <a:gd name="connsiteY395" fmla="*/ 8286306 h 8714439"/>
              <a:gd name="connsiteX396" fmla="*/ 4489735 w 9240942"/>
              <a:gd name="connsiteY396" fmla="*/ 8305518 h 8714439"/>
              <a:gd name="connsiteX397" fmla="*/ 4461080 w 9240942"/>
              <a:gd name="connsiteY397" fmla="*/ 8309232 h 8714439"/>
              <a:gd name="connsiteX398" fmla="*/ 4448945 w 9240942"/>
              <a:gd name="connsiteY398" fmla="*/ 8344078 h 8714439"/>
              <a:gd name="connsiteX399" fmla="*/ 4416009 w 9240942"/>
              <a:gd name="connsiteY399" fmla="*/ 8351409 h 8714439"/>
              <a:gd name="connsiteX400" fmla="*/ 4373084 w 9240942"/>
              <a:gd name="connsiteY400" fmla="*/ 8367180 h 8714439"/>
              <a:gd name="connsiteX401" fmla="*/ 4324566 w 9240942"/>
              <a:gd name="connsiteY401" fmla="*/ 8408171 h 8714439"/>
              <a:gd name="connsiteX402" fmla="*/ 4306077 w 9240942"/>
              <a:gd name="connsiteY402" fmla="*/ 8409445 h 8714439"/>
              <a:gd name="connsiteX403" fmla="*/ 4301317 w 9240942"/>
              <a:gd name="connsiteY403" fmla="*/ 8429862 h 8714439"/>
              <a:gd name="connsiteX404" fmla="*/ 4265641 w 9240942"/>
              <a:gd name="connsiteY404" fmla="*/ 8460003 h 8714439"/>
              <a:gd name="connsiteX405" fmla="*/ 4229914 w 9240942"/>
              <a:gd name="connsiteY405" fmla="*/ 8455346 h 8714439"/>
              <a:gd name="connsiteX406" fmla="*/ 4222967 w 9240942"/>
              <a:gd name="connsiteY406" fmla="*/ 8418176 h 8714439"/>
              <a:gd name="connsiteX407" fmla="*/ 4185751 w 9240942"/>
              <a:gd name="connsiteY407" fmla="*/ 8429124 h 8714439"/>
              <a:gd name="connsiteX408" fmla="*/ 4203771 w 9240942"/>
              <a:gd name="connsiteY408" fmla="*/ 8395455 h 8714439"/>
              <a:gd name="connsiteX409" fmla="*/ 4184511 w 9240942"/>
              <a:gd name="connsiteY409" fmla="*/ 8387132 h 8714439"/>
              <a:gd name="connsiteX410" fmla="*/ 4093183 w 9240942"/>
              <a:gd name="connsiteY410" fmla="*/ 8464291 h 8714439"/>
              <a:gd name="connsiteX411" fmla="*/ 4078736 w 9240942"/>
              <a:gd name="connsiteY411" fmla="*/ 8470349 h 8714439"/>
              <a:gd name="connsiteX412" fmla="*/ 4057873 w 9240942"/>
              <a:gd name="connsiteY412" fmla="*/ 8457234 h 8714439"/>
              <a:gd name="connsiteX413" fmla="*/ 4052279 w 9240942"/>
              <a:gd name="connsiteY413" fmla="*/ 8482454 h 8714439"/>
              <a:gd name="connsiteX414" fmla="*/ 3945252 w 9240942"/>
              <a:gd name="connsiteY414" fmla="*/ 8572875 h 8714439"/>
              <a:gd name="connsiteX415" fmla="*/ 3938055 w 9240942"/>
              <a:gd name="connsiteY415" fmla="*/ 8593303 h 8714439"/>
              <a:gd name="connsiteX416" fmla="*/ 3900483 w 9240942"/>
              <a:gd name="connsiteY416" fmla="*/ 8592253 h 8714439"/>
              <a:gd name="connsiteX417" fmla="*/ 3887754 w 9240942"/>
              <a:gd name="connsiteY417" fmla="*/ 8623502 h 8714439"/>
              <a:gd name="connsiteX418" fmla="*/ 3861954 w 9240942"/>
              <a:gd name="connsiteY418" fmla="*/ 8624805 h 8714439"/>
              <a:gd name="connsiteX419" fmla="*/ 3857788 w 9240942"/>
              <a:gd name="connsiteY419" fmla="*/ 8648819 h 8714439"/>
              <a:gd name="connsiteX420" fmla="*/ 3792510 w 9240942"/>
              <a:gd name="connsiteY420" fmla="*/ 8667079 h 8714439"/>
              <a:gd name="connsiteX421" fmla="*/ 3789593 w 9240942"/>
              <a:gd name="connsiteY421" fmla="*/ 8683890 h 8714439"/>
              <a:gd name="connsiteX422" fmla="*/ 3768667 w 9240942"/>
              <a:gd name="connsiteY422" fmla="*/ 8685174 h 8714439"/>
              <a:gd name="connsiteX423" fmla="*/ 3744408 w 9240942"/>
              <a:gd name="connsiteY423" fmla="*/ 8705669 h 8714439"/>
              <a:gd name="connsiteX424" fmla="*/ 3722472 w 9240942"/>
              <a:gd name="connsiteY424" fmla="*/ 8705756 h 8714439"/>
              <a:gd name="connsiteX425" fmla="*/ 3713910 w 9240942"/>
              <a:gd name="connsiteY425" fmla="*/ 8712990 h 8714439"/>
              <a:gd name="connsiteX426" fmla="*/ 3651549 w 9240942"/>
              <a:gd name="connsiteY426" fmla="*/ 8714439 h 8714439"/>
              <a:gd name="connsiteX427" fmla="*/ 3608749 w 9240942"/>
              <a:gd name="connsiteY427" fmla="*/ 8701411 h 8714439"/>
              <a:gd name="connsiteX428" fmla="*/ 3610000 w 9240942"/>
              <a:gd name="connsiteY428" fmla="*/ 8694207 h 8714439"/>
              <a:gd name="connsiteX429" fmla="*/ 3634259 w 9240942"/>
              <a:gd name="connsiteY429" fmla="*/ 8673711 h 8714439"/>
              <a:gd name="connsiteX430" fmla="*/ 3653757 w 9240942"/>
              <a:gd name="connsiteY430" fmla="*/ 8673633 h 8714439"/>
              <a:gd name="connsiteX431" fmla="*/ 3673913 w 9240942"/>
              <a:gd name="connsiteY431" fmla="*/ 8662754 h 8714439"/>
              <a:gd name="connsiteX432" fmla="*/ 3693348 w 9240942"/>
              <a:gd name="connsiteY432" fmla="*/ 8677075 h 8714439"/>
              <a:gd name="connsiteX433" fmla="*/ 3716181 w 9240942"/>
              <a:gd name="connsiteY433" fmla="*/ 8657785 h 8714439"/>
              <a:gd name="connsiteX434" fmla="*/ 3747690 w 9240942"/>
              <a:gd name="connsiteY434" fmla="*/ 8651659 h 8714439"/>
              <a:gd name="connsiteX435" fmla="*/ 3829030 w 9240942"/>
              <a:gd name="connsiteY435" fmla="*/ 8582939 h 8714439"/>
              <a:gd name="connsiteX436" fmla="*/ 3873621 w 9240942"/>
              <a:gd name="connsiteY436" fmla="*/ 8557563 h 8714439"/>
              <a:gd name="connsiteX437" fmla="*/ 3875111 w 9240942"/>
              <a:gd name="connsiteY437" fmla="*/ 8541958 h 8714439"/>
              <a:gd name="connsiteX438" fmla="*/ 3896037 w 9240942"/>
              <a:gd name="connsiteY438" fmla="*/ 8540674 h 8714439"/>
              <a:gd name="connsiteX439" fmla="*/ 3877434 w 9240942"/>
              <a:gd name="connsiteY439" fmla="*/ 8521550 h 8714439"/>
              <a:gd name="connsiteX440" fmla="*/ 3854602 w 9240942"/>
              <a:gd name="connsiteY440" fmla="*/ 8540840 h 8714439"/>
              <a:gd name="connsiteX441" fmla="*/ 3833676 w 9240942"/>
              <a:gd name="connsiteY441" fmla="*/ 8542124 h 8714439"/>
              <a:gd name="connsiteX442" fmla="*/ 3832186 w 9240942"/>
              <a:gd name="connsiteY442" fmla="*/ 8557728 h 8714439"/>
              <a:gd name="connsiteX443" fmla="*/ 3799428 w 9240942"/>
              <a:gd name="connsiteY443" fmla="*/ 8571058 h 8714439"/>
              <a:gd name="connsiteX444" fmla="*/ 3772971 w 9240942"/>
              <a:gd name="connsiteY444" fmla="*/ 8583163 h 8714439"/>
              <a:gd name="connsiteX445" fmla="*/ 3739379 w 9240942"/>
              <a:gd name="connsiteY445" fmla="*/ 8601296 h 8714439"/>
              <a:gd name="connsiteX446" fmla="*/ 3696517 w 9240942"/>
              <a:gd name="connsiteY446" fmla="*/ 8602668 h 8714439"/>
              <a:gd name="connsiteX447" fmla="*/ 3625166 w 9240942"/>
              <a:gd name="connsiteY447" fmla="*/ 8662948 h 8714439"/>
              <a:gd name="connsiteX448" fmla="*/ 3586824 w 9240942"/>
              <a:gd name="connsiteY448" fmla="*/ 8652302 h 8714439"/>
              <a:gd name="connsiteX449" fmla="*/ 3554368 w 9240942"/>
              <a:gd name="connsiteY449" fmla="*/ 8642834 h 8714439"/>
              <a:gd name="connsiteX450" fmla="*/ 3519235 w 9240942"/>
              <a:gd name="connsiteY450" fmla="*/ 8641773 h 8714439"/>
              <a:gd name="connsiteX451" fmla="*/ 3466988 w 9240942"/>
              <a:gd name="connsiteY451" fmla="*/ 8605985 h 8714439"/>
              <a:gd name="connsiteX452" fmla="*/ 3490135 w 9240942"/>
              <a:gd name="connsiteY452" fmla="*/ 8514699 h 8714439"/>
              <a:gd name="connsiteX453" fmla="*/ 3473313 w 9240942"/>
              <a:gd name="connsiteY453" fmla="*/ 8506367 h 8714439"/>
              <a:gd name="connsiteX454" fmla="*/ 3427648 w 9240942"/>
              <a:gd name="connsiteY454" fmla="*/ 8544946 h 8714439"/>
              <a:gd name="connsiteX455" fmla="*/ 3396733 w 9240942"/>
              <a:gd name="connsiteY455" fmla="*/ 8554669 h 8714439"/>
              <a:gd name="connsiteX456" fmla="*/ 3370402 w 9240942"/>
              <a:gd name="connsiteY456" fmla="*/ 8537976 h 8714439"/>
              <a:gd name="connsiteX457" fmla="*/ 3346685 w 9240942"/>
              <a:gd name="connsiteY457" fmla="*/ 8527271 h 8714439"/>
              <a:gd name="connsiteX458" fmla="*/ 3319571 w 9240942"/>
              <a:gd name="connsiteY458" fmla="*/ 8550178 h 8714439"/>
              <a:gd name="connsiteX459" fmla="*/ 3320342 w 9240942"/>
              <a:gd name="connsiteY459" fmla="*/ 8559774 h 8714439"/>
              <a:gd name="connsiteX460" fmla="*/ 3379609 w 9240942"/>
              <a:gd name="connsiteY460" fmla="*/ 8569137 h 8714439"/>
              <a:gd name="connsiteX461" fmla="*/ 3396733 w 9240942"/>
              <a:gd name="connsiteY461" fmla="*/ 8554669 h 8714439"/>
              <a:gd name="connsiteX462" fmla="*/ 3400535 w 9240942"/>
              <a:gd name="connsiteY462" fmla="*/ 8567853 h 8714439"/>
              <a:gd name="connsiteX463" fmla="*/ 3359152 w 9240942"/>
              <a:gd name="connsiteY463" fmla="*/ 8602817 h 8714439"/>
              <a:gd name="connsiteX464" fmla="*/ 3303155 w 9240942"/>
              <a:gd name="connsiteY464" fmla="*/ 8588641 h 8714439"/>
              <a:gd name="connsiteX465" fmla="*/ 3276886 w 9240942"/>
              <a:gd name="connsiteY465" fmla="*/ 8557549 h 8714439"/>
              <a:gd name="connsiteX466" fmla="*/ 3278793 w 9240942"/>
              <a:gd name="connsiteY466" fmla="*/ 8539542 h 8714439"/>
              <a:gd name="connsiteX467" fmla="*/ 3259711 w 9240942"/>
              <a:gd name="connsiteY467" fmla="*/ 8537218 h 8714439"/>
              <a:gd name="connsiteX468" fmla="*/ 3233265 w 9240942"/>
              <a:gd name="connsiteY468" fmla="*/ 8500127 h 8714439"/>
              <a:gd name="connsiteX469" fmla="*/ 3261212 w 9240942"/>
              <a:gd name="connsiteY469" fmla="*/ 8472417 h 8714439"/>
              <a:gd name="connsiteX470" fmla="*/ 3252357 w 9240942"/>
              <a:gd name="connsiteY470" fmla="*/ 8453254 h 8714439"/>
              <a:gd name="connsiteX471" fmla="*/ 3256942 w 9240942"/>
              <a:gd name="connsiteY471" fmla="*/ 8426837 h 8714439"/>
              <a:gd name="connsiteX472" fmla="*/ 3290659 w 9240942"/>
              <a:gd name="connsiteY472" fmla="*/ 8379906 h 8714439"/>
              <a:gd name="connsiteX473" fmla="*/ 3326044 w 9240942"/>
              <a:gd name="connsiteY473" fmla="*/ 8323369 h 8714439"/>
              <a:gd name="connsiteX474" fmla="*/ 3312909 w 9240942"/>
              <a:gd name="connsiteY474" fmla="*/ 8307822 h 8714439"/>
              <a:gd name="connsiteX475" fmla="*/ 3281932 w 9240942"/>
              <a:gd name="connsiteY475" fmla="*/ 8331944 h 8714439"/>
              <a:gd name="connsiteX476" fmla="*/ 3256131 w 9240942"/>
              <a:gd name="connsiteY476" fmla="*/ 8333247 h 8714439"/>
              <a:gd name="connsiteX477" fmla="*/ 3228538 w 9240942"/>
              <a:gd name="connsiteY477" fmla="*/ 8372956 h 8714439"/>
              <a:gd name="connsiteX478" fmla="*/ 3194415 w 9240942"/>
              <a:gd name="connsiteY478" fmla="*/ 8373091 h 8714439"/>
              <a:gd name="connsiteX479" fmla="*/ 3180676 w 9240942"/>
              <a:gd name="connsiteY479" fmla="*/ 8403144 h 8714439"/>
              <a:gd name="connsiteX480" fmla="*/ 3153865 w 9240942"/>
              <a:gd name="connsiteY480" fmla="*/ 8403251 h 8714439"/>
              <a:gd name="connsiteX481" fmla="*/ 3129606 w 9240942"/>
              <a:gd name="connsiteY481" fmla="*/ 8423747 h 8714439"/>
              <a:gd name="connsiteX482" fmla="*/ 3068318 w 9240942"/>
              <a:gd name="connsiteY482" fmla="*/ 8411993 h 8714439"/>
              <a:gd name="connsiteX483" fmla="*/ 3081401 w 9240942"/>
              <a:gd name="connsiteY483" fmla="*/ 8392742 h 8714439"/>
              <a:gd name="connsiteX484" fmla="*/ 3125273 w 9240942"/>
              <a:gd name="connsiteY484" fmla="*/ 8392566 h 8714439"/>
              <a:gd name="connsiteX485" fmla="*/ 3141387 w 9240942"/>
              <a:gd name="connsiteY485" fmla="*/ 8376904 h 8714439"/>
              <a:gd name="connsiteX486" fmla="*/ 3120170 w 9240942"/>
              <a:gd name="connsiteY486" fmla="*/ 8351790 h 8714439"/>
              <a:gd name="connsiteX487" fmla="*/ 3064996 w 9240942"/>
              <a:gd name="connsiteY487" fmla="*/ 8382008 h 8714439"/>
              <a:gd name="connsiteX488" fmla="*/ 3027311 w 9240942"/>
              <a:gd name="connsiteY488" fmla="*/ 8360560 h 8714439"/>
              <a:gd name="connsiteX489" fmla="*/ 3010135 w 9240942"/>
              <a:gd name="connsiteY489" fmla="*/ 8340230 h 8714439"/>
              <a:gd name="connsiteX490" fmla="*/ 2992188 w 9240942"/>
              <a:gd name="connsiteY490" fmla="*/ 8310304 h 8714439"/>
              <a:gd name="connsiteX491" fmla="*/ 2796687 w 9240942"/>
              <a:gd name="connsiteY491" fmla="*/ 8475474 h 8714439"/>
              <a:gd name="connsiteX492" fmla="*/ 2771959 w 9240942"/>
              <a:gd name="connsiteY492" fmla="*/ 8463574 h 8714439"/>
              <a:gd name="connsiteX493" fmla="*/ 2760430 w 9240942"/>
              <a:gd name="connsiteY493" fmla="*/ 8452820 h 8714439"/>
              <a:gd name="connsiteX494" fmla="*/ 2783261 w 9240942"/>
              <a:gd name="connsiteY494" fmla="*/ 8433530 h 8714439"/>
              <a:gd name="connsiteX495" fmla="*/ 2788438 w 9240942"/>
              <a:gd name="connsiteY495" fmla="*/ 8410711 h 8714439"/>
              <a:gd name="connsiteX496" fmla="*/ 2809906 w 9240942"/>
              <a:gd name="connsiteY496" fmla="*/ 8378228 h 8714439"/>
              <a:gd name="connsiteX497" fmla="*/ 2757106 w 9240942"/>
              <a:gd name="connsiteY497" fmla="*/ 8422836 h 8714439"/>
              <a:gd name="connsiteX498" fmla="*/ 2729286 w 9240942"/>
              <a:gd name="connsiteY498" fmla="*/ 8421747 h 8714439"/>
              <a:gd name="connsiteX499" fmla="*/ 2699924 w 9240942"/>
              <a:gd name="connsiteY499" fmla="*/ 8401466 h 8714439"/>
              <a:gd name="connsiteX500" fmla="*/ 2674894 w 9240942"/>
              <a:gd name="connsiteY500" fmla="*/ 8412365 h 8714439"/>
              <a:gd name="connsiteX501" fmla="*/ 2655696 w 9240942"/>
              <a:gd name="connsiteY501" fmla="*/ 8389644 h 8714439"/>
              <a:gd name="connsiteX502" fmla="*/ 2690374 w 9240942"/>
              <a:gd name="connsiteY502" fmla="*/ 8309111 h 8714439"/>
              <a:gd name="connsiteX503" fmla="*/ 2662084 w 9240942"/>
              <a:gd name="connsiteY503" fmla="*/ 8275626 h 8714439"/>
              <a:gd name="connsiteX504" fmla="*/ 2682782 w 9240942"/>
              <a:gd name="connsiteY504" fmla="*/ 8233547 h 8714439"/>
              <a:gd name="connsiteX505" fmla="*/ 2729873 w 9240942"/>
              <a:gd name="connsiteY505" fmla="*/ 8193761 h 8714439"/>
              <a:gd name="connsiteX506" fmla="*/ 2733206 w 9240942"/>
              <a:gd name="connsiteY506" fmla="*/ 8174549 h 8714439"/>
              <a:gd name="connsiteX507" fmla="*/ 2791714 w 9240942"/>
              <a:gd name="connsiteY507" fmla="*/ 8125119 h 8714439"/>
              <a:gd name="connsiteX508" fmla="*/ 2797902 w 9240942"/>
              <a:gd name="connsiteY508" fmla="*/ 8103496 h 8714439"/>
              <a:gd name="connsiteX509" fmla="*/ 2881919 w 9240942"/>
              <a:gd name="connsiteY509" fmla="*/ 8026366 h 8714439"/>
              <a:gd name="connsiteX510" fmla="*/ 2883169 w 9240942"/>
              <a:gd name="connsiteY510" fmla="*/ 8019161 h 8714439"/>
              <a:gd name="connsiteX511" fmla="*/ 2831442 w 9240942"/>
              <a:gd name="connsiteY511" fmla="*/ 8050566 h 8714439"/>
              <a:gd name="connsiteX512" fmla="*/ 2816818 w 9240942"/>
              <a:gd name="connsiteY512" fmla="*/ 8050624 h 8714439"/>
              <a:gd name="connsiteX513" fmla="*/ 2811641 w 9240942"/>
              <a:gd name="connsiteY513" fmla="*/ 8073443 h 8714439"/>
              <a:gd name="connsiteX514" fmla="*/ 2777341 w 9240942"/>
              <a:gd name="connsiteY514" fmla="*/ 8067582 h 8714439"/>
              <a:gd name="connsiteX515" fmla="*/ 2750176 w 9240942"/>
              <a:gd name="connsiteY515" fmla="*/ 8055690 h 8714439"/>
              <a:gd name="connsiteX516" fmla="*/ 2844006 w 9240942"/>
              <a:gd name="connsiteY516" fmla="*/ 7964123 h 8714439"/>
              <a:gd name="connsiteX517" fmla="*/ 2812257 w 9240942"/>
              <a:gd name="connsiteY517" fmla="*/ 7978647 h 8714439"/>
              <a:gd name="connsiteX518" fmla="*/ 2777124 w 9240942"/>
              <a:gd name="connsiteY518" fmla="*/ 7977588 h 8714439"/>
              <a:gd name="connsiteX519" fmla="*/ 2766832 w 9240942"/>
              <a:gd name="connsiteY519" fmla="*/ 8008828 h 8714439"/>
              <a:gd name="connsiteX520" fmla="*/ 2707326 w 9240942"/>
              <a:gd name="connsiteY520" fmla="*/ 8007865 h 8714439"/>
              <a:gd name="connsiteX521" fmla="*/ 2690150 w 9240942"/>
              <a:gd name="connsiteY521" fmla="*/ 7987535 h 8714439"/>
              <a:gd name="connsiteX522" fmla="*/ 2657807 w 9240942"/>
              <a:gd name="connsiteY522" fmla="*/ 7998463 h 8714439"/>
              <a:gd name="connsiteX523" fmla="*/ 2642653 w 9240942"/>
              <a:gd name="connsiteY523" fmla="*/ 7980525 h 8714439"/>
              <a:gd name="connsiteX524" fmla="*/ 2665205 w 9240942"/>
              <a:gd name="connsiteY524" fmla="*/ 7885642 h 8714439"/>
              <a:gd name="connsiteX525" fmla="*/ 2654091 w 9240942"/>
              <a:gd name="connsiteY525" fmla="*/ 7872487 h 8714439"/>
              <a:gd name="connsiteX526" fmla="*/ 2673790 w 9240942"/>
              <a:gd name="connsiteY526" fmla="*/ 7780015 h 8714439"/>
              <a:gd name="connsiteX527" fmla="*/ 2842178 w 9240942"/>
              <a:gd name="connsiteY527" fmla="*/ 7637753 h 8714439"/>
              <a:gd name="connsiteX528" fmla="*/ 2845927 w 9240942"/>
              <a:gd name="connsiteY528" fmla="*/ 7616140 h 8714439"/>
              <a:gd name="connsiteX529" fmla="*/ 3034294 w 9240942"/>
              <a:gd name="connsiteY529" fmla="*/ 7456998 h 8714439"/>
              <a:gd name="connsiteX530" fmla="*/ 3032222 w 9240942"/>
              <a:gd name="connsiteY530" fmla="*/ 7419808 h 8714439"/>
              <a:gd name="connsiteX531" fmla="*/ 3102917 w 9240942"/>
              <a:gd name="connsiteY531" fmla="*/ 7370330 h 8714439"/>
              <a:gd name="connsiteX532" fmla="*/ 3121342 w 9240942"/>
              <a:gd name="connsiteY532" fmla="*/ 7383456 h 8714439"/>
              <a:gd name="connsiteX533" fmla="*/ 3122187 w 9240942"/>
              <a:gd name="connsiteY533" fmla="*/ 7329456 h 8714439"/>
              <a:gd name="connsiteX534" fmla="*/ 3146446 w 9240942"/>
              <a:gd name="connsiteY534" fmla="*/ 7308960 h 8714439"/>
              <a:gd name="connsiteX535" fmla="*/ 3168382 w 9240942"/>
              <a:gd name="connsiteY535" fmla="*/ 7308873 h 8714439"/>
              <a:gd name="connsiteX536" fmla="*/ 3188361 w 9240942"/>
              <a:gd name="connsiteY536" fmla="*/ 7291994 h 8714439"/>
              <a:gd name="connsiteX537" fmla="*/ 3187225 w 9240942"/>
              <a:gd name="connsiteY537" fmla="*/ 7319597 h 8714439"/>
              <a:gd name="connsiteX538" fmla="*/ 3228546 w 9240942"/>
              <a:gd name="connsiteY538" fmla="*/ 7299033 h 8714439"/>
              <a:gd name="connsiteX539" fmla="*/ 3212203 w 9240942"/>
              <a:gd name="connsiteY539" fmla="*/ 7273899 h 8714439"/>
              <a:gd name="connsiteX540" fmla="*/ 3188361 w 9240942"/>
              <a:gd name="connsiteY540" fmla="*/ 7291994 h 8714439"/>
              <a:gd name="connsiteX541" fmla="*/ 3173622 w 9240942"/>
              <a:gd name="connsiteY541" fmla="*/ 7271655 h 8714439"/>
              <a:gd name="connsiteX542" fmla="*/ 3196809 w 9240942"/>
              <a:gd name="connsiteY542" fmla="*/ 7264361 h 8714439"/>
              <a:gd name="connsiteX543" fmla="*/ 3199725 w 9240942"/>
              <a:gd name="connsiteY543" fmla="*/ 7247552 h 8714439"/>
              <a:gd name="connsiteX544" fmla="*/ 3220651 w 9240942"/>
              <a:gd name="connsiteY544" fmla="*/ 7246268 h 8714439"/>
              <a:gd name="connsiteX545" fmla="*/ 3339094 w 9240942"/>
              <a:gd name="connsiteY545" fmla="*/ 7146202 h 8714439"/>
              <a:gd name="connsiteX546" fmla="*/ 3347833 w 9240942"/>
              <a:gd name="connsiteY546" fmla="*/ 7144967 h 8714439"/>
              <a:gd name="connsiteX547" fmla="*/ 3376133 w 9240942"/>
              <a:gd name="connsiteY547" fmla="*/ 7129255 h 8714439"/>
              <a:gd name="connsiteX548" fmla="*/ 3367520 w 9240942"/>
              <a:gd name="connsiteY548" fmla="*/ 7101692 h 8714439"/>
              <a:gd name="connsiteX549" fmla="*/ 3398132 w 9240942"/>
              <a:gd name="connsiteY549" fmla="*/ 7114769 h 8714439"/>
              <a:gd name="connsiteX550" fmla="*/ 3438506 w 9240942"/>
              <a:gd name="connsiteY550" fmla="*/ 7078610 h 8714439"/>
              <a:gd name="connsiteX551" fmla="*/ 3456161 w 9240942"/>
              <a:gd name="connsiteY551" fmla="*/ 7082138 h 8714439"/>
              <a:gd name="connsiteX552" fmla="*/ 3438506 w 9240942"/>
              <a:gd name="connsiteY552" fmla="*/ 7078610 h 8714439"/>
              <a:gd name="connsiteX553" fmla="*/ 3441308 w 9240942"/>
              <a:gd name="connsiteY553" fmla="*/ 7041401 h 8714439"/>
              <a:gd name="connsiteX554" fmla="*/ 3491254 w 9240942"/>
              <a:gd name="connsiteY554" fmla="*/ 6999204 h 8714439"/>
              <a:gd name="connsiteX555" fmla="*/ 3493159 w 9240942"/>
              <a:gd name="connsiteY555" fmla="*/ 6981198 h 8714439"/>
              <a:gd name="connsiteX556" fmla="*/ 3516523 w 9240942"/>
              <a:gd name="connsiteY556" fmla="*/ 6979904 h 8714439"/>
              <a:gd name="connsiteX557" fmla="*/ 3564448 w 9240942"/>
              <a:gd name="connsiteY557" fmla="*/ 6935316 h 8714439"/>
              <a:gd name="connsiteX558" fmla="*/ 3560709 w 9240942"/>
              <a:gd name="connsiteY558" fmla="*/ 6907733 h 8714439"/>
              <a:gd name="connsiteX559" fmla="*/ 3582999 w 9240942"/>
              <a:gd name="connsiteY559" fmla="*/ 6919643 h 8714439"/>
              <a:gd name="connsiteX560" fmla="*/ 3618435 w 9240942"/>
              <a:gd name="connsiteY560" fmla="*/ 6897903 h 8714439"/>
              <a:gd name="connsiteX561" fmla="*/ 3645777 w 9240942"/>
              <a:gd name="connsiteY561" fmla="*/ 6915792 h 8714439"/>
              <a:gd name="connsiteX562" fmla="*/ 3642101 w 9240942"/>
              <a:gd name="connsiteY562" fmla="*/ 6873810 h 8714439"/>
              <a:gd name="connsiteX563" fmla="*/ 3702035 w 9240942"/>
              <a:gd name="connsiteY563" fmla="*/ 6823174 h 8714439"/>
              <a:gd name="connsiteX564" fmla="*/ 3715472 w 9240942"/>
              <a:gd name="connsiteY564" fmla="*/ 6815921 h 8714439"/>
              <a:gd name="connsiteX565" fmla="*/ 3730097 w 9240942"/>
              <a:gd name="connsiteY565" fmla="*/ 6815862 h 8714439"/>
              <a:gd name="connsiteX566" fmla="*/ 3782896 w 9240942"/>
              <a:gd name="connsiteY566" fmla="*/ 6771255 h 8714439"/>
              <a:gd name="connsiteX567" fmla="*/ 3799541 w 9240942"/>
              <a:gd name="connsiteY567" fmla="*/ 6773588 h 8714439"/>
              <a:gd name="connsiteX568" fmla="*/ 3782896 w 9240942"/>
              <a:gd name="connsiteY568" fmla="*/ 6771255 h 8714439"/>
              <a:gd name="connsiteX569" fmla="*/ 3776240 w 9240942"/>
              <a:gd name="connsiteY569" fmla="*/ 6760482 h 8714439"/>
              <a:gd name="connsiteX570" fmla="*/ 3787126 w 9240942"/>
              <a:gd name="connsiteY570" fmla="*/ 6732841 h 8714439"/>
              <a:gd name="connsiteX571" fmla="*/ 3799489 w 9240942"/>
              <a:gd name="connsiteY571" fmla="*/ 6738791 h 8714439"/>
              <a:gd name="connsiteX572" fmla="*/ 3815301 w 9240942"/>
              <a:gd name="connsiteY572" fmla="*/ 6745927 h 8714439"/>
              <a:gd name="connsiteX573" fmla="*/ 3819051 w 9240942"/>
              <a:gd name="connsiteY573" fmla="*/ 6724313 h 8714439"/>
              <a:gd name="connsiteX574" fmla="*/ 3850445 w 9240942"/>
              <a:gd name="connsiteY574" fmla="*/ 6697790 h 8714439"/>
              <a:gd name="connsiteX575" fmla="*/ 3865017 w 9240942"/>
              <a:gd name="connsiteY575" fmla="*/ 6662934 h 8714439"/>
              <a:gd name="connsiteX576" fmla="*/ 3890819 w 9240942"/>
              <a:gd name="connsiteY576" fmla="*/ 6661632 h 8714439"/>
              <a:gd name="connsiteX577" fmla="*/ 3915078 w 9240942"/>
              <a:gd name="connsiteY577" fmla="*/ 6641136 h 8714439"/>
              <a:gd name="connsiteX578" fmla="*/ 3919838 w 9240942"/>
              <a:gd name="connsiteY578" fmla="*/ 6620718 h 8714439"/>
              <a:gd name="connsiteX579" fmla="*/ 3939337 w 9240942"/>
              <a:gd name="connsiteY579" fmla="*/ 6620641 h 8714439"/>
              <a:gd name="connsiteX580" fmla="*/ 4024957 w 9240942"/>
              <a:gd name="connsiteY580" fmla="*/ 6548303 h 8714439"/>
              <a:gd name="connsiteX581" fmla="*/ 4029302 w 9240942"/>
              <a:gd name="connsiteY581" fmla="*/ 6530287 h 8714439"/>
              <a:gd name="connsiteX582" fmla="*/ 4053082 w 9240942"/>
              <a:gd name="connsiteY582" fmla="*/ 6526592 h 8714439"/>
              <a:gd name="connsiteX583" fmla="*/ 4111590 w 9240942"/>
              <a:gd name="connsiteY583" fmla="*/ 6477162 h 8714439"/>
              <a:gd name="connsiteX584" fmla="*/ 4128651 w 9240942"/>
              <a:gd name="connsiteY584" fmla="*/ 6477094 h 8714439"/>
              <a:gd name="connsiteX585" fmla="*/ 4191440 w 9240942"/>
              <a:gd name="connsiteY585" fmla="*/ 6424046 h 8714439"/>
              <a:gd name="connsiteX586" fmla="*/ 4195784 w 9240942"/>
              <a:gd name="connsiteY586" fmla="*/ 6406031 h 8714439"/>
              <a:gd name="connsiteX587" fmla="*/ 4220043 w 9240942"/>
              <a:gd name="connsiteY587" fmla="*/ 6385535 h 8714439"/>
              <a:gd name="connsiteX588" fmla="*/ 4240969 w 9240942"/>
              <a:gd name="connsiteY588" fmla="*/ 6384251 h 8714439"/>
              <a:gd name="connsiteX589" fmla="*/ 4312320 w 9240942"/>
              <a:gd name="connsiteY589" fmla="*/ 6323971 h 8714439"/>
              <a:gd name="connsiteX590" fmla="*/ 4333246 w 9240942"/>
              <a:gd name="connsiteY590" fmla="*/ 6322687 h 8714439"/>
              <a:gd name="connsiteX591" fmla="*/ 4339016 w 9240942"/>
              <a:gd name="connsiteY591" fmla="*/ 6303465 h 8714439"/>
              <a:gd name="connsiteX592" fmla="*/ 4356078 w 9240942"/>
              <a:gd name="connsiteY592" fmla="*/ 6303398 h 8714439"/>
              <a:gd name="connsiteX593" fmla="*/ 4381764 w 9240942"/>
              <a:gd name="connsiteY593" fmla="*/ 6281696 h 8714439"/>
              <a:gd name="connsiteX594" fmla="*/ 4387535 w 9240942"/>
              <a:gd name="connsiteY594" fmla="*/ 6262474 h 8714439"/>
              <a:gd name="connsiteX595" fmla="*/ 4424637 w 9240942"/>
              <a:gd name="connsiteY595" fmla="*/ 6231129 h 8714439"/>
              <a:gd name="connsiteX596" fmla="*/ 4445147 w 9240942"/>
              <a:gd name="connsiteY596" fmla="*/ 6232247 h 8714439"/>
              <a:gd name="connsiteX597" fmla="*/ 4481062 w 9240942"/>
              <a:gd name="connsiteY597" fmla="*/ 6193705 h 8714439"/>
              <a:gd name="connsiteX598" fmla="*/ 4483562 w 9240942"/>
              <a:gd name="connsiteY598" fmla="*/ 6179296 h 8714439"/>
              <a:gd name="connsiteX599" fmla="*/ 4512154 w 9240942"/>
              <a:gd name="connsiteY599" fmla="*/ 6189981 h 8714439"/>
              <a:gd name="connsiteX600" fmla="*/ 4517331 w 9240942"/>
              <a:gd name="connsiteY600" fmla="*/ 6167162 h 8714439"/>
              <a:gd name="connsiteX601" fmla="*/ 4588682 w 9240942"/>
              <a:gd name="connsiteY601" fmla="*/ 6106882 h 8714439"/>
              <a:gd name="connsiteX602" fmla="*/ 4621149 w 9240942"/>
              <a:gd name="connsiteY602" fmla="*/ 6067154 h 8714439"/>
              <a:gd name="connsiteX603" fmla="*/ 4664428 w 9240942"/>
              <a:gd name="connsiteY603" fmla="*/ 6063382 h 8714439"/>
              <a:gd name="connsiteX604" fmla="*/ 4687979 w 9240942"/>
              <a:gd name="connsiteY604" fmla="*/ 6018891 h 8714439"/>
              <a:gd name="connsiteX605" fmla="*/ 4674731 w 9240942"/>
              <a:gd name="connsiteY605" fmla="*/ 5982946 h 8714439"/>
              <a:gd name="connsiteX606" fmla="*/ 4690125 w 9240942"/>
              <a:gd name="connsiteY606" fmla="*/ 5992484 h 8714439"/>
              <a:gd name="connsiteX607" fmla="*/ 4765683 w 9240942"/>
              <a:gd name="connsiteY607" fmla="*/ 5992182 h 8714439"/>
              <a:gd name="connsiteX608" fmla="*/ 4765996 w 9240942"/>
              <a:gd name="connsiteY608" fmla="*/ 5920186 h 8714439"/>
              <a:gd name="connsiteX609" fmla="*/ 4793755 w 9240942"/>
              <a:gd name="connsiteY609" fmla="*/ 5935674 h 8714439"/>
              <a:gd name="connsiteX610" fmla="*/ 4856544 w 9240942"/>
              <a:gd name="connsiteY610" fmla="*/ 5882627 h 8714439"/>
              <a:gd name="connsiteX611" fmla="*/ 4876042 w 9240942"/>
              <a:gd name="connsiteY611" fmla="*/ 5882549 h 8714439"/>
              <a:gd name="connsiteX612" fmla="*/ 4927416 w 9240942"/>
              <a:gd name="connsiteY612" fmla="*/ 5839146 h 8714439"/>
              <a:gd name="connsiteX613" fmla="*/ 4918801 w 9240942"/>
              <a:gd name="connsiteY613" fmla="*/ 5811583 h 8714439"/>
              <a:gd name="connsiteX614" fmla="*/ 4937947 w 9240942"/>
              <a:gd name="connsiteY614" fmla="*/ 5799507 h 8714439"/>
              <a:gd name="connsiteX615" fmla="*/ 4961247 w 9240942"/>
              <a:gd name="connsiteY615" fmla="*/ 5812613 h 8714439"/>
              <a:gd name="connsiteX616" fmla="*/ 4974091 w 9240942"/>
              <a:gd name="connsiteY616" fmla="*/ 5801763 h 8714439"/>
              <a:gd name="connsiteX617" fmla="*/ 4982539 w 9240942"/>
              <a:gd name="connsiteY617" fmla="*/ 5774131 h 8714439"/>
              <a:gd name="connsiteX618" fmla="*/ 5022193 w 9240942"/>
              <a:gd name="connsiteY618" fmla="*/ 5763173 h 8714439"/>
              <a:gd name="connsiteX619" fmla="*/ 5028860 w 9240942"/>
              <a:gd name="connsiteY619" fmla="*/ 5724749 h 8714439"/>
              <a:gd name="connsiteX620" fmla="*/ 4988132 w 9240942"/>
              <a:gd name="connsiteY620" fmla="*/ 5748911 h 8714439"/>
              <a:gd name="connsiteX621" fmla="*/ 4967749 w 9240942"/>
              <a:gd name="connsiteY621" fmla="*/ 5718994 h 8714439"/>
              <a:gd name="connsiteX622" fmla="*/ 4988675 w 9240942"/>
              <a:gd name="connsiteY622" fmla="*/ 5717711 h 8714439"/>
              <a:gd name="connsiteX623" fmla="*/ 5012934 w 9240942"/>
              <a:gd name="connsiteY623" fmla="*/ 5697215 h 8714439"/>
              <a:gd name="connsiteX624" fmla="*/ 5034870 w 9240942"/>
              <a:gd name="connsiteY624" fmla="*/ 5697127 h 8714439"/>
              <a:gd name="connsiteX625" fmla="*/ 5059368 w 9240942"/>
              <a:gd name="connsiteY625" fmla="*/ 5668231 h 8714439"/>
              <a:gd name="connsiteX626" fmla="*/ 5054797 w 9240942"/>
              <a:gd name="connsiteY626" fmla="*/ 5645451 h 8714439"/>
              <a:gd name="connsiteX627" fmla="*/ 5080951 w 9240942"/>
              <a:gd name="connsiteY627" fmla="*/ 5656146 h 8714439"/>
              <a:gd name="connsiteX628" fmla="*/ 5099451 w 9240942"/>
              <a:gd name="connsiteY628" fmla="*/ 5605676 h 8714439"/>
              <a:gd name="connsiteX629" fmla="*/ 5131730 w 9240942"/>
              <a:gd name="connsiteY629" fmla="*/ 5609147 h 8714439"/>
              <a:gd name="connsiteX630" fmla="*/ 5123762 w 9240942"/>
              <a:gd name="connsiteY630" fmla="*/ 5619978 h 8714439"/>
              <a:gd name="connsiteX631" fmla="*/ 5123283 w 9240942"/>
              <a:gd name="connsiteY631" fmla="*/ 5636778 h 8714439"/>
              <a:gd name="connsiteX632" fmla="*/ 5163239 w 9240942"/>
              <a:gd name="connsiteY632" fmla="*/ 5603021 h 8714439"/>
              <a:gd name="connsiteX633" fmla="*/ 5169010 w 9240942"/>
              <a:gd name="connsiteY633" fmla="*/ 5583799 h 8714439"/>
              <a:gd name="connsiteX634" fmla="*/ 5209018 w 9240942"/>
              <a:gd name="connsiteY634" fmla="*/ 5584839 h 8714439"/>
              <a:gd name="connsiteX635" fmla="*/ 5212768 w 9240942"/>
              <a:gd name="connsiteY635" fmla="*/ 5563226 h 8714439"/>
              <a:gd name="connsiteX636" fmla="*/ 5259859 w 9240942"/>
              <a:gd name="connsiteY636" fmla="*/ 5523440 h 8714439"/>
              <a:gd name="connsiteX637" fmla="*/ 5269609 w 9240942"/>
              <a:gd name="connsiteY637" fmla="*/ 5523402 h 8714439"/>
              <a:gd name="connsiteX638" fmla="*/ 5279295 w 9240942"/>
              <a:gd name="connsiteY638" fmla="*/ 5537762 h 8714439"/>
              <a:gd name="connsiteX639" fmla="*/ 5278399 w 9240942"/>
              <a:gd name="connsiteY639" fmla="*/ 5556964 h 8714439"/>
              <a:gd name="connsiteX640" fmla="*/ 5312054 w 9240942"/>
              <a:gd name="connsiteY640" fmla="*/ 5524432 h 8714439"/>
              <a:gd name="connsiteX641" fmla="*/ 5283702 w 9240942"/>
              <a:gd name="connsiteY641" fmla="*/ 5505347 h 8714439"/>
              <a:gd name="connsiteX642" fmla="*/ 5316638 w 9240942"/>
              <a:gd name="connsiteY642" fmla="*/ 5498015 h 8714439"/>
              <a:gd name="connsiteX643" fmla="*/ 5321638 w 9240942"/>
              <a:gd name="connsiteY643" fmla="*/ 5469197 h 8714439"/>
              <a:gd name="connsiteX644" fmla="*/ 5354030 w 9240942"/>
              <a:gd name="connsiteY644" fmla="*/ 5493066 h 8714439"/>
              <a:gd name="connsiteX645" fmla="*/ 5382269 w 9240942"/>
              <a:gd name="connsiteY645" fmla="*/ 5491753 h 8714439"/>
              <a:gd name="connsiteX646" fmla="*/ 5406768 w 9240942"/>
              <a:gd name="connsiteY646" fmla="*/ 5462858 h 8714439"/>
              <a:gd name="connsiteX647" fmla="*/ 5354334 w 9240942"/>
              <a:gd name="connsiteY647" fmla="*/ 5470267 h 8714439"/>
              <a:gd name="connsiteX648" fmla="*/ 5361063 w 9240942"/>
              <a:gd name="connsiteY648" fmla="*/ 5417444 h 8714439"/>
              <a:gd name="connsiteX649" fmla="*/ 5387812 w 9240942"/>
              <a:gd name="connsiteY649" fmla="*/ 5431736 h 8714439"/>
              <a:gd name="connsiteX650" fmla="*/ 5454881 w 9240942"/>
              <a:gd name="connsiteY650" fmla="*/ 5375071 h 8714439"/>
              <a:gd name="connsiteX651" fmla="*/ 5480693 w 9240942"/>
              <a:gd name="connsiteY651" fmla="*/ 5324573 h 8714439"/>
              <a:gd name="connsiteX652" fmla="*/ 5450674 w 9240942"/>
              <a:gd name="connsiteY652" fmla="*/ 5315093 h 8714439"/>
              <a:gd name="connsiteX653" fmla="*/ 5472080 w 9240942"/>
              <a:gd name="connsiteY653" fmla="*/ 5297008 h 8714439"/>
              <a:gd name="connsiteX654" fmla="*/ 5496568 w 9240942"/>
              <a:gd name="connsiteY654" fmla="*/ 5317310 h 8714439"/>
              <a:gd name="connsiteX655" fmla="*/ 5503879 w 9240942"/>
              <a:gd name="connsiteY655" fmla="*/ 5317279 h 8714439"/>
              <a:gd name="connsiteX656" fmla="*/ 5541815 w 9240942"/>
              <a:gd name="connsiteY656" fmla="*/ 5281131 h 8714439"/>
              <a:gd name="connsiteX657" fmla="*/ 5544316 w 9240942"/>
              <a:gd name="connsiteY657" fmla="*/ 5266722 h 8714439"/>
              <a:gd name="connsiteX658" fmla="*/ 5568575 w 9240942"/>
              <a:gd name="connsiteY658" fmla="*/ 5246227 h 8714439"/>
              <a:gd name="connsiteX659" fmla="*/ 5589501 w 9240942"/>
              <a:gd name="connsiteY659" fmla="*/ 5244943 h 8714439"/>
              <a:gd name="connsiteX660" fmla="*/ 5620958 w 9240942"/>
              <a:gd name="connsiteY660" fmla="*/ 5204020 h 8714439"/>
              <a:gd name="connsiteX661" fmla="*/ 5647540 w 9240942"/>
              <a:gd name="connsiteY661" fmla="*/ 5163117 h 8714439"/>
              <a:gd name="connsiteX662" fmla="*/ 5680350 w 9240942"/>
              <a:gd name="connsiteY662" fmla="*/ 5184584 h 8714439"/>
              <a:gd name="connsiteX663" fmla="*/ 5705255 w 9240942"/>
              <a:gd name="connsiteY663" fmla="*/ 5202483 h 8714439"/>
              <a:gd name="connsiteX664" fmla="*/ 5742409 w 9240942"/>
              <a:gd name="connsiteY664" fmla="*/ 5205934 h 8714439"/>
              <a:gd name="connsiteX665" fmla="*/ 5747825 w 9240942"/>
              <a:gd name="connsiteY665" fmla="*/ 5174716 h 8714439"/>
              <a:gd name="connsiteX666" fmla="*/ 5730650 w 9240942"/>
              <a:gd name="connsiteY666" fmla="*/ 5154385 h 8714439"/>
              <a:gd name="connsiteX667" fmla="*/ 5710141 w 9240942"/>
              <a:gd name="connsiteY667" fmla="*/ 5153267 h 8714439"/>
              <a:gd name="connsiteX668" fmla="*/ 5705037 w 9240942"/>
              <a:gd name="connsiteY668" fmla="*/ 5112491 h 8714439"/>
              <a:gd name="connsiteX669" fmla="*/ 5725963 w 9240942"/>
              <a:gd name="connsiteY669" fmla="*/ 5111207 h 8714439"/>
              <a:gd name="connsiteX670" fmla="*/ 5730724 w 9240942"/>
              <a:gd name="connsiteY670" fmla="*/ 5090789 h 8714439"/>
              <a:gd name="connsiteX671" fmla="*/ 5759316 w 9240942"/>
              <a:gd name="connsiteY671" fmla="*/ 5101474 h 8714439"/>
              <a:gd name="connsiteX672" fmla="*/ 5771148 w 9240942"/>
              <a:gd name="connsiteY672" fmla="*/ 5089428 h 8714439"/>
              <a:gd name="connsiteX673" fmla="*/ 5775024 w 9240942"/>
              <a:gd name="connsiteY673" fmla="*/ 5039016 h 8714439"/>
              <a:gd name="connsiteX674" fmla="*/ 5805991 w 9240942"/>
              <a:gd name="connsiteY674" fmla="*/ 5064091 h 8714439"/>
              <a:gd name="connsiteX675" fmla="*/ 5811168 w 9240942"/>
              <a:gd name="connsiteY675" fmla="*/ 5041271 h 8714439"/>
              <a:gd name="connsiteX676" fmla="*/ 5841135 w 9240942"/>
              <a:gd name="connsiteY676" fmla="*/ 5015953 h 8714439"/>
              <a:gd name="connsiteX677" fmla="*/ 5874425 w 9240942"/>
              <a:gd name="connsiteY677" fmla="*/ 5020621 h 8714439"/>
              <a:gd name="connsiteX678" fmla="*/ 5920088 w 9240942"/>
              <a:gd name="connsiteY678" fmla="*/ 4982040 h 8714439"/>
              <a:gd name="connsiteX679" fmla="*/ 5918194 w 9240942"/>
              <a:gd name="connsiteY679" fmla="*/ 4950851 h 8714439"/>
              <a:gd name="connsiteX680" fmla="*/ 5952734 w 9240942"/>
              <a:gd name="connsiteY680" fmla="*/ 4948312 h 8714439"/>
              <a:gd name="connsiteX681" fmla="*/ 5963493 w 9240942"/>
              <a:gd name="connsiteY681" fmla="*/ 4949469 h 8714439"/>
              <a:gd name="connsiteX682" fmla="*/ 5999408 w 9240942"/>
              <a:gd name="connsiteY682" fmla="*/ 4910928 h 8714439"/>
              <a:gd name="connsiteX683" fmla="*/ 6001909 w 9240942"/>
              <a:gd name="connsiteY683" fmla="*/ 4896519 h 8714439"/>
              <a:gd name="connsiteX684" fmla="*/ 6074687 w 9240942"/>
              <a:gd name="connsiteY684" fmla="*/ 4835032 h 8714439"/>
              <a:gd name="connsiteX685" fmla="*/ 6079447 w 9240942"/>
              <a:gd name="connsiteY685" fmla="*/ 4814615 h 8714439"/>
              <a:gd name="connsiteX686" fmla="*/ 6090863 w 9240942"/>
              <a:gd name="connsiteY686" fmla="*/ 4804971 h 8714439"/>
              <a:gd name="connsiteX687" fmla="*/ 6118446 w 9240942"/>
              <a:gd name="connsiteY687" fmla="*/ 4814459 h 8714439"/>
              <a:gd name="connsiteX688" fmla="*/ 6143600 w 9240942"/>
              <a:gd name="connsiteY688" fmla="*/ 4774761 h 8714439"/>
              <a:gd name="connsiteX689" fmla="*/ 6173391 w 9240942"/>
              <a:gd name="connsiteY689" fmla="*/ 4743444 h 8714439"/>
              <a:gd name="connsiteX690" fmla="*/ 6163287 w 9240942"/>
              <a:gd name="connsiteY690" fmla="*/ 4731486 h 8714439"/>
              <a:gd name="connsiteX691" fmla="*/ 6174943 w 9240942"/>
              <a:gd name="connsiteY691" fmla="*/ 4713441 h 8714439"/>
              <a:gd name="connsiteX692" fmla="*/ 6242241 w 9240942"/>
              <a:gd name="connsiteY692" fmla="*/ 4697573 h 8714439"/>
              <a:gd name="connsiteX693" fmla="*/ 6251688 w 9240942"/>
              <a:gd name="connsiteY693" fmla="*/ 4720333 h 8714439"/>
              <a:gd name="connsiteX694" fmla="*/ 6242647 w 9240942"/>
              <a:gd name="connsiteY694" fmla="*/ 4744367 h 8714439"/>
              <a:gd name="connsiteX695" fmla="*/ 6286291 w 9240942"/>
              <a:gd name="connsiteY695" fmla="*/ 4703397 h 8714439"/>
              <a:gd name="connsiteX696" fmla="*/ 6257345 w 9240942"/>
              <a:gd name="connsiteY696" fmla="*/ 4680714 h 8714439"/>
              <a:gd name="connsiteX697" fmla="*/ 6415743 w 9240942"/>
              <a:gd name="connsiteY697" fmla="*/ 4546890 h 8714439"/>
              <a:gd name="connsiteX698" fmla="*/ 6439233 w 9240942"/>
              <a:gd name="connsiteY698" fmla="*/ 4516798 h 8714439"/>
              <a:gd name="connsiteX699" fmla="*/ 6458429 w 9240942"/>
              <a:gd name="connsiteY699" fmla="*/ 4539520 h 8714439"/>
              <a:gd name="connsiteX700" fmla="*/ 6456106 w 9240942"/>
              <a:gd name="connsiteY700" fmla="*/ 4559928 h 8714439"/>
              <a:gd name="connsiteX701" fmla="*/ 6509613 w 9240942"/>
              <a:gd name="connsiteY701" fmla="*/ 4539316 h 8714439"/>
              <a:gd name="connsiteX702" fmla="*/ 6514790 w 9240942"/>
              <a:gd name="connsiteY702" fmla="*/ 4516497 h 8714439"/>
              <a:gd name="connsiteX703" fmla="*/ 6552133 w 9240942"/>
              <a:gd name="connsiteY703" fmla="*/ 4476749 h 8714439"/>
              <a:gd name="connsiteX704" fmla="*/ 6538998 w 9240942"/>
              <a:gd name="connsiteY704" fmla="*/ 4461204 h 8714439"/>
              <a:gd name="connsiteX705" fmla="*/ 6557550 w 9240942"/>
              <a:gd name="connsiteY705" fmla="*/ 4445531 h 8714439"/>
              <a:gd name="connsiteX706" fmla="*/ 6561301 w 9240942"/>
              <a:gd name="connsiteY706" fmla="*/ 4423917 h 8714439"/>
              <a:gd name="connsiteX707" fmla="*/ 6596975 w 9240942"/>
              <a:gd name="connsiteY707" fmla="*/ 4393777 h 8714439"/>
              <a:gd name="connsiteX708" fmla="*/ 6600725 w 9240942"/>
              <a:gd name="connsiteY708" fmla="*/ 4372163 h 8714439"/>
              <a:gd name="connsiteX709" fmla="*/ 6598413 w 9240942"/>
              <a:gd name="connsiteY709" fmla="*/ 4343375 h 8714439"/>
              <a:gd name="connsiteX710" fmla="*/ 6622901 w 9240942"/>
              <a:gd name="connsiteY710" fmla="*/ 4363676 h 8714439"/>
              <a:gd name="connsiteX711" fmla="*/ 6664576 w 9240942"/>
              <a:gd name="connsiteY711" fmla="*/ 4355109 h 8714439"/>
              <a:gd name="connsiteX712" fmla="*/ 6675763 w 9240942"/>
              <a:gd name="connsiteY712" fmla="*/ 4304668 h 8714439"/>
              <a:gd name="connsiteX713" fmla="*/ 6706857 w 9240942"/>
              <a:gd name="connsiteY713" fmla="*/ 4300944 h 8714439"/>
              <a:gd name="connsiteX714" fmla="*/ 6723449 w 9240942"/>
              <a:gd name="connsiteY714" fmla="*/ 4268481 h 8714439"/>
              <a:gd name="connsiteX715" fmla="*/ 6747177 w 9240942"/>
              <a:gd name="connsiteY715" fmla="*/ 4229988 h 8714439"/>
              <a:gd name="connsiteX716" fmla="*/ 6805673 w 9240942"/>
              <a:gd name="connsiteY716" fmla="*/ 4229754 h 8714439"/>
              <a:gd name="connsiteX717" fmla="*/ 6825652 w 9240942"/>
              <a:gd name="connsiteY717" fmla="*/ 4212876 h 8714439"/>
              <a:gd name="connsiteX718" fmla="*/ 6807705 w 9240942"/>
              <a:gd name="connsiteY718" fmla="*/ 4182950 h 8714439"/>
              <a:gd name="connsiteX719" fmla="*/ 6822392 w 9240942"/>
              <a:gd name="connsiteY719" fmla="*/ 4168492 h 8714439"/>
              <a:gd name="connsiteX720" fmla="*/ 6895513 w 9240942"/>
              <a:gd name="connsiteY720" fmla="*/ 4168199 h 8714439"/>
              <a:gd name="connsiteX721" fmla="*/ 6918157 w 9240942"/>
              <a:gd name="connsiteY721" fmla="*/ 4192108 h 8714439"/>
              <a:gd name="connsiteX722" fmla="*/ 6911376 w 9240942"/>
              <a:gd name="connsiteY722" fmla="*/ 4210133 h 8714439"/>
              <a:gd name="connsiteX723" fmla="*/ 6918157 w 9240942"/>
              <a:gd name="connsiteY723" fmla="*/ 4192108 h 8714439"/>
              <a:gd name="connsiteX724" fmla="*/ 6974393 w 9240942"/>
              <a:gd name="connsiteY724" fmla="*/ 4197882 h 8714439"/>
              <a:gd name="connsiteX725" fmla="*/ 7010068 w 9240942"/>
              <a:gd name="connsiteY725" fmla="*/ 4167742 h 8714439"/>
              <a:gd name="connsiteX726" fmla="*/ 7003955 w 9240942"/>
              <a:gd name="connsiteY726" fmla="*/ 4125769 h 8714439"/>
              <a:gd name="connsiteX727" fmla="*/ 6953541 w 9240942"/>
              <a:gd name="connsiteY727" fmla="*/ 4135570 h 8714439"/>
              <a:gd name="connsiteX728" fmla="*/ 6974239 w 9240942"/>
              <a:gd name="connsiteY728" fmla="*/ 4093490 h 8714439"/>
              <a:gd name="connsiteX729" fmla="*/ 6991363 w 9240942"/>
              <a:gd name="connsiteY729" fmla="*/ 4079023 h 8714439"/>
              <a:gd name="connsiteX730" fmla="*/ 7036308 w 9240942"/>
              <a:gd name="connsiteY730" fmla="*/ 4065644 h 8714439"/>
              <a:gd name="connsiteX731" fmla="*/ 7032673 w 9240942"/>
              <a:gd name="connsiteY731" fmla="*/ 4107656 h 8714439"/>
              <a:gd name="connsiteX732" fmla="*/ 7035703 w 9240942"/>
              <a:gd name="connsiteY732" fmla="*/ 4111243 h 8714439"/>
              <a:gd name="connsiteX733" fmla="*/ 7066202 w 9240942"/>
              <a:gd name="connsiteY733" fmla="*/ 4103922 h 8714439"/>
              <a:gd name="connsiteX734" fmla="*/ 7074004 w 9240942"/>
              <a:gd name="connsiteY734" fmla="*/ 4037896 h 8714439"/>
              <a:gd name="connsiteX735" fmla="*/ 7071390 w 9240942"/>
              <a:gd name="connsiteY735" fmla="*/ 4031906 h 8714439"/>
              <a:gd name="connsiteX736" fmla="*/ 7051246 w 9240942"/>
              <a:gd name="connsiteY736" fmla="*/ 3993590 h 8714439"/>
              <a:gd name="connsiteX737" fmla="*/ 7072172 w 9240942"/>
              <a:gd name="connsiteY737" fmla="*/ 3992306 h 8714439"/>
              <a:gd name="connsiteX738" fmla="*/ 7107493 w 9240942"/>
              <a:gd name="connsiteY738" fmla="*/ 3950168 h 8714439"/>
              <a:gd name="connsiteX739" fmla="*/ 7150294 w 9240942"/>
              <a:gd name="connsiteY739" fmla="*/ 3963196 h 8714439"/>
              <a:gd name="connsiteX740" fmla="*/ 7143523 w 9240942"/>
              <a:gd name="connsiteY740" fmla="*/ 3932025 h 8714439"/>
              <a:gd name="connsiteX741" fmla="*/ 7169209 w 9240942"/>
              <a:gd name="connsiteY741" fmla="*/ 3910324 h 8714439"/>
              <a:gd name="connsiteX742" fmla="*/ 7197801 w 9240942"/>
              <a:gd name="connsiteY742" fmla="*/ 3921010 h 8714439"/>
              <a:gd name="connsiteX743" fmla="*/ 7239184 w 9240942"/>
              <a:gd name="connsiteY743" fmla="*/ 3886046 h 8714439"/>
              <a:gd name="connsiteX744" fmla="*/ 7238539 w 9240942"/>
              <a:gd name="connsiteY744" fmla="*/ 3847652 h 8714439"/>
              <a:gd name="connsiteX745" fmla="*/ 7261726 w 9240942"/>
              <a:gd name="connsiteY745" fmla="*/ 3840359 h 8714439"/>
              <a:gd name="connsiteX746" fmla="*/ 7278131 w 9240942"/>
              <a:gd name="connsiteY746" fmla="*/ 3851094 h 8714439"/>
              <a:gd name="connsiteX747" fmla="*/ 7311015 w 9240942"/>
              <a:gd name="connsiteY747" fmla="*/ 3808964 h 8714439"/>
              <a:gd name="connsiteX748" fmla="*/ 7331524 w 9240942"/>
              <a:gd name="connsiteY748" fmla="*/ 3810082 h 8714439"/>
              <a:gd name="connsiteX749" fmla="*/ 7360063 w 9240942"/>
              <a:gd name="connsiteY749" fmla="*/ 3785970 h 8714439"/>
              <a:gd name="connsiteX750" fmla="*/ 7396802 w 9240942"/>
              <a:gd name="connsiteY750" fmla="*/ 3791823 h 8714439"/>
              <a:gd name="connsiteX751" fmla="*/ 7400968 w 9240942"/>
              <a:gd name="connsiteY751" fmla="*/ 3767808 h 8714439"/>
              <a:gd name="connsiteX752" fmla="*/ 7439498 w 9240942"/>
              <a:gd name="connsiteY752" fmla="*/ 3735256 h 8714439"/>
              <a:gd name="connsiteX753" fmla="*/ 7452936 w 9240942"/>
              <a:gd name="connsiteY753" fmla="*/ 3728003 h 8714439"/>
              <a:gd name="connsiteX754" fmla="*/ 7464288 w 9240942"/>
              <a:gd name="connsiteY754" fmla="*/ 3732757 h 8714439"/>
              <a:gd name="connsiteX755" fmla="*/ 7457330 w 9240942"/>
              <a:gd name="connsiteY755" fmla="*/ 3744784 h 8714439"/>
              <a:gd name="connsiteX756" fmla="*/ 7477714 w 9240942"/>
              <a:gd name="connsiteY756" fmla="*/ 3774700 h 8714439"/>
              <a:gd name="connsiteX757" fmla="*/ 7520941 w 9240942"/>
              <a:gd name="connsiteY757" fmla="*/ 3736131 h 8714439"/>
              <a:gd name="connsiteX758" fmla="*/ 7525702 w 9240942"/>
              <a:gd name="connsiteY758" fmla="*/ 3715714 h 8714439"/>
              <a:gd name="connsiteX759" fmla="*/ 7634155 w 9240942"/>
              <a:gd name="connsiteY759" fmla="*/ 3624086 h 8714439"/>
              <a:gd name="connsiteX760" fmla="*/ 7637488 w 9240942"/>
              <a:gd name="connsiteY760" fmla="*/ 3604874 h 8714439"/>
              <a:gd name="connsiteX761" fmla="*/ 7758785 w 9240942"/>
              <a:gd name="connsiteY761" fmla="*/ 3502397 h 8714439"/>
              <a:gd name="connsiteX762" fmla="*/ 7761524 w 9240942"/>
              <a:gd name="connsiteY762" fmla="*/ 3479588 h 8714439"/>
              <a:gd name="connsiteX763" fmla="*/ 7882820 w 9240942"/>
              <a:gd name="connsiteY763" fmla="*/ 3377110 h 8714439"/>
              <a:gd name="connsiteX764" fmla="*/ 7886155 w 9240942"/>
              <a:gd name="connsiteY764" fmla="*/ 3357898 h 8714439"/>
              <a:gd name="connsiteX765" fmla="*/ 8007451 w 9240942"/>
              <a:gd name="connsiteY765" fmla="*/ 3255420 h 8714439"/>
              <a:gd name="connsiteX766" fmla="*/ 8061729 w 9240942"/>
              <a:gd name="connsiteY766" fmla="*/ 3244404 h 8714439"/>
              <a:gd name="connsiteX767" fmla="*/ 8067500 w 9240942"/>
              <a:gd name="connsiteY767" fmla="*/ 3225182 h 8714439"/>
              <a:gd name="connsiteX768" fmla="*/ 8087415 w 9240942"/>
              <a:gd name="connsiteY768" fmla="*/ 3222704 h 8714439"/>
              <a:gd name="connsiteX769" fmla="*/ 8133850 w 9240942"/>
              <a:gd name="connsiteY769" fmla="*/ 3193720 h 8714439"/>
              <a:gd name="connsiteX770" fmla="*/ 8142944 w 9240942"/>
              <a:gd name="connsiteY770" fmla="*/ 3204483 h 8714439"/>
              <a:gd name="connsiteX771" fmla="*/ 8126350 w 9240942"/>
              <a:gd name="connsiteY771" fmla="*/ 3236947 h 8714439"/>
              <a:gd name="connsiteX772" fmla="*/ 8144183 w 9240942"/>
              <a:gd name="connsiteY772" fmla="*/ 3246474 h 8714439"/>
              <a:gd name="connsiteX773" fmla="*/ 8176587 w 9240942"/>
              <a:gd name="connsiteY773" fmla="*/ 3221147 h 8714439"/>
              <a:gd name="connsiteX774" fmla="*/ 8189722 w 9240942"/>
              <a:gd name="connsiteY774" fmla="*/ 3236694 h 8714439"/>
              <a:gd name="connsiteX775" fmla="*/ 8147202 w 9240942"/>
              <a:gd name="connsiteY775" fmla="*/ 3299259 h 8714439"/>
              <a:gd name="connsiteX776" fmla="*/ 8116213 w 9240942"/>
              <a:gd name="connsiteY776" fmla="*/ 3372578 h 8714439"/>
              <a:gd name="connsiteX777" fmla="*/ 8154503 w 9240942"/>
              <a:gd name="connsiteY777" fmla="*/ 3348426 h 8714439"/>
              <a:gd name="connsiteX778" fmla="*/ 8194751 w 9240942"/>
              <a:gd name="connsiteY778" fmla="*/ 3341066 h 8714439"/>
              <a:gd name="connsiteX779" fmla="*/ 8194979 w 9240942"/>
              <a:gd name="connsiteY779" fmla="*/ 3381862 h 8714439"/>
              <a:gd name="connsiteX780" fmla="*/ 8160731 w 9240942"/>
              <a:gd name="connsiteY780" fmla="*/ 3410797 h 8714439"/>
              <a:gd name="connsiteX781" fmla="*/ 8155971 w 9240942"/>
              <a:gd name="connsiteY781" fmla="*/ 3431214 h 8714439"/>
              <a:gd name="connsiteX782" fmla="*/ 8119639 w 9240942"/>
              <a:gd name="connsiteY782" fmla="*/ 3472156 h 8714439"/>
              <a:gd name="connsiteX783" fmla="*/ 8148887 w 9240942"/>
              <a:gd name="connsiteY783" fmla="*/ 3472040 h 8714439"/>
              <a:gd name="connsiteX784" fmla="*/ 8154658 w 9240942"/>
              <a:gd name="connsiteY784" fmla="*/ 3452817 h 8714439"/>
              <a:gd name="connsiteX785" fmla="*/ 8192531 w 9240942"/>
              <a:gd name="connsiteY785" fmla="*/ 3431068 h 8714439"/>
              <a:gd name="connsiteX786" fmla="*/ 8178968 w 9240942"/>
              <a:gd name="connsiteY786" fmla="*/ 3467120 h 8714439"/>
              <a:gd name="connsiteX787" fmla="*/ 8146148 w 9240942"/>
              <a:gd name="connsiteY787" fmla="*/ 3494849 h 8714439"/>
              <a:gd name="connsiteX788" fmla="*/ 8123846 w 9240942"/>
              <a:gd name="connsiteY788" fmla="*/ 3532136 h 8714439"/>
              <a:gd name="connsiteX789" fmla="*/ 8101305 w 9240942"/>
              <a:gd name="connsiteY789" fmla="*/ 3577822 h 8714439"/>
              <a:gd name="connsiteX790" fmla="*/ 8120147 w 9240942"/>
              <a:gd name="connsiteY790" fmla="*/ 3588546 h 8714439"/>
              <a:gd name="connsiteX791" fmla="*/ 8125324 w 9240942"/>
              <a:gd name="connsiteY791" fmla="*/ 3565727 h 8714439"/>
              <a:gd name="connsiteX792" fmla="*/ 8489214 w 9240942"/>
              <a:gd name="connsiteY792" fmla="*/ 3258295 h 8714439"/>
              <a:gd name="connsiteX793" fmla="*/ 8510140 w 9240942"/>
              <a:gd name="connsiteY793" fmla="*/ 3257011 h 8714439"/>
              <a:gd name="connsiteX794" fmla="*/ 8534399 w 9240942"/>
              <a:gd name="connsiteY794" fmla="*/ 3236515 h 8714439"/>
              <a:gd name="connsiteX795" fmla="*/ 8555325 w 9240942"/>
              <a:gd name="connsiteY795" fmla="*/ 3235232 h 8714439"/>
              <a:gd name="connsiteX796" fmla="*/ 8561929 w 9240942"/>
              <a:gd name="connsiteY796" fmla="*/ 3211208 h 8714439"/>
              <a:gd name="connsiteX797" fmla="*/ 8596292 w 9240942"/>
              <a:gd name="connsiteY797" fmla="*/ 3202671 h 8714439"/>
              <a:gd name="connsiteX798" fmla="*/ 8617896 w 9240942"/>
              <a:gd name="connsiteY798" fmla="*/ 3186723 h 8714439"/>
              <a:gd name="connsiteX799" fmla="*/ 7052411 w 9240942"/>
              <a:gd name="connsiteY799" fmla="*/ 1479892 h 8714439"/>
              <a:gd name="connsiteX800" fmla="*/ 7061525 w 9240942"/>
              <a:gd name="connsiteY800" fmla="*/ 1482000 h 8714439"/>
              <a:gd name="connsiteX801" fmla="*/ 7132841 w 9240942"/>
              <a:gd name="connsiteY801" fmla="*/ 1566414 h 8714439"/>
              <a:gd name="connsiteX802" fmla="*/ 7133302 w 9240942"/>
              <a:gd name="connsiteY802" fmla="*/ 1592996 h 8714439"/>
              <a:gd name="connsiteX803" fmla="*/ 7156896 w 9240942"/>
              <a:gd name="connsiteY803" fmla="*/ 1580419 h 8714439"/>
              <a:gd name="connsiteX804" fmla="*/ 7190934 w 9240942"/>
              <a:gd name="connsiteY804" fmla="*/ 1585989 h 8714439"/>
              <a:gd name="connsiteX805" fmla="*/ 7207108 w 9240942"/>
              <a:gd name="connsiteY805" fmla="*/ 1631172 h 8714439"/>
              <a:gd name="connsiteX806" fmla="*/ 7188591 w 9240942"/>
              <a:gd name="connsiteY806" fmla="*/ 1678691 h 8714439"/>
              <a:gd name="connsiteX807" fmla="*/ 7155569 w 9240942"/>
              <a:gd name="connsiteY807" fmla="*/ 1709041 h 8714439"/>
              <a:gd name="connsiteX808" fmla="*/ 7176891 w 9240942"/>
              <a:gd name="connsiteY808" fmla="*/ 1740067 h 8714439"/>
              <a:gd name="connsiteX809" fmla="*/ 7214338 w 9240942"/>
              <a:gd name="connsiteY809" fmla="*/ 1752564 h 8714439"/>
              <a:gd name="connsiteX810" fmla="*/ 7199665 w 9240942"/>
              <a:gd name="connsiteY810" fmla="*/ 1801740 h 8714439"/>
              <a:gd name="connsiteX811" fmla="*/ 7237764 w 9240942"/>
              <a:gd name="connsiteY811" fmla="*/ 1806331 h 8714439"/>
              <a:gd name="connsiteX812" fmla="*/ 7264864 w 9240942"/>
              <a:gd name="connsiteY812" fmla="*/ 1783437 h 8714439"/>
              <a:gd name="connsiteX813" fmla="*/ 7311835 w 9240942"/>
              <a:gd name="connsiteY813" fmla="*/ 1760917 h 8714439"/>
              <a:gd name="connsiteX814" fmla="*/ 7314349 w 9240942"/>
              <a:gd name="connsiteY814" fmla="*/ 1746533 h 8714439"/>
              <a:gd name="connsiteX815" fmla="*/ 7344978 w 9240942"/>
              <a:gd name="connsiteY815" fmla="*/ 1745176 h 8714439"/>
              <a:gd name="connsiteX816" fmla="*/ 7345124 w 9240942"/>
              <a:gd name="connsiteY816" fmla="*/ 1791639 h 8714439"/>
              <a:gd name="connsiteX817" fmla="*/ 7389702 w 9240942"/>
              <a:gd name="connsiteY817" fmla="*/ 1798113 h 8714439"/>
              <a:gd name="connsiteX818" fmla="*/ 7384481 w 9240942"/>
              <a:gd name="connsiteY818" fmla="*/ 1861370 h 8714439"/>
              <a:gd name="connsiteX819" fmla="*/ 7389534 w 9240942"/>
              <a:gd name="connsiteY819" fmla="*/ 1864458 h 8714439"/>
              <a:gd name="connsiteX820" fmla="*/ 7418181 w 9240942"/>
              <a:gd name="connsiteY820" fmla="*/ 1854967 h 8714439"/>
              <a:gd name="connsiteX821" fmla="*/ 7439939 w 9240942"/>
              <a:gd name="connsiteY821" fmla="*/ 1880720 h 8714439"/>
              <a:gd name="connsiteX822" fmla="*/ 7427223 w 9240942"/>
              <a:gd name="connsiteY822" fmla="*/ 1906174 h 8714439"/>
              <a:gd name="connsiteX823" fmla="*/ 7423743 w 9240942"/>
              <a:gd name="connsiteY823" fmla="*/ 1948347 h 8714439"/>
              <a:gd name="connsiteX824" fmla="*/ 7399496 w 9240942"/>
              <a:gd name="connsiteY824" fmla="*/ 1968832 h 8714439"/>
              <a:gd name="connsiteX825" fmla="*/ 7417556 w 9240942"/>
              <a:gd name="connsiteY825" fmla="*/ 2039392 h 8714439"/>
              <a:gd name="connsiteX826" fmla="*/ 7404719 w 9240942"/>
              <a:gd name="connsiteY826" fmla="*/ 2050238 h 8714439"/>
              <a:gd name="connsiteX827" fmla="*/ 7412335 w 9240942"/>
              <a:gd name="connsiteY827" fmla="*/ 2102650 h 8714439"/>
              <a:gd name="connsiteX828" fmla="*/ 7408975 w 9240942"/>
              <a:gd name="connsiteY828" fmla="*/ 2159432 h 8714439"/>
              <a:gd name="connsiteX829" fmla="*/ 7417993 w 9240942"/>
              <a:gd name="connsiteY829" fmla="*/ 2178785 h 8714439"/>
              <a:gd name="connsiteX830" fmla="*/ 7399693 w 9240942"/>
              <a:gd name="connsiteY830" fmla="*/ 2223668 h 8714439"/>
              <a:gd name="connsiteX831" fmla="*/ 7376873 w 9240942"/>
              <a:gd name="connsiteY831" fmla="*/ 2242949 h 8714439"/>
              <a:gd name="connsiteX832" fmla="*/ 7344335 w 9240942"/>
              <a:gd name="connsiteY832" fmla="*/ 2331736 h 8714439"/>
              <a:gd name="connsiteX833" fmla="*/ 7332757 w 9240942"/>
              <a:gd name="connsiteY833" fmla="*/ 2407722 h 8714439"/>
              <a:gd name="connsiteX834" fmla="*/ 7294925 w 9240942"/>
              <a:gd name="connsiteY834" fmla="*/ 2464203 h 8714439"/>
              <a:gd name="connsiteX835" fmla="*/ 7257527 w 9240942"/>
              <a:gd name="connsiteY835" fmla="*/ 2515416 h 8714439"/>
              <a:gd name="connsiteX836" fmla="*/ 7236447 w 9240942"/>
              <a:gd name="connsiteY836" fmla="*/ 2513609 h 8714439"/>
              <a:gd name="connsiteX837" fmla="*/ 7126623 w 9240942"/>
              <a:gd name="connsiteY837" fmla="*/ 2606394 h 8714439"/>
              <a:gd name="connsiteX838" fmla="*/ 7105567 w 9240942"/>
              <a:gd name="connsiteY838" fmla="*/ 2636443 h 8714439"/>
              <a:gd name="connsiteX839" fmla="*/ 7088330 w 9240942"/>
              <a:gd name="connsiteY839" fmla="*/ 2636293 h 8714439"/>
              <a:gd name="connsiteX840" fmla="*/ 7086373 w 9240942"/>
              <a:gd name="connsiteY840" fmla="*/ 2660015 h 8714439"/>
              <a:gd name="connsiteX841" fmla="*/ 7063552 w 9240942"/>
              <a:gd name="connsiteY841" fmla="*/ 2679296 h 8714439"/>
              <a:gd name="connsiteX842" fmla="*/ 7060168 w 9240942"/>
              <a:gd name="connsiteY842" fmla="*/ 2704222 h 8714439"/>
              <a:gd name="connsiteX843" fmla="*/ 6976017 w 9240942"/>
              <a:gd name="connsiteY843" fmla="*/ 2775317 h 8714439"/>
              <a:gd name="connsiteX844" fmla="*/ 6974277 w 9240942"/>
              <a:gd name="connsiteY844" fmla="*/ 2796403 h 8714439"/>
              <a:gd name="connsiteX845" fmla="*/ 6890126 w 9240942"/>
              <a:gd name="connsiteY845" fmla="*/ 2867498 h 8714439"/>
              <a:gd name="connsiteX846" fmla="*/ 6888385 w 9240942"/>
              <a:gd name="connsiteY846" fmla="*/ 2888583 h 8714439"/>
              <a:gd name="connsiteX847" fmla="*/ 6842744 w 9240942"/>
              <a:gd name="connsiteY847" fmla="*/ 2927143 h 8714439"/>
              <a:gd name="connsiteX848" fmla="*/ 6825096 w 9240942"/>
              <a:gd name="connsiteY848" fmla="*/ 2964120 h 8714439"/>
              <a:gd name="connsiteX849" fmla="*/ 6802591 w 9240942"/>
              <a:gd name="connsiteY849" fmla="*/ 2963519 h 8714439"/>
              <a:gd name="connsiteX850" fmla="*/ 6766933 w 9240942"/>
              <a:gd name="connsiteY850" fmla="*/ 2993644 h 8714439"/>
              <a:gd name="connsiteX851" fmla="*/ 6764976 w 9240942"/>
              <a:gd name="connsiteY851" fmla="*/ 3017366 h 8714439"/>
              <a:gd name="connsiteX852" fmla="*/ 6705072 w 9240942"/>
              <a:gd name="connsiteY852" fmla="*/ 3067976 h 8714439"/>
              <a:gd name="connsiteX853" fmla="*/ 6702123 w 9240942"/>
              <a:gd name="connsiteY853" fmla="*/ 3087631 h 8714439"/>
              <a:gd name="connsiteX854" fmla="*/ 6653630 w 9240942"/>
              <a:gd name="connsiteY854" fmla="*/ 3128601 h 8714439"/>
              <a:gd name="connsiteX855" fmla="*/ 6652880 w 9240942"/>
              <a:gd name="connsiteY855" fmla="*/ 3153753 h 8714439"/>
              <a:gd name="connsiteX856" fmla="*/ 6591550 w 9240942"/>
              <a:gd name="connsiteY856" fmla="*/ 3205569 h 8714439"/>
              <a:gd name="connsiteX857" fmla="*/ 6589809 w 9240942"/>
              <a:gd name="connsiteY857" fmla="*/ 3226655 h 8714439"/>
              <a:gd name="connsiteX858" fmla="*/ 6555578 w 9240942"/>
              <a:gd name="connsiteY858" fmla="*/ 3255574 h 8714439"/>
              <a:gd name="connsiteX859" fmla="*/ 6552195 w 9240942"/>
              <a:gd name="connsiteY859" fmla="*/ 3280501 h 8714439"/>
              <a:gd name="connsiteX860" fmla="*/ 6468043 w 9240942"/>
              <a:gd name="connsiteY860" fmla="*/ 3351596 h 8714439"/>
              <a:gd name="connsiteX861" fmla="*/ 6464659 w 9240942"/>
              <a:gd name="connsiteY861" fmla="*/ 3376523 h 8714439"/>
              <a:gd name="connsiteX862" fmla="*/ 6404755 w 9240942"/>
              <a:gd name="connsiteY862" fmla="*/ 3427133 h 8714439"/>
              <a:gd name="connsiteX863" fmla="*/ 6403233 w 9240942"/>
              <a:gd name="connsiteY863" fmla="*/ 3445583 h 8714439"/>
              <a:gd name="connsiteX864" fmla="*/ 6341902 w 9240942"/>
              <a:gd name="connsiteY864" fmla="*/ 3497397 h 8714439"/>
              <a:gd name="connsiteX865" fmla="*/ 6341153 w 9240942"/>
              <a:gd name="connsiteY865" fmla="*/ 3522550 h 8714439"/>
              <a:gd name="connsiteX866" fmla="*/ 6279822 w 9240942"/>
              <a:gd name="connsiteY866" fmla="*/ 3574365 h 8714439"/>
              <a:gd name="connsiteX867" fmla="*/ 6277865 w 9240942"/>
              <a:gd name="connsiteY867" fmla="*/ 3598088 h 8714439"/>
              <a:gd name="connsiteX868" fmla="*/ 6180877 w 9240942"/>
              <a:gd name="connsiteY868" fmla="*/ 3680027 h 8714439"/>
              <a:gd name="connsiteX869" fmla="*/ 6179137 w 9240942"/>
              <a:gd name="connsiteY869" fmla="*/ 3701113 h 8714439"/>
              <a:gd name="connsiteX870" fmla="*/ 6120660 w 9240942"/>
              <a:gd name="connsiteY870" fmla="*/ 3750517 h 8714439"/>
              <a:gd name="connsiteX871" fmla="*/ 6117275 w 9240942"/>
              <a:gd name="connsiteY871" fmla="*/ 3775445 h 8714439"/>
              <a:gd name="connsiteX872" fmla="*/ 6068782 w 9240942"/>
              <a:gd name="connsiteY872" fmla="*/ 3816414 h 8714439"/>
              <a:gd name="connsiteX873" fmla="*/ 6066824 w 9240942"/>
              <a:gd name="connsiteY873" fmla="*/ 3840136 h 8714439"/>
              <a:gd name="connsiteX874" fmla="*/ 5994084 w 9240942"/>
              <a:gd name="connsiteY874" fmla="*/ 3901591 h 8714439"/>
              <a:gd name="connsiteX875" fmla="*/ 5992343 w 9240942"/>
              <a:gd name="connsiteY875" fmla="*/ 3922677 h 8714439"/>
              <a:gd name="connsiteX876" fmla="*/ 5919385 w 9240942"/>
              <a:gd name="connsiteY876" fmla="*/ 3986768 h 8714439"/>
              <a:gd name="connsiteX877" fmla="*/ 5917644 w 9240942"/>
              <a:gd name="connsiteY877" fmla="*/ 4007854 h 8714439"/>
              <a:gd name="connsiteX878" fmla="*/ 5869151 w 9240942"/>
              <a:gd name="connsiteY878" fmla="*/ 4048823 h 8714439"/>
              <a:gd name="connsiteX879" fmla="*/ 5868281 w 9240942"/>
              <a:gd name="connsiteY879" fmla="*/ 4059367 h 8714439"/>
              <a:gd name="connsiteX880" fmla="*/ 5879159 w 9240942"/>
              <a:gd name="connsiteY880" fmla="*/ 4072244 h 8714439"/>
              <a:gd name="connsiteX881" fmla="*/ 5922504 w 9240942"/>
              <a:gd name="connsiteY881" fmla="*/ 4045432 h 8714439"/>
              <a:gd name="connsiteX882" fmla="*/ 5946630 w 9240942"/>
              <a:gd name="connsiteY882" fmla="*/ 4010337 h 8714439"/>
              <a:gd name="connsiteX883" fmla="*/ 5962440 w 9240942"/>
              <a:gd name="connsiteY883" fmla="*/ 4011691 h 8714439"/>
              <a:gd name="connsiteX884" fmla="*/ 5986687 w 9240942"/>
              <a:gd name="connsiteY884" fmla="*/ 3991206 h 8714439"/>
              <a:gd name="connsiteX885" fmla="*/ 5988427 w 9240942"/>
              <a:gd name="connsiteY885" fmla="*/ 3970121 h 8714439"/>
              <a:gd name="connsiteX886" fmla="*/ 6022344 w 9240942"/>
              <a:gd name="connsiteY886" fmla="*/ 3961081 h 8714439"/>
              <a:gd name="connsiteX887" fmla="*/ 6059428 w 9240942"/>
              <a:gd name="connsiteY887" fmla="*/ 3929751 h 8714439"/>
              <a:gd name="connsiteX888" fmla="*/ 6062377 w 9240942"/>
              <a:gd name="connsiteY888" fmla="*/ 3910096 h 8714439"/>
              <a:gd name="connsiteX889" fmla="*/ 6193595 w 9240942"/>
              <a:gd name="connsiteY889" fmla="*/ 3799237 h 8714439"/>
              <a:gd name="connsiteX890" fmla="*/ 6198406 w 9240942"/>
              <a:gd name="connsiteY890" fmla="*/ 3773104 h 8714439"/>
              <a:gd name="connsiteX891" fmla="*/ 6389528 w 9240942"/>
              <a:gd name="connsiteY891" fmla="*/ 3611634 h 8714439"/>
              <a:gd name="connsiteX892" fmla="*/ 6392912 w 9240942"/>
              <a:gd name="connsiteY892" fmla="*/ 3586707 h 8714439"/>
              <a:gd name="connsiteX893" fmla="*/ 6426829 w 9240942"/>
              <a:gd name="connsiteY893" fmla="*/ 3577669 h 8714439"/>
              <a:gd name="connsiteX894" fmla="*/ 6429996 w 9240942"/>
              <a:gd name="connsiteY894" fmla="*/ 3555378 h 8714439"/>
              <a:gd name="connsiteX895" fmla="*/ 6449867 w 9240942"/>
              <a:gd name="connsiteY895" fmla="*/ 3555753 h 8714439"/>
              <a:gd name="connsiteX896" fmla="*/ 6455887 w 9240942"/>
              <a:gd name="connsiteY896" fmla="*/ 3531052 h 8714439"/>
              <a:gd name="connsiteX897" fmla="*/ 6511198 w 9240942"/>
              <a:gd name="connsiteY897" fmla="*/ 3503937 h 8714439"/>
              <a:gd name="connsiteX898" fmla="*/ 6515572 w 9240942"/>
              <a:gd name="connsiteY898" fmla="*/ 3483078 h 8714439"/>
              <a:gd name="connsiteX899" fmla="*/ 6551230 w 9240942"/>
              <a:gd name="connsiteY899" fmla="*/ 3452953 h 8714439"/>
              <a:gd name="connsiteX900" fmla="*/ 6573737 w 9240942"/>
              <a:gd name="connsiteY900" fmla="*/ 3453553 h 8714439"/>
              <a:gd name="connsiteX901" fmla="*/ 6597984 w 9240942"/>
              <a:gd name="connsiteY901" fmla="*/ 3433069 h 8714439"/>
              <a:gd name="connsiteX902" fmla="*/ 6599941 w 9240942"/>
              <a:gd name="connsiteY902" fmla="*/ 3409347 h 8714439"/>
              <a:gd name="connsiteX903" fmla="*/ 6622762 w 9240942"/>
              <a:gd name="connsiteY903" fmla="*/ 3390066 h 8714439"/>
              <a:gd name="connsiteX904" fmla="*/ 6650539 w 9240942"/>
              <a:gd name="connsiteY904" fmla="*/ 3391119 h 8714439"/>
              <a:gd name="connsiteX905" fmla="*/ 6663907 w 9240942"/>
              <a:gd name="connsiteY905" fmla="*/ 3357758 h 8714439"/>
              <a:gd name="connsiteX906" fmla="*/ 6696712 w 9240942"/>
              <a:gd name="connsiteY906" fmla="*/ 3330044 h 8714439"/>
              <a:gd name="connsiteX907" fmla="*/ 6718010 w 9240942"/>
              <a:gd name="connsiteY907" fmla="*/ 3329213 h 8714439"/>
              <a:gd name="connsiteX908" fmla="*/ 6722385 w 9240942"/>
              <a:gd name="connsiteY908" fmla="*/ 3308352 h 8714439"/>
              <a:gd name="connsiteX909" fmla="*/ 6745206 w 9240942"/>
              <a:gd name="connsiteY909" fmla="*/ 3289072 h 8714439"/>
              <a:gd name="connsiteX910" fmla="*/ 6747163 w 9240942"/>
              <a:gd name="connsiteY910" fmla="*/ 3265351 h 8714439"/>
              <a:gd name="connsiteX911" fmla="*/ 6779122 w 9240942"/>
              <a:gd name="connsiteY911" fmla="*/ 3280034 h 8714439"/>
              <a:gd name="connsiteX912" fmla="*/ 6781950 w 9240942"/>
              <a:gd name="connsiteY912" fmla="*/ 3245769 h 8714439"/>
              <a:gd name="connsiteX913" fmla="*/ 6759661 w 9240942"/>
              <a:gd name="connsiteY913" fmla="*/ 3242533 h 8714439"/>
              <a:gd name="connsiteX914" fmla="*/ 6776534 w 9240942"/>
              <a:gd name="connsiteY914" fmla="*/ 3198854 h 8714439"/>
              <a:gd name="connsiteX915" fmla="*/ 6792901 w 9240942"/>
              <a:gd name="connsiteY915" fmla="*/ 3209545 h 8714439"/>
              <a:gd name="connsiteX916" fmla="*/ 6814199 w 9240942"/>
              <a:gd name="connsiteY916" fmla="*/ 3208717 h 8714439"/>
              <a:gd name="connsiteX917" fmla="*/ 6829913 w 9240942"/>
              <a:gd name="connsiteY917" fmla="*/ 3227315 h 8714439"/>
              <a:gd name="connsiteX918" fmla="*/ 6865135 w 9240942"/>
              <a:gd name="connsiteY918" fmla="*/ 3202462 h 8714439"/>
              <a:gd name="connsiteX919" fmla="*/ 6866440 w 9240942"/>
              <a:gd name="connsiteY919" fmla="*/ 3186648 h 8714439"/>
              <a:gd name="connsiteX920" fmla="*/ 6894434 w 9240942"/>
              <a:gd name="connsiteY920" fmla="*/ 3185064 h 8714439"/>
              <a:gd name="connsiteX921" fmla="*/ 6906593 w 9240942"/>
              <a:gd name="connsiteY921" fmla="*/ 3150272 h 8714439"/>
              <a:gd name="connsiteX922" fmla="*/ 6969617 w 9240942"/>
              <a:gd name="connsiteY922" fmla="*/ 3158325 h 8714439"/>
              <a:gd name="connsiteX923" fmla="*/ 6973992 w 9240942"/>
              <a:gd name="connsiteY923" fmla="*/ 3137466 h 8714439"/>
              <a:gd name="connsiteX924" fmla="*/ 7014534 w 9240942"/>
              <a:gd name="connsiteY924" fmla="*/ 3176772 h 8714439"/>
              <a:gd name="connsiteX925" fmla="*/ 7013567 w 9240942"/>
              <a:gd name="connsiteY925" fmla="*/ 3204560 h 8714439"/>
              <a:gd name="connsiteX926" fmla="*/ 7063633 w 9240942"/>
              <a:gd name="connsiteY926" fmla="*/ 3208850 h 8714439"/>
              <a:gd name="connsiteX927" fmla="*/ 7068807 w 9240942"/>
              <a:gd name="connsiteY927" fmla="*/ 3226547 h 8714439"/>
              <a:gd name="connsiteX928" fmla="*/ 7045092 w 9240942"/>
              <a:gd name="connsiteY928" fmla="*/ 3224515 h 8714439"/>
              <a:gd name="connsiteX929" fmla="*/ 7021401 w 9240942"/>
              <a:gd name="connsiteY929" fmla="*/ 3254337 h 8714439"/>
              <a:gd name="connsiteX930" fmla="*/ 7084859 w 9240942"/>
              <a:gd name="connsiteY930" fmla="*/ 3257119 h 8714439"/>
              <a:gd name="connsiteX931" fmla="*/ 7087084 w 9240942"/>
              <a:gd name="connsiteY931" fmla="*/ 3294471 h 8714439"/>
              <a:gd name="connsiteX932" fmla="*/ 7062836 w 9240942"/>
              <a:gd name="connsiteY932" fmla="*/ 3314956 h 8714439"/>
              <a:gd name="connsiteX933" fmla="*/ 7059453 w 9240942"/>
              <a:gd name="connsiteY933" fmla="*/ 3339883 h 8714439"/>
              <a:gd name="connsiteX934" fmla="*/ 7036947 w 9240942"/>
              <a:gd name="connsiteY934" fmla="*/ 3339281 h 8714439"/>
              <a:gd name="connsiteX935" fmla="*/ 7036633 w 9240942"/>
              <a:gd name="connsiteY935" fmla="*/ 3359163 h 8714439"/>
              <a:gd name="connsiteX936" fmla="*/ 7010742 w 9240942"/>
              <a:gd name="connsiteY936" fmla="*/ 3383488 h 8714439"/>
              <a:gd name="connsiteX937" fmla="*/ 7021524 w 9240942"/>
              <a:gd name="connsiteY937" fmla="*/ 3413610 h 8714439"/>
              <a:gd name="connsiteX938" fmla="*/ 6990146 w 9240942"/>
              <a:gd name="connsiteY938" fmla="*/ 3440120 h 8714439"/>
              <a:gd name="connsiteX939" fmla="*/ 6969985 w 9240942"/>
              <a:gd name="connsiteY939" fmla="*/ 3491481 h 8714439"/>
              <a:gd name="connsiteX940" fmla="*/ 6992274 w 9240942"/>
              <a:gd name="connsiteY940" fmla="*/ 3494717 h 8714439"/>
              <a:gd name="connsiteX941" fmla="*/ 6957391 w 9240942"/>
              <a:gd name="connsiteY941" fmla="*/ 3531543 h 8714439"/>
              <a:gd name="connsiteX942" fmla="*/ 6936360 w 9240942"/>
              <a:gd name="connsiteY942" fmla="*/ 3593447 h 8714439"/>
              <a:gd name="connsiteX943" fmla="*/ 6916392 w 9240942"/>
              <a:gd name="connsiteY943" fmla="*/ 3610317 h 8714439"/>
              <a:gd name="connsiteX944" fmla="*/ 6910155 w 9240942"/>
              <a:gd name="connsiteY944" fmla="*/ 3637654 h 8714439"/>
              <a:gd name="connsiteX945" fmla="*/ 6864707 w 9240942"/>
              <a:gd name="connsiteY945" fmla="*/ 3641724 h 8714439"/>
              <a:gd name="connsiteX946" fmla="*/ 6880057 w 9240942"/>
              <a:gd name="connsiteY946" fmla="*/ 3616495 h 8714439"/>
              <a:gd name="connsiteX947" fmla="*/ 6874449 w 9240942"/>
              <a:gd name="connsiteY947" fmla="*/ 3604070 h 8714439"/>
              <a:gd name="connsiteX948" fmla="*/ 6873336 w 9240942"/>
              <a:gd name="connsiteY948" fmla="*/ 3585393 h 8714439"/>
              <a:gd name="connsiteX949" fmla="*/ 6874449 w 9240942"/>
              <a:gd name="connsiteY949" fmla="*/ 3604070 h 8714439"/>
              <a:gd name="connsiteX950" fmla="*/ 6845923 w 9240942"/>
              <a:gd name="connsiteY950" fmla="*/ 3628169 h 8714439"/>
              <a:gd name="connsiteX951" fmla="*/ 6843313 w 9240942"/>
              <a:gd name="connsiteY951" fmla="*/ 3659799 h 8714439"/>
              <a:gd name="connsiteX952" fmla="*/ 6874402 w 9240942"/>
              <a:gd name="connsiteY952" fmla="*/ 3685025 h 8714439"/>
              <a:gd name="connsiteX953" fmla="*/ 6844763 w 9240942"/>
              <a:gd name="connsiteY953" fmla="*/ 3690448 h 8714439"/>
              <a:gd name="connsiteX954" fmla="*/ 6837101 w 9240942"/>
              <a:gd name="connsiteY954" fmla="*/ 3718989 h 8714439"/>
              <a:gd name="connsiteX955" fmla="*/ 6814280 w 9240942"/>
              <a:gd name="connsiteY955" fmla="*/ 3738270 h 8714439"/>
              <a:gd name="connsiteX956" fmla="*/ 6812322 w 9240942"/>
              <a:gd name="connsiteY956" fmla="*/ 3761992 h 8714439"/>
              <a:gd name="connsiteX957" fmla="*/ 6691088 w 9240942"/>
              <a:gd name="connsiteY957" fmla="*/ 3864416 h 8714439"/>
              <a:gd name="connsiteX958" fmla="*/ 6687921 w 9240942"/>
              <a:gd name="connsiteY958" fmla="*/ 3886708 h 8714439"/>
              <a:gd name="connsiteX959" fmla="*/ 6672111 w 9240942"/>
              <a:gd name="connsiteY959" fmla="*/ 3885353 h 8714439"/>
              <a:gd name="connsiteX960" fmla="*/ 6636793 w 9240942"/>
              <a:gd name="connsiteY960" fmla="*/ 3927452 h 8714439"/>
              <a:gd name="connsiteX961" fmla="*/ 6619556 w 9240942"/>
              <a:gd name="connsiteY961" fmla="*/ 3927302 h 8714439"/>
              <a:gd name="connsiteX962" fmla="*/ 6583899 w 9240942"/>
              <a:gd name="connsiteY962" fmla="*/ 3957427 h 8714439"/>
              <a:gd name="connsiteX963" fmla="*/ 6579524 w 9240942"/>
              <a:gd name="connsiteY963" fmla="*/ 3978288 h 8714439"/>
              <a:gd name="connsiteX964" fmla="*/ 6471126 w 9240942"/>
              <a:gd name="connsiteY964" fmla="*/ 4069867 h 8714439"/>
              <a:gd name="connsiteX965" fmla="*/ 6469168 w 9240942"/>
              <a:gd name="connsiteY965" fmla="*/ 4093589 h 8714439"/>
              <a:gd name="connsiteX966" fmla="*/ 6441391 w 9240942"/>
              <a:gd name="connsiteY966" fmla="*/ 4092537 h 8714439"/>
              <a:gd name="connsiteX967" fmla="*/ 6426379 w 9240942"/>
              <a:gd name="connsiteY967" fmla="*/ 4129739 h 8714439"/>
              <a:gd name="connsiteX968" fmla="*/ 6347933 w 9240942"/>
              <a:gd name="connsiteY968" fmla="*/ 4196014 h 8714439"/>
              <a:gd name="connsiteX969" fmla="*/ 6346193 w 9240942"/>
              <a:gd name="connsiteY969" fmla="*/ 4217101 h 8714439"/>
              <a:gd name="connsiteX970" fmla="*/ 6324895 w 9240942"/>
              <a:gd name="connsiteY970" fmla="*/ 4217930 h 8714439"/>
              <a:gd name="connsiteX971" fmla="*/ 6276402 w 9240942"/>
              <a:gd name="connsiteY971" fmla="*/ 4258901 h 8714439"/>
              <a:gd name="connsiteX972" fmla="*/ 6273235 w 9240942"/>
              <a:gd name="connsiteY972" fmla="*/ 4281191 h 8714439"/>
              <a:gd name="connsiteX973" fmla="*/ 6248987 w 9240942"/>
              <a:gd name="connsiteY973" fmla="*/ 4301676 h 8714439"/>
              <a:gd name="connsiteX974" fmla="*/ 6225272 w 9240942"/>
              <a:gd name="connsiteY974" fmla="*/ 4299644 h 8714439"/>
              <a:gd name="connsiteX975" fmla="*/ 6176779 w 9240942"/>
              <a:gd name="connsiteY975" fmla="*/ 4340615 h 8714439"/>
              <a:gd name="connsiteX976" fmla="*/ 6176682 w 9240942"/>
              <a:gd name="connsiteY976" fmla="*/ 4357860 h 8714439"/>
              <a:gd name="connsiteX977" fmla="*/ 6139164 w 9240942"/>
              <a:gd name="connsiteY977" fmla="*/ 4394461 h 8714439"/>
              <a:gd name="connsiteX978" fmla="*/ 6116657 w 9240942"/>
              <a:gd name="connsiteY978" fmla="*/ 4393861 h 8714439"/>
              <a:gd name="connsiteX979" fmla="*/ 6114917 w 9240942"/>
              <a:gd name="connsiteY979" fmla="*/ 4414946 h 8714439"/>
              <a:gd name="connsiteX980" fmla="*/ 6006519 w 9240942"/>
              <a:gd name="connsiteY980" fmla="*/ 4506527 h 8714439"/>
              <a:gd name="connsiteX981" fmla="*/ 6004779 w 9240942"/>
              <a:gd name="connsiteY981" fmla="*/ 4527613 h 8714439"/>
              <a:gd name="connsiteX982" fmla="*/ 5929186 w 9240942"/>
              <a:gd name="connsiteY982" fmla="*/ 4591477 h 8714439"/>
              <a:gd name="connsiteX983" fmla="*/ 5909532 w 9240942"/>
              <a:gd name="connsiteY983" fmla="*/ 4588466 h 8714439"/>
              <a:gd name="connsiteX984" fmla="*/ 5905399 w 9240942"/>
              <a:gd name="connsiteY984" fmla="*/ 4638545 h 8714439"/>
              <a:gd name="connsiteX985" fmla="*/ 5866212 w 9240942"/>
              <a:gd name="connsiteY985" fmla="*/ 4647133 h 8714439"/>
              <a:gd name="connsiteX986" fmla="*/ 5629448 w 9240942"/>
              <a:gd name="connsiteY986" fmla="*/ 4847163 h 8714439"/>
              <a:gd name="connsiteX987" fmla="*/ 5608367 w 9240942"/>
              <a:gd name="connsiteY987" fmla="*/ 4845357 h 8714439"/>
              <a:gd name="connsiteX988" fmla="*/ 5602566 w 9240942"/>
              <a:gd name="connsiteY988" fmla="*/ 4867422 h 8714439"/>
              <a:gd name="connsiteX989" fmla="*/ 5398607 w 9240942"/>
              <a:gd name="connsiteY989" fmla="*/ 5039737 h 8714439"/>
              <a:gd name="connsiteX990" fmla="*/ 5395223 w 9240942"/>
              <a:gd name="connsiteY990" fmla="*/ 5064664 h 8714439"/>
              <a:gd name="connsiteX991" fmla="*/ 5372716 w 9240942"/>
              <a:gd name="connsiteY991" fmla="*/ 5064063 h 8714439"/>
              <a:gd name="connsiteX992" fmla="*/ 5251482 w 9240942"/>
              <a:gd name="connsiteY992" fmla="*/ 5166488 h 8714439"/>
              <a:gd name="connsiteX993" fmla="*/ 5251385 w 9240942"/>
              <a:gd name="connsiteY993" fmla="*/ 5183733 h 8714439"/>
              <a:gd name="connsiteX994" fmla="*/ 5192472 w 9240942"/>
              <a:gd name="connsiteY994" fmla="*/ 5238409 h 8714439"/>
              <a:gd name="connsiteX995" fmla="*/ 5160634 w 9240942"/>
              <a:gd name="connsiteY995" fmla="*/ 5238337 h 8714439"/>
              <a:gd name="connsiteX996" fmla="*/ 5149901 w 9240942"/>
              <a:gd name="connsiteY996" fmla="*/ 5271924 h 8714439"/>
              <a:gd name="connsiteX997" fmla="*/ 5034372 w 9240942"/>
              <a:gd name="connsiteY997" fmla="*/ 5369530 h 8714439"/>
              <a:gd name="connsiteX998" fmla="*/ 5029562 w 9240942"/>
              <a:gd name="connsiteY998" fmla="*/ 5395661 h 8714439"/>
              <a:gd name="connsiteX999" fmla="*/ 5005315 w 9240942"/>
              <a:gd name="connsiteY999" fmla="*/ 5416146 h 8714439"/>
              <a:gd name="connsiteX1000" fmla="*/ 4984234 w 9240942"/>
              <a:gd name="connsiteY1000" fmla="*/ 5414340 h 8714439"/>
              <a:gd name="connsiteX1001" fmla="*/ 4851591 w 9240942"/>
              <a:gd name="connsiteY1001" fmla="*/ 5526405 h 8714439"/>
              <a:gd name="connsiteX1002" fmla="*/ 4827874 w 9240942"/>
              <a:gd name="connsiteY1002" fmla="*/ 5524373 h 8714439"/>
              <a:gd name="connsiteX1003" fmla="*/ 4813297 w 9240942"/>
              <a:gd name="connsiteY1003" fmla="*/ 5556304 h 8714439"/>
              <a:gd name="connsiteX1004" fmla="*/ 4776214 w 9240942"/>
              <a:gd name="connsiteY1004" fmla="*/ 5587634 h 8714439"/>
              <a:gd name="connsiteX1005" fmla="*/ 4756341 w 9240942"/>
              <a:gd name="connsiteY1005" fmla="*/ 5587259 h 8714439"/>
              <a:gd name="connsiteX1006" fmla="*/ 4751967 w 9240942"/>
              <a:gd name="connsiteY1006" fmla="*/ 5608119 h 8714439"/>
              <a:gd name="connsiteX1007" fmla="*/ 4692063 w 9240942"/>
              <a:gd name="connsiteY1007" fmla="*/ 5658729 h 8714439"/>
              <a:gd name="connsiteX1008" fmla="*/ 4670765 w 9240942"/>
              <a:gd name="connsiteY1008" fmla="*/ 5659560 h 8714439"/>
              <a:gd name="connsiteX1009" fmla="*/ 4666390 w 9240942"/>
              <a:gd name="connsiteY1009" fmla="*/ 5680419 h 8714439"/>
              <a:gd name="connsiteX1010" fmla="*/ 4645309 w 9240942"/>
              <a:gd name="connsiteY1010" fmla="*/ 5678614 h 8714439"/>
              <a:gd name="connsiteX1011" fmla="*/ 4643569 w 9240942"/>
              <a:gd name="connsiteY1011" fmla="*/ 5699699 h 8714439"/>
              <a:gd name="connsiteX1012" fmla="*/ 4510707 w 9240942"/>
              <a:gd name="connsiteY1012" fmla="*/ 5814400 h 8714439"/>
              <a:gd name="connsiteX1013" fmla="*/ 4507540 w 9240942"/>
              <a:gd name="connsiteY1013" fmla="*/ 5836692 h 8714439"/>
              <a:gd name="connsiteX1014" fmla="*/ 4486460 w 9240942"/>
              <a:gd name="connsiteY1014" fmla="*/ 5834885 h 8714439"/>
              <a:gd name="connsiteX1015" fmla="*/ 4388046 w 9240942"/>
              <a:gd name="connsiteY1015" fmla="*/ 5918030 h 8714439"/>
              <a:gd name="connsiteX1016" fmla="*/ 4386524 w 9240942"/>
              <a:gd name="connsiteY1016" fmla="*/ 5936480 h 8714439"/>
              <a:gd name="connsiteX1017" fmla="*/ 4312356 w 9240942"/>
              <a:gd name="connsiteY1017" fmla="*/ 5999141 h 8714439"/>
              <a:gd name="connsiteX1018" fmla="*/ 4279648 w 9240942"/>
              <a:gd name="connsiteY1018" fmla="*/ 6009611 h 8714439"/>
              <a:gd name="connsiteX1019" fmla="*/ 4276482 w 9240942"/>
              <a:gd name="connsiteY1019" fmla="*/ 6031901 h 8714439"/>
              <a:gd name="connsiteX1020" fmla="*/ 4131000 w 9240942"/>
              <a:gd name="connsiteY1020" fmla="*/ 6154811 h 8714439"/>
              <a:gd name="connsiteX1021" fmla="*/ 4104650 w 9240942"/>
              <a:gd name="connsiteY1021" fmla="*/ 6152554 h 8714439"/>
              <a:gd name="connsiteX1022" fmla="*/ 4087003 w 9240942"/>
              <a:gd name="connsiteY1022" fmla="*/ 6189531 h 8714439"/>
              <a:gd name="connsiteX1023" fmla="*/ 3901586 w 9240942"/>
              <a:gd name="connsiteY1023" fmla="*/ 6346180 h 8714439"/>
              <a:gd name="connsiteX1024" fmla="*/ 3896340 w 9240942"/>
              <a:gd name="connsiteY1024" fmla="*/ 6377583 h 8714439"/>
              <a:gd name="connsiteX1025" fmla="*/ 3864067 w 9240942"/>
              <a:gd name="connsiteY1025" fmla="*/ 6382782 h 8714439"/>
              <a:gd name="connsiteX1026" fmla="*/ 3767080 w 9240942"/>
              <a:gd name="connsiteY1026" fmla="*/ 6464722 h 8714439"/>
              <a:gd name="connsiteX1027" fmla="*/ 3765556 w 9240942"/>
              <a:gd name="connsiteY1027" fmla="*/ 6483172 h 8714439"/>
              <a:gd name="connsiteX1028" fmla="*/ 3450347 w 9240942"/>
              <a:gd name="connsiteY1028" fmla="*/ 6749477 h 8714439"/>
              <a:gd name="connsiteX1029" fmla="*/ 3446963 w 9240942"/>
              <a:gd name="connsiteY1029" fmla="*/ 6774404 h 8714439"/>
              <a:gd name="connsiteX1030" fmla="*/ 3411306 w 9240942"/>
              <a:gd name="connsiteY1030" fmla="*/ 6804529 h 8714439"/>
              <a:gd name="connsiteX1031" fmla="*/ 3388798 w 9240942"/>
              <a:gd name="connsiteY1031" fmla="*/ 6803928 h 8714439"/>
              <a:gd name="connsiteX1032" fmla="*/ 3372795 w 9240942"/>
              <a:gd name="connsiteY1032" fmla="*/ 6837064 h 8714439"/>
              <a:gd name="connsiteX1033" fmla="*/ 3339992 w 9240942"/>
              <a:gd name="connsiteY1033" fmla="*/ 6864779 h 8714439"/>
              <a:gd name="connsiteX1034" fmla="*/ 3314631 w 9240942"/>
              <a:gd name="connsiteY1034" fmla="*/ 6866588 h 8714439"/>
              <a:gd name="connsiteX1035" fmla="*/ 3243318 w 9240942"/>
              <a:gd name="connsiteY1035" fmla="*/ 6926838 h 8714439"/>
              <a:gd name="connsiteX1036" fmla="*/ 3223664 w 9240942"/>
              <a:gd name="connsiteY1036" fmla="*/ 6923828 h 8714439"/>
              <a:gd name="connsiteX1037" fmla="*/ 3172318 w 9240942"/>
              <a:gd name="connsiteY1037" fmla="*/ 6967208 h 8714439"/>
              <a:gd name="connsiteX1038" fmla="*/ 3170795 w 9240942"/>
              <a:gd name="connsiteY1038" fmla="*/ 6985658 h 8714439"/>
              <a:gd name="connsiteX1039" fmla="*/ 3025313 w 9240942"/>
              <a:gd name="connsiteY1039" fmla="*/ 7108568 h 8714439"/>
              <a:gd name="connsiteX1040" fmla="*/ 3021930 w 9240942"/>
              <a:gd name="connsiteY1040" fmla="*/ 7133494 h 8714439"/>
              <a:gd name="connsiteX1041" fmla="*/ 2865038 w 9240942"/>
              <a:gd name="connsiteY1041" fmla="*/ 7266044 h 8714439"/>
              <a:gd name="connsiteX1042" fmla="*/ 2863080 w 9240942"/>
              <a:gd name="connsiteY1042" fmla="*/ 7289766 h 8714439"/>
              <a:gd name="connsiteX1043" fmla="*/ 2754682 w 9240942"/>
              <a:gd name="connsiteY1043" fmla="*/ 7381346 h 8714439"/>
              <a:gd name="connsiteX1044" fmla="*/ 2726906 w 9240942"/>
              <a:gd name="connsiteY1044" fmla="*/ 7380294 h 8714439"/>
              <a:gd name="connsiteX1045" fmla="*/ 2712111 w 9240942"/>
              <a:gd name="connsiteY1045" fmla="*/ 7414861 h 8714439"/>
              <a:gd name="connsiteX1046" fmla="*/ 2489609 w 9240942"/>
              <a:gd name="connsiteY1046" fmla="*/ 7602840 h 8714439"/>
              <a:gd name="connsiteX1047" fmla="*/ 2484800 w 9240942"/>
              <a:gd name="connsiteY1047" fmla="*/ 7628973 h 8714439"/>
              <a:gd name="connsiteX1048" fmla="*/ 2424896 w 9240942"/>
              <a:gd name="connsiteY1048" fmla="*/ 7679581 h 8714439"/>
              <a:gd name="connsiteX1049" fmla="*/ 2402389 w 9240942"/>
              <a:gd name="connsiteY1049" fmla="*/ 7678982 h 8714439"/>
              <a:gd name="connsiteX1050" fmla="*/ 2375290 w 9240942"/>
              <a:gd name="connsiteY1050" fmla="*/ 7701876 h 8714439"/>
              <a:gd name="connsiteX1051" fmla="*/ 2308640 w 9240942"/>
              <a:gd name="connsiteY1051" fmla="*/ 7689531 h 8714439"/>
              <a:gd name="connsiteX1052" fmla="*/ 2309196 w 9240942"/>
              <a:gd name="connsiteY1052" fmla="*/ 7698868 h 8714439"/>
              <a:gd name="connsiteX1053" fmla="*/ 2272862 w 9240942"/>
              <a:gd name="connsiteY1053" fmla="*/ 7705046 h 8714439"/>
              <a:gd name="connsiteX1054" fmla="*/ 2253111 w 9240942"/>
              <a:gd name="connsiteY1054" fmla="*/ 7719280 h 8714439"/>
              <a:gd name="connsiteX1055" fmla="*/ 2218638 w 9240942"/>
              <a:gd name="connsiteY1055" fmla="*/ 7718982 h 8714439"/>
              <a:gd name="connsiteX1056" fmla="*/ 2191368 w 9240942"/>
              <a:gd name="connsiteY1056" fmla="*/ 7663558 h 8714439"/>
              <a:gd name="connsiteX1057" fmla="*/ 2163881 w 9240942"/>
              <a:gd name="connsiteY1057" fmla="*/ 7610771 h 8714439"/>
              <a:gd name="connsiteX1058" fmla="*/ 2119423 w 9240942"/>
              <a:gd name="connsiteY1058" fmla="*/ 7618906 h 8714439"/>
              <a:gd name="connsiteX1059" fmla="*/ 2082340 w 9240942"/>
              <a:gd name="connsiteY1059" fmla="*/ 7650236 h 8714439"/>
              <a:gd name="connsiteX1060" fmla="*/ 2063556 w 9240942"/>
              <a:gd name="connsiteY1060" fmla="*/ 7636683 h 8714439"/>
              <a:gd name="connsiteX1061" fmla="*/ 2076923 w 9240942"/>
              <a:gd name="connsiteY1061" fmla="*/ 7603321 h 8714439"/>
              <a:gd name="connsiteX1062" fmla="*/ 2024102 w 9240942"/>
              <a:gd name="connsiteY1062" fmla="*/ 7584197 h 8714439"/>
              <a:gd name="connsiteX1063" fmla="*/ 2024077 w 9240942"/>
              <a:gd name="connsiteY1063" fmla="*/ 7552343 h 8714439"/>
              <a:gd name="connsiteX1064" fmla="*/ 2056882 w 9240942"/>
              <a:gd name="connsiteY1064" fmla="*/ 7524628 h 8714439"/>
              <a:gd name="connsiteX1065" fmla="*/ 2075399 w 9240942"/>
              <a:gd name="connsiteY1065" fmla="*/ 7477108 h 8714439"/>
              <a:gd name="connsiteX1066" fmla="*/ 2054850 w 9240942"/>
              <a:gd name="connsiteY1066" fmla="*/ 7452785 h 8714439"/>
              <a:gd name="connsiteX1067" fmla="*/ 2057025 w 9240942"/>
              <a:gd name="connsiteY1067" fmla="*/ 7426428 h 8714439"/>
              <a:gd name="connsiteX1068" fmla="*/ 2015324 w 9240942"/>
              <a:gd name="connsiteY1068" fmla="*/ 7449399 h 8714439"/>
              <a:gd name="connsiteX1069" fmla="*/ 2011673 w 9240942"/>
              <a:gd name="connsiteY1069" fmla="*/ 7413253 h 8714439"/>
              <a:gd name="connsiteX1070" fmla="*/ 2035920 w 9240942"/>
              <a:gd name="connsiteY1070" fmla="*/ 7392768 h 8714439"/>
              <a:gd name="connsiteX1071" fmla="*/ 2059636 w 9240942"/>
              <a:gd name="connsiteY1071" fmla="*/ 7394799 h 8714439"/>
              <a:gd name="connsiteX1072" fmla="*/ 2091278 w 9240942"/>
              <a:gd name="connsiteY1072" fmla="*/ 7284699 h 8714439"/>
              <a:gd name="connsiteX1073" fmla="*/ 2136919 w 9240942"/>
              <a:gd name="connsiteY1073" fmla="*/ 7246139 h 8714439"/>
              <a:gd name="connsiteX1074" fmla="*/ 2140304 w 9240942"/>
              <a:gd name="connsiteY1074" fmla="*/ 7221212 h 8714439"/>
              <a:gd name="connsiteX1075" fmla="*/ 2201634 w 9240942"/>
              <a:gd name="connsiteY1075" fmla="*/ 7169397 h 8714439"/>
              <a:gd name="connsiteX1076" fmla="*/ 2199868 w 9240942"/>
              <a:gd name="connsiteY1076" fmla="*/ 7158628 h 8714439"/>
              <a:gd name="connsiteX1077" fmla="*/ 2202165 w 9240942"/>
              <a:gd name="connsiteY1077" fmla="*/ 7146880 h 8714439"/>
              <a:gd name="connsiteX1078" fmla="*/ 2287742 w 9240942"/>
              <a:gd name="connsiteY1078" fmla="*/ 7074580 h 8714439"/>
              <a:gd name="connsiteX1079" fmla="*/ 2288057 w 9240942"/>
              <a:gd name="connsiteY1079" fmla="*/ 7054700 h 8714439"/>
              <a:gd name="connsiteX1080" fmla="*/ 2336549 w 9240942"/>
              <a:gd name="connsiteY1080" fmla="*/ 7013730 h 8714439"/>
              <a:gd name="connsiteX1081" fmla="*/ 2338508 w 9240942"/>
              <a:gd name="connsiteY1081" fmla="*/ 6990008 h 8714439"/>
              <a:gd name="connsiteX1082" fmla="*/ 2375592 w 9240942"/>
              <a:gd name="connsiteY1082" fmla="*/ 6958678 h 8714439"/>
              <a:gd name="connsiteX1083" fmla="*/ 2377549 w 9240942"/>
              <a:gd name="connsiteY1083" fmla="*/ 6934957 h 8714439"/>
              <a:gd name="connsiteX1084" fmla="*/ 2450290 w 9240942"/>
              <a:gd name="connsiteY1084" fmla="*/ 6873501 h 8714439"/>
              <a:gd name="connsiteX1085" fmla="*/ 2452030 w 9240942"/>
              <a:gd name="connsiteY1085" fmla="*/ 6852415 h 8714439"/>
              <a:gd name="connsiteX1086" fmla="*/ 2499098 w 9240942"/>
              <a:gd name="connsiteY1086" fmla="*/ 6812651 h 8714439"/>
              <a:gd name="connsiteX1087" fmla="*/ 2502482 w 9240942"/>
              <a:gd name="connsiteY1087" fmla="*/ 6787723 h 8714439"/>
              <a:gd name="connsiteX1088" fmla="*/ 2575223 w 9240942"/>
              <a:gd name="connsiteY1088" fmla="*/ 6726269 h 8714439"/>
              <a:gd name="connsiteX1089" fmla="*/ 2576528 w 9240942"/>
              <a:gd name="connsiteY1089" fmla="*/ 6710454 h 8714439"/>
              <a:gd name="connsiteX1090" fmla="*/ 2577180 w 9240942"/>
              <a:gd name="connsiteY1090" fmla="*/ 6702547 h 8714439"/>
              <a:gd name="connsiteX1091" fmla="*/ 2637084 w 9240942"/>
              <a:gd name="connsiteY1091" fmla="*/ 6651937 h 8714439"/>
              <a:gd name="connsiteX1092" fmla="*/ 2638824 w 9240942"/>
              <a:gd name="connsiteY1092" fmla="*/ 6630851 h 8714439"/>
              <a:gd name="connsiteX1093" fmla="*/ 2704869 w 9240942"/>
              <a:gd name="connsiteY1093" fmla="*/ 6570150 h 8714439"/>
              <a:gd name="connsiteX1094" fmla="*/ 2667882 w 9240942"/>
              <a:gd name="connsiteY1094" fmla="*/ 6584234 h 8714439"/>
              <a:gd name="connsiteX1095" fmla="*/ 2640444 w 9240942"/>
              <a:gd name="connsiteY1095" fmla="*/ 6595156 h 8714439"/>
              <a:gd name="connsiteX1096" fmla="*/ 2607300 w 9240942"/>
              <a:gd name="connsiteY1096" fmla="*/ 6610897 h 8714439"/>
              <a:gd name="connsiteX1097" fmla="*/ 2602489 w 9240942"/>
              <a:gd name="connsiteY1097" fmla="*/ 6637029 h 8714439"/>
              <a:gd name="connsiteX1098" fmla="*/ 2566832 w 9240942"/>
              <a:gd name="connsiteY1098" fmla="*/ 6667154 h 8714439"/>
              <a:gd name="connsiteX1099" fmla="*/ 2544325 w 9240942"/>
              <a:gd name="connsiteY1099" fmla="*/ 6666553 h 8714439"/>
              <a:gd name="connsiteX1100" fmla="*/ 2508668 w 9240942"/>
              <a:gd name="connsiteY1100" fmla="*/ 6696678 h 8714439"/>
              <a:gd name="connsiteX1101" fmla="*/ 2482319 w 9240942"/>
              <a:gd name="connsiteY1101" fmla="*/ 6694421 h 8714439"/>
              <a:gd name="connsiteX1102" fmla="*/ 2467742 w 9240942"/>
              <a:gd name="connsiteY1102" fmla="*/ 6726351 h 8714439"/>
              <a:gd name="connsiteX1103" fmla="*/ 2407039 w 9240942"/>
              <a:gd name="connsiteY1103" fmla="*/ 6738405 h 8714439"/>
              <a:gd name="connsiteX1104" fmla="*/ 2364251 w 9240942"/>
              <a:gd name="connsiteY1104" fmla="*/ 6774555 h 8714439"/>
              <a:gd name="connsiteX1105" fmla="*/ 2344597 w 9240942"/>
              <a:gd name="connsiteY1105" fmla="*/ 6771543 h 8714439"/>
              <a:gd name="connsiteX1106" fmla="*/ 2308939 w 9240942"/>
              <a:gd name="connsiteY1106" fmla="*/ 6801669 h 8714439"/>
              <a:gd name="connsiteX1107" fmla="*/ 2285005 w 9240942"/>
              <a:gd name="connsiteY1107" fmla="*/ 6802273 h 8714439"/>
              <a:gd name="connsiteX1108" fmla="*/ 2281840 w 9240942"/>
              <a:gd name="connsiteY1108" fmla="*/ 6824564 h 8714439"/>
              <a:gd name="connsiteX1109" fmla="*/ 2262185 w 9240942"/>
              <a:gd name="connsiteY1109" fmla="*/ 6821553 h 8714439"/>
              <a:gd name="connsiteX1110" fmla="*/ 2185600 w 9240942"/>
              <a:gd name="connsiteY1110" fmla="*/ 6881351 h 8714439"/>
              <a:gd name="connsiteX1111" fmla="*/ 2155189 w 9240942"/>
              <a:gd name="connsiteY1111" fmla="*/ 6880073 h 8714439"/>
              <a:gd name="connsiteX1112" fmla="*/ 2127727 w 9240942"/>
              <a:gd name="connsiteY1112" fmla="*/ 6859141 h 8714439"/>
              <a:gd name="connsiteX1113" fmla="*/ 2134351 w 9240942"/>
              <a:gd name="connsiteY1113" fmla="*/ 6907487 h 8714439"/>
              <a:gd name="connsiteX1114" fmla="*/ 2108678 w 9240942"/>
              <a:gd name="connsiteY1114" fmla="*/ 6929176 h 8714439"/>
              <a:gd name="connsiteX1115" fmla="*/ 2060160 w 9240942"/>
              <a:gd name="connsiteY1115" fmla="*/ 6938292 h 8714439"/>
              <a:gd name="connsiteX1116" fmla="*/ 2024477 w 9240942"/>
              <a:gd name="connsiteY1116" fmla="*/ 6936562 h 8714439"/>
              <a:gd name="connsiteX1117" fmla="*/ 2021310 w 9240942"/>
              <a:gd name="connsiteY1117" fmla="*/ 6958853 h 8714439"/>
              <a:gd name="connsiteX1118" fmla="*/ 1984421 w 9240942"/>
              <a:gd name="connsiteY1118" fmla="*/ 6955693 h 8714439"/>
              <a:gd name="connsiteX1119" fmla="*/ 1957200 w 9240942"/>
              <a:gd name="connsiteY1119" fmla="*/ 6963978 h 8714439"/>
              <a:gd name="connsiteX1120" fmla="*/ 1934572 w 9240942"/>
              <a:gd name="connsiteY1120" fmla="*/ 6948769 h 8714439"/>
              <a:gd name="connsiteX1121" fmla="*/ 1904838 w 9240942"/>
              <a:gd name="connsiteY1121" fmla="*/ 6971437 h 8714439"/>
              <a:gd name="connsiteX1122" fmla="*/ 1879575 w 9240942"/>
              <a:gd name="connsiteY1122" fmla="*/ 6956001 h 8714439"/>
              <a:gd name="connsiteX1123" fmla="*/ 1858832 w 9240942"/>
              <a:gd name="connsiteY1123" fmla="*/ 6966169 h 8714439"/>
              <a:gd name="connsiteX1124" fmla="*/ 1830379 w 9240942"/>
              <a:gd name="connsiteY1124" fmla="*/ 6941169 h 8714439"/>
              <a:gd name="connsiteX1125" fmla="*/ 1808090 w 9240942"/>
              <a:gd name="connsiteY1125" fmla="*/ 6937932 h 8714439"/>
              <a:gd name="connsiteX1126" fmla="*/ 1786331 w 9240942"/>
              <a:gd name="connsiteY1126" fmla="*/ 6912180 h 8714439"/>
              <a:gd name="connsiteX1127" fmla="*/ 1771513 w 9240942"/>
              <a:gd name="connsiteY1127" fmla="*/ 6914892 h 8714439"/>
              <a:gd name="connsiteX1128" fmla="*/ 1690214 w 9240942"/>
              <a:gd name="connsiteY1128" fmla="*/ 6983577 h 8714439"/>
              <a:gd name="connsiteX1129" fmla="*/ 1669135 w 9240942"/>
              <a:gd name="connsiteY1129" fmla="*/ 6981771 h 8714439"/>
              <a:gd name="connsiteX1130" fmla="*/ 1594968 w 9240942"/>
              <a:gd name="connsiteY1130" fmla="*/ 7044431 h 8714439"/>
              <a:gd name="connsiteX1131" fmla="*/ 1593226 w 9240942"/>
              <a:gd name="connsiteY1131" fmla="*/ 7065517 h 8714439"/>
              <a:gd name="connsiteX1132" fmla="*/ 1512507 w 9240942"/>
              <a:gd name="connsiteY1132" fmla="*/ 7030731 h 8714439"/>
              <a:gd name="connsiteX1133" fmla="*/ 1485915 w 9240942"/>
              <a:gd name="connsiteY1133" fmla="*/ 6999255 h 8714439"/>
              <a:gd name="connsiteX1134" fmla="*/ 1485237 w 9240942"/>
              <a:gd name="connsiteY1134" fmla="*/ 6975307 h 8714439"/>
              <a:gd name="connsiteX1135" fmla="*/ 1458887 w 9240942"/>
              <a:gd name="connsiteY1135" fmla="*/ 6973050 h 8714439"/>
              <a:gd name="connsiteX1136" fmla="*/ 1452600 w 9240942"/>
              <a:gd name="connsiteY1136" fmla="*/ 6936677 h 8714439"/>
              <a:gd name="connsiteX1137" fmla="*/ 1433261 w 9240942"/>
              <a:gd name="connsiteY1137" fmla="*/ 6913785 h 8714439"/>
              <a:gd name="connsiteX1138" fmla="*/ 1459804 w 9240942"/>
              <a:gd name="connsiteY1138" fmla="*/ 6881553 h 8714439"/>
              <a:gd name="connsiteX1139" fmla="*/ 1449239 w 9240942"/>
              <a:gd name="connsiteY1139" fmla="*/ 6848795 h 8714439"/>
              <a:gd name="connsiteX1140" fmla="*/ 1473172 w 9240942"/>
              <a:gd name="connsiteY1140" fmla="*/ 6848191 h 8714439"/>
              <a:gd name="connsiteX1141" fmla="*/ 1442953 w 9240942"/>
              <a:gd name="connsiteY1141" fmla="*/ 6812422 h 8714439"/>
              <a:gd name="connsiteX1142" fmla="*/ 1438578 w 9240942"/>
              <a:gd name="connsiteY1142" fmla="*/ 6833283 h 8714439"/>
              <a:gd name="connsiteX1143" fmla="*/ 1418706 w 9240942"/>
              <a:gd name="connsiteY1143" fmla="*/ 6832907 h 8714439"/>
              <a:gd name="connsiteX1144" fmla="*/ 1408408 w 9240942"/>
              <a:gd name="connsiteY1144" fmla="*/ 6861224 h 8714439"/>
              <a:gd name="connsiteX1145" fmla="*/ 1391486 w 9240942"/>
              <a:gd name="connsiteY1145" fmla="*/ 6841193 h 8714439"/>
              <a:gd name="connsiteX1146" fmla="*/ 1406836 w 9240942"/>
              <a:gd name="connsiteY1146" fmla="*/ 6815965 h 8714439"/>
              <a:gd name="connsiteX1147" fmla="*/ 1397263 w 9240942"/>
              <a:gd name="connsiteY1147" fmla="*/ 6787273 h 8714439"/>
              <a:gd name="connsiteX1148" fmla="*/ 1413361 w 9240942"/>
              <a:gd name="connsiteY1148" fmla="*/ 6736892 h 8714439"/>
              <a:gd name="connsiteX1149" fmla="*/ 1437052 w 9240942"/>
              <a:gd name="connsiteY1149" fmla="*/ 6707069 h 8714439"/>
              <a:gd name="connsiteX1150" fmla="*/ 1407704 w 9240942"/>
              <a:gd name="connsiteY1150" fmla="*/ 6660758 h 8714439"/>
              <a:gd name="connsiteX1151" fmla="*/ 1409105 w 9240942"/>
              <a:gd name="connsiteY1151" fmla="*/ 6627698 h 8714439"/>
              <a:gd name="connsiteX1152" fmla="*/ 1429291 w 9240942"/>
              <a:gd name="connsiteY1152" fmla="*/ 6608193 h 8714439"/>
              <a:gd name="connsiteX1153" fmla="*/ 1438163 w 9240942"/>
              <a:gd name="connsiteY1153" fmla="*/ 6581081 h 8714439"/>
              <a:gd name="connsiteX1154" fmla="*/ 1454382 w 9240942"/>
              <a:gd name="connsiteY1154" fmla="*/ 6545310 h 8714439"/>
              <a:gd name="connsiteX1155" fmla="*/ 1507156 w 9240942"/>
              <a:gd name="connsiteY1155" fmla="*/ 6500726 h 8714439"/>
              <a:gd name="connsiteX1156" fmla="*/ 1511748 w 9240942"/>
              <a:gd name="connsiteY1156" fmla="*/ 6477229 h 8714439"/>
              <a:gd name="connsiteX1157" fmla="*/ 1547406 w 9240942"/>
              <a:gd name="connsiteY1157" fmla="*/ 6447105 h 8714439"/>
              <a:gd name="connsiteX1158" fmla="*/ 1550789 w 9240942"/>
              <a:gd name="connsiteY1158" fmla="*/ 6422178 h 8714439"/>
              <a:gd name="connsiteX1159" fmla="*/ 1622103 w 9240942"/>
              <a:gd name="connsiteY1159" fmla="*/ 6361928 h 8714439"/>
              <a:gd name="connsiteX1160" fmla="*/ 1623845 w 9240942"/>
              <a:gd name="connsiteY1160" fmla="*/ 6340841 h 8714439"/>
              <a:gd name="connsiteX1161" fmla="*/ 1685175 w 9240942"/>
              <a:gd name="connsiteY1161" fmla="*/ 6289027 h 8714439"/>
              <a:gd name="connsiteX1162" fmla="*/ 1687133 w 9240942"/>
              <a:gd name="connsiteY1162" fmla="*/ 6265305 h 8714439"/>
              <a:gd name="connsiteX1163" fmla="*/ 1771284 w 9240942"/>
              <a:gd name="connsiteY1163" fmla="*/ 6194210 h 8714439"/>
              <a:gd name="connsiteX1164" fmla="*/ 1771815 w 9240942"/>
              <a:gd name="connsiteY1164" fmla="*/ 6171693 h 8714439"/>
              <a:gd name="connsiteX1165" fmla="*/ 1794322 w 9240942"/>
              <a:gd name="connsiteY1165" fmla="*/ 6172295 h 8714439"/>
              <a:gd name="connsiteX1166" fmla="*/ 1797488 w 9240942"/>
              <a:gd name="connsiteY1166" fmla="*/ 6150004 h 8714439"/>
              <a:gd name="connsiteX1167" fmla="*/ 1918722 w 9240942"/>
              <a:gd name="connsiteY1167" fmla="*/ 6047578 h 8714439"/>
              <a:gd name="connsiteX1168" fmla="*/ 1918601 w 9240942"/>
              <a:gd name="connsiteY1168" fmla="*/ 6032969 h 8714439"/>
              <a:gd name="connsiteX1169" fmla="*/ 1920681 w 9240942"/>
              <a:gd name="connsiteY1169" fmla="*/ 6023857 h 8714439"/>
              <a:gd name="connsiteX1170" fmla="*/ 2066161 w 9240942"/>
              <a:gd name="connsiteY1170" fmla="*/ 5900947 h 8714439"/>
              <a:gd name="connsiteX1171" fmla="*/ 2067902 w 9240942"/>
              <a:gd name="connsiteY1171" fmla="*/ 5879861 h 8714439"/>
              <a:gd name="connsiteX1172" fmla="*/ 2213383 w 9240942"/>
              <a:gd name="connsiteY1172" fmla="*/ 5756951 h 8714439"/>
              <a:gd name="connsiteX1173" fmla="*/ 2215123 w 9240942"/>
              <a:gd name="connsiteY1173" fmla="*/ 5735864 h 8714439"/>
              <a:gd name="connsiteX1174" fmla="*/ 2289290 w 9240942"/>
              <a:gd name="connsiteY1174" fmla="*/ 5673205 h 8714439"/>
              <a:gd name="connsiteX1175" fmla="*/ 2310589 w 9240942"/>
              <a:gd name="connsiteY1175" fmla="*/ 5672374 h 8714439"/>
              <a:gd name="connsiteX1176" fmla="*/ 2331982 w 9240942"/>
              <a:gd name="connsiteY1176" fmla="*/ 5654300 h 8714439"/>
              <a:gd name="connsiteX1177" fmla="*/ 2352579 w 9240942"/>
              <a:gd name="connsiteY1177" fmla="*/ 5597668 h 8714439"/>
              <a:gd name="connsiteX1178" fmla="*/ 2372450 w 9240942"/>
              <a:gd name="connsiteY1178" fmla="*/ 5598043 h 8714439"/>
              <a:gd name="connsiteX1179" fmla="*/ 2375617 w 9240942"/>
              <a:gd name="connsiteY1179" fmla="*/ 5575753 h 8714439"/>
              <a:gd name="connsiteX1180" fmla="*/ 2404723 w 9240942"/>
              <a:gd name="connsiteY1180" fmla="*/ 5592845 h 8714439"/>
              <a:gd name="connsiteX1181" fmla="*/ 2430179 w 9240942"/>
              <a:gd name="connsiteY1181" fmla="*/ 5573790 h 8714439"/>
              <a:gd name="connsiteX1182" fmla="*/ 2434772 w 9240942"/>
              <a:gd name="connsiteY1182" fmla="*/ 5550294 h 8714439"/>
              <a:gd name="connsiteX1183" fmla="*/ 2456070 w 9240942"/>
              <a:gd name="connsiteY1183" fmla="*/ 5549465 h 8714439"/>
              <a:gd name="connsiteX1184" fmla="*/ 2480317 w 9240942"/>
              <a:gd name="connsiteY1184" fmla="*/ 5528980 h 8714439"/>
              <a:gd name="connsiteX1185" fmla="*/ 2471734 w 9240942"/>
              <a:gd name="connsiteY1185" fmla="*/ 5504355 h 8714439"/>
              <a:gd name="connsiteX1186" fmla="*/ 2471178 w 9240942"/>
              <a:gd name="connsiteY1186" fmla="*/ 5495017 h 8714439"/>
              <a:gd name="connsiteX1187" fmla="*/ 2531082 w 9240942"/>
              <a:gd name="connsiteY1187" fmla="*/ 5444407 h 8714439"/>
              <a:gd name="connsiteX1188" fmla="*/ 2553589 w 9240942"/>
              <a:gd name="connsiteY1188" fmla="*/ 5445008 h 8714439"/>
              <a:gd name="connsiteX1189" fmla="*/ 2556538 w 9240942"/>
              <a:gd name="connsiteY1189" fmla="*/ 5425353 h 8714439"/>
              <a:gd name="connsiteX1190" fmla="*/ 2607884 w 9240942"/>
              <a:gd name="connsiteY1190" fmla="*/ 5381973 h 8714439"/>
              <a:gd name="connsiteX1191" fmla="*/ 2640810 w 9240942"/>
              <a:gd name="connsiteY1191" fmla="*/ 5368867 h 8714439"/>
              <a:gd name="connsiteX1192" fmla="*/ 2621252 w 9240942"/>
              <a:gd name="connsiteY1192" fmla="*/ 5348611 h 8714439"/>
              <a:gd name="connsiteX1193" fmla="*/ 2560985 w 9240942"/>
              <a:gd name="connsiteY1193" fmla="*/ 5355392 h 8714439"/>
              <a:gd name="connsiteX1194" fmla="*/ 2525328 w 9240942"/>
              <a:gd name="connsiteY1194" fmla="*/ 5385517 h 8714439"/>
              <a:gd name="connsiteX1195" fmla="*/ 2497551 w 9240942"/>
              <a:gd name="connsiteY1195" fmla="*/ 5384466 h 8714439"/>
              <a:gd name="connsiteX1196" fmla="*/ 2491922 w 9240942"/>
              <a:gd name="connsiteY1196" fmla="*/ 5398417 h 8714439"/>
              <a:gd name="connsiteX1197" fmla="*/ 2483909 w 9240942"/>
              <a:gd name="connsiteY1197" fmla="*/ 5416442 h 8714439"/>
              <a:gd name="connsiteX1198" fmla="*/ 2421159 w 9240942"/>
              <a:gd name="connsiteY1198" fmla="*/ 5409774 h 8714439"/>
              <a:gd name="connsiteX1199" fmla="*/ 2396912 w 9240942"/>
              <a:gd name="connsiteY1199" fmla="*/ 5430259 h 8714439"/>
              <a:gd name="connsiteX1200" fmla="*/ 2374406 w 9240942"/>
              <a:gd name="connsiteY1200" fmla="*/ 5429659 h 8714439"/>
              <a:gd name="connsiteX1201" fmla="*/ 2350159 w 9240942"/>
              <a:gd name="connsiteY1201" fmla="*/ 5450144 h 8714439"/>
              <a:gd name="connsiteX1202" fmla="*/ 2346992 w 9240942"/>
              <a:gd name="connsiteY1202" fmla="*/ 5472434 h 8714439"/>
              <a:gd name="connsiteX1203" fmla="*/ 2314187 w 9240942"/>
              <a:gd name="connsiteY1203" fmla="*/ 5500149 h 8714439"/>
              <a:gd name="connsiteX1204" fmla="*/ 2288827 w 9240942"/>
              <a:gd name="connsiteY1204" fmla="*/ 5501958 h 8714439"/>
              <a:gd name="connsiteX1205" fmla="*/ 2251745 w 9240942"/>
              <a:gd name="connsiteY1205" fmla="*/ 5533289 h 8714439"/>
              <a:gd name="connsiteX1206" fmla="*/ 2250222 w 9240942"/>
              <a:gd name="connsiteY1206" fmla="*/ 5551738 h 8714439"/>
              <a:gd name="connsiteX1207" fmla="*/ 2163219 w 9240942"/>
              <a:gd name="connsiteY1207" fmla="*/ 5625244 h 8714439"/>
              <a:gd name="connsiteX1208" fmla="*/ 2144773 w 9240942"/>
              <a:gd name="connsiteY1208" fmla="*/ 5623664 h 8714439"/>
              <a:gd name="connsiteX1209" fmla="*/ 2141607 w 9240942"/>
              <a:gd name="connsiteY1209" fmla="*/ 5645954 h 8714439"/>
              <a:gd name="connsiteX1210" fmla="*/ 2117360 w 9240942"/>
              <a:gd name="connsiteY1210" fmla="*/ 5666440 h 8714439"/>
              <a:gd name="connsiteX1211" fmla="*/ 2094853 w 9240942"/>
              <a:gd name="connsiteY1211" fmla="*/ 5665838 h 8714439"/>
              <a:gd name="connsiteX1212" fmla="*/ 2070606 w 9240942"/>
              <a:gd name="connsiteY1212" fmla="*/ 5686323 h 8714439"/>
              <a:gd name="connsiteX1213" fmla="*/ 2068866 w 9240942"/>
              <a:gd name="connsiteY1213" fmla="*/ 5707410 h 8714439"/>
              <a:gd name="connsiteX1214" fmla="*/ 2026827 w 9240942"/>
              <a:gd name="connsiteY1214" fmla="*/ 5718407 h 8714439"/>
              <a:gd name="connsiteX1215" fmla="*/ 2017736 w 9240942"/>
              <a:gd name="connsiteY1215" fmla="*/ 5748153 h 8714439"/>
              <a:gd name="connsiteX1216" fmla="*/ 1997866 w 9240942"/>
              <a:gd name="connsiteY1216" fmla="*/ 5747778 h 8714439"/>
              <a:gd name="connsiteX1217" fmla="*/ 1878058 w 9240942"/>
              <a:gd name="connsiteY1217" fmla="*/ 5848999 h 8714439"/>
              <a:gd name="connsiteX1218" fmla="*/ 1852916 w 9240942"/>
              <a:gd name="connsiteY1218" fmla="*/ 5848171 h 8714439"/>
              <a:gd name="connsiteX1219" fmla="*/ 1853037 w 9240942"/>
              <a:gd name="connsiteY1219" fmla="*/ 5862781 h 8714439"/>
              <a:gd name="connsiteX1220" fmla="*/ 1814092 w 9240942"/>
              <a:gd name="connsiteY1220" fmla="*/ 5900588 h 8714439"/>
              <a:gd name="connsiteX1221" fmla="*/ 1793012 w 9240942"/>
              <a:gd name="connsiteY1221" fmla="*/ 5898782 h 8714439"/>
              <a:gd name="connsiteX1222" fmla="*/ 1744518 w 9240942"/>
              <a:gd name="connsiteY1222" fmla="*/ 5939752 h 8714439"/>
              <a:gd name="connsiteX1223" fmla="*/ 1723438 w 9240942"/>
              <a:gd name="connsiteY1223" fmla="*/ 5937946 h 8714439"/>
              <a:gd name="connsiteX1224" fmla="*/ 1719062 w 9240942"/>
              <a:gd name="connsiteY1224" fmla="*/ 5958806 h 8714439"/>
              <a:gd name="connsiteX1225" fmla="*/ 1696556 w 9240942"/>
              <a:gd name="connsiteY1225" fmla="*/ 5958205 h 8714439"/>
              <a:gd name="connsiteX1226" fmla="*/ 1649487 w 9240942"/>
              <a:gd name="connsiteY1226" fmla="*/ 5997970 h 8714439"/>
              <a:gd name="connsiteX1227" fmla="*/ 1625772 w 9240942"/>
              <a:gd name="connsiteY1227" fmla="*/ 5995938 h 8714439"/>
              <a:gd name="connsiteX1228" fmla="*/ 1588689 w 9240942"/>
              <a:gd name="connsiteY1228" fmla="*/ 6027269 h 8714439"/>
              <a:gd name="connsiteX1229" fmla="*/ 1570243 w 9240942"/>
              <a:gd name="connsiteY1229" fmla="*/ 6025688 h 8714439"/>
              <a:gd name="connsiteX1230" fmla="*/ 1521750 w 9240942"/>
              <a:gd name="connsiteY1230" fmla="*/ 6066658 h 8714439"/>
              <a:gd name="connsiteX1231" fmla="*/ 1474319 w 9240942"/>
              <a:gd name="connsiteY1231" fmla="*/ 6062595 h 8714439"/>
              <a:gd name="connsiteX1232" fmla="*/ 1446011 w 9240942"/>
              <a:gd name="connsiteY1232" fmla="*/ 6084060 h 8714439"/>
              <a:gd name="connsiteX1233" fmla="*/ 1408347 w 9240942"/>
              <a:gd name="connsiteY1233" fmla="*/ 6074197 h 8714439"/>
              <a:gd name="connsiteX1234" fmla="*/ 1350401 w 9240942"/>
              <a:gd name="connsiteY1234" fmla="*/ 6101085 h 8714439"/>
              <a:gd name="connsiteX1235" fmla="*/ 1300237 w 9240942"/>
              <a:gd name="connsiteY1235" fmla="*/ 6114041 h 8714439"/>
              <a:gd name="connsiteX1236" fmla="*/ 1287933 w 9240942"/>
              <a:gd name="connsiteY1236" fmla="*/ 6102370 h 8714439"/>
              <a:gd name="connsiteX1237" fmla="*/ 1202184 w 9240942"/>
              <a:gd name="connsiteY1237" fmla="*/ 6096351 h 8714439"/>
              <a:gd name="connsiteX1238" fmla="*/ 1145615 w 9240942"/>
              <a:gd name="connsiteY1238" fmla="*/ 6058326 h 8714439"/>
              <a:gd name="connsiteX1239" fmla="*/ 1158549 w 9240942"/>
              <a:gd name="connsiteY1239" fmla="*/ 6030235 h 8714439"/>
              <a:gd name="connsiteX1240" fmla="*/ 1147548 w 9240942"/>
              <a:gd name="connsiteY1240" fmla="*/ 6002749 h 8714439"/>
              <a:gd name="connsiteX1241" fmla="*/ 1180475 w 9240942"/>
              <a:gd name="connsiteY1241" fmla="*/ 5989643 h 8714439"/>
              <a:gd name="connsiteX1242" fmla="*/ 1184850 w 9240942"/>
              <a:gd name="connsiteY1242" fmla="*/ 5968784 h 8714439"/>
              <a:gd name="connsiteX1243" fmla="*/ 1204963 w 9240942"/>
              <a:gd name="connsiteY1243" fmla="*/ 5998378 h 8714439"/>
              <a:gd name="connsiteX1244" fmla="*/ 1248454 w 9240942"/>
              <a:gd name="connsiteY1244" fmla="*/ 6018029 h 8714439"/>
              <a:gd name="connsiteX1245" fmla="*/ 1262693 w 9240942"/>
              <a:gd name="connsiteY1245" fmla="*/ 5974125 h 8714439"/>
              <a:gd name="connsiteX1246" fmla="*/ 1240403 w 9240942"/>
              <a:gd name="connsiteY1246" fmla="*/ 5970889 h 8714439"/>
              <a:gd name="connsiteX1247" fmla="*/ 1243013 w 9240942"/>
              <a:gd name="connsiteY1247" fmla="*/ 5939259 h 8714439"/>
              <a:gd name="connsiteX1248" fmla="*/ 1265520 w 9240942"/>
              <a:gd name="connsiteY1248" fmla="*/ 5939860 h 8714439"/>
              <a:gd name="connsiteX1249" fmla="*/ 1268348 w 9240942"/>
              <a:gd name="connsiteY1249" fmla="*/ 5905596 h 8714439"/>
              <a:gd name="connsiteX1250" fmla="*/ 1234431 w 9240942"/>
              <a:gd name="connsiteY1250" fmla="*/ 5914635 h 8714439"/>
              <a:gd name="connsiteX1251" fmla="*/ 1256913 w 9240942"/>
              <a:gd name="connsiteY1251" fmla="*/ 5883382 h 8714439"/>
              <a:gd name="connsiteX1252" fmla="*/ 1280846 w 9240942"/>
              <a:gd name="connsiteY1252" fmla="*/ 5882778 h 8714439"/>
              <a:gd name="connsiteX1253" fmla="*/ 1303667 w 9240942"/>
              <a:gd name="connsiteY1253" fmla="*/ 5863497 h 8714439"/>
              <a:gd name="connsiteX1254" fmla="*/ 1327381 w 9240942"/>
              <a:gd name="connsiteY1254" fmla="*/ 5865529 h 8714439"/>
              <a:gd name="connsiteX1255" fmla="*/ 1448617 w 9240942"/>
              <a:gd name="connsiteY1255" fmla="*/ 5763104 h 8714439"/>
              <a:gd name="connsiteX1256" fmla="*/ 1472332 w 9240942"/>
              <a:gd name="connsiteY1256" fmla="*/ 5765135 h 8714439"/>
              <a:gd name="connsiteX1257" fmla="*/ 1472646 w 9240942"/>
              <a:gd name="connsiteY1257" fmla="*/ 5745254 h 8714439"/>
              <a:gd name="connsiteX1258" fmla="*/ 1548239 w 9240942"/>
              <a:gd name="connsiteY1258" fmla="*/ 5681389 h 8714439"/>
              <a:gd name="connsiteX1259" fmla="*/ 1566685 w 9240942"/>
              <a:gd name="connsiteY1259" fmla="*/ 5682969 h 8714439"/>
              <a:gd name="connsiteX1260" fmla="*/ 1605194 w 9240942"/>
              <a:gd name="connsiteY1260" fmla="*/ 5650435 h 8714439"/>
              <a:gd name="connsiteX1261" fmla="*/ 1606717 w 9240942"/>
              <a:gd name="connsiteY1261" fmla="*/ 5631984 h 8714439"/>
              <a:gd name="connsiteX1262" fmla="*/ 1629224 w 9240942"/>
              <a:gd name="connsiteY1262" fmla="*/ 5632585 h 8714439"/>
              <a:gd name="connsiteX1263" fmla="*/ 1631181 w 9240942"/>
              <a:gd name="connsiteY1263" fmla="*/ 5608863 h 8714439"/>
              <a:gd name="connsiteX1264" fmla="*/ 1739578 w 9240942"/>
              <a:gd name="connsiteY1264" fmla="*/ 5517283 h 8714439"/>
              <a:gd name="connsiteX1265" fmla="*/ 1767356 w 9240942"/>
              <a:gd name="connsiteY1265" fmla="*/ 5518335 h 8714439"/>
              <a:gd name="connsiteX1266" fmla="*/ 1781715 w 9240942"/>
              <a:gd name="connsiteY1266" fmla="*/ 5489041 h 8714439"/>
              <a:gd name="connsiteX1267" fmla="*/ 1799170 w 9240942"/>
              <a:gd name="connsiteY1267" fmla="*/ 5486555 h 8714439"/>
              <a:gd name="connsiteX1268" fmla="*/ 1846237 w 9240942"/>
              <a:gd name="connsiteY1268" fmla="*/ 5446790 h 8714439"/>
              <a:gd name="connsiteX1269" fmla="*/ 1850395 w 9240942"/>
              <a:gd name="connsiteY1269" fmla="*/ 5428565 h 8714439"/>
              <a:gd name="connsiteX1270" fmla="*/ 1881242 w 9240942"/>
              <a:gd name="connsiteY1270" fmla="*/ 5424571 h 8714439"/>
              <a:gd name="connsiteX1271" fmla="*/ 1887696 w 9240942"/>
              <a:gd name="connsiteY1271" fmla="*/ 5394599 h 8714439"/>
              <a:gd name="connsiteX1272" fmla="*/ 1907567 w 9240942"/>
              <a:gd name="connsiteY1272" fmla="*/ 5394974 h 8714439"/>
              <a:gd name="connsiteX1273" fmla="*/ 1984152 w 9240942"/>
              <a:gd name="connsiteY1273" fmla="*/ 5335175 h 8714439"/>
              <a:gd name="connsiteX1274" fmla="*/ 2002597 w 9240942"/>
              <a:gd name="connsiteY1274" fmla="*/ 5336756 h 8714439"/>
              <a:gd name="connsiteX1275" fmla="*/ 2007190 w 9240942"/>
              <a:gd name="connsiteY1275" fmla="*/ 5313260 h 8714439"/>
              <a:gd name="connsiteX1276" fmla="*/ 2054257 w 9240942"/>
              <a:gd name="connsiteY1276" fmla="*/ 5273495 h 8714439"/>
              <a:gd name="connsiteX1277" fmla="*/ 2055998 w 9240942"/>
              <a:gd name="connsiteY1277" fmla="*/ 5252409 h 8714439"/>
              <a:gd name="connsiteX1278" fmla="*/ 2131591 w 9240942"/>
              <a:gd name="connsiteY1278" fmla="*/ 5188544 h 8714439"/>
              <a:gd name="connsiteX1279" fmla="*/ 2151245 w 9240942"/>
              <a:gd name="connsiteY1279" fmla="*/ 5191554 h 8714439"/>
              <a:gd name="connsiteX1280" fmla="*/ 2248233 w 9240942"/>
              <a:gd name="connsiteY1280" fmla="*/ 5109615 h 8714439"/>
              <a:gd name="connsiteX1281" fmla="*/ 2250190 w 9240942"/>
              <a:gd name="connsiteY1281" fmla="*/ 5085893 h 8714439"/>
              <a:gd name="connsiteX1282" fmla="*/ 2287274 w 9240942"/>
              <a:gd name="connsiteY1282" fmla="*/ 5054563 h 8714439"/>
              <a:gd name="connsiteX1283" fmla="*/ 2304293 w 9240942"/>
              <a:gd name="connsiteY1283" fmla="*/ 5057348 h 8714439"/>
              <a:gd name="connsiteX1284" fmla="*/ 2316693 w 9240942"/>
              <a:gd name="connsiteY1284" fmla="*/ 5051775 h 8714439"/>
              <a:gd name="connsiteX1285" fmla="*/ 2369467 w 9240942"/>
              <a:gd name="connsiteY1285" fmla="*/ 5007190 h 8714439"/>
              <a:gd name="connsiteX1286" fmla="*/ 2374060 w 9240942"/>
              <a:gd name="connsiteY1286" fmla="*/ 4983694 h 8714439"/>
              <a:gd name="connsiteX1287" fmla="*/ 2414890 w 9240942"/>
              <a:gd name="connsiteY1287" fmla="*/ 4971265 h 8714439"/>
              <a:gd name="connsiteX1288" fmla="*/ 2423980 w 9240942"/>
              <a:gd name="connsiteY1288" fmla="*/ 4941518 h 8714439"/>
              <a:gd name="connsiteX1289" fmla="*/ 2445374 w 9240942"/>
              <a:gd name="connsiteY1289" fmla="*/ 4923444 h 8714439"/>
              <a:gd name="connsiteX1290" fmla="*/ 2467881 w 9240942"/>
              <a:gd name="connsiteY1290" fmla="*/ 4924045 h 8714439"/>
              <a:gd name="connsiteX1291" fmla="*/ 2721760 w 9240942"/>
              <a:gd name="connsiteY1291" fmla="*/ 4709554 h 8714439"/>
              <a:gd name="connsiteX1292" fmla="*/ 2744267 w 9240942"/>
              <a:gd name="connsiteY1292" fmla="*/ 4710155 h 8714439"/>
              <a:gd name="connsiteX1293" fmla="*/ 2749077 w 9240942"/>
              <a:gd name="connsiteY1293" fmla="*/ 4684024 h 8714439"/>
              <a:gd name="connsiteX1294" fmla="*/ 2785629 w 9240942"/>
              <a:gd name="connsiteY1294" fmla="*/ 4675210 h 8714439"/>
              <a:gd name="connsiteX1295" fmla="*/ 2817006 w 9240942"/>
              <a:gd name="connsiteY1295" fmla="*/ 4648700 h 8714439"/>
              <a:gd name="connsiteX1296" fmla="*/ 2821164 w 9240942"/>
              <a:gd name="connsiteY1296" fmla="*/ 4630476 h 8714439"/>
              <a:gd name="connsiteX1297" fmla="*/ 2850803 w 9240942"/>
              <a:gd name="connsiteY1297" fmla="*/ 4625052 h 8714439"/>
              <a:gd name="connsiteX1298" fmla="*/ 2858466 w 9240942"/>
              <a:gd name="connsiteY1298" fmla="*/ 4596510 h 8714439"/>
              <a:gd name="connsiteX1299" fmla="*/ 2871641 w 9240942"/>
              <a:gd name="connsiteY1299" fmla="*/ 4597639 h 8714439"/>
              <a:gd name="connsiteX1300" fmla="*/ 2885252 w 9240942"/>
              <a:gd name="connsiteY1300" fmla="*/ 4593496 h 8714439"/>
              <a:gd name="connsiteX1301" fmla="*/ 2963697 w 9240942"/>
              <a:gd name="connsiteY1301" fmla="*/ 4527221 h 8714439"/>
              <a:gd name="connsiteX1302" fmla="*/ 2965655 w 9240942"/>
              <a:gd name="connsiteY1302" fmla="*/ 4503500 h 8714439"/>
              <a:gd name="connsiteX1303" fmla="*/ 3006486 w 9240942"/>
              <a:gd name="connsiteY1303" fmla="*/ 4491071 h 8714439"/>
              <a:gd name="connsiteX1304" fmla="*/ 3016566 w 9240942"/>
              <a:gd name="connsiteY1304" fmla="*/ 4465391 h 8714439"/>
              <a:gd name="connsiteX1305" fmla="*/ 3036656 w 9240942"/>
              <a:gd name="connsiteY1305" fmla="*/ 4463130 h 8714439"/>
              <a:gd name="connsiteX1306" fmla="*/ 3167874 w 9240942"/>
              <a:gd name="connsiteY1306" fmla="*/ 4352271 h 8714439"/>
              <a:gd name="connsiteX1307" fmla="*/ 3193016 w 9240942"/>
              <a:gd name="connsiteY1307" fmla="*/ 4353097 h 8714439"/>
              <a:gd name="connsiteX1308" fmla="*/ 3194756 w 9240942"/>
              <a:gd name="connsiteY1308" fmla="*/ 4332012 h 8714439"/>
              <a:gd name="connsiteX1309" fmla="*/ 3207593 w 9240942"/>
              <a:gd name="connsiteY1309" fmla="*/ 4321167 h 8714439"/>
              <a:gd name="connsiteX1310" fmla="*/ 3227247 w 9240942"/>
              <a:gd name="connsiteY1310" fmla="*/ 4324177 h 8714439"/>
              <a:gd name="connsiteX1311" fmla="*/ 3301195 w 9240942"/>
              <a:gd name="connsiteY1311" fmla="*/ 4264153 h 8714439"/>
              <a:gd name="connsiteX1312" fmla="*/ 3306441 w 9240942"/>
              <a:gd name="connsiteY1312" fmla="*/ 4232750 h 8714439"/>
              <a:gd name="connsiteX1313" fmla="*/ 3343985 w 9240942"/>
              <a:gd name="connsiteY1313" fmla="*/ 4228002 h 8714439"/>
              <a:gd name="connsiteX1314" fmla="*/ 3473777 w 9240942"/>
              <a:gd name="connsiteY1314" fmla="*/ 4118348 h 8714439"/>
              <a:gd name="connsiteX1315" fmla="*/ 3494857 w 9240942"/>
              <a:gd name="connsiteY1315" fmla="*/ 4120153 h 8714439"/>
              <a:gd name="connsiteX1316" fmla="*/ 3496814 w 9240942"/>
              <a:gd name="connsiteY1316" fmla="*/ 4096432 h 8714439"/>
              <a:gd name="connsiteX1317" fmla="*/ 3556719 w 9240942"/>
              <a:gd name="connsiteY1317" fmla="*/ 4045822 h 8714439"/>
              <a:gd name="connsiteX1318" fmla="*/ 3580435 w 9240942"/>
              <a:gd name="connsiteY1318" fmla="*/ 4047853 h 8714439"/>
              <a:gd name="connsiteX1319" fmla="*/ 3580749 w 9240942"/>
              <a:gd name="connsiteY1319" fmla="*/ 4027973 h 8714439"/>
              <a:gd name="connsiteX1320" fmla="*/ 3602046 w 9240942"/>
              <a:gd name="connsiteY1320" fmla="*/ 4027143 h 8714439"/>
              <a:gd name="connsiteX1321" fmla="*/ 3696180 w 9240942"/>
              <a:gd name="connsiteY1321" fmla="*/ 3947612 h 8714439"/>
              <a:gd name="connsiteX1322" fmla="*/ 3722749 w 9240942"/>
              <a:gd name="connsiteY1322" fmla="*/ 3947234 h 8714439"/>
              <a:gd name="connsiteX1323" fmla="*/ 3746996 w 9240942"/>
              <a:gd name="connsiteY1323" fmla="*/ 3926749 h 8714439"/>
              <a:gd name="connsiteX1324" fmla="*/ 3751372 w 9240942"/>
              <a:gd name="connsiteY1324" fmla="*/ 3905888 h 8714439"/>
              <a:gd name="connsiteX1325" fmla="*/ 3772452 w 9240942"/>
              <a:gd name="connsiteY1325" fmla="*/ 3907694 h 8714439"/>
              <a:gd name="connsiteX1326" fmla="*/ 3845193 w 9240942"/>
              <a:gd name="connsiteY1326" fmla="*/ 3846240 h 8714439"/>
              <a:gd name="connsiteX1327" fmla="*/ 3867699 w 9240942"/>
              <a:gd name="connsiteY1327" fmla="*/ 3846841 h 8714439"/>
              <a:gd name="connsiteX1328" fmla="*/ 3869221 w 9240942"/>
              <a:gd name="connsiteY1328" fmla="*/ 3828391 h 8714439"/>
              <a:gd name="connsiteX1329" fmla="*/ 3920568 w 9240942"/>
              <a:gd name="connsiteY1329" fmla="*/ 3785010 h 8714439"/>
              <a:gd name="connsiteX1330" fmla="*/ 3939014 w 9240942"/>
              <a:gd name="connsiteY1330" fmla="*/ 3786591 h 8714439"/>
              <a:gd name="connsiteX1331" fmla="*/ 4083069 w 9240942"/>
              <a:gd name="connsiteY1331" fmla="*/ 3664885 h 8714439"/>
              <a:gd name="connsiteX1332" fmla="*/ 4107003 w 9240942"/>
              <a:gd name="connsiteY1332" fmla="*/ 3664282 h 8714439"/>
              <a:gd name="connsiteX1333" fmla="*/ 4111377 w 9240942"/>
              <a:gd name="connsiteY1333" fmla="*/ 3643421 h 8714439"/>
              <a:gd name="connsiteX1334" fmla="*/ 4147034 w 9240942"/>
              <a:gd name="connsiteY1334" fmla="*/ 3613296 h 8714439"/>
              <a:gd name="connsiteX1335" fmla="*/ 4169541 w 9240942"/>
              <a:gd name="connsiteY1335" fmla="*/ 3613897 h 8714439"/>
              <a:gd name="connsiteX1336" fmla="*/ 4412009 w 9240942"/>
              <a:gd name="connsiteY1336" fmla="*/ 3409048 h 8714439"/>
              <a:gd name="connsiteX1337" fmla="*/ 4434516 w 9240942"/>
              <a:gd name="connsiteY1337" fmla="*/ 3409649 h 8714439"/>
              <a:gd name="connsiteX1338" fmla="*/ 4439327 w 9240942"/>
              <a:gd name="connsiteY1338" fmla="*/ 3383516 h 8714439"/>
              <a:gd name="connsiteX1339" fmla="*/ 4474452 w 9240942"/>
              <a:gd name="connsiteY1339" fmla="*/ 3375908 h 8714439"/>
              <a:gd name="connsiteX1340" fmla="*/ 4655591 w 9240942"/>
              <a:gd name="connsiteY1340" fmla="*/ 3222874 h 8714439"/>
              <a:gd name="connsiteX1341" fmla="*/ 4701136 w 9240942"/>
              <a:gd name="connsiteY1341" fmla="*/ 3201559 h 8714439"/>
              <a:gd name="connsiteX1342" fmla="*/ 4702441 w 9240942"/>
              <a:gd name="connsiteY1342" fmla="*/ 3185743 h 8714439"/>
              <a:gd name="connsiteX1343" fmla="*/ 4775181 w 9240942"/>
              <a:gd name="connsiteY1343" fmla="*/ 3124288 h 8714439"/>
              <a:gd name="connsiteX1344" fmla="*/ 4807020 w 9240942"/>
              <a:gd name="connsiteY1344" fmla="*/ 3124362 h 8714439"/>
              <a:gd name="connsiteX1345" fmla="*/ 4812265 w 9240942"/>
              <a:gd name="connsiteY1345" fmla="*/ 3092959 h 8714439"/>
              <a:gd name="connsiteX1346" fmla="*/ 4897842 w 9240942"/>
              <a:gd name="connsiteY1346" fmla="*/ 3020659 h 8714439"/>
              <a:gd name="connsiteX1347" fmla="*/ 4914861 w 9240942"/>
              <a:gd name="connsiteY1347" fmla="*/ 3023444 h 8714439"/>
              <a:gd name="connsiteX1348" fmla="*/ 4950397 w 9240942"/>
              <a:gd name="connsiteY1348" fmla="*/ 2978709 h 8714439"/>
              <a:gd name="connsiteX1349" fmla="*/ 4985427 w 9240942"/>
              <a:gd name="connsiteY1349" fmla="*/ 2988347 h 8714439"/>
              <a:gd name="connsiteX1350" fmla="*/ 5013952 w 9240942"/>
              <a:gd name="connsiteY1350" fmla="*/ 2964247 h 8714439"/>
              <a:gd name="connsiteX1351" fmla="*/ 5017119 w 9240942"/>
              <a:gd name="connsiteY1351" fmla="*/ 2941956 h 8714439"/>
              <a:gd name="connsiteX1352" fmla="*/ 5121238 w 9240942"/>
              <a:gd name="connsiteY1352" fmla="*/ 2853990 h 8714439"/>
              <a:gd name="connsiteX1353" fmla="*/ 5191707 w 9240942"/>
              <a:gd name="connsiteY1353" fmla="*/ 2836138 h 8714439"/>
              <a:gd name="connsiteX1354" fmla="*/ 5207614 w 9240942"/>
              <a:gd name="connsiteY1354" fmla="*/ 2820247 h 8714439"/>
              <a:gd name="connsiteX1355" fmla="*/ 5209136 w 9240942"/>
              <a:gd name="connsiteY1355" fmla="*/ 2801796 h 8714439"/>
              <a:gd name="connsiteX1356" fmla="*/ 5246220 w 9240942"/>
              <a:gd name="connsiteY1356" fmla="*/ 2770468 h 8714439"/>
              <a:gd name="connsiteX1357" fmla="*/ 5267518 w 9240942"/>
              <a:gd name="connsiteY1357" fmla="*/ 2769637 h 8714439"/>
              <a:gd name="connsiteX1358" fmla="*/ 5301748 w 9240942"/>
              <a:gd name="connsiteY1358" fmla="*/ 2740717 h 8714439"/>
              <a:gd name="connsiteX1359" fmla="*/ 5326890 w 9240942"/>
              <a:gd name="connsiteY1359" fmla="*/ 2741543 h 8714439"/>
              <a:gd name="connsiteX1360" fmla="*/ 5328630 w 9240942"/>
              <a:gd name="connsiteY1360" fmla="*/ 2720458 h 8714439"/>
              <a:gd name="connsiteX1361" fmla="*/ 5351137 w 9240942"/>
              <a:gd name="connsiteY1361" fmla="*/ 2721059 h 8714439"/>
              <a:gd name="connsiteX1362" fmla="*/ 5352660 w 9240942"/>
              <a:gd name="connsiteY1362" fmla="*/ 2702608 h 8714439"/>
              <a:gd name="connsiteX1363" fmla="*/ 5425400 w 9240942"/>
              <a:gd name="connsiteY1363" fmla="*/ 2641154 h 8714439"/>
              <a:gd name="connsiteX1364" fmla="*/ 5453612 w 9240942"/>
              <a:gd name="connsiteY1364" fmla="*/ 2636934 h 8714439"/>
              <a:gd name="connsiteX1365" fmla="*/ 5467197 w 9240942"/>
              <a:gd name="connsiteY1365" fmla="*/ 2600937 h 8714439"/>
              <a:gd name="connsiteX1366" fmla="*/ 5506168 w 9240942"/>
              <a:gd name="connsiteY1366" fmla="*/ 2594985 h 8714439"/>
              <a:gd name="connsiteX1367" fmla="*/ 5511195 w 9240942"/>
              <a:gd name="connsiteY1367" fmla="*/ 2566218 h 8714439"/>
              <a:gd name="connsiteX1368" fmla="*/ 5533702 w 9240942"/>
              <a:gd name="connsiteY1368" fmla="*/ 2566818 h 8714439"/>
              <a:gd name="connsiteX1369" fmla="*/ 5553670 w 9240942"/>
              <a:gd name="connsiteY1369" fmla="*/ 2549948 h 8714439"/>
              <a:gd name="connsiteX1370" fmla="*/ 5588578 w 9240942"/>
              <a:gd name="connsiteY1370" fmla="*/ 2544976 h 8714439"/>
              <a:gd name="connsiteX1371" fmla="*/ 5598104 w 9240942"/>
              <a:gd name="connsiteY1371" fmla="*/ 2509958 h 8714439"/>
              <a:gd name="connsiteX1372" fmla="*/ 5627523 w 9240942"/>
              <a:gd name="connsiteY1372" fmla="*/ 2507169 h 8714439"/>
              <a:gd name="connsiteX1373" fmla="*/ 5630689 w 9240942"/>
              <a:gd name="connsiteY1373" fmla="*/ 2484879 h 8714439"/>
              <a:gd name="connsiteX1374" fmla="*/ 5666347 w 9240942"/>
              <a:gd name="connsiteY1374" fmla="*/ 2454753 h 8714439"/>
              <a:gd name="connsiteX1375" fmla="*/ 5686001 w 9240942"/>
              <a:gd name="connsiteY1375" fmla="*/ 2457764 h 8714439"/>
              <a:gd name="connsiteX1376" fmla="*/ 5734494 w 9240942"/>
              <a:gd name="connsiteY1376" fmla="*/ 2416794 h 8714439"/>
              <a:gd name="connsiteX1377" fmla="*/ 5766333 w 9240942"/>
              <a:gd name="connsiteY1377" fmla="*/ 2416867 h 8714439"/>
              <a:gd name="connsiteX1378" fmla="*/ 5779701 w 9240942"/>
              <a:gd name="connsiteY1378" fmla="*/ 2383505 h 8714439"/>
              <a:gd name="connsiteX1379" fmla="*/ 5816784 w 9240942"/>
              <a:gd name="connsiteY1379" fmla="*/ 2352175 h 8714439"/>
              <a:gd name="connsiteX1380" fmla="*/ 5845649 w 9240942"/>
              <a:gd name="connsiteY1380" fmla="*/ 2340049 h 8714439"/>
              <a:gd name="connsiteX1381" fmla="*/ 5848163 w 9240942"/>
              <a:gd name="connsiteY1381" fmla="*/ 2325665 h 8714439"/>
              <a:gd name="connsiteX1382" fmla="*/ 5893176 w 9240942"/>
              <a:gd name="connsiteY1382" fmla="*/ 2326867 h 8714439"/>
              <a:gd name="connsiteX1383" fmla="*/ 5894698 w 9240942"/>
              <a:gd name="connsiteY1383" fmla="*/ 2308417 h 8714439"/>
              <a:gd name="connsiteX1384" fmla="*/ 6018786 w 9240942"/>
              <a:gd name="connsiteY1384" fmla="*/ 2203582 h 8714439"/>
              <a:gd name="connsiteX1385" fmla="*/ 6034596 w 9240942"/>
              <a:gd name="connsiteY1385" fmla="*/ 2204937 h 8714439"/>
              <a:gd name="connsiteX1386" fmla="*/ 6044894 w 9240942"/>
              <a:gd name="connsiteY1386" fmla="*/ 2176620 h 8714439"/>
              <a:gd name="connsiteX1387" fmla="*/ 6109658 w 9240942"/>
              <a:gd name="connsiteY1387" fmla="*/ 2163588 h 8714439"/>
              <a:gd name="connsiteX1388" fmla="*/ 6112606 w 9240942"/>
              <a:gd name="connsiteY1388" fmla="*/ 2143934 h 8714439"/>
              <a:gd name="connsiteX1389" fmla="*/ 6148264 w 9240942"/>
              <a:gd name="connsiteY1389" fmla="*/ 2113808 h 8714439"/>
              <a:gd name="connsiteX1390" fmla="*/ 6165500 w 9240942"/>
              <a:gd name="connsiteY1390" fmla="*/ 2113957 h 8714439"/>
              <a:gd name="connsiteX1391" fmla="*/ 6213463 w 9240942"/>
              <a:gd name="connsiteY1391" fmla="*/ 2095504 h 8714439"/>
              <a:gd name="connsiteX1392" fmla="*/ 6275784 w 9240942"/>
              <a:gd name="connsiteY1392" fmla="*/ 2047755 h 8714439"/>
              <a:gd name="connsiteX1393" fmla="*/ 6280377 w 9240942"/>
              <a:gd name="connsiteY1393" fmla="*/ 2024259 h 8714439"/>
              <a:gd name="connsiteX1394" fmla="*/ 6304624 w 9240942"/>
              <a:gd name="connsiteY1394" fmla="*/ 2003774 h 8714439"/>
              <a:gd name="connsiteX1395" fmla="*/ 6337767 w 9240942"/>
              <a:gd name="connsiteY1395" fmla="*/ 1988033 h 8714439"/>
              <a:gd name="connsiteX1396" fmla="*/ 6340499 w 9240942"/>
              <a:gd name="connsiteY1396" fmla="*/ 1971014 h 8714439"/>
              <a:gd name="connsiteX1397" fmla="*/ 6356309 w 9240942"/>
              <a:gd name="connsiteY1397" fmla="*/ 1972368 h 8714439"/>
              <a:gd name="connsiteX1398" fmla="*/ 6364214 w 9240942"/>
              <a:gd name="connsiteY1398" fmla="*/ 1973045 h 8714439"/>
              <a:gd name="connsiteX1399" fmla="*/ 6484022 w 9240942"/>
              <a:gd name="connsiteY1399" fmla="*/ 1871825 h 8714439"/>
              <a:gd name="connsiteX1400" fmla="*/ 6505103 w 9240942"/>
              <a:gd name="connsiteY1400" fmla="*/ 1873632 h 8714439"/>
              <a:gd name="connsiteX1401" fmla="*/ 6634895 w 9240942"/>
              <a:gd name="connsiteY1401" fmla="*/ 1763976 h 8714439"/>
              <a:gd name="connsiteX1402" fmla="*/ 6669803 w 9240942"/>
              <a:gd name="connsiteY1402" fmla="*/ 1759003 h 8714439"/>
              <a:gd name="connsiteX1403" fmla="*/ 6680101 w 9240942"/>
              <a:gd name="connsiteY1403" fmla="*/ 1730688 h 8714439"/>
              <a:gd name="connsiteX1404" fmla="*/ 6699973 w 9240942"/>
              <a:gd name="connsiteY1404" fmla="*/ 1731063 h 8714439"/>
              <a:gd name="connsiteX1405" fmla="*/ 6832616 w 9240942"/>
              <a:gd name="connsiteY1405" fmla="*/ 1618998 h 8714439"/>
              <a:gd name="connsiteX1406" fmla="*/ 6855124 w 9240942"/>
              <a:gd name="connsiteY1406" fmla="*/ 1619598 h 8714439"/>
              <a:gd name="connsiteX1407" fmla="*/ 6859934 w 9240942"/>
              <a:gd name="connsiteY1407" fmla="*/ 1593467 h 8714439"/>
              <a:gd name="connsiteX1408" fmla="*/ 6893634 w 9240942"/>
              <a:gd name="connsiteY1408" fmla="*/ 1587064 h 8714439"/>
              <a:gd name="connsiteX1409" fmla="*/ 6894165 w 9240942"/>
              <a:gd name="connsiteY1409" fmla="*/ 1564547 h 8714439"/>
              <a:gd name="connsiteX1410" fmla="*/ 6937656 w 9240942"/>
              <a:gd name="connsiteY1410" fmla="*/ 1584199 h 8714439"/>
              <a:gd name="connsiteX1411" fmla="*/ 6941910 w 9240942"/>
              <a:gd name="connsiteY1411" fmla="*/ 1548729 h 8714439"/>
              <a:gd name="connsiteX1412" fmla="*/ 6964731 w 9240942"/>
              <a:gd name="connsiteY1412" fmla="*/ 1529449 h 8714439"/>
              <a:gd name="connsiteX1413" fmla="*/ 6989872 w 9240942"/>
              <a:gd name="connsiteY1413" fmla="*/ 1530276 h 8714439"/>
              <a:gd name="connsiteX1414" fmla="*/ 7012693 w 9240942"/>
              <a:gd name="connsiteY1414" fmla="*/ 1510996 h 8714439"/>
              <a:gd name="connsiteX1415" fmla="*/ 7039261 w 9240942"/>
              <a:gd name="connsiteY1415" fmla="*/ 1510617 h 8714439"/>
              <a:gd name="connsiteX1416" fmla="*/ 7052411 w 9240942"/>
              <a:gd name="connsiteY1416" fmla="*/ 1479892 h 8714439"/>
              <a:gd name="connsiteX1417" fmla="*/ 5988829 w 9240942"/>
              <a:gd name="connsiteY1417" fmla="*/ 983 h 8714439"/>
              <a:gd name="connsiteX1418" fmla="*/ 6002352 w 9240942"/>
              <a:gd name="connsiteY1418" fmla="*/ 1916 h 8714439"/>
              <a:gd name="connsiteX1419" fmla="*/ 6001271 w 9240942"/>
              <a:gd name="connsiteY1419" fmla="*/ 9771 h 8714439"/>
              <a:gd name="connsiteX1420" fmla="*/ 5952129 w 9240942"/>
              <a:gd name="connsiteY1420" fmla="*/ 46994 h 8714439"/>
              <a:gd name="connsiteX1421" fmla="*/ 5934042 w 9240942"/>
              <a:gd name="connsiteY1421" fmla="*/ 91182 h 8714439"/>
              <a:gd name="connsiteX1422" fmla="*/ 5937428 w 9240942"/>
              <a:gd name="connsiteY1422" fmla="*/ 95652 h 8714439"/>
              <a:gd name="connsiteX1423" fmla="*/ 5956835 w 9240942"/>
              <a:gd name="connsiteY1423" fmla="*/ 90332 h 8714439"/>
              <a:gd name="connsiteX1424" fmla="*/ 6006432 w 9240942"/>
              <a:gd name="connsiteY1424" fmla="*/ 69181 h 8714439"/>
              <a:gd name="connsiteX1425" fmla="*/ 6030258 w 9240942"/>
              <a:gd name="connsiteY1425" fmla="*/ 51133 h 8714439"/>
              <a:gd name="connsiteX1426" fmla="*/ 6033142 w 9240942"/>
              <a:gd name="connsiteY1426" fmla="*/ 30188 h 8714439"/>
              <a:gd name="connsiteX1427" fmla="*/ 6055574 w 9240942"/>
              <a:gd name="connsiteY1427" fmla="*/ 31957 h 8714439"/>
              <a:gd name="connsiteX1428" fmla="*/ 6091313 w 9240942"/>
              <a:gd name="connsiteY1428" fmla="*/ 4886 h 8714439"/>
              <a:gd name="connsiteX1429" fmla="*/ 6123087 w 9240942"/>
              <a:gd name="connsiteY1429" fmla="*/ 6614 h 8714439"/>
              <a:gd name="connsiteX1430" fmla="*/ 6121885 w 9240942"/>
              <a:gd name="connsiteY1430" fmla="*/ 63809 h 8714439"/>
              <a:gd name="connsiteX1431" fmla="*/ 6062822 w 9240942"/>
              <a:gd name="connsiteY1431" fmla="*/ 134345 h 8714439"/>
              <a:gd name="connsiteX1432" fmla="*/ 6136341 w 9240942"/>
              <a:gd name="connsiteY1432" fmla="*/ 113834 h 8714439"/>
              <a:gd name="connsiteX1433" fmla="*/ 6159902 w 9240942"/>
              <a:gd name="connsiteY1433" fmla="*/ 117094 h 8714439"/>
              <a:gd name="connsiteX1434" fmla="*/ 6195641 w 9240942"/>
              <a:gd name="connsiteY1434" fmla="*/ 90022 h 8714439"/>
              <a:gd name="connsiteX1435" fmla="*/ 6288349 w 9240942"/>
              <a:gd name="connsiteY1435" fmla="*/ 94844 h 8714439"/>
              <a:gd name="connsiteX1436" fmla="*/ 6273505 w 9240942"/>
              <a:gd name="connsiteY1436" fmla="*/ 115469 h 8714439"/>
              <a:gd name="connsiteX1437" fmla="*/ 6291973 w 9240942"/>
              <a:gd name="connsiteY1437" fmla="*/ 146038 h 8714439"/>
              <a:gd name="connsiteX1438" fmla="*/ 6323796 w 9240942"/>
              <a:gd name="connsiteY1438" fmla="*/ 157110 h 8714439"/>
              <a:gd name="connsiteX1439" fmla="*/ 6321368 w 9240942"/>
              <a:gd name="connsiteY1439" fmla="*/ 194126 h 8714439"/>
              <a:gd name="connsiteX1440" fmla="*/ 6270737 w 9240942"/>
              <a:gd name="connsiteY1440" fmla="*/ 232478 h 8714439"/>
              <a:gd name="connsiteX1441" fmla="*/ 6265644 w 9240942"/>
              <a:gd name="connsiteY1441" fmla="*/ 259787 h 8714439"/>
              <a:gd name="connsiteX1442" fmla="*/ 6203100 w 9240942"/>
              <a:gd name="connsiteY1442" fmla="*/ 307162 h 8714439"/>
              <a:gd name="connsiteX1443" fmla="*/ 6201706 w 9240942"/>
              <a:gd name="connsiteY1443" fmla="*/ 326979 h 8714439"/>
              <a:gd name="connsiteX1444" fmla="*/ 6082574 w 9240942"/>
              <a:gd name="connsiteY1444" fmla="*/ 417218 h 8714439"/>
              <a:gd name="connsiteX1445" fmla="*/ 6058483 w 9240942"/>
              <a:gd name="connsiteY1445" fmla="*/ 456573 h 8714439"/>
              <a:gd name="connsiteX1446" fmla="*/ 6036050 w 9240942"/>
              <a:gd name="connsiteY1446" fmla="*/ 454803 h 8714439"/>
              <a:gd name="connsiteX1447" fmla="*/ 5998822 w 9240942"/>
              <a:gd name="connsiteY1447" fmla="*/ 483003 h 8714439"/>
              <a:gd name="connsiteX1448" fmla="*/ 5994448 w 9240942"/>
              <a:gd name="connsiteY1448" fmla="*/ 505076 h 8714439"/>
              <a:gd name="connsiteX1449" fmla="*/ 5778522 w 9240942"/>
              <a:gd name="connsiteY1449" fmla="*/ 668632 h 8714439"/>
              <a:gd name="connsiteX1450" fmla="*/ 5776361 w 9240942"/>
              <a:gd name="connsiteY1450" fmla="*/ 684341 h 8714439"/>
              <a:gd name="connsiteX1451" fmla="*/ 5775280 w 9240942"/>
              <a:gd name="connsiteY1451" fmla="*/ 692195 h 8714439"/>
              <a:gd name="connsiteX1452" fmla="*/ 5612963 w 9240942"/>
              <a:gd name="connsiteY1452" fmla="*/ 815145 h 8714439"/>
              <a:gd name="connsiteX1453" fmla="*/ 5607101 w 9240942"/>
              <a:gd name="connsiteY1453" fmla="*/ 838347 h 8714439"/>
              <a:gd name="connsiteX1454" fmla="*/ 5588777 w 9240942"/>
              <a:gd name="connsiteY1454" fmla="*/ 835812 h 8714439"/>
              <a:gd name="connsiteX1455" fmla="*/ 5583274 w 9240942"/>
              <a:gd name="connsiteY1455" fmla="*/ 856394 h 8714439"/>
              <a:gd name="connsiteX1456" fmla="*/ 5447763 w 9240942"/>
              <a:gd name="connsiteY1456" fmla="*/ 959041 h 8714439"/>
              <a:gd name="connsiteX1457" fmla="*/ 5428139 w 9240942"/>
              <a:gd name="connsiteY1457" fmla="*/ 995011 h 8714439"/>
              <a:gd name="connsiteX1458" fmla="*/ 5407195 w 9240942"/>
              <a:gd name="connsiteY1458" fmla="*/ 992115 h 8714439"/>
              <a:gd name="connsiteX1459" fmla="*/ 5401334 w 9240942"/>
              <a:gd name="connsiteY1459" fmla="*/ 1015315 h 8714439"/>
              <a:gd name="connsiteX1460" fmla="*/ 5388292 w 9240942"/>
              <a:gd name="connsiteY1460" fmla="*/ 1022849 h 8714439"/>
              <a:gd name="connsiteX1461" fmla="*/ 5366988 w 9240942"/>
              <a:gd name="connsiteY1461" fmla="*/ 1022570 h 8714439"/>
              <a:gd name="connsiteX1462" fmla="*/ 5364105 w 9240942"/>
              <a:gd name="connsiteY1462" fmla="*/ 1043515 h 8714439"/>
              <a:gd name="connsiteX1463" fmla="*/ 5212212 w 9240942"/>
              <a:gd name="connsiteY1463" fmla="*/ 1158569 h 8714439"/>
              <a:gd name="connsiteX1464" fmla="*/ 5209329 w 9240942"/>
              <a:gd name="connsiteY1464" fmla="*/ 1179514 h 8714439"/>
              <a:gd name="connsiteX1465" fmla="*/ 5084241 w 9240942"/>
              <a:gd name="connsiteY1465" fmla="*/ 1274264 h 8714439"/>
              <a:gd name="connsiteX1466" fmla="*/ 5080276 w 9240942"/>
              <a:gd name="connsiteY1466" fmla="*/ 1303064 h 8714439"/>
              <a:gd name="connsiteX1467" fmla="*/ 5013265 w 9240942"/>
              <a:gd name="connsiteY1467" fmla="*/ 1353823 h 8714439"/>
              <a:gd name="connsiteX1468" fmla="*/ 5036969 w 9240942"/>
              <a:gd name="connsiteY1468" fmla="*/ 1385116 h 8714439"/>
              <a:gd name="connsiteX1469" fmla="*/ 5052078 w 9240942"/>
              <a:gd name="connsiteY1469" fmla="*/ 1343185 h 8714439"/>
              <a:gd name="connsiteX1470" fmla="*/ 5076000 w 9240942"/>
              <a:gd name="connsiteY1470" fmla="*/ 1343826 h 8714439"/>
              <a:gd name="connsiteX1471" fmla="*/ 5278523 w 9240942"/>
              <a:gd name="connsiteY1471" fmla="*/ 1190421 h 8714439"/>
              <a:gd name="connsiteX1472" fmla="*/ 5297977 w 9240942"/>
              <a:gd name="connsiteY1472" fmla="*/ 1194446 h 8714439"/>
              <a:gd name="connsiteX1473" fmla="*/ 5302350 w 9240942"/>
              <a:gd name="connsiteY1473" fmla="*/ 1172373 h 8714439"/>
              <a:gd name="connsiteX1474" fmla="*/ 5322164 w 9240942"/>
              <a:gd name="connsiteY1474" fmla="*/ 1173780 h 8714439"/>
              <a:gd name="connsiteX1475" fmla="*/ 5379160 w 9240942"/>
              <a:gd name="connsiteY1475" fmla="*/ 1137644 h 8714439"/>
              <a:gd name="connsiteX1476" fmla="*/ 5398974 w 9240942"/>
              <a:gd name="connsiteY1476" fmla="*/ 1139051 h 8714439"/>
              <a:gd name="connsiteX1477" fmla="*/ 5401857 w 9240942"/>
              <a:gd name="connsiteY1477" fmla="*/ 1118106 h 8714439"/>
              <a:gd name="connsiteX1478" fmla="*/ 5515032 w 9240942"/>
              <a:gd name="connsiteY1478" fmla="*/ 1032380 h 8714439"/>
              <a:gd name="connsiteX1479" fmla="*/ 5517914 w 9240942"/>
              <a:gd name="connsiteY1479" fmla="*/ 1011434 h 8714439"/>
              <a:gd name="connsiteX1480" fmla="*/ 5539219 w 9240942"/>
              <a:gd name="connsiteY1480" fmla="*/ 1011714 h 8714439"/>
              <a:gd name="connsiteX1481" fmla="*/ 5543591 w 9240942"/>
              <a:gd name="connsiteY1481" fmla="*/ 989640 h 8714439"/>
              <a:gd name="connsiteX1482" fmla="*/ 5594222 w 9240942"/>
              <a:gd name="connsiteY1482" fmla="*/ 951289 h 8714439"/>
              <a:gd name="connsiteX1483" fmla="*/ 5617783 w 9240942"/>
              <a:gd name="connsiteY1483" fmla="*/ 954549 h 8714439"/>
              <a:gd name="connsiteX1484" fmla="*/ 5705643 w 9240942"/>
              <a:gd name="connsiteY1484" fmla="*/ 887998 h 8714439"/>
              <a:gd name="connsiteX1485" fmla="*/ 5708886 w 9240942"/>
              <a:gd name="connsiteY1485" fmla="*/ 864435 h 8714439"/>
              <a:gd name="connsiteX1486" fmla="*/ 5728340 w 9240942"/>
              <a:gd name="connsiteY1486" fmla="*/ 868460 h 8714439"/>
              <a:gd name="connsiteX1487" fmla="*/ 5787905 w 9240942"/>
              <a:gd name="connsiteY1487" fmla="*/ 823341 h 8714439"/>
              <a:gd name="connsiteX1488" fmla="*/ 5823020 w 9240942"/>
              <a:gd name="connsiteY1488" fmla="*/ 820194 h 8714439"/>
              <a:gd name="connsiteX1489" fmla="*/ 5838537 w 9240942"/>
              <a:gd name="connsiteY1489" fmla="*/ 784989 h 8714439"/>
              <a:gd name="connsiteX1490" fmla="*/ 5868055 w 9240942"/>
              <a:gd name="connsiteY1490" fmla="*/ 783737 h 8714439"/>
              <a:gd name="connsiteX1491" fmla="*/ 5870938 w 9240942"/>
              <a:gd name="connsiteY1491" fmla="*/ 762792 h 8714439"/>
              <a:gd name="connsiteX1492" fmla="*/ 5915755 w 9240942"/>
              <a:gd name="connsiteY1492" fmla="*/ 756987 h 8714439"/>
              <a:gd name="connsiteX1493" fmla="*/ 5921494 w 9240942"/>
              <a:gd name="connsiteY1493" fmla="*/ 783127 h 8714439"/>
              <a:gd name="connsiteX1494" fmla="*/ 5903045 w 9240942"/>
              <a:gd name="connsiteY1494" fmla="*/ 829933 h 8714439"/>
              <a:gd name="connsiteX1495" fmla="*/ 5939241 w 9240942"/>
              <a:gd name="connsiteY1495" fmla="*/ 818932 h 8714439"/>
              <a:gd name="connsiteX1496" fmla="*/ 5954949 w 9240942"/>
              <a:gd name="connsiteY1496" fmla="*/ 821105 h 8714439"/>
              <a:gd name="connsiteX1497" fmla="*/ 5992177 w 9240942"/>
              <a:gd name="connsiteY1497" fmla="*/ 792906 h 8714439"/>
              <a:gd name="connsiteX1498" fmla="*/ 5995421 w 9240942"/>
              <a:gd name="connsiteY1498" fmla="*/ 769342 h 8714439"/>
              <a:gd name="connsiteX1499" fmla="*/ 6016364 w 9240942"/>
              <a:gd name="connsiteY1499" fmla="*/ 772240 h 8714439"/>
              <a:gd name="connsiteX1500" fmla="*/ 6061037 w 9240942"/>
              <a:gd name="connsiteY1500" fmla="*/ 738401 h 8714439"/>
              <a:gd name="connsiteX1501" fmla="*/ 6115559 w 9240942"/>
              <a:gd name="connsiteY1501" fmla="*/ 729935 h 8714439"/>
              <a:gd name="connsiteX1502" fmla="*/ 6111234 w 9240942"/>
              <a:gd name="connsiteY1502" fmla="*/ 761353 h 8714439"/>
              <a:gd name="connsiteX1503" fmla="*/ 6086735 w 9240942"/>
              <a:gd name="connsiteY1503" fmla="*/ 793982 h 8714439"/>
              <a:gd name="connsiteX1504" fmla="*/ 6094588 w 9240942"/>
              <a:gd name="connsiteY1504" fmla="*/ 795069 h 8714439"/>
              <a:gd name="connsiteX1505" fmla="*/ 6195850 w 9240942"/>
              <a:gd name="connsiteY1505" fmla="*/ 718366 h 8714439"/>
              <a:gd name="connsiteX1506" fmla="*/ 6248521 w 9240942"/>
              <a:gd name="connsiteY1506" fmla="*/ 713647 h 8714439"/>
              <a:gd name="connsiteX1507" fmla="*/ 6296220 w 9240942"/>
              <a:gd name="connsiteY1507" fmla="*/ 686896 h 8714439"/>
              <a:gd name="connsiteX1508" fmla="*/ 6313105 w 9240942"/>
              <a:gd name="connsiteY1508" fmla="*/ 699904 h 8714439"/>
              <a:gd name="connsiteX1509" fmla="*/ 6265044 w 9240942"/>
              <a:gd name="connsiteY1509" fmla="*/ 729272 h 8714439"/>
              <a:gd name="connsiteX1510" fmla="*/ 6259543 w 9240942"/>
              <a:gd name="connsiteY1510" fmla="*/ 749855 h 8714439"/>
              <a:gd name="connsiteX1511" fmla="*/ 6226061 w 9240942"/>
              <a:gd name="connsiteY1511" fmla="*/ 779907 h 8714439"/>
              <a:gd name="connsiteX1512" fmla="*/ 6282478 w 9240942"/>
              <a:gd name="connsiteY1512" fmla="*/ 777041 h 8714439"/>
              <a:gd name="connsiteX1513" fmla="*/ 6395654 w 9240942"/>
              <a:gd name="connsiteY1513" fmla="*/ 691314 h 8714439"/>
              <a:gd name="connsiteX1514" fmla="*/ 6425674 w 9240942"/>
              <a:gd name="connsiteY1514" fmla="*/ 715478 h 8714439"/>
              <a:gd name="connsiteX1515" fmla="*/ 6382679 w 9240942"/>
              <a:gd name="connsiteY1515" fmla="*/ 785567 h 8714439"/>
              <a:gd name="connsiteX1516" fmla="*/ 6342614 w 9240942"/>
              <a:gd name="connsiteY1516" fmla="*/ 844057 h 8714439"/>
              <a:gd name="connsiteX1517" fmla="*/ 6408954 w 9240942"/>
              <a:gd name="connsiteY1517" fmla="*/ 807879 h 8714439"/>
              <a:gd name="connsiteX1518" fmla="*/ 6416807 w 9240942"/>
              <a:gd name="connsiteY1518" fmla="*/ 808965 h 8714439"/>
              <a:gd name="connsiteX1519" fmla="*/ 6432106 w 9240942"/>
              <a:gd name="connsiteY1519" fmla="*/ 804412 h 8714439"/>
              <a:gd name="connsiteX1520" fmla="*/ 6472314 w 9240942"/>
              <a:gd name="connsiteY1520" fmla="*/ 773956 h 8714439"/>
              <a:gd name="connsiteX1521" fmla="*/ 6568719 w 9240942"/>
              <a:gd name="connsiteY1521" fmla="*/ 771286 h 8714439"/>
              <a:gd name="connsiteX1522" fmla="*/ 6514078 w 9240942"/>
              <a:gd name="connsiteY1522" fmla="*/ 829093 h 8714439"/>
              <a:gd name="connsiteX1523" fmla="*/ 6602365 w 9240942"/>
              <a:gd name="connsiteY1523" fmla="*/ 846644 h 8714439"/>
              <a:gd name="connsiteX1524" fmla="*/ 6581204 w 9240942"/>
              <a:gd name="connsiteY1524" fmla="*/ 874398 h 8714439"/>
              <a:gd name="connsiteX1525" fmla="*/ 6567176 w 9240942"/>
              <a:gd name="connsiteY1525" fmla="*/ 908475 h 8714439"/>
              <a:gd name="connsiteX1526" fmla="*/ 6540637 w 9240942"/>
              <a:gd name="connsiteY1526" fmla="*/ 907471 h 8714439"/>
              <a:gd name="connsiteX1527" fmla="*/ 6536265 w 9240942"/>
              <a:gd name="connsiteY1527" fmla="*/ 929545 h 8714439"/>
              <a:gd name="connsiteX1528" fmla="*/ 6510948 w 9240942"/>
              <a:gd name="connsiteY1528" fmla="*/ 948720 h 8714439"/>
              <a:gd name="connsiteX1529" fmla="*/ 6506577 w 9240942"/>
              <a:gd name="connsiteY1529" fmla="*/ 970794 h 8714439"/>
              <a:gd name="connsiteX1530" fmla="*/ 6126844 w 9240942"/>
              <a:gd name="connsiteY1530" fmla="*/ 1258428 h 8714439"/>
              <a:gd name="connsiteX1531" fmla="*/ 6101794 w 9240942"/>
              <a:gd name="connsiteY1531" fmla="*/ 1256296 h 8714439"/>
              <a:gd name="connsiteX1532" fmla="*/ 6110512 w 9240942"/>
              <a:gd name="connsiteY1532" fmla="*/ 1280181 h 8714439"/>
              <a:gd name="connsiteX1533" fmla="*/ 6162414 w 9240942"/>
              <a:gd name="connsiteY1533" fmla="*/ 1271353 h 8714439"/>
              <a:gd name="connsiteX1534" fmla="*/ 6205334 w 9240942"/>
              <a:gd name="connsiteY1534" fmla="*/ 1259948 h 8714439"/>
              <a:gd name="connsiteX1535" fmla="*/ 6239584 w 9240942"/>
              <a:gd name="connsiteY1535" fmla="*/ 1234005 h 8714439"/>
              <a:gd name="connsiteX1536" fmla="*/ 6279934 w 9240942"/>
              <a:gd name="connsiteY1536" fmla="*/ 1231584 h 8714439"/>
              <a:gd name="connsiteX1537" fmla="*/ 6251327 w 9240942"/>
              <a:gd name="connsiteY1537" fmla="*/ 1264978 h 8714439"/>
              <a:gd name="connsiteX1538" fmla="*/ 6230024 w 9240942"/>
              <a:gd name="connsiteY1538" fmla="*/ 1264698 h 8714439"/>
              <a:gd name="connsiteX1539" fmla="*/ 6225699 w 9240942"/>
              <a:gd name="connsiteY1539" fmla="*/ 1296116 h 8714439"/>
              <a:gd name="connsiteX1540" fmla="*/ 6274528 w 9240942"/>
              <a:gd name="connsiteY1540" fmla="*/ 1270856 h 8714439"/>
              <a:gd name="connsiteX1541" fmla="*/ 6296960 w 9240942"/>
              <a:gd name="connsiteY1541" fmla="*/ 1272625 h 8714439"/>
              <a:gd name="connsiteX1542" fmla="*/ 6332700 w 9240942"/>
              <a:gd name="connsiteY1542" fmla="*/ 1245553 h 8714439"/>
              <a:gd name="connsiteX1543" fmla="*/ 6376124 w 9240942"/>
              <a:gd name="connsiteY1543" fmla="*/ 1259566 h 8714439"/>
              <a:gd name="connsiteX1544" fmla="*/ 6362503 w 9240942"/>
              <a:gd name="connsiteY1544" fmla="*/ 1300370 h 8714439"/>
              <a:gd name="connsiteX1545" fmla="*/ 6331278 w 9240942"/>
              <a:gd name="connsiteY1545" fmla="*/ 1333401 h 8714439"/>
              <a:gd name="connsiteX1546" fmla="*/ 6413827 w 9240942"/>
              <a:gd name="connsiteY1546" fmla="*/ 1324811 h 8714439"/>
              <a:gd name="connsiteX1547" fmla="*/ 6486576 w 9240942"/>
              <a:gd name="connsiteY1547" fmla="*/ 1300193 h 8714439"/>
              <a:gd name="connsiteX1548" fmla="*/ 6501251 w 9240942"/>
              <a:gd name="connsiteY1548" fmla="*/ 1319566 h 8714439"/>
              <a:gd name="connsiteX1549" fmla="*/ 6469619 w 9240942"/>
              <a:gd name="connsiteY1549" fmla="*/ 1345870 h 8714439"/>
              <a:gd name="connsiteX1550" fmla="*/ 6477207 w 9240942"/>
              <a:gd name="connsiteY1550" fmla="*/ 1368265 h 8714439"/>
              <a:gd name="connsiteX1551" fmla="*/ 6514171 w 9240942"/>
              <a:gd name="connsiteY1551" fmla="*/ 1361373 h 8714439"/>
              <a:gd name="connsiteX1552" fmla="*/ 6524328 w 9240942"/>
              <a:gd name="connsiteY1552" fmla="*/ 1374784 h 8714439"/>
              <a:gd name="connsiteX1553" fmla="*/ 6486787 w 9240942"/>
              <a:gd name="connsiteY1553" fmla="*/ 1414946 h 8714439"/>
              <a:gd name="connsiteX1554" fmla="*/ 6481287 w 9240942"/>
              <a:gd name="connsiteY1554" fmla="*/ 1435529 h 8714439"/>
              <a:gd name="connsiteX1555" fmla="*/ 6459984 w 9240942"/>
              <a:gd name="connsiteY1555" fmla="*/ 1435250 h 8714439"/>
              <a:gd name="connsiteX1556" fmla="*/ 6440454 w 9240942"/>
              <a:gd name="connsiteY1556" fmla="*/ 1489910 h 8714439"/>
              <a:gd name="connsiteX1557" fmla="*/ 6313877 w 9240942"/>
              <a:gd name="connsiteY1557" fmla="*/ 1585789 h 8714439"/>
              <a:gd name="connsiteX1558" fmla="*/ 6292934 w 9240942"/>
              <a:gd name="connsiteY1558" fmla="*/ 1582891 h 8714439"/>
              <a:gd name="connsiteX1559" fmla="*/ 6166356 w 9240942"/>
              <a:gd name="connsiteY1559" fmla="*/ 1678769 h 8714439"/>
              <a:gd name="connsiteX1560" fmla="*/ 6141666 w 9240942"/>
              <a:gd name="connsiteY1560" fmla="*/ 1674019 h 8714439"/>
              <a:gd name="connsiteX1561" fmla="*/ 6015089 w 9240942"/>
              <a:gd name="connsiteY1561" fmla="*/ 1769897 h 8714439"/>
              <a:gd name="connsiteX1562" fmla="*/ 5994146 w 9240942"/>
              <a:gd name="connsiteY1562" fmla="*/ 1767000 h 8714439"/>
              <a:gd name="connsiteX1563" fmla="*/ 5880971 w 9240942"/>
              <a:gd name="connsiteY1563" fmla="*/ 1852727 h 8714439"/>
              <a:gd name="connsiteX1564" fmla="*/ 5858538 w 9240942"/>
              <a:gd name="connsiteY1564" fmla="*/ 1850958 h 8714439"/>
              <a:gd name="connsiteX1565" fmla="*/ 5811246 w 9240942"/>
              <a:gd name="connsiteY1565" fmla="*/ 1884434 h 8714439"/>
              <a:gd name="connsiteX1566" fmla="*/ 5840186 w 9240942"/>
              <a:gd name="connsiteY1566" fmla="*/ 1916452 h 8714439"/>
              <a:gd name="connsiteX1567" fmla="*/ 5853996 w 9240942"/>
              <a:gd name="connsiteY1567" fmla="*/ 1913027 h 8714439"/>
              <a:gd name="connsiteX1568" fmla="*/ 5857430 w 9240942"/>
              <a:gd name="connsiteY1568" fmla="*/ 1926842 h 8714439"/>
              <a:gd name="connsiteX1569" fmla="*/ 5847774 w 9240942"/>
              <a:gd name="connsiteY1569" fmla="*/ 1938847 h 8714439"/>
              <a:gd name="connsiteX1570" fmla="*/ 5807567 w 9240942"/>
              <a:gd name="connsiteY1570" fmla="*/ 1969302 h 8714439"/>
              <a:gd name="connsiteX1571" fmla="*/ 5781388 w 9240942"/>
              <a:gd name="connsiteY1571" fmla="*/ 1965679 h 8714439"/>
              <a:gd name="connsiteX1572" fmla="*/ 5782347 w 9240942"/>
              <a:gd name="connsiteY1572" fmla="*/ 2007165 h 8714439"/>
              <a:gd name="connsiteX1573" fmla="*/ 5752564 w 9240942"/>
              <a:gd name="connsiteY1573" fmla="*/ 2029726 h 8714439"/>
              <a:gd name="connsiteX1574" fmla="*/ 5750809 w 9240942"/>
              <a:gd name="connsiteY1574" fmla="*/ 2052161 h 8714439"/>
              <a:gd name="connsiteX1575" fmla="*/ 5701212 w 9240942"/>
              <a:gd name="connsiteY1575" fmla="*/ 2073314 h 8714439"/>
              <a:gd name="connsiteX1576" fmla="*/ 5710290 w 9240942"/>
              <a:gd name="connsiteY1576" fmla="*/ 2094579 h 8714439"/>
              <a:gd name="connsiteX1577" fmla="*/ 5699193 w 9240942"/>
              <a:gd name="connsiteY1577" fmla="*/ 2117056 h 8714439"/>
              <a:gd name="connsiteX1578" fmla="*/ 5658387 w 9240942"/>
              <a:gd name="connsiteY1578" fmla="*/ 2103406 h 8714439"/>
              <a:gd name="connsiteX1579" fmla="*/ 5615202 w 9240942"/>
              <a:gd name="connsiteY1579" fmla="*/ 2136118 h 8714439"/>
              <a:gd name="connsiteX1580" fmla="*/ 5622478 w 9240942"/>
              <a:gd name="connsiteY1580" fmla="*/ 2170475 h 8714439"/>
              <a:gd name="connsiteX1581" fmla="*/ 5595673 w 9240942"/>
              <a:gd name="connsiteY1581" fmla="*/ 2190778 h 8714439"/>
              <a:gd name="connsiteX1582" fmla="*/ 5563443 w 9240942"/>
              <a:gd name="connsiteY1582" fmla="*/ 2172979 h 8714439"/>
              <a:gd name="connsiteX1583" fmla="*/ 5571173 w 9240942"/>
              <a:gd name="connsiteY1583" fmla="*/ 2223407 h 8714439"/>
              <a:gd name="connsiteX1584" fmla="*/ 5521216 w 9240942"/>
              <a:gd name="connsiteY1584" fmla="*/ 2247177 h 8714439"/>
              <a:gd name="connsiteX1585" fmla="*/ 5516844 w 9240942"/>
              <a:gd name="connsiteY1585" fmla="*/ 2269250 h 8714439"/>
              <a:gd name="connsiteX1586" fmla="*/ 5478922 w 9240942"/>
              <a:gd name="connsiteY1586" fmla="*/ 2234655 h 8714439"/>
              <a:gd name="connsiteX1587" fmla="*/ 5472917 w 9240942"/>
              <a:gd name="connsiteY1587" fmla="*/ 2229824 h 8714439"/>
              <a:gd name="connsiteX1588" fmla="*/ 5401466 w 9240942"/>
              <a:gd name="connsiteY1588" fmla="*/ 2215936 h 8714439"/>
              <a:gd name="connsiteX1589" fmla="*/ 5389286 w 9240942"/>
              <a:gd name="connsiteY1589" fmla="*/ 2246267 h 8714439"/>
              <a:gd name="connsiteX1590" fmla="*/ 5392674 w 9240942"/>
              <a:gd name="connsiteY1590" fmla="*/ 2250737 h 8714439"/>
              <a:gd name="connsiteX1591" fmla="*/ 5437945 w 9240942"/>
              <a:gd name="connsiteY1591" fmla="*/ 2261003 h 8714439"/>
              <a:gd name="connsiteX1592" fmla="*/ 5417241 w 9240942"/>
              <a:gd name="connsiteY1592" fmla="*/ 2304829 h 8714439"/>
              <a:gd name="connsiteX1593" fmla="*/ 5399371 w 9240942"/>
              <a:gd name="connsiteY1593" fmla="*/ 2318364 h 8714439"/>
              <a:gd name="connsiteX1594" fmla="*/ 5351576 w 9240942"/>
              <a:gd name="connsiteY1594" fmla="*/ 2326426 h 8714439"/>
              <a:gd name="connsiteX1595" fmla="*/ 5369255 w 9240942"/>
              <a:gd name="connsiteY1595" fmla="*/ 2275512 h 8714439"/>
              <a:gd name="connsiteX1596" fmla="*/ 5325424 w 9240942"/>
              <a:gd name="connsiteY1596" fmla="*/ 2254774 h 8714439"/>
              <a:gd name="connsiteX1597" fmla="*/ 5288196 w 9240942"/>
              <a:gd name="connsiteY1597" fmla="*/ 2282973 h 8714439"/>
              <a:gd name="connsiteX1598" fmla="*/ 5286271 w 9240942"/>
              <a:gd name="connsiteY1598" fmla="*/ 2345405 h 8714439"/>
              <a:gd name="connsiteX1599" fmla="*/ 5266096 w 9240942"/>
              <a:gd name="connsiteY1599" fmla="*/ 2346616 h 8714439"/>
              <a:gd name="connsiteX1600" fmla="*/ 5286271 w 9240942"/>
              <a:gd name="connsiteY1600" fmla="*/ 2345405 h 8714439"/>
              <a:gd name="connsiteX1601" fmla="*/ 5308486 w 9240942"/>
              <a:gd name="connsiteY1601" fmla="*/ 2377826 h 8714439"/>
              <a:gd name="connsiteX1602" fmla="*/ 5297675 w 9240942"/>
              <a:gd name="connsiteY1602" fmla="*/ 2456370 h 8714439"/>
              <a:gd name="connsiteX1603" fmla="*/ 5280164 w 9240942"/>
              <a:gd name="connsiteY1603" fmla="*/ 2467289 h 8714439"/>
              <a:gd name="connsiteX1604" fmla="*/ 5250865 w 9240942"/>
              <a:gd name="connsiteY1604" fmla="*/ 2437889 h 8714439"/>
              <a:gd name="connsiteX1605" fmla="*/ 5230016 w 9240942"/>
              <a:gd name="connsiteY1605" fmla="*/ 2453680 h 8714439"/>
              <a:gd name="connsiteX1606" fmla="*/ 5221367 w 9240942"/>
              <a:gd name="connsiteY1606" fmla="*/ 2516516 h 8714439"/>
              <a:gd name="connsiteX1607" fmla="*/ 5176958 w 9240942"/>
              <a:gd name="connsiteY1607" fmla="*/ 2529048 h 8714439"/>
              <a:gd name="connsiteX1608" fmla="*/ 5139995 w 9240942"/>
              <a:gd name="connsiteY1608" fmla="*/ 2535940 h 8714439"/>
              <a:gd name="connsiteX1609" fmla="*/ 5131563 w 9240942"/>
              <a:gd name="connsiteY1609" fmla="*/ 2568124 h 8714439"/>
              <a:gd name="connsiteX1610" fmla="*/ 5076227 w 9240942"/>
              <a:gd name="connsiteY1610" fmla="*/ 2563136 h 8714439"/>
              <a:gd name="connsiteX1611" fmla="*/ 5061117 w 9240942"/>
              <a:gd name="connsiteY1611" fmla="*/ 2605067 h 8714439"/>
              <a:gd name="connsiteX1612" fmla="*/ 5079225 w 9240942"/>
              <a:gd name="connsiteY1612" fmla="*/ 2638255 h 8714439"/>
              <a:gd name="connsiteX1613" fmla="*/ 5048892 w 9240942"/>
              <a:gd name="connsiteY1613" fmla="*/ 2626054 h 8714439"/>
              <a:gd name="connsiteX1614" fmla="*/ 5025330 w 9240942"/>
              <a:gd name="connsiteY1614" fmla="*/ 2622795 h 8714439"/>
              <a:gd name="connsiteX1615" fmla="*/ 4988102 w 9240942"/>
              <a:gd name="connsiteY1615" fmla="*/ 2650994 h 8714439"/>
              <a:gd name="connsiteX1616" fmla="*/ 4964541 w 9240942"/>
              <a:gd name="connsiteY1616" fmla="*/ 2647735 h 8714439"/>
              <a:gd name="connsiteX1617" fmla="*/ 4945182 w 9240942"/>
              <a:gd name="connsiteY1617" fmla="*/ 2662399 h 8714439"/>
              <a:gd name="connsiteX1618" fmla="*/ 4930508 w 9240942"/>
              <a:gd name="connsiteY1618" fmla="*/ 2643026 h 8714439"/>
              <a:gd name="connsiteX1619" fmla="*/ 4882807 w 9240942"/>
              <a:gd name="connsiteY1619" fmla="*/ 2669776 h 8714439"/>
              <a:gd name="connsiteX1620" fmla="*/ 4857757 w 9240942"/>
              <a:gd name="connsiteY1620" fmla="*/ 2667644 h 8714439"/>
              <a:gd name="connsiteX1621" fmla="*/ 4828117 w 9240942"/>
              <a:gd name="connsiteY1621" fmla="*/ 2718239 h 8714439"/>
              <a:gd name="connsiteX1622" fmla="*/ 4850189 w 9240942"/>
              <a:gd name="connsiteY1622" fmla="*/ 2722626 h 8714439"/>
              <a:gd name="connsiteX1623" fmla="*/ 4871636 w 9240942"/>
              <a:gd name="connsiteY1623" fmla="*/ 2750940 h 8714439"/>
              <a:gd name="connsiteX1624" fmla="*/ 4836209 w 9240942"/>
              <a:gd name="connsiteY1624" fmla="*/ 2766048 h 8714439"/>
              <a:gd name="connsiteX1625" fmla="*/ 4670914 w 9240942"/>
              <a:gd name="connsiteY1625" fmla="*/ 2891253 h 8714439"/>
              <a:gd name="connsiteX1626" fmla="*/ 4650909 w 9240942"/>
              <a:gd name="connsiteY1626" fmla="*/ 2852468 h 8714439"/>
              <a:gd name="connsiteX1627" fmla="*/ 4600999 w 9240942"/>
              <a:gd name="connsiteY1627" fmla="*/ 2885583 h 8714439"/>
              <a:gd name="connsiteX1628" fmla="*/ 4627898 w 9240942"/>
              <a:gd name="connsiteY1628" fmla="*/ 2883968 h 8714439"/>
              <a:gd name="connsiteX1629" fmla="*/ 4650786 w 9240942"/>
              <a:gd name="connsiteY1629" fmla="*/ 2901809 h 8714439"/>
              <a:gd name="connsiteX1630" fmla="*/ 4624219 w 9240942"/>
              <a:gd name="connsiteY1630" fmla="*/ 2968836 h 8714439"/>
              <a:gd name="connsiteX1631" fmla="*/ 4603324 w 9240942"/>
              <a:gd name="connsiteY1631" fmla="*/ 2975283 h 8714439"/>
              <a:gd name="connsiteX1632" fmla="*/ 4592036 w 9240942"/>
              <a:gd name="connsiteY1632" fmla="*/ 2960381 h 8714439"/>
              <a:gd name="connsiteX1633" fmla="*/ 4554400 w 9240942"/>
              <a:gd name="connsiteY1633" fmla="*/ 2981855 h 8714439"/>
              <a:gd name="connsiteX1634" fmla="*/ 4508502 w 9240942"/>
              <a:gd name="connsiteY1634" fmla="*/ 2995514 h 8714439"/>
              <a:gd name="connsiteX1635" fmla="*/ 4514648 w 9240942"/>
              <a:gd name="connsiteY1635" fmla="*/ 3028380 h 8714439"/>
              <a:gd name="connsiteX1636" fmla="*/ 4502735 w 9240942"/>
              <a:gd name="connsiteY1636" fmla="*/ 3037404 h 8714439"/>
              <a:gd name="connsiteX1637" fmla="*/ 4480303 w 9240942"/>
              <a:gd name="connsiteY1637" fmla="*/ 3035635 h 8714439"/>
              <a:gd name="connsiteX1638" fmla="*/ 4404356 w 9240942"/>
              <a:gd name="connsiteY1638" fmla="*/ 3093162 h 8714439"/>
              <a:gd name="connsiteX1639" fmla="*/ 4388649 w 9240942"/>
              <a:gd name="connsiteY1639" fmla="*/ 3090989 h 8714439"/>
              <a:gd name="connsiteX1640" fmla="*/ 4342438 w 9240942"/>
              <a:gd name="connsiteY1640" fmla="*/ 3116612 h 8714439"/>
              <a:gd name="connsiteX1641" fmla="*/ 4342125 w 9240942"/>
              <a:gd name="connsiteY1641" fmla="*/ 3128574 h 8714439"/>
              <a:gd name="connsiteX1642" fmla="*/ 4334461 w 9240942"/>
              <a:gd name="connsiteY1642" fmla="*/ 3164866 h 8714439"/>
              <a:gd name="connsiteX1643" fmla="*/ 4301510 w 9240942"/>
              <a:gd name="connsiteY1643" fmla="*/ 3152304 h 8714439"/>
              <a:gd name="connsiteX1644" fmla="*/ 4253858 w 9240942"/>
              <a:gd name="connsiteY1644" fmla="*/ 3188398 h 8714439"/>
              <a:gd name="connsiteX1645" fmla="*/ 4254048 w 9240942"/>
              <a:gd name="connsiteY1645" fmla="*/ 3225777 h 8714439"/>
              <a:gd name="connsiteX1646" fmla="*/ 4222776 w 9240942"/>
              <a:gd name="connsiteY1646" fmla="*/ 3249464 h 8714439"/>
              <a:gd name="connsiteX1647" fmla="*/ 4197726 w 9240942"/>
              <a:gd name="connsiteY1647" fmla="*/ 3247333 h 8714439"/>
              <a:gd name="connsiteX1648" fmla="*/ 4219988 w 9240942"/>
              <a:gd name="connsiteY1648" fmla="*/ 3289099 h 8714439"/>
              <a:gd name="connsiteX1649" fmla="*/ 4165732 w 9240942"/>
              <a:gd name="connsiteY1649" fmla="*/ 3276257 h 8714439"/>
              <a:gd name="connsiteX1650" fmla="*/ 4151202 w 9240942"/>
              <a:gd name="connsiteY1650" fmla="*/ 3284918 h 8714439"/>
              <a:gd name="connsiteX1651" fmla="*/ 4158477 w 9240942"/>
              <a:gd name="connsiteY1651" fmla="*/ 3319275 h 8714439"/>
              <a:gd name="connsiteX1652" fmla="*/ 4136045 w 9240942"/>
              <a:gd name="connsiteY1652" fmla="*/ 3317505 h 8714439"/>
              <a:gd name="connsiteX1653" fmla="*/ 4131672 w 9240942"/>
              <a:gd name="connsiteY1653" fmla="*/ 3339579 h 8714439"/>
              <a:gd name="connsiteX1654" fmla="*/ 4088970 w 9240942"/>
              <a:gd name="connsiteY1654" fmla="*/ 3320331 h 8714439"/>
              <a:gd name="connsiteX1655" fmla="*/ 4090724 w 9240942"/>
              <a:gd name="connsiteY1655" fmla="*/ 3297895 h 8714439"/>
              <a:gd name="connsiteX1656" fmla="*/ 4071536 w 9240942"/>
              <a:gd name="connsiteY1656" fmla="*/ 3272563 h 8714439"/>
              <a:gd name="connsiteX1657" fmla="*/ 4037503 w 9240942"/>
              <a:gd name="connsiteY1657" fmla="*/ 3267854 h 8714439"/>
              <a:gd name="connsiteX1658" fmla="*/ 4035844 w 9240942"/>
              <a:gd name="connsiteY1658" fmla="*/ 3308979 h 8714439"/>
              <a:gd name="connsiteX1659" fmla="*/ 4051334 w 9240942"/>
              <a:gd name="connsiteY1659" fmla="*/ 3341804 h 8714439"/>
              <a:gd name="connsiteX1660" fmla="*/ 4069489 w 9240942"/>
              <a:gd name="connsiteY1660" fmla="*/ 3384336 h 8714439"/>
              <a:gd name="connsiteX1661" fmla="*/ 4022101 w 9240942"/>
              <a:gd name="connsiteY1661" fmla="*/ 3399124 h 8714439"/>
              <a:gd name="connsiteX1662" fmla="*/ 3973993 w 9240942"/>
              <a:gd name="connsiteY1662" fmla="*/ 3419148 h 8714439"/>
              <a:gd name="connsiteX1663" fmla="*/ 3969621 w 9240942"/>
              <a:gd name="connsiteY1663" fmla="*/ 3441221 h 8714439"/>
              <a:gd name="connsiteX1664" fmla="*/ 3944306 w 9240942"/>
              <a:gd name="connsiteY1664" fmla="*/ 3460396 h 8714439"/>
              <a:gd name="connsiteX1665" fmla="*/ 3928598 w 9240942"/>
              <a:gd name="connsiteY1665" fmla="*/ 3458224 h 8714439"/>
              <a:gd name="connsiteX1666" fmla="*/ 3884644 w 9240942"/>
              <a:gd name="connsiteY1666" fmla="*/ 3486827 h 8714439"/>
              <a:gd name="connsiteX1667" fmla="*/ 3883563 w 9240942"/>
              <a:gd name="connsiteY1667" fmla="*/ 3494681 h 8714439"/>
              <a:gd name="connsiteX1668" fmla="*/ 3901671 w 9240942"/>
              <a:gd name="connsiteY1668" fmla="*/ 3527868 h 8714439"/>
              <a:gd name="connsiteX1669" fmla="*/ 3879333 w 9240942"/>
              <a:gd name="connsiteY1669" fmla="*/ 3544788 h 8714439"/>
              <a:gd name="connsiteX1670" fmla="*/ 3873547 w 9240942"/>
              <a:gd name="connsiteY1670" fmla="*/ 3509303 h 8714439"/>
              <a:gd name="connsiteX1671" fmla="*/ 3816049 w 9240942"/>
              <a:gd name="connsiteY1671" fmla="*/ 3520024 h 8714439"/>
              <a:gd name="connsiteX1672" fmla="*/ 3746059 w 9240942"/>
              <a:gd name="connsiteY1672" fmla="*/ 3573039 h 8714439"/>
              <a:gd name="connsiteX1673" fmla="*/ 3757441 w 9240942"/>
              <a:gd name="connsiteY1673" fmla="*/ 3606630 h 8714439"/>
              <a:gd name="connsiteX1674" fmla="*/ 3700208 w 9240942"/>
              <a:gd name="connsiteY1674" fmla="*/ 3596044 h 8714439"/>
              <a:gd name="connsiteX1675" fmla="*/ 3715629 w 9240942"/>
              <a:gd name="connsiteY1675" fmla="*/ 3542149 h 8714439"/>
              <a:gd name="connsiteX1676" fmla="*/ 3681332 w 9240942"/>
              <a:gd name="connsiteY1676" fmla="*/ 3558748 h 8714439"/>
              <a:gd name="connsiteX1677" fmla="*/ 3675879 w 9240942"/>
              <a:gd name="connsiteY1677" fmla="*/ 3588675 h 8714439"/>
              <a:gd name="connsiteX1678" fmla="*/ 3696651 w 9240942"/>
              <a:gd name="connsiteY1678" fmla="*/ 3631570 h 8714439"/>
              <a:gd name="connsiteX1679" fmla="*/ 3665237 w 9240942"/>
              <a:gd name="connsiteY1679" fmla="*/ 3627224 h 8714439"/>
              <a:gd name="connsiteX1680" fmla="*/ 3652697 w 9240942"/>
              <a:gd name="connsiteY1680" fmla="*/ 3660173 h 8714439"/>
              <a:gd name="connsiteX1681" fmla="*/ 3636440 w 9240942"/>
              <a:gd name="connsiteY1681" fmla="*/ 3623240 h 8714439"/>
              <a:gd name="connsiteX1682" fmla="*/ 3596954 w 9240942"/>
              <a:gd name="connsiteY1682" fmla="*/ 3648458 h 8714439"/>
              <a:gd name="connsiteX1683" fmla="*/ 3617537 w 9240942"/>
              <a:gd name="connsiteY1683" fmla="*/ 3653974 h 8714439"/>
              <a:gd name="connsiteX1684" fmla="*/ 3631442 w 9240942"/>
              <a:gd name="connsiteY1684" fmla="*/ 3669238 h 8714439"/>
              <a:gd name="connsiteX1685" fmla="*/ 3630000 w 9240942"/>
              <a:gd name="connsiteY1685" fmla="*/ 3679711 h 8714439"/>
              <a:gd name="connsiteX1686" fmla="*/ 3580858 w 9240942"/>
              <a:gd name="connsiteY1686" fmla="*/ 3716934 h 8714439"/>
              <a:gd name="connsiteX1687" fmla="*/ 3557297 w 9240942"/>
              <a:gd name="connsiteY1687" fmla="*/ 3713674 h 8714439"/>
              <a:gd name="connsiteX1688" fmla="*/ 3552660 w 9240942"/>
              <a:gd name="connsiteY1688" fmla="*/ 3757055 h 8714439"/>
              <a:gd name="connsiteX1689" fmla="*/ 3531356 w 9240942"/>
              <a:gd name="connsiteY1689" fmla="*/ 3756775 h 8714439"/>
              <a:gd name="connsiteX1690" fmla="*/ 3489660 w 9240942"/>
              <a:gd name="connsiteY1690" fmla="*/ 3788359 h 8714439"/>
              <a:gd name="connsiteX1691" fmla="*/ 3507625 w 9240942"/>
              <a:gd name="connsiteY1691" fmla="*/ 3793512 h 8714439"/>
              <a:gd name="connsiteX1692" fmla="*/ 3520307 w 9240942"/>
              <a:gd name="connsiteY1692" fmla="*/ 3788597 h 8714439"/>
              <a:gd name="connsiteX1693" fmla="*/ 3519368 w 9240942"/>
              <a:gd name="connsiteY1693" fmla="*/ 3824485 h 8714439"/>
              <a:gd name="connsiteX1694" fmla="*/ 3462951 w 9240942"/>
              <a:gd name="connsiteY1694" fmla="*/ 3827352 h 8714439"/>
              <a:gd name="connsiteX1695" fmla="*/ 3470587 w 9240942"/>
              <a:gd name="connsiteY1695" fmla="*/ 3859090 h 8714439"/>
              <a:gd name="connsiteX1696" fmla="*/ 3446978 w 9240942"/>
              <a:gd name="connsiteY1696" fmla="*/ 3846487 h 8714439"/>
              <a:gd name="connsiteX1697" fmla="*/ 3412680 w 9240942"/>
              <a:gd name="connsiteY1697" fmla="*/ 3863085 h 8714439"/>
              <a:gd name="connsiteX1698" fmla="*/ 3409437 w 9240942"/>
              <a:gd name="connsiteY1698" fmla="*/ 3886648 h 8714439"/>
              <a:gd name="connsiteX1699" fmla="*/ 3384121 w 9240942"/>
              <a:gd name="connsiteY1699" fmla="*/ 3905823 h 8714439"/>
              <a:gd name="connsiteX1700" fmla="*/ 3379749 w 9240942"/>
              <a:gd name="connsiteY1700" fmla="*/ 3927897 h 8714439"/>
              <a:gd name="connsiteX1701" fmla="*/ 3350808 w 9240942"/>
              <a:gd name="connsiteY1701" fmla="*/ 3895879 h 8714439"/>
              <a:gd name="connsiteX1702" fmla="*/ 3382394 w 9240942"/>
              <a:gd name="connsiteY1702" fmla="*/ 3860228 h 8714439"/>
              <a:gd name="connsiteX1703" fmla="*/ 3340508 w 9240942"/>
              <a:gd name="connsiteY1703" fmla="*/ 3854434 h 8714439"/>
              <a:gd name="connsiteX1704" fmla="*/ 3323141 w 9240942"/>
              <a:gd name="connsiteY1704" fmla="*/ 3893385 h 8714439"/>
              <a:gd name="connsiteX1705" fmla="*/ 3292495 w 9240942"/>
              <a:gd name="connsiteY1705" fmla="*/ 3893148 h 8714439"/>
              <a:gd name="connsiteX1706" fmla="*/ 3279093 w 9240942"/>
              <a:gd name="connsiteY1706" fmla="*/ 3903299 h 8714439"/>
              <a:gd name="connsiteX1707" fmla="*/ 3289707 w 9240942"/>
              <a:gd name="connsiteY1707" fmla="*/ 3932782 h 8714439"/>
              <a:gd name="connsiteX1708" fmla="*/ 3274094 w 9240942"/>
              <a:gd name="connsiteY1708" fmla="*/ 3949297 h 8714439"/>
              <a:gd name="connsiteX1709" fmla="*/ 3245971 w 9240942"/>
              <a:gd name="connsiteY1709" fmla="*/ 3930733 h 8714439"/>
              <a:gd name="connsiteX1710" fmla="*/ 3192361 w 9240942"/>
              <a:gd name="connsiteY1710" fmla="*/ 3971341 h 8714439"/>
              <a:gd name="connsiteX1711" fmla="*/ 3189478 w 9240942"/>
              <a:gd name="connsiteY1711" fmla="*/ 3992285 h 8714439"/>
              <a:gd name="connsiteX1712" fmla="*/ 3123955 w 9240942"/>
              <a:gd name="connsiteY1712" fmla="*/ 4041916 h 8714439"/>
              <a:gd name="connsiteX1713" fmla="*/ 3136466 w 9240942"/>
              <a:gd name="connsiteY1713" fmla="*/ 4076997 h 8714439"/>
              <a:gd name="connsiteX1714" fmla="*/ 3059731 w 9240942"/>
              <a:gd name="connsiteY1714" fmla="*/ 4053041 h 8714439"/>
              <a:gd name="connsiteX1715" fmla="*/ 3048560 w 9240942"/>
              <a:gd name="connsiteY1715" fmla="*/ 4134203 h 8714439"/>
              <a:gd name="connsiteX1716" fmla="*/ 3056509 w 9240942"/>
              <a:gd name="connsiteY1716" fmla="*/ 4153980 h 8714439"/>
              <a:gd name="connsiteX1717" fmla="*/ 3020124 w 9240942"/>
              <a:gd name="connsiteY1717" fmla="*/ 4127601 h 8714439"/>
              <a:gd name="connsiteX1718" fmla="*/ 2969350 w 9240942"/>
              <a:gd name="connsiteY1718" fmla="*/ 4137919 h 8714439"/>
              <a:gd name="connsiteX1719" fmla="*/ 2959116 w 9240942"/>
              <a:gd name="connsiteY1719" fmla="*/ 4183193 h 8714439"/>
              <a:gd name="connsiteX1720" fmla="*/ 2912137 w 9240942"/>
              <a:gd name="connsiteY1720" fmla="*/ 4204708 h 8714439"/>
              <a:gd name="connsiteX1721" fmla="*/ 2837680 w 9240942"/>
              <a:gd name="connsiteY1721" fmla="*/ 4261107 h 8714439"/>
              <a:gd name="connsiteX1722" fmla="*/ 2812629 w 9240942"/>
              <a:gd name="connsiteY1722" fmla="*/ 4258975 h 8714439"/>
              <a:gd name="connsiteX1723" fmla="*/ 2819905 w 9240942"/>
              <a:gd name="connsiteY1723" fmla="*/ 4293332 h 8714439"/>
              <a:gd name="connsiteX1724" fmla="*/ 2804198 w 9240942"/>
              <a:gd name="connsiteY1724" fmla="*/ 4291158 h 8714439"/>
              <a:gd name="connsiteX1725" fmla="*/ 2757987 w 9240942"/>
              <a:gd name="connsiteY1725" fmla="*/ 4316781 h 8714439"/>
              <a:gd name="connsiteX1726" fmla="*/ 2756232 w 9240942"/>
              <a:gd name="connsiteY1726" fmla="*/ 4339216 h 8714439"/>
              <a:gd name="connsiteX1727" fmla="*/ 2717514 w 9240942"/>
              <a:gd name="connsiteY1727" fmla="*/ 4368544 h 8714439"/>
              <a:gd name="connsiteX1728" fmla="*/ 2696211 w 9240942"/>
              <a:gd name="connsiteY1728" fmla="*/ 4368265 h 8714439"/>
              <a:gd name="connsiteX1729" fmla="*/ 2669406 w 9240942"/>
              <a:gd name="connsiteY1729" fmla="*/ 4388568 h 8714439"/>
              <a:gd name="connsiteX1730" fmla="*/ 2666883 w 9240942"/>
              <a:gd name="connsiteY1730" fmla="*/ 4406895 h 8714439"/>
              <a:gd name="connsiteX1731" fmla="*/ 2645580 w 9240942"/>
              <a:gd name="connsiteY1731" fmla="*/ 4406616 h 8714439"/>
              <a:gd name="connsiteX1732" fmla="*/ 2641207 w 9240942"/>
              <a:gd name="connsiteY1732" fmla="*/ 4428690 h 8714439"/>
              <a:gd name="connsiteX1733" fmla="*/ 2566750 w 9240942"/>
              <a:gd name="connsiteY1733" fmla="*/ 4485088 h 8714439"/>
              <a:gd name="connsiteX1734" fmla="*/ 2562377 w 9240942"/>
              <a:gd name="connsiteY1734" fmla="*/ 4507161 h 8714439"/>
              <a:gd name="connsiteX1735" fmla="*/ 2537062 w 9240942"/>
              <a:gd name="connsiteY1735" fmla="*/ 4526337 h 8714439"/>
              <a:gd name="connsiteX1736" fmla="*/ 2517247 w 9240942"/>
              <a:gd name="connsiteY1736" fmla="*/ 4524929 h 8714439"/>
              <a:gd name="connsiteX1737" fmla="*/ 2451725 w 9240942"/>
              <a:gd name="connsiteY1737" fmla="*/ 4574561 h 8714439"/>
              <a:gd name="connsiteX1738" fmla="*/ 2449203 w 9240942"/>
              <a:gd name="connsiteY1738" fmla="*/ 4592887 h 8714439"/>
              <a:gd name="connsiteX1739" fmla="*/ 2388148 w 9240942"/>
              <a:gd name="connsiteY1739" fmla="*/ 4639134 h 8714439"/>
              <a:gd name="connsiteX1740" fmla="*/ 2380797 w 9240942"/>
              <a:gd name="connsiteY1740" fmla="*/ 4663464 h 8714439"/>
              <a:gd name="connsiteX1741" fmla="*/ 2360983 w 9240942"/>
              <a:gd name="connsiteY1741" fmla="*/ 4662056 h 8714439"/>
              <a:gd name="connsiteX1742" fmla="*/ 2271634 w 9240942"/>
              <a:gd name="connsiteY1742" fmla="*/ 4729736 h 8714439"/>
              <a:gd name="connsiteX1743" fmla="*/ 2268751 w 9240942"/>
              <a:gd name="connsiteY1743" fmla="*/ 4750680 h 8714439"/>
              <a:gd name="connsiteX1744" fmla="*/ 2246317 w 9240942"/>
              <a:gd name="connsiteY1744" fmla="*/ 4748911 h 8714439"/>
              <a:gd name="connsiteX1745" fmla="*/ 2221003 w 9240942"/>
              <a:gd name="connsiteY1745" fmla="*/ 4768086 h 8714439"/>
              <a:gd name="connsiteX1746" fmla="*/ 2215909 w 9240942"/>
              <a:gd name="connsiteY1746" fmla="*/ 4795396 h 8714439"/>
              <a:gd name="connsiteX1747" fmla="*/ 2176689 w 9240942"/>
              <a:gd name="connsiteY1747" fmla="*/ 4799308 h 8714439"/>
              <a:gd name="connsiteX1748" fmla="*/ 2143927 w 9240942"/>
              <a:gd name="connsiteY1748" fmla="*/ 4824123 h 8714439"/>
              <a:gd name="connsiteX1749" fmla="*/ 2120367 w 9240942"/>
              <a:gd name="connsiteY1749" fmla="*/ 4820864 h 8714439"/>
              <a:gd name="connsiteX1750" fmla="*/ 2125698 w 9240942"/>
              <a:gd name="connsiteY1750" fmla="*/ 4840277 h 8714439"/>
              <a:gd name="connsiteX1751" fmla="*/ 2130260 w 9240942"/>
              <a:gd name="connsiteY1751" fmla="*/ 4855582 h 8714439"/>
              <a:gd name="connsiteX1752" fmla="*/ 2099253 w 9240942"/>
              <a:gd name="connsiteY1752" fmla="*/ 4857963 h 8714439"/>
              <a:gd name="connsiteX1753" fmla="*/ 2088734 w 9240942"/>
              <a:gd name="connsiteY1753" fmla="*/ 4847170 h 8714439"/>
              <a:gd name="connsiteX1754" fmla="*/ 2088639 w 9240942"/>
              <a:gd name="connsiteY1754" fmla="*/ 4828480 h 8714439"/>
              <a:gd name="connsiteX1755" fmla="*/ 2088734 w 9240942"/>
              <a:gd name="connsiteY1755" fmla="*/ 4847170 h 8714439"/>
              <a:gd name="connsiteX1756" fmla="*/ 2033636 w 9240942"/>
              <a:gd name="connsiteY1756" fmla="*/ 4888904 h 8714439"/>
              <a:gd name="connsiteX1757" fmla="*/ 2031473 w 9240942"/>
              <a:gd name="connsiteY1757" fmla="*/ 4904613 h 8714439"/>
              <a:gd name="connsiteX1758" fmla="*/ 2021818 w 9240942"/>
              <a:gd name="connsiteY1758" fmla="*/ 4916617 h 8714439"/>
              <a:gd name="connsiteX1759" fmla="*/ 1959274 w 9240942"/>
              <a:gd name="connsiteY1759" fmla="*/ 4963992 h 8714439"/>
              <a:gd name="connsiteX1760" fmla="*/ 1915082 w 9240942"/>
              <a:gd name="connsiteY1760" fmla="*/ 4945873 h 8714439"/>
              <a:gd name="connsiteX1761" fmla="*/ 1930211 w 9240942"/>
              <a:gd name="connsiteY1761" fmla="*/ 4981316 h 8714439"/>
              <a:gd name="connsiteX1762" fmla="*/ 1901965 w 9240942"/>
              <a:gd name="connsiteY1762" fmla="*/ 5012093 h 8714439"/>
              <a:gd name="connsiteX1763" fmla="*/ 1911451 w 9240942"/>
              <a:gd name="connsiteY1763" fmla="*/ 5040085 h 8714439"/>
              <a:gd name="connsiteX1764" fmla="*/ 1882606 w 9240942"/>
              <a:gd name="connsiteY1764" fmla="*/ 5026755 h 8714439"/>
              <a:gd name="connsiteX1765" fmla="*/ 1828229 w 9240942"/>
              <a:gd name="connsiteY1765" fmla="*/ 5063255 h 8714439"/>
              <a:gd name="connsiteX1766" fmla="*/ 1823496 w 9240942"/>
              <a:gd name="connsiteY1766" fmla="*/ 5087947 h 8714439"/>
              <a:gd name="connsiteX1767" fmla="*/ 1804041 w 9240942"/>
              <a:gd name="connsiteY1767" fmla="*/ 5083921 h 8714439"/>
              <a:gd name="connsiteX1768" fmla="*/ 1751922 w 9240942"/>
              <a:gd name="connsiteY1768" fmla="*/ 5123400 h 8714439"/>
              <a:gd name="connsiteX1769" fmla="*/ 1711884 w 9240942"/>
              <a:gd name="connsiteY1769" fmla="*/ 5113859 h 8714439"/>
              <a:gd name="connsiteX1770" fmla="*/ 1710661 w 9240942"/>
              <a:gd name="connsiteY1770" fmla="*/ 5093680 h 8714439"/>
              <a:gd name="connsiteX1771" fmla="*/ 1711884 w 9240942"/>
              <a:gd name="connsiteY1771" fmla="*/ 5113859 h 8714439"/>
              <a:gd name="connsiteX1772" fmla="*/ 1667570 w 9240942"/>
              <a:gd name="connsiteY1772" fmla="*/ 5145080 h 8714439"/>
              <a:gd name="connsiteX1773" fmla="*/ 1677104 w 9240942"/>
              <a:gd name="connsiteY1773" fmla="*/ 5182418 h 8714439"/>
              <a:gd name="connsiteX1774" fmla="*/ 1648980 w 9240942"/>
              <a:gd name="connsiteY1774" fmla="*/ 5163853 h 8714439"/>
              <a:gd name="connsiteX1775" fmla="*/ 1628180 w 9240942"/>
              <a:gd name="connsiteY1775" fmla="*/ 5188988 h 8714439"/>
              <a:gd name="connsiteX1776" fmla="*/ 1625610 w 9240942"/>
              <a:gd name="connsiteY1776" fmla="*/ 5197971 h 8714439"/>
              <a:gd name="connsiteX1777" fmla="*/ 1502011 w 9240942"/>
              <a:gd name="connsiteY1777" fmla="*/ 5291593 h 8714439"/>
              <a:gd name="connsiteX1778" fmla="*/ 1497638 w 9240942"/>
              <a:gd name="connsiteY1778" fmla="*/ 5313667 h 8714439"/>
              <a:gd name="connsiteX1779" fmla="*/ 1479313 w 9240942"/>
              <a:gd name="connsiteY1779" fmla="*/ 5311131 h 8714439"/>
              <a:gd name="connsiteX1780" fmla="*/ 1468216 w 9240942"/>
              <a:gd name="connsiteY1780" fmla="*/ 5333608 h 8714439"/>
              <a:gd name="connsiteX1781" fmla="*/ 1448667 w 9240942"/>
              <a:gd name="connsiteY1781" fmla="*/ 5310894 h 8714439"/>
              <a:gd name="connsiteX1782" fmla="*/ 1471364 w 9240942"/>
              <a:gd name="connsiteY1782" fmla="*/ 5291355 h 8714439"/>
              <a:gd name="connsiteX1783" fmla="*/ 1446940 w 9240942"/>
              <a:gd name="connsiteY1783" fmla="*/ 5265298 h 8714439"/>
              <a:gd name="connsiteX1784" fmla="*/ 1419101 w 9240942"/>
              <a:gd name="connsiteY1784" fmla="*/ 5302801 h 8714439"/>
              <a:gd name="connsiteX1785" fmla="*/ 1448667 w 9240942"/>
              <a:gd name="connsiteY1785" fmla="*/ 5310894 h 8714439"/>
              <a:gd name="connsiteX1786" fmla="*/ 1427819 w 9240942"/>
              <a:gd name="connsiteY1786" fmla="*/ 5326684 h 8714439"/>
              <a:gd name="connsiteX1787" fmla="*/ 1424575 w 9240942"/>
              <a:gd name="connsiteY1787" fmla="*/ 5350248 h 8714439"/>
              <a:gd name="connsiteX1788" fmla="*/ 1399259 w 9240942"/>
              <a:gd name="connsiteY1788" fmla="*/ 5369424 h 8714439"/>
              <a:gd name="connsiteX1789" fmla="*/ 1341617 w 9240942"/>
              <a:gd name="connsiteY1789" fmla="*/ 5352111 h 8714439"/>
              <a:gd name="connsiteX1790" fmla="*/ 1352953 w 9240942"/>
              <a:gd name="connsiteY1790" fmla="*/ 5376357 h 8714439"/>
              <a:gd name="connsiteX1791" fmla="*/ 1290096 w 9240942"/>
              <a:gd name="connsiteY1791" fmla="*/ 5435695 h 8714439"/>
              <a:gd name="connsiteX1792" fmla="*/ 1250780 w 9240942"/>
              <a:gd name="connsiteY1792" fmla="*/ 5420918 h 8714439"/>
              <a:gd name="connsiteX1793" fmla="*/ 1054212 w 9240942"/>
              <a:gd name="connsiteY1793" fmla="*/ 5569811 h 8714439"/>
              <a:gd name="connsiteX1794" fmla="*/ 1030652 w 9240942"/>
              <a:gd name="connsiteY1794" fmla="*/ 5566552 h 8714439"/>
              <a:gd name="connsiteX1795" fmla="*/ 854933 w 9240942"/>
              <a:gd name="connsiteY1795" fmla="*/ 5699653 h 8714439"/>
              <a:gd name="connsiteX1796" fmla="*/ 753602 w 9240942"/>
              <a:gd name="connsiteY1796" fmla="*/ 5689636 h 8714439"/>
              <a:gd name="connsiteX1797" fmla="*/ 741186 w 9240942"/>
              <a:gd name="connsiteY1797" fmla="*/ 5673244 h 8714439"/>
              <a:gd name="connsiteX1798" fmla="*/ 636878 w 9240942"/>
              <a:gd name="connsiteY1798" fmla="*/ 5665483 h 8714439"/>
              <a:gd name="connsiteX1799" fmla="*/ 619947 w 9240942"/>
              <a:gd name="connsiteY1799" fmla="*/ 5643131 h 8714439"/>
              <a:gd name="connsiteX1800" fmla="*/ 636233 w 9240942"/>
              <a:gd name="connsiteY1800" fmla="*/ 5612034 h 8714439"/>
              <a:gd name="connsiteX1801" fmla="*/ 617044 w 9240942"/>
              <a:gd name="connsiteY1801" fmla="*/ 5586701 h 8714439"/>
              <a:gd name="connsiteX1802" fmla="*/ 624565 w 9240942"/>
              <a:gd name="connsiteY1802" fmla="*/ 5522375 h 8714439"/>
              <a:gd name="connsiteX1803" fmla="*/ 659319 w 9240942"/>
              <a:gd name="connsiteY1803" fmla="*/ 5521847 h 8714439"/>
              <a:gd name="connsiteX1804" fmla="*/ 663235 w 9240942"/>
              <a:gd name="connsiteY1804" fmla="*/ 5483703 h 8714439"/>
              <a:gd name="connsiteX1805" fmla="*/ 683267 w 9240942"/>
              <a:gd name="connsiteY1805" fmla="*/ 5454459 h 8714439"/>
              <a:gd name="connsiteX1806" fmla="*/ 572255 w 9240942"/>
              <a:gd name="connsiteY1806" fmla="*/ 5524476 h 8714439"/>
              <a:gd name="connsiteX1807" fmla="*/ 563490 w 9240942"/>
              <a:gd name="connsiteY1807" fmla="*/ 5491248 h 8714439"/>
              <a:gd name="connsiteX1808" fmla="*/ 562171 w 9240942"/>
              <a:gd name="connsiteY1808" fmla="*/ 5452379 h 8714439"/>
              <a:gd name="connsiteX1809" fmla="*/ 587221 w 9240942"/>
              <a:gd name="connsiteY1809" fmla="*/ 5454510 h 8714439"/>
              <a:gd name="connsiteX1810" fmla="*/ 589383 w 9240942"/>
              <a:gd name="connsiteY1810" fmla="*/ 5438802 h 8714439"/>
              <a:gd name="connsiteX1811" fmla="*/ 630264 w 9240942"/>
              <a:gd name="connsiteY1811" fmla="*/ 5393766 h 8714439"/>
              <a:gd name="connsiteX1812" fmla="*/ 622409 w 9240942"/>
              <a:gd name="connsiteY1812" fmla="*/ 5392679 h 8714439"/>
              <a:gd name="connsiteX1813" fmla="*/ 528186 w 9240942"/>
              <a:gd name="connsiteY1813" fmla="*/ 5457015 h 8714439"/>
              <a:gd name="connsiteX1814" fmla="*/ 504264 w 9240942"/>
              <a:gd name="connsiteY1814" fmla="*/ 5456374 h 8714439"/>
              <a:gd name="connsiteX1815" fmla="*/ 443209 w 9240942"/>
              <a:gd name="connsiteY1815" fmla="*/ 5502621 h 8714439"/>
              <a:gd name="connsiteX1816" fmla="*/ 422266 w 9240942"/>
              <a:gd name="connsiteY1816" fmla="*/ 5499724 h 8714439"/>
              <a:gd name="connsiteX1817" fmla="*/ 373124 w 9240942"/>
              <a:gd name="connsiteY1817" fmla="*/ 5536947 h 8714439"/>
              <a:gd name="connsiteX1818" fmla="*/ 325329 w 9240942"/>
              <a:gd name="connsiteY1818" fmla="*/ 5545008 h 8714439"/>
              <a:gd name="connsiteX1819" fmla="*/ 293723 w 9240942"/>
              <a:gd name="connsiteY1819" fmla="*/ 5503283 h 8714439"/>
              <a:gd name="connsiteX1820" fmla="*/ 202961 w 9240942"/>
              <a:gd name="connsiteY1820" fmla="*/ 5513404 h 8714439"/>
              <a:gd name="connsiteX1821" fmla="*/ 181515 w 9240942"/>
              <a:gd name="connsiteY1821" fmla="*/ 5485092 h 8714439"/>
              <a:gd name="connsiteX1822" fmla="*/ 196719 w 9240942"/>
              <a:gd name="connsiteY1822" fmla="*/ 5461849 h 8714439"/>
              <a:gd name="connsiteX1823" fmla="*/ 179333 w 9240942"/>
              <a:gd name="connsiteY1823" fmla="*/ 5423425 h 8714439"/>
              <a:gd name="connsiteX1824" fmla="*/ 182168 w 9240942"/>
              <a:gd name="connsiteY1824" fmla="*/ 5393135 h 8714439"/>
              <a:gd name="connsiteX1825" fmla="*/ 237266 w 9240942"/>
              <a:gd name="connsiteY1825" fmla="*/ 5351401 h 8714439"/>
              <a:gd name="connsiteX1826" fmla="*/ 199582 w 9240942"/>
              <a:gd name="connsiteY1826" fmla="*/ 5363529 h 8714439"/>
              <a:gd name="connsiteX1827" fmla="*/ 174532 w 9240942"/>
              <a:gd name="connsiteY1827" fmla="*/ 5361397 h 8714439"/>
              <a:gd name="connsiteX1828" fmla="*/ 150706 w 9240942"/>
              <a:gd name="connsiteY1828" fmla="*/ 5379445 h 8714439"/>
              <a:gd name="connsiteX1829" fmla="*/ 140907 w 9240942"/>
              <a:gd name="connsiteY1829" fmla="*/ 5363416 h 8714439"/>
              <a:gd name="connsiteX1830" fmla="*/ 131782 w 9240942"/>
              <a:gd name="connsiteY1830" fmla="*/ 5332805 h 8714439"/>
              <a:gd name="connsiteX1831" fmla="*/ 335795 w 9240942"/>
              <a:gd name="connsiteY1831" fmla="*/ 5178271 h 8714439"/>
              <a:gd name="connsiteX1832" fmla="*/ 306494 w 9240942"/>
              <a:gd name="connsiteY1832" fmla="*/ 5148872 h 8714439"/>
              <a:gd name="connsiteX1833" fmla="*/ 287306 w 9240942"/>
              <a:gd name="connsiteY1833" fmla="*/ 5123539 h 8714439"/>
              <a:gd name="connsiteX1834" fmla="*/ 269872 w 9240942"/>
              <a:gd name="connsiteY1834" fmla="*/ 5075771 h 8714439"/>
              <a:gd name="connsiteX1835" fmla="*/ 309984 w 9240942"/>
              <a:gd name="connsiteY1835" fmla="*/ 5026626 h 8714439"/>
              <a:gd name="connsiteX1836" fmla="*/ 286279 w 9240942"/>
              <a:gd name="connsiteY1836" fmla="*/ 4995333 h 8714439"/>
              <a:gd name="connsiteX1837" fmla="*/ 267281 w 9240942"/>
              <a:gd name="connsiteY1837" fmla="*/ 5007379 h 8714439"/>
              <a:gd name="connsiteX1838" fmla="*/ 260794 w 9240942"/>
              <a:gd name="connsiteY1838" fmla="*/ 5054505 h 8714439"/>
              <a:gd name="connsiteX1839" fmla="*/ 238410 w 9240942"/>
              <a:gd name="connsiteY1839" fmla="*/ 5062079 h 8714439"/>
              <a:gd name="connsiteX1840" fmla="*/ 234690 w 9240942"/>
              <a:gd name="connsiteY1840" fmla="*/ 4992197 h 8714439"/>
              <a:gd name="connsiteX1841" fmla="*/ 260006 w 9240942"/>
              <a:gd name="connsiteY1841" fmla="*/ 4973022 h 8714439"/>
              <a:gd name="connsiteX1842" fmla="*/ 263969 w 9240942"/>
              <a:gd name="connsiteY1842" fmla="*/ 4944222 h 8714439"/>
              <a:gd name="connsiteX1843" fmla="*/ 297955 w 9240942"/>
              <a:gd name="connsiteY1843" fmla="*/ 4939586 h 8714439"/>
              <a:gd name="connsiteX1844" fmla="*/ 303000 w 9240942"/>
              <a:gd name="connsiteY1844" fmla="*/ 4902932 h 8714439"/>
              <a:gd name="connsiteX1845" fmla="*/ 349260 w 9240942"/>
              <a:gd name="connsiteY1845" fmla="*/ 4886654 h 8714439"/>
              <a:gd name="connsiteX1846" fmla="*/ 354353 w 9240942"/>
              <a:gd name="connsiteY1846" fmla="*/ 4859344 h 8714439"/>
              <a:gd name="connsiteX1847" fmla="*/ 384495 w 9240942"/>
              <a:gd name="connsiteY1847" fmla="*/ 4834167 h 8714439"/>
              <a:gd name="connsiteX1848" fmla="*/ 369822 w 9240942"/>
              <a:gd name="connsiteY1848" fmla="*/ 4814795 h 8714439"/>
              <a:gd name="connsiteX1849" fmla="*/ 304517 w 9240942"/>
              <a:gd name="connsiteY1849" fmla="*/ 4833774 h 8714439"/>
              <a:gd name="connsiteX1850" fmla="*/ 249684 w 9240942"/>
              <a:gd name="connsiteY1850" fmla="*/ 4854202 h 8714439"/>
              <a:gd name="connsiteX1851" fmla="*/ 220887 w 9240942"/>
              <a:gd name="connsiteY1851" fmla="*/ 4850217 h 8714439"/>
              <a:gd name="connsiteX1852" fmla="*/ 201745 w 9240942"/>
              <a:gd name="connsiteY1852" fmla="*/ 4834229 h 8714439"/>
              <a:gd name="connsiteX1853" fmla="*/ 168216 w 9240942"/>
              <a:gd name="connsiteY1853" fmla="*/ 4854936 h 8714439"/>
              <a:gd name="connsiteX1854" fmla="*/ 132504 w 9240942"/>
              <a:gd name="connsiteY1854" fmla="*/ 4813978 h 8714439"/>
              <a:gd name="connsiteX1855" fmla="*/ 132770 w 9240942"/>
              <a:gd name="connsiteY1855" fmla="*/ 4792670 h 8714439"/>
              <a:gd name="connsiteX1856" fmla="*/ 113316 w 9240942"/>
              <a:gd name="connsiteY1856" fmla="*/ 4788645 h 8714439"/>
              <a:gd name="connsiteX1857" fmla="*/ 83968 w 9240942"/>
              <a:gd name="connsiteY1857" fmla="*/ 4749900 h 8714439"/>
              <a:gd name="connsiteX1858" fmla="*/ 76910 w 9240942"/>
              <a:gd name="connsiteY1858" fmla="*/ 4684892 h 8714439"/>
              <a:gd name="connsiteX1859" fmla="*/ 120095 w 9240942"/>
              <a:gd name="connsiteY1859" fmla="*/ 4652181 h 8714439"/>
              <a:gd name="connsiteX1860" fmla="*/ 133593 w 9240942"/>
              <a:gd name="connsiteY1860" fmla="*/ 4660717 h 8714439"/>
              <a:gd name="connsiteX1861" fmla="*/ 115723 w 9240942"/>
              <a:gd name="connsiteY1861" fmla="*/ 4674254 h 8714439"/>
              <a:gd name="connsiteX1862" fmla="*/ 117185 w 9240942"/>
              <a:gd name="connsiteY1862" fmla="*/ 4741156 h 8714439"/>
              <a:gd name="connsiteX1863" fmla="*/ 127296 w 9240942"/>
              <a:gd name="connsiteY1863" fmla="*/ 4745223 h 8714439"/>
              <a:gd name="connsiteX1864" fmla="*/ 155590 w 9240942"/>
              <a:gd name="connsiteY1864" fmla="*/ 4723791 h 8714439"/>
              <a:gd name="connsiteX1865" fmla="*/ 147593 w 9240942"/>
              <a:gd name="connsiteY1865" fmla="*/ 4694671 h 8714439"/>
              <a:gd name="connsiteX1866" fmla="*/ 133593 w 9240942"/>
              <a:gd name="connsiteY1866" fmla="*/ 4660717 h 8714439"/>
              <a:gd name="connsiteX1867" fmla="*/ 148389 w 9240942"/>
              <a:gd name="connsiteY1867" fmla="*/ 4630749 h 8714439"/>
              <a:gd name="connsiteX1868" fmla="*/ 196042 w 9240942"/>
              <a:gd name="connsiteY1868" fmla="*/ 4594653 h 8714439"/>
              <a:gd name="connsiteX1869" fmla="*/ 189582 w 9240942"/>
              <a:gd name="connsiteY1869" fmla="*/ 4573750 h 8714439"/>
              <a:gd name="connsiteX1870" fmla="*/ 89022 w 9240942"/>
              <a:gd name="connsiteY1870" fmla="*/ 4567842 h 8714439"/>
              <a:gd name="connsiteX1871" fmla="*/ 58402 w 9240942"/>
              <a:gd name="connsiteY1871" fmla="*/ 4499573 h 8714439"/>
              <a:gd name="connsiteX1872" fmla="*/ 62319 w 9240942"/>
              <a:gd name="connsiteY1872" fmla="*/ 4461429 h 8714439"/>
              <a:gd name="connsiteX1873" fmla="*/ 56893 w 9240942"/>
              <a:gd name="connsiteY1873" fmla="*/ 4423327 h 8714439"/>
              <a:gd name="connsiteX1874" fmla="*/ 51059 w 9240942"/>
              <a:gd name="connsiteY1874" fmla="*/ 4378497 h 8714439"/>
              <a:gd name="connsiteX1875" fmla="*/ 125516 w 9240942"/>
              <a:gd name="connsiteY1875" fmla="*/ 4322098 h 8714439"/>
              <a:gd name="connsiteX1876" fmla="*/ 133132 w 9240942"/>
              <a:gd name="connsiteY1876" fmla="*/ 4276461 h 8714439"/>
              <a:gd name="connsiteX1877" fmla="*/ 157272 w 9240942"/>
              <a:gd name="connsiteY1877" fmla="*/ 4246451 h 8714439"/>
              <a:gd name="connsiteX1878" fmla="*/ 173965 w 9240942"/>
              <a:gd name="connsiteY1878" fmla="*/ 4222080 h 8714439"/>
              <a:gd name="connsiteX1879" fmla="*/ 192867 w 9240942"/>
              <a:gd name="connsiteY1879" fmla="*/ 4191345 h 8714439"/>
              <a:gd name="connsiteX1880" fmla="*/ 209704 w 9240942"/>
              <a:gd name="connsiteY1880" fmla="*/ 4195009 h 8714439"/>
              <a:gd name="connsiteX1881" fmla="*/ 214076 w 9240942"/>
              <a:gd name="connsiteY1881" fmla="*/ 4172936 h 8714439"/>
              <a:gd name="connsiteX1882" fmla="*/ 237902 w 9240942"/>
              <a:gd name="connsiteY1882" fmla="*/ 4154888 h 8714439"/>
              <a:gd name="connsiteX1883" fmla="*/ 220203 w 9240942"/>
              <a:gd name="connsiteY1883" fmla="*/ 4128427 h 8714439"/>
              <a:gd name="connsiteX1884" fmla="*/ 215831 w 9240942"/>
              <a:gd name="connsiteY1884" fmla="*/ 4150501 h 8714439"/>
              <a:gd name="connsiteX1885" fmla="*/ 198995 w 9240942"/>
              <a:gd name="connsiteY1885" fmla="*/ 4146837 h 8714439"/>
              <a:gd name="connsiteX1886" fmla="*/ 165560 w 9240942"/>
              <a:gd name="connsiteY1886" fmla="*/ 4186234 h 8714439"/>
              <a:gd name="connsiteX1887" fmla="*/ 80679 w 9240942"/>
              <a:gd name="connsiteY1887" fmla="*/ 4250528 h 8714439"/>
              <a:gd name="connsiteX1888" fmla="*/ 69629 w 9240942"/>
              <a:gd name="connsiteY1888" fmla="*/ 4282350 h 8714439"/>
              <a:gd name="connsiteX1889" fmla="*/ 45803 w 9240942"/>
              <a:gd name="connsiteY1889" fmla="*/ 4300397 h 8714439"/>
              <a:gd name="connsiteX1890" fmla="*/ 58267 w 9240942"/>
              <a:gd name="connsiteY1890" fmla="*/ 4326133 h 8714439"/>
              <a:gd name="connsiteX1891" fmla="*/ 43783 w 9240942"/>
              <a:gd name="connsiteY1891" fmla="*/ 4344140 h 8714439"/>
              <a:gd name="connsiteX1892" fmla="*/ 40900 w 9240942"/>
              <a:gd name="connsiteY1892" fmla="*/ 4365085 h 8714439"/>
              <a:gd name="connsiteX1893" fmla="*/ 15584 w 9240942"/>
              <a:gd name="connsiteY1893" fmla="*/ 4384260 h 8714439"/>
              <a:gd name="connsiteX1894" fmla="*/ 7731 w 9240942"/>
              <a:gd name="connsiteY1894" fmla="*/ 4383174 h 8714439"/>
              <a:gd name="connsiteX1895" fmla="*/ 0 w 9240942"/>
              <a:gd name="connsiteY1895" fmla="*/ 4332747 h 8714439"/>
              <a:gd name="connsiteX1896" fmla="*/ 10499 w 9240942"/>
              <a:gd name="connsiteY1896" fmla="*/ 4266166 h 8714439"/>
              <a:gd name="connsiteX1897" fmla="*/ 19433 w 9240942"/>
              <a:gd name="connsiteY1897" fmla="*/ 4259397 h 8714439"/>
              <a:gd name="connsiteX1898" fmla="*/ 22677 w 9240942"/>
              <a:gd name="connsiteY1898" fmla="*/ 4235834 h 8714439"/>
              <a:gd name="connsiteX1899" fmla="*/ 47993 w 9240942"/>
              <a:gd name="connsiteY1899" fmla="*/ 4216659 h 8714439"/>
              <a:gd name="connsiteX1900" fmla="*/ 52365 w 9240942"/>
              <a:gd name="connsiteY1900" fmla="*/ 4194586 h 8714439"/>
              <a:gd name="connsiteX1901" fmla="*/ 70691 w 9240942"/>
              <a:gd name="connsiteY1901" fmla="*/ 4197120 h 8714439"/>
              <a:gd name="connsiteX1902" fmla="*/ 99514 w 9240942"/>
              <a:gd name="connsiteY1902" fmla="*/ 4133074 h 8714439"/>
              <a:gd name="connsiteX1903" fmla="*/ 125694 w 9240942"/>
              <a:gd name="connsiteY1903" fmla="*/ 4136696 h 8714439"/>
              <a:gd name="connsiteX1904" fmla="*/ 130786 w 9240942"/>
              <a:gd name="connsiteY1904" fmla="*/ 4109386 h 8714439"/>
              <a:gd name="connsiteX1905" fmla="*/ 165900 w 9240942"/>
              <a:gd name="connsiteY1905" fmla="*/ 4106240 h 8714439"/>
              <a:gd name="connsiteX1906" fmla="*/ 170178 w 9240942"/>
              <a:gd name="connsiteY1906" fmla="*/ 4065478 h 8714439"/>
              <a:gd name="connsiteX1907" fmla="*/ 192970 w 9240942"/>
              <a:gd name="connsiteY1907" fmla="*/ 4064629 h 8714439"/>
              <a:gd name="connsiteX1908" fmla="*/ 304655 w 9240942"/>
              <a:gd name="connsiteY1908" fmla="*/ 3980031 h 8714439"/>
              <a:gd name="connsiteX1909" fmla="*/ 332324 w 9240942"/>
              <a:gd name="connsiteY1909" fmla="*/ 3982525 h 8714439"/>
              <a:gd name="connsiteX1910" fmla="*/ 321350 w 9240942"/>
              <a:gd name="connsiteY1910" fmla="*/ 3955661 h 8714439"/>
              <a:gd name="connsiteX1911" fmla="*/ 329877 w 9240942"/>
              <a:gd name="connsiteY1911" fmla="*/ 3942166 h 8714439"/>
              <a:gd name="connsiteX1912" fmla="*/ 425182 w 9240942"/>
              <a:gd name="connsiteY1912" fmla="*/ 3869975 h 8714439"/>
              <a:gd name="connsiteX1913" fmla="*/ 419083 w 9240942"/>
              <a:gd name="connsiteY1913" fmla="*/ 3846454 h 8714439"/>
              <a:gd name="connsiteX1914" fmla="*/ 380630 w 9240942"/>
              <a:gd name="connsiteY1914" fmla="*/ 3854474 h 8714439"/>
              <a:gd name="connsiteX1915" fmla="*/ 397637 w 9240942"/>
              <a:gd name="connsiteY1915" fmla="*/ 3818140 h 8714439"/>
              <a:gd name="connsiteX1916" fmla="*/ 359041 w 9240942"/>
              <a:gd name="connsiteY1916" fmla="*/ 3798127 h 8714439"/>
              <a:gd name="connsiteX1917" fmla="*/ 359210 w 9240942"/>
              <a:gd name="connsiteY1917" fmla="*/ 3758130 h 8714439"/>
              <a:gd name="connsiteX1918" fmla="*/ 396440 w 9240942"/>
              <a:gd name="connsiteY1918" fmla="*/ 3729930 h 8714439"/>
              <a:gd name="connsiteX1919" fmla="*/ 418872 w 9240942"/>
              <a:gd name="connsiteY1919" fmla="*/ 3731700 h 8714439"/>
              <a:gd name="connsiteX1920" fmla="*/ 422884 w 9240942"/>
              <a:gd name="connsiteY1920" fmla="*/ 3712245 h 8714439"/>
              <a:gd name="connsiteX1921" fmla="*/ 473515 w 9240942"/>
              <a:gd name="connsiteY1921" fmla="*/ 3673894 h 8714439"/>
              <a:gd name="connsiteX1922" fmla="*/ 496478 w 9240942"/>
              <a:gd name="connsiteY1922" fmla="*/ 3633049 h 8714439"/>
              <a:gd name="connsiteX1923" fmla="*/ 509017 w 9240942"/>
              <a:gd name="connsiteY1923" fmla="*/ 3600100 h 8714439"/>
              <a:gd name="connsiteX1924" fmla="*/ 547877 w 9240942"/>
              <a:gd name="connsiteY1924" fmla="*/ 3598806 h 8714439"/>
              <a:gd name="connsiteX1925" fmla="*/ 555949 w 9240942"/>
              <a:gd name="connsiteY1925" fmla="*/ 3569241 h 8714439"/>
              <a:gd name="connsiteX1926" fmla="*/ 576892 w 9240942"/>
              <a:gd name="connsiteY1926" fmla="*/ 3572138 h 8714439"/>
              <a:gd name="connsiteX1927" fmla="*/ 602208 w 9240942"/>
              <a:gd name="connsiteY1927" fmla="*/ 3552962 h 8714439"/>
              <a:gd name="connsiteX1928" fmla="*/ 607301 w 9240942"/>
              <a:gd name="connsiteY1928" fmla="*/ 3525653 h 8714439"/>
              <a:gd name="connsiteX1929" fmla="*/ 641286 w 9240942"/>
              <a:gd name="connsiteY1929" fmla="*/ 3521017 h 8714439"/>
              <a:gd name="connsiteX1930" fmla="*/ 643040 w 9240942"/>
              <a:gd name="connsiteY1930" fmla="*/ 3498582 h 8714439"/>
              <a:gd name="connsiteX1931" fmla="*/ 682356 w 9240942"/>
              <a:gd name="connsiteY1931" fmla="*/ 3513358 h 8714439"/>
              <a:gd name="connsiteX1932" fmla="*/ 713627 w 9240942"/>
              <a:gd name="connsiteY1932" fmla="*/ 3489671 h 8714439"/>
              <a:gd name="connsiteX1933" fmla="*/ 769732 w 9240942"/>
              <a:gd name="connsiteY1933" fmla="*/ 3498767 h 8714439"/>
              <a:gd name="connsiteX1934" fmla="*/ 764735 w 9240942"/>
              <a:gd name="connsiteY1934" fmla="*/ 3544766 h 8714439"/>
              <a:gd name="connsiteX1935" fmla="*/ 782746 w 9240942"/>
              <a:gd name="connsiteY1935" fmla="*/ 3559264 h 8714439"/>
              <a:gd name="connsiteX1936" fmla="*/ 787480 w 9240942"/>
              <a:gd name="connsiteY1936" fmla="*/ 3534573 h 8714439"/>
              <a:gd name="connsiteX1937" fmla="*/ 867894 w 9240942"/>
              <a:gd name="connsiteY1937" fmla="*/ 3473662 h 8714439"/>
              <a:gd name="connsiteX1938" fmla="*/ 839865 w 9240942"/>
              <a:gd name="connsiteY1938" fmla="*/ 3473786 h 8714439"/>
              <a:gd name="connsiteX1939" fmla="*/ 794906 w 9240942"/>
              <a:gd name="connsiteY1939" fmla="*/ 3451558 h 8714439"/>
              <a:gd name="connsiteX1940" fmla="*/ 779103 w 9240942"/>
              <a:gd name="connsiteY1940" fmla="*/ 3430696 h 8714439"/>
              <a:gd name="connsiteX1941" fmla="*/ 757030 w 9240942"/>
              <a:gd name="connsiteY1941" fmla="*/ 3426308 h 8714439"/>
              <a:gd name="connsiteX1942" fmla="*/ 763471 w 9240942"/>
              <a:gd name="connsiteY1942" fmla="*/ 3369837 h 8714439"/>
              <a:gd name="connsiteX1943" fmla="*/ 826015 w 9240942"/>
              <a:gd name="connsiteY1943" fmla="*/ 3322463 h 8714439"/>
              <a:gd name="connsiteX1944" fmla="*/ 830386 w 9240942"/>
              <a:gd name="connsiteY1944" fmla="*/ 3300389 h 8714439"/>
              <a:gd name="connsiteX1945" fmla="*/ 879454 w 9240942"/>
              <a:gd name="connsiteY1945" fmla="*/ 3321852 h 8714439"/>
              <a:gd name="connsiteX1946" fmla="*/ 908875 w 9240942"/>
              <a:gd name="connsiteY1946" fmla="*/ 3301909 h 8714439"/>
              <a:gd name="connsiteX1947" fmla="*/ 935416 w 9240942"/>
              <a:gd name="connsiteY1947" fmla="*/ 3302914 h 8714439"/>
              <a:gd name="connsiteX1948" fmla="*/ 984216 w 9240942"/>
              <a:gd name="connsiteY1948" fmla="*/ 3345684 h 8714439"/>
              <a:gd name="connsiteX1949" fmla="*/ 976942 w 9240942"/>
              <a:gd name="connsiteY1949" fmla="*/ 3311327 h 8714439"/>
              <a:gd name="connsiteX1950" fmla="*/ 990344 w 9240942"/>
              <a:gd name="connsiteY1950" fmla="*/ 3301174 h 8714439"/>
              <a:gd name="connsiteX1951" fmla="*/ 971829 w 9240942"/>
              <a:gd name="connsiteY1951" fmla="*/ 3261261 h 8714439"/>
              <a:gd name="connsiteX1952" fmla="*/ 984007 w 9240942"/>
              <a:gd name="connsiteY1952" fmla="*/ 3230931 h 8714439"/>
              <a:gd name="connsiteX1953" fmla="*/ 1011940 w 9240942"/>
              <a:gd name="connsiteY1953" fmla="*/ 3212117 h 8714439"/>
              <a:gd name="connsiteX1954" fmla="*/ 989868 w 9240942"/>
              <a:gd name="connsiteY1954" fmla="*/ 3207729 h 8714439"/>
              <a:gd name="connsiteX1955" fmla="*/ 990949 w 9240942"/>
              <a:gd name="connsiteY1955" fmla="*/ 3199875 h 8714439"/>
              <a:gd name="connsiteX1956" fmla="*/ 1043070 w 9240942"/>
              <a:gd name="connsiteY1956" fmla="*/ 3160395 h 8714439"/>
              <a:gd name="connsiteX1957" fmla="*/ 1065502 w 9240942"/>
              <a:gd name="connsiteY1957" fmla="*/ 3162164 h 8714439"/>
              <a:gd name="connsiteX1958" fmla="*/ 1067257 w 9240942"/>
              <a:gd name="connsiteY1958" fmla="*/ 3139729 h 8714439"/>
              <a:gd name="connsiteX1959" fmla="*/ 1123769 w 9240942"/>
              <a:gd name="connsiteY1959" fmla="*/ 3155552 h 8714439"/>
              <a:gd name="connsiteX1960" fmla="*/ 1125930 w 9240942"/>
              <a:gd name="connsiteY1960" fmla="*/ 3139843 h 8714439"/>
              <a:gd name="connsiteX1961" fmla="*/ 1161357 w 9240942"/>
              <a:gd name="connsiteY1961" fmla="*/ 3124734 h 8714439"/>
              <a:gd name="connsiteX1962" fmla="*/ 1134628 w 9240942"/>
              <a:gd name="connsiteY1962" fmla="*/ 3086352 h 8714439"/>
              <a:gd name="connsiteX1963" fmla="*/ 1180261 w 9240942"/>
              <a:gd name="connsiteY1963" fmla="*/ 3093999 h 8714439"/>
              <a:gd name="connsiteX1964" fmla="*/ 1205074 w 9240942"/>
              <a:gd name="connsiteY1964" fmla="*/ 3049408 h 8714439"/>
              <a:gd name="connsiteX1965" fmla="*/ 1195635 w 9240942"/>
              <a:gd name="connsiteY1965" fmla="*/ 3030760 h 8714439"/>
              <a:gd name="connsiteX1966" fmla="*/ 1214492 w 9240942"/>
              <a:gd name="connsiteY1966" fmla="*/ 2990681 h 8714439"/>
              <a:gd name="connsiteX1967" fmla="*/ 1270141 w 9240942"/>
              <a:gd name="connsiteY1967" fmla="*/ 2983706 h 8714439"/>
              <a:gd name="connsiteX1968" fmla="*/ 1273024 w 9240942"/>
              <a:gd name="connsiteY1968" fmla="*/ 2962761 h 8714439"/>
              <a:gd name="connsiteX1969" fmla="*/ 1362373 w 9240942"/>
              <a:gd name="connsiteY1969" fmla="*/ 2895082 h 8714439"/>
              <a:gd name="connsiteX1970" fmla="*/ 1353248 w 9240942"/>
              <a:gd name="connsiteY1970" fmla="*/ 2864472 h 8714439"/>
              <a:gd name="connsiteX1971" fmla="*/ 1391122 w 9240942"/>
              <a:gd name="connsiteY1971" fmla="*/ 2889722 h 8714439"/>
              <a:gd name="connsiteX1972" fmla="*/ 1410889 w 9240942"/>
              <a:gd name="connsiteY1972" fmla="*/ 2881784 h 8714439"/>
              <a:gd name="connsiteX1973" fmla="*/ 1402892 w 9240942"/>
              <a:gd name="connsiteY1973" fmla="*/ 2852664 h 8714439"/>
              <a:gd name="connsiteX1974" fmla="*/ 1409930 w 9240942"/>
              <a:gd name="connsiteY1974" fmla="*/ 2840298 h 8714439"/>
              <a:gd name="connsiteX1975" fmla="*/ 1424604 w 9240942"/>
              <a:gd name="connsiteY1975" fmla="*/ 2859670 h 8714439"/>
              <a:gd name="connsiteX1976" fmla="*/ 1429840 w 9240942"/>
              <a:gd name="connsiteY1976" fmla="*/ 2860394 h 8714439"/>
              <a:gd name="connsiteX1977" fmla="*/ 1436517 w 9240942"/>
              <a:gd name="connsiteY1977" fmla="*/ 2850646 h 8714439"/>
              <a:gd name="connsiteX1978" fmla="*/ 1421843 w 9240942"/>
              <a:gd name="connsiteY1978" fmla="*/ 2831273 h 8714439"/>
              <a:gd name="connsiteX1979" fmla="*/ 1435653 w 9240942"/>
              <a:gd name="connsiteY1979" fmla="*/ 2827848 h 8714439"/>
              <a:gd name="connsiteX1980" fmla="*/ 1447661 w 9240942"/>
              <a:gd name="connsiteY1980" fmla="*/ 2837514 h 8714439"/>
              <a:gd name="connsiteX1981" fmla="*/ 1461880 w 9240942"/>
              <a:gd name="connsiteY1981" fmla="*/ 2840814 h 8714439"/>
              <a:gd name="connsiteX1982" fmla="*/ 1453884 w 9240942"/>
              <a:gd name="connsiteY1982" fmla="*/ 2811695 h 8714439"/>
              <a:gd name="connsiteX1983" fmla="*/ 1527981 w 9240942"/>
              <a:gd name="connsiteY1983" fmla="*/ 2757914 h 8714439"/>
              <a:gd name="connsiteX1984" fmla="*/ 1530191 w 9240942"/>
              <a:gd name="connsiteY1984" fmla="*/ 2751549 h 8714439"/>
              <a:gd name="connsiteX1985" fmla="*/ 1551494 w 9240942"/>
              <a:gd name="connsiteY1985" fmla="*/ 2751829 h 8714439"/>
              <a:gd name="connsiteX1986" fmla="*/ 1559110 w 9240942"/>
              <a:gd name="connsiteY1986" fmla="*/ 2706192 h 8714439"/>
              <a:gd name="connsiteX1987" fmla="*/ 1595713 w 9240942"/>
              <a:gd name="connsiteY1987" fmla="*/ 2701918 h 8714439"/>
              <a:gd name="connsiteX1988" fmla="*/ 1634981 w 9240942"/>
              <a:gd name="connsiteY1988" fmla="*/ 2707351 h 8714439"/>
              <a:gd name="connsiteX1989" fmla="*/ 1642767 w 9240942"/>
              <a:gd name="connsiteY1989" fmla="*/ 2621718 h 8714439"/>
              <a:gd name="connsiteX1990" fmla="*/ 1718279 w 9240942"/>
              <a:gd name="connsiteY1990" fmla="*/ 2625495 h 8714439"/>
              <a:gd name="connsiteX1991" fmla="*/ 1743593 w 9240942"/>
              <a:gd name="connsiteY1991" fmla="*/ 2606320 h 8714439"/>
              <a:gd name="connsiteX1992" fmla="*/ 1736774 w 9240942"/>
              <a:gd name="connsiteY1992" fmla="*/ 2588034 h 8714439"/>
              <a:gd name="connsiteX1993" fmla="*/ 1739657 w 9240942"/>
              <a:gd name="connsiteY1993" fmla="*/ 2567089 h 8714439"/>
              <a:gd name="connsiteX1994" fmla="*/ 1758343 w 9240942"/>
              <a:gd name="connsiteY1994" fmla="*/ 2567005 h 8714439"/>
              <a:gd name="connsiteX1995" fmla="*/ 1739657 w 9240942"/>
              <a:gd name="connsiteY1995" fmla="*/ 2567089 h 8714439"/>
              <a:gd name="connsiteX1996" fmla="*/ 1751474 w 9240942"/>
              <a:gd name="connsiteY1996" fmla="*/ 2539376 h 8714439"/>
              <a:gd name="connsiteX1997" fmla="*/ 1793770 w 9240942"/>
              <a:gd name="connsiteY1997" fmla="*/ 2551896 h 8714439"/>
              <a:gd name="connsiteX1998" fmla="*/ 1803595 w 9240942"/>
              <a:gd name="connsiteY1998" fmla="*/ 2499896 h 8714439"/>
              <a:gd name="connsiteX1999" fmla="*/ 1829101 w 9240942"/>
              <a:gd name="connsiteY1999" fmla="*/ 2518099 h 8714439"/>
              <a:gd name="connsiteX2000" fmla="*/ 1849854 w 9240942"/>
              <a:gd name="connsiteY2000" fmla="*/ 2483619 h 8714439"/>
              <a:gd name="connsiteX2001" fmla="*/ 1877209 w 9240942"/>
              <a:gd name="connsiteY2001" fmla="*/ 2498075 h 8714439"/>
              <a:gd name="connsiteX2002" fmla="*/ 1923345 w 9240942"/>
              <a:gd name="connsiteY2002" fmla="*/ 2531138 h 8714439"/>
              <a:gd name="connsiteX2003" fmla="*/ 1898370 w 9240942"/>
              <a:gd name="connsiteY2003" fmla="*/ 2470321 h 8714439"/>
              <a:gd name="connsiteX2004" fmla="*/ 1936918 w 9240942"/>
              <a:gd name="connsiteY2004" fmla="*/ 2480990 h 8714439"/>
              <a:gd name="connsiteX2005" fmla="*/ 1949001 w 9240942"/>
              <a:gd name="connsiteY2005" fmla="*/ 2431968 h 8714439"/>
              <a:gd name="connsiteX2006" fmla="*/ 1965116 w 9240942"/>
              <a:gd name="connsiteY2006" fmla="*/ 2440868 h 8714439"/>
              <a:gd name="connsiteX2007" fmla="*/ 1989133 w 9240942"/>
              <a:gd name="connsiteY2007" fmla="*/ 2460199 h 8714439"/>
              <a:gd name="connsiteX2008" fmla="*/ 1994587 w 9240942"/>
              <a:gd name="connsiteY2008" fmla="*/ 2430272 h 8714439"/>
              <a:gd name="connsiteX2009" fmla="*/ 1971385 w 9240942"/>
              <a:gd name="connsiteY2009" fmla="*/ 2424394 h 8714439"/>
              <a:gd name="connsiteX2010" fmla="*/ 1981762 w 9240942"/>
              <a:gd name="connsiteY2010" fmla="*/ 2407154 h 8714439"/>
              <a:gd name="connsiteX2011" fmla="*/ 2001074 w 9240942"/>
              <a:gd name="connsiteY2011" fmla="*/ 2383145 h 8714439"/>
              <a:gd name="connsiteX2012" fmla="*/ 2007702 w 9240942"/>
              <a:gd name="connsiteY2012" fmla="*/ 2364052 h 8714439"/>
              <a:gd name="connsiteX2013" fmla="*/ 2043945 w 9240942"/>
              <a:gd name="connsiteY2013" fmla="*/ 2362397 h 8714439"/>
              <a:gd name="connsiteX2014" fmla="*/ 2054635 w 9240942"/>
              <a:gd name="connsiteY2014" fmla="*/ 2333194 h 8714439"/>
              <a:gd name="connsiteX2015" fmla="*/ 2078196 w 9240942"/>
              <a:gd name="connsiteY2015" fmla="*/ 2336453 h 8714439"/>
              <a:gd name="connsiteX2016" fmla="*/ 2079448 w 9240942"/>
              <a:gd name="connsiteY2016" fmla="*/ 2288602 h 8714439"/>
              <a:gd name="connsiteX2017" fmla="*/ 2104450 w 9240942"/>
              <a:gd name="connsiteY2017" fmla="*/ 2281389 h 8714439"/>
              <a:gd name="connsiteX2018" fmla="*/ 2100846 w 9240942"/>
              <a:gd name="connsiteY2018" fmla="*/ 2307571 h 8714439"/>
              <a:gd name="connsiteX2019" fmla="*/ 2123231 w 9240942"/>
              <a:gd name="connsiteY2019" fmla="*/ 2299996 h 8714439"/>
              <a:gd name="connsiteX2020" fmla="*/ 2119198 w 9240942"/>
              <a:gd name="connsiteY2020" fmla="*/ 2242075 h 8714439"/>
              <a:gd name="connsiteX2021" fmla="*/ 2135580 w 9240942"/>
              <a:gd name="connsiteY2021" fmla="*/ 2229668 h 8714439"/>
              <a:gd name="connsiteX2022" fmla="*/ 2162575 w 9240942"/>
              <a:gd name="connsiteY2022" fmla="*/ 2246742 h 8714439"/>
              <a:gd name="connsiteX2023" fmla="*/ 2201292 w 9240942"/>
              <a:gd name="connsiteY2023" fmla="*/ 2217416 h 8714439"/>
              <a:gd name="connsiteX2024" fmla="*/ 2230450 w 9240942"/>
              <a:gd name="connsiteY2024" fmla="*/ 2218781 h 8714439"/>
              <a:gd name="connsiteX2025" fmla="*/ 2220243 w 9240942"/>
              <a:gd name="connsiteY2025" fmla="*/ 2196024 h 8714439"/>
              <a:gd name="connsiteX2026" fmla="*/ 2237610 w 9240942"/>
              <a:gd name="connsiteY2026" fmla="*/ 2157073 h 8714439"/>
              <a:gd name="connsiteX2027" fmla="*/ 2302242 w 9240942"/>
              <a:gd name="connsiteY2027" fmla="*/ 2152675 h 8714439"/>
              <a:gd name="connsiteX2028" fmla="*/ 2303465 w 9240942"/>
              <a:gd name="connsiteY2028" fmla="*/ 2172854 h 8714439"/>
              <a:gd name="connsiteX2029" fmla="*/ 2327700 w 9240942"/>
              <a:gd name="connsiteY2029" fmla="*/ 2161534 h 8714439"/>
              <a:gd name="connsiteX2030" fmla="*/ 2318622 w 9240942"/>
              <a:gd name="connsiteY2030" fmla="*/ 2140268 h 8714439"/>
              <a:gd name="connsiteX2031" fmla="*/ 2332242 w 9240942"/>
              <a:gd name="connsiteY2031" fmla="*/ 2099463 h 8714439"/>
              <a:gd name="connsiteX2032" fmla="*/ 2388034 w 9240942"/>
              <a:gd name="connsiteY2032" fmla="*/ 2120522 h 8714439"/>
              <a:gd name="connsiteX2033" fmla="*/ 2392767 w 9240942"/>
              <a:gd name="connsiteY2033" fmla="*/ 2095832 h 8714439"/>
              <a:gd name="connsiteX2034" fmla="*/ 2417817 w 9240942"/>
              <a:gd name="connsiteY2034" fmla="*/ 2097962 h 8714439"/>
              <a:gd name="connsiteX2035" fmla="*/ 2429682 w 9240942"/>
              <a:gd name="connsiteY2035" fmla="*/ 2079595 h 8714439"/>
              <a:gd name="connsiteX2036" fmla="*/ 2406482 w 9240942"/>
              <a:gd name="connsiteY2036" fmla="*/ 2073717 h 8714439"/>
              <a:gd name="connsiteX2037" fmla="*/ 2438475 w 9240942"/>
              <a:gd name="connsiteY2037" fmla="*/ 2044793 h 8714439"/>
              <a:gd name="connsiteX2038" fmla="*/ 2472650 w 9240942"/>
              <a:gd name="connsiteY2038" fmla="*/ 2077535 h 8714439"/>
              <a:gd name="connsiteX2039" fmla="*/ 2457834 w 9240942"/>
              <a:gd name="connsiteY2039" fmla="*/ 2030129 h 8714439"/>
              <a:gd name="connsiteX2040" fmla="*/ 2470828 w 9240942"/>
              <a:gd name="connsiteY2040" fmla="*/ 2013251 h 8714439"/>
              <a:gd name="connsiteX2041" fmla="*/ 2474119 w 9240942"/>
              <a:gd name="connsiteY2041" fmla="*/ 1999033 h 8714439"/>
              <a:gd name="connsiteX2042" fmla="*/ 2482693 w 9240942"/>
              <a:gd name="connsiteY2042" fmla="*/ 1994882 h 8714439"/>
              <a:gd name="connsiteX2043" fmla="*/ 2541681 w 9240942"/>
              <a:gd name="connsiteY2043" fmla="*/ 1983034 h 8714439"/>
              <a:gd name="connsiteX2044" fmla="*/ 2555084 w 9240942"/>
              <a:gd name="connsiteY2044" fmla="*/ 1972882 h 8714439"/>
              <a:gd name="connsiteX2045" fmla="*/ 2602565 w 9240942"/>
              <a:gd name="connsiteY2045" fmla="*/ 1976782 h 8714439"/>
              <a:gd name="connsiteX2046" fmla="*/ 2616234 w 9240942"/>
              <a:gd name="connsiteY2046" fmla="*/ 1945323 h 8714439"/>
              <a:gd name="connsiteX2047" fmla="*/ 2620606 w 9240942"/>
              <a:gd name="connsiteY2047" fmla="*/ 1923251 h 8714439"/>
              <a:gd name="connsiteX2048" fmla="*/ 2643038 w 9240942"/>
              <a:gd name="connsiteY2048" fmla="*/ 1925020 h 8714439"/>
              <a:gd name="connsiteX2049" fmla="*/ 2646282 w 9240942"/>
              <a:gd name="connsiteY2049" fmla="*/ 1901456 h 8714439"/>
              <a:gd name="connsiteX2050" fmla="*/ 2690881 w 9240942"/>
              <a:gd name="connsiteY2050" fmla="*/ 1926303 h 8714439"/>
              <a:gd name="connsiteX2051" fmla="*/ 2711444 w 9240942"/>
              <a:gd name="connsiteY2051" fmla="*/ 1854444 h 8714439"/>
              <a:gd name="connsiteX2052" fmla="*/ 2733781 w 9240942"/>
              <a:gd name="connsiteY2052" fmla="*/ 1837523 h 8714439"/>
              <a:gd name="connsiteX2053" fmla="*/ 2760320 w 9240942"/>
              <a:gd name="connsiteY2053" fmla="*/ 1838527 h 8714439"/>
              <a:gd name="connsiteX2054" fmla="*/ 2785493 w 9240942"/>
              <a:gd name="connsiteY2054" fmla="*/ 1791319 h 8714439"/>
              <a:gd name="connsiteX2055" fmla="*/ 2777544 w 9240942"/>
              <a:gd name="connsiteY2055" fmla="*/ 1771542 h 8714439"/>
              <a:gd name="connsiteX2056" fmla="*/ 2812971 w 9240942"/>
              <a:gd name="connsiteY2056" fmla="*/ 1756434 h 8714439"/>
              <a:gd name="connsiteX2057" fmla="*/ 2838287 w 9240942"/>
              <a:gd name="connsiteY2057" fmla="*/ 1737258 h 8714439"/>
              <a:gd name="connsiteX2058" fmla="*/ 2841530 w 9240942"/>
              <a:gd name="connsiteY2058" fmla="*/ 1713694 h 8714439"/>
              <a:gd name="connsiteX2059" fmla="*/ 2868525 w 9240942"/>
              <a:gd name="connsiteY2059" fmla="*/ 1730769 h 8714439"/>
              <a:gd name="connsiteX2060" fmla="*/ 2888652 w 9240942"/>
              <a:gd name="connsiteY2060" fmla="*/ 1720214 h 8714439"/>
              <a:gd name="connsiteX2061" fmla="*/ 2878038 w 9240942"/>
              <a:gd name="connsiteY2061" fmla="*/ 1690731 h 8714439"/>
              <a:gd name="connsiteX2062" fmla="*/ 2924657 w 9240942"/>
              <a:gd name="connsiteY2062" fmla="*/ 1671835 h 8714439"/>
              <a:gd name="connsiteX2063" fmla="*/ 2975023 w 9240942"/>
              <a:gd name="connsiteY2063" fmla="*/ 1654792 h 8714439"/>
              <a:gd name="connsiteX2064" fmla="*/ 2978266 w 9240942"/>
              <a:gd name="connsiteY2064" fmla="*/ 1631228 h 8714439"/>
              <a:gd name="connsiteX2065" fmla="*/ 3002093 w 9240942"/>
              <a:gd name="connsiteY2065" fmla="*/ 1613180 h 8714439"/>
              <a:gd name="connsiteX2066" fmla="*/ 3027143 w 9240942"/>
              <a:gd name="connsiteY2066" fmla="*/ 1615312 h 8714439"/>
              <a:gd name="connsiteX2067" fmla="*/ 3050970 w 9240942"/>
              <a:gd name="connsiteY2067" fmla="*/ 1597264 h 8714439"/>
              <a:gd name="connsiteX2068" fmla="*/ 3078637 w 9240942"/>
              <a:gd name="connsiteY2068" fmla="*/ 1599758 h 8714439"/>
              <a:gd name="connsiteX2069" fmla="*/ 3052989 w 9240942"/>
              <a:gd name="connsiteY2069" fmla="*/ 1553521 h 8714439"/>
              <a:gd name="connsiteX2070" fmla="*/ 3078711 w 9240942"/>
              <a:gd name="connsiteY2070" fmla="*/ 1541072 h 8714439"/>
              <a:gd name="connsiteX2071" fmla="*/ 3092257 w 9240942"/>
              <a:gd name="connsiteY2071" fmla="*/ 1558954 h 8714439"/>
              <a:gd name="connsiteX2072" fmla="*/ 3132151 w 9240942"/>
              <a:gd name="connsiteY2072" fmla="*/ 1540462 h 8714439"/>
              <a:gd name="connsiteX2073" fmla="*/ 3147859 w 9240942"/>
              <a:gd name="connsiteY2073" fmla="*/ 1542635 h 8714439"/>
              <a:gd name="connsiteX2074" fmla="*/ 3186576 w 9240942"/>
              <a:gd name="connsiteY2074" fmla="*/ 1513308 h 8714439"/>
              <a:gd name="connsiteX2075" fmla="*/ 3179301 w 9240942"/>
              <a:gd name="connsiteY2075" fmla="*/ 1478951 h 8714439"/>
              <a:gd name="connsiteX2076" fmla="*/ 3194192 w 9240942"/>
              <a:gd name="connsiteY2076" fmla="*/ 1467671 h 8714439"/>
              <a:gd name="connsiteX2077" fmla="*/ 3230170 w 9240942"/>
              <a:gd name="connsiteY2077" fmla="*/ 1487322 h 8714439"/>
              <a:gd name="connsiteX2078" fmla="*/ 3229932 w 9240942"/>
              <a:gd name="connsiteY2078" fmla="*/ 1440599 h 8714439"/>
              <a:gd name="connsiteX2079" fmla="*/ 3261299 w 9240942"/>
              <a:gd name="connsiteY2079" fmla="*/ 1435601 h 8714439"/>
              <a:gd name="connsiteX2080" fmla="*/ 3262523 w 9240942"/>
              <a:gd name="connsiteY2080" fmla="*/ 1455780 h 8714439"/>
              <a:gd name="connsiteX2081" fmla="*/ 3261299 w 9240942"/>
              <a:gd name="connsiteY2081" fmla="*/ 1435601 h 8714439"/>
              <a:gd name="connsiteX2082" fmla="*/ 3280299 w 9240942"/>
              <a:gd name="connsiteY2082" fmla="*/ 1423555 h 8714439"/>
              <a:gd name="connsiteX2083" fmla="*/ 3270044 w 9240942"/>
              <a:gd name="connsiteY2083" fmla="*/ 1391455 h 8714439"/>
              <a:gd name="connsiteX2084" fmla="*/ 3296943 w 9240942"/>
              <a:gd name="connsiteY2084" fmla="*/ 1389840 h 8714439"/>
              <a:gd name="connsiteX2085" fmla="*/ 3322259 w 9240942"/>
              <a:gd name="connsiteY2085" fmla="*/ 1370665 h 8714439"/>
              <a:gd name="connsiteX2086" fmla="*/ 3347764 w 9240942"/>
              <a:gd name="connsiteY2086" fmla="*/ 1388867 h 8714439"/>
              <a:gd name="connsiteX2087" fmla="*/ 3357999 w 9240942"/>
              <a:gd name="connsiteY2087" fmla="*/ 1343593 h 8714439"/>
              <a:gd name="connsiteX2088" fmla="*/ 3381560 w 9240942"/>
              <a:gd name="connsiteY2088" fmla="*/ 1346853 h 8714439"/>
              <a:gd name="connsiteX2089" fmla="*/ 3405386 w 9240942"/>
              <a:gd name="connsiteY2089" fmla="*/ 1328805 h 8714439"/>
              <a:gd name="connsiteX2090" fmla="*/ 3427818 w 9240942"/>
              <a:gd name="connsiteY2090" fmla="*/ 1330575 h 8714439"/>
              <a:gd name="connsiteX2091" fmla="*/ 3444104 w 9240942"/>
              <a:gd name="connsiteY2091" fmla="*/ 1299478 h 8714439"/>
              <a:gd name="connsiteX2092" fmla="*/ 3482822 w 9240942"/>
              <a:gd name="connsiteY2092" fmla="*/ 1270150 h 8714439"/>
              <a:gd name="connsiteX2093" fmla="*/ 3505254 w 9240942"/>
              <a:gd name="connsiteY2093" fmla="*/ 1271920 h 8714439"/>
              <a:gd name="connsiteX2094" fmla="*/ 3484120 w 9240942"/>
              <a:gd name="connsiteY2094" fmla="*/ 1231644 h 8714439"/>
              <a:gd name="connsiteX2095" fmla="*/ 3501222 w 9240942"/>
              <a:gd name="connsiteY2095" fmla="*/ 1214000 h 8714439"/>
              <a:gd name="connsiteX2096" fmla="*/ 3533092 w 9240942"/>
              <a:gd name="connsiteY2096" fmla="*/ 1234417 h 8714439"/>
              <a:gd name="connsiteX2097" fmla="*/ 3526177 w 9240942"/>
              <a:gd name="connsiteY2097" fmla="*/ 1197443 h 8714439"/>
              <a:gd name="connsiteX2098" fmla="*/ 3551491 w 9240942"/>
              <a:gd name="connsiteY2098" fmla="*/ 1178266 h 8714439"/>
              <a:gd name="connsiteX2099" fmla="*/ 3554736 w 9240942"/>
              <a:gd name="connsiteY2099" fmla="*/ 1154703 h 8714439"/>
              <a:gd name="connsiteX2100" fmla="*/ 3569627 w 9240942"/>
              <a:gd name="connsiteY2100" fmla="*/ 1143423 h 8714439"/>
              <a:gd name="connsiteX2101" fmla="*/ 3590258 w 9240942"/>
              <a:gd name="connsiteY2101" fmla="*/ 1158283 h 8714439"/>
              <a:gd name="connsiteX2102" fmla="*/ 3636564 w 9240942"/>
              <a:gd name="connsiteY2102" fmla="*/ 1151350 h 8714439"/>
              <a:gd name="connsiteX2103" fmla="*/ 3687195 w 9240942"/>
              <a:gd name="connsiteY2103" fmla="*/ 1112998 h 8714439"/>
              <a:gd name="connsiteX2104" fmla="*/ 3676988 w 9240942"/>
              <a:gd name="connsiteY2104" fmla="*/ 1090243 h 8714439"/>
              <a:gd name="connsiteX2105" fmla="*/ 3712415 w 9240942"/>
              <a:gd name="connsiteY2105" fmla="*/ 1075134 h 8714439"/>
              <a:gd name="connsiteX2106" fmla="*/ 3736241 w 9240942"/>
              <a:gd name="connsiteY2106" fmla="*/ 1057087 h 8714439"/>
              <a:gd name="connsiteX2107" fmla="*/ 3754642 w 9240942"/>
              <a:gd name="connsiteY2107" fmla="*/ 1000936 h 8714439"/>
              <a:gd name="connsiteX2108" fmla="*/ 3802315 w 9240942"/>
              <a:gd name="connsiteY2108" fmla="*/ 1042215 h 8714439"/>
              <a:gd name="connsiteX2109" fmla="*/ 3809039 w 9240942"/>
              <a:gd name="connsiteY2109" fmla="*/ 1041813 h 8714439"/>
              <a:gd name="connsiteX2110" fmla="*/ 3818050 w 9240942"/>
              <a:gd name="connsiteY2110" fmla="*/ 976358 h 8714439"/>
              <a:gd name="connsiteX2111" fmla="*/ 3849152 w 9240942"/>
              <a:gd name="connsiteY2111" fmla="*/ 992668 h 8714439"/>
              <a:gd name="connsiteX2112" fmla="*/ 3852395 w 9240942"/>
              <a:gd name="connsiteY2112" fmla="*/ 969104 h 8714439"/>
              <a:gd name="connsiteX2113" fmla="*/ 3874827 w 9240942"/>
              <a:gd name="connsiteY2113" fmla="*/ 970873 h 8714439"/>
              <a:gd name="connsiteX2114" fmla="*/ 3881049 w 9240942"/>
              <a:gd name="connsiteY2114" fmla="*/ 945055 h 8714439"/>
              <a:gd name="connsiteX2115" fmla="*/ 3915033 w 9240942"/>
              <a:gd name="connsiteY2115" fmla="*/ 940418 h 8714439"/>
              <a:gd name="connsiteX2116" fmla="*/ 3910689 w 9240942"/>
              <a:gd name="connsiteY2116" fmla="*/ 894461 h 8714439"/>
              <a:gd name="connsiteX2117" fmla="*/ 3954161 w 9240942"/>
              <a:gd name="connsiteY2117" fmla="*/ 917817 h 8714439"/>
              <a:gd name="connsiteX2118" fmla="*/ 3969677 w 9240942"/>
              <a:gd name="connsiteY2118" fmla="*/ 882611 h 8714439"/>
              <a:gd name="connsiteX2119" fmla="*/ 4001765 w 9240942"/>
              <a:gd name="connsiteY2119" fmla="*/ 872377 h 8714439"/>
              <a:gd name="connsiteX2120" fmla="*/ 3994897 w 9240942"/>
              <a:gd name="connsiteY2120" fmla="*/ 844747 h 8714439"/>
              <a:gd name="connsiteX2121" fmla="*/ 4027849 w 9240942"/>
              <a:gd name="connsiteY2121" fmla="*/ 857310 h 8714439"/>
              <a:gd name="connsiteX2122" fmla="*/ 4048792 w 9240942"/>
              <a:gd name="connsiteY2122" fmla="*/ 860207 h 8714439"/>
              <a:gd name="connsiteX2123" fmla="*/ 4062194 w 9240942"/>
              <a:gd name="connsiteY2123" fmla="*/ 850056 h 8714439"/>
              <a:gd name="connsiteX2124" fmla="*/ 4061908 w 9240942"/>
              <a:gd name="connsiteY2124" fmla="*/ 793988 h 8714439"/>
              <a:gd name="connsiteX2125" fmla="*/ 4074998 w 9240942"/>
              <a:gd name="connsiteY2125" fmla="*/ 795799 h 8714439"/>
              <a:gd name="connsiteX2126" fmla="*/ 4109562 w 9240942"/>
              <a:gd name="connsiteY2126" fmla="*/ 757892 h 8714439"/>
              <a:gd name="connsiteX2127" fmla="*/ 4120394 w 9240942"/>
              <a:gd name="connsiteY2127" fmla="*/ 756724 h 8714439"/>
              <a:gd name="connsiteX2128" fmla="*/ 4168692 w 9240942"/>
              <a:gd name="connsiteY2128" fmla="*/ 774077 h 8714439"/>
              <a:gd name="connsiteX2129" fmla="*/ 4187358 w 9240942"/>
              <a:gd name="connsiteY2129" fmla="*/ 696620 h 8714439"/>
              <a:gd name="connsiteX2130" fmla="*/ 4223193 w 9240942"/>
              <a:gd name="connsiteY2130" fmla="*/ 688237 h 8714439"/>
              <a:gd name="connsiteX2131" fmla="*/ 4249494 w 9240942"/>
              <a:gd name="connsiteY2131" fmla="*/ 642518 h 8714439"/>
              <a:gd name="connsiteX2132" fmla="*/ 4241137 w 9240942"/>
              <a:gd name="connsiteY2132" fmla="*/ 616016 h 8714439"/>
              <a:gd name="connsiteX2133" fmla="*/ 4251921 w 9240942"/>
              <a:gd name="connsiteY2133" fmla="*/ 605501 h 8714439"/>
              <a:gd name="connsiteX2134" fmla="*/ 4329377 w 9240942"/>
              <a:gd name="connsiteY2134" fmla="*/ 624222 h 8714439"/>
              <a:gd name="connsiteX2135" fmla="*/ 4334518 w 9240942"/>
              <a:gd name="connsiteY2135" fmla="*/ 606257 h 8714439"/>
              <a:gd name="connsiteX2136" fmla="*/ 4388127 w 9240942"/>
              <a:gd name="connsiteY2136" fmla="*/ 565649 h 8714439"/>
              <a:gd name="connsiteX2137" fmla="*/ 4387937 w 9240942"/>
              <a:gd name="connsiteY2137" fmla="*/ 528271 h 8714439"/>
              <a:gd name="connsiteX2138" fmla="*/ 4369877 w 9240942"/>
              <a:gd name="connsiteY2138" fmla="*/ 504429 h 8714439"/>
              <a:gd name="connsiteX2139" fmla="*/ 4374202 w 9240942"/>
              <a:gd name="connsiteY2139" fmla="*/ 473011 h 8714439"/>
              <a:gd name="connsiteX2140" fmla="*/ 4398577 w 9240942"/>
              <a:gd name="connsiteY2140" fmla="*/ 489723 h 8714439"/>
              <a:gd name="connsiteX2141" fmla="*/ 4420338 w 9240942"/>
              <a:gd name="connsiteY2141" fmla="*/ 506075 h 8714439"/>
              <a:gd name="connsiteX2142" fmla="*/ 4406698 w 9240942"/>
              <a:gd name="connsiteY2142" fmla="*/ 469503 h 8714439"/>
              <a:gd name="connsiteX2143" fmla="*/ 4446905 w 9240942"/>
              <a:gd name="connsiteY2143" fmla="*/ 439047 h 8714439"/>
              <a:gd name="connsiteX2144" fmla="*/ 4506661 w 9240942"/>
              <a:gd name="connsiteY2144" fmla="*/ 431307 h 8714439"/>
              <a:gd name="connsiteX2145" fmla="*/ 4496046 w 9240942"/>
              <a:gd name="connsiteY2145" fmla="*/ 401824 h 8714439"/>
              <a:gd name="connsiteX2146" fmla="*/ 4552559 w 9240942"/>
              <a:gd name="connsiteY2146" fmla="*/ 417646 h 8714439"/>
              <a:gd name="connsiteX2147" fmla="*/ 4546725 w 9240942"/>
              <a:gd name="connsiteY2147" fmla="*/ 372817 h 8714439"/>
              <a:gd name="connsiteX2148" fmla="*/ 4557272 w 9240942"/>
              <a:gd name="connsiteY2148" fmla="*/ 315580 h 8714439"/>
              <a:gd name="connsiteX2149" fmla="*/ 4581649 w 9240942"/>
              <a:gd name="connsiteY2149" fmla="*/ 332293 h 8714439"/>
              <a:gd name="connsiteX2150" fmla="*/ 4601776 w 9240942"/>
              <a:gd name="connsiteY2150" fmla="*/ 321737 h 8714439"/>
              <a:gd name="connsiteX2151" fmla="*/ 4590033 w 9240942"/>
              <a:gd name="connsiteY2151" fmla="*/ 290765 h 8714439"/>
              <a:gd name="connsiteX2152" fmla="*/ 4644002 w 9240942"/>
              <a:gd name="connsiteY2152" fmla="*/ 247540 h 8714439"/>
              <a:gd name="connsiteX2153" fmla="*/ 4646525 w 9240942"/>
              <a:gd name="connsiteY2153" fmla="*/ 229212 h 8714439"/>
              <a:gd name="connsiteX2154" fmla="*/ 4714856 w 9240942"/>
              <a:gd name="connsiteY2154" fmla="*/ 217322 h 8714439"/>
              <a:gd name="connsiteX2155" fmla="*/ 4719588 w 9240942"/>
              <a:gd name="connsiteY2155" fmla="*/ 192630 h 8714439"/>
              <a:gd name="connsiteX2156" fmla="*/ 4764453 w 9240942"/>
              <a:gd name="connsiteY2156" fmla="*/ 196170 h 8714439"/>
              <a:gd name="connsiteX2157" fmla="*/ 4768370 w 9240942"/>
              <a:gd name="connsiteY2157" fmla="*/ 158026 h 8714439"/>
              <a:gd name="connsiteX2158" fmla="*/ 4779562 w 9240942"/>
              <a:gd name="connsiteY2158" fmla="*/ 154238 h 8714439"/>
              <a:gd name="connsiteX2159" fmla="*/ 4815179 w 9240942"/>
              <a:gd name="connsiteY2159" fmla="*/ 176507 h 8714439"/>
              <a:gd name="connsiteX2160" fmla="*/ 4814383 w 9240942"/>
              <a:gd name="connsiteY2160" fmla="*/ 240429 h 8714439"/>
              <a:gd name="connsiteX2161" fmla="*/ 4782076 w 9240942"/>
              <a:gd name="connsiteY2161" fmla="*/ 281316 h 8714439"/>
              <a:gd name="connsiteX2162" fmla="*/ 4790292 w 9240942"/>
              <a:gd name="connsiteY2162" fmla="*/ 279785 h 8714439"/>
              <a:gd name="connsiteX2163" fmla="*/ 4851347 w 9240942"/>
              <a:gd name="connsiteY2163" fmla="*/ 233537 h 8714439"/>
              <a:gd name="connsiteX2164" fmla="*/ 4843255 w 9240942"/>
              <a:gd name="connsiteY2164" fmla="*/ 185727 h 8714439"/>
              <a:gd name="connsiteX2165" fmla="*/ 4815179 w 9240942"/>
              <a:gd name="connsiteY2165" fmla="*/ 176507 h 8714439"/>
              <a:gd name="connsiteX2166" fmla="*/ 4843112 w 9240942"/>
              <a:gd name="connsiteY2166" fmla="*/ 157694 h 8714439"/>
              <a:gd name="connsiteX2167" fmla="*/ 4867945 w 9240942"/>
              <a:gd name="connsiteY2167" fmla="*/ 190477 h 8714439"/>
              <a:gd name="connsiteX2168" fmla="*/ 4866190 w 9240942"/>
              <a:gd name="connsiteY2168" fmla="*/ 212913 h 8714439"/>
              <a:gd name="connsiteX2169" fmla="*/ 4877478 w 9240942"/>
              <a:gd name="connsiteY2169" fmla="*/ 227814 h 8714439"/>
              <a:gd name="connsiteX2170" fmla="*/ 4905459 w 9240942"/>
              <a:gd name="connsiteY2170" fmla="*/ 218346 h 8714439"/>
              <a:gd name="connsiteX2171" fmla="*/ 4929836 w 9240942"/>
              <a:gd name="connsiteY2171" fmla="*/ 235058 h 8714439"/>
              <a:gd name="connsiteX2172" fmla="*/ 4934569 w 9240942"/>
              <a:gd name="connsiteY2172" fmla="*/ 210367 h 8714439"/>
              <a:gd name="connsiteX2173" fmla="*/ 4987240 w 9240942"/>
              <a:gd name="connsiteY2173" fmla="*/ 205648 h 8714439"/>
              <a:gd name="connsiteX2174" fmla="*/ 5029799 w 9240942"/>
              <a:gd name="connsiteY2174" fmla="*/ 196863 h 8714439"/>
              <a:gd name="connsiteX2175" fmla="*/ 5078315 w 9240942"/>
              <a:gd name="connsiteY2175" fmla="*/ 183565 h 8714439"/>
              <a:gd name="connsiteX2176" fmla="*/ 5110260 w 9240942"/>
              <a:gd name="connsiteY2176" fmla="*/ 145295 h 8714439"/>
              <a:gd name="connsiteX2177" fmla="*/ 5117176 w 9240942"/>
              <a:gd name="connsiteY2177" fmla="*/ 182271 h 8714439"/>
              <a:gd name="connsiteX2178" fmla="*/ 5225399 w 9240942"/>
              <a:gd name="connsiteY2178" fmla="*/ 151887 h 8714439"/>
              <a:gd name="connsiteX2179" fmla="*/ 5287101 w 9240942"/>
              <a:gd name="connsiteY2179" fmla="*/ 159090 h 8714439"/>
              <a:gd name="connsiteX2180" fmla="*/ 5315538 w 9240942"/>
              <a:gd name="connsiteY2180" fmla="*/ 165692 h 8714439"/>
              <a:gd name="connsiteX2181" fmla="*/ 5337875 w 9240942"/>
              <a:gd name="connsiteY2181" fmla="*/ 148772 h 8714439"/>
              <a:gd name="connsiteX2182" fmla="*/ 5440190 w 9240942"/>
              <a:gd name="connsiteY2182" fmla="*/ 132246 h 8714439"/>
              <a:gd name="connsiteX2183" fmla="*/ 5496778 w 9240942"/>
              <a:gd name="connsiteY2183" fmla="*/ 89382 h 8714439"/>
              <a:gd name="connsiteX2184" fmla="*/ 5525936 w 9240942"/>
              <a:gd name="connsiteY2184" fmla="*/ 90748 h 8714439"/>
              <a:gd name="connsiteX2185" fmla="*/ 5578055 w 9240942"/>
              <a:gd name="connsiteY2185" fmla="*/ 51269 h 8714439"/>
              <a:gd name="connsiteX2186" fmla="*/ 5559893 w 9240942"/>
              <a:gd name="connsiteY2186" fmla="*/ 154142 h 8714439"/>
              <a:gd name="connsiteX2187" fmla="*/ 5570052 w 9240942"/>
              <a:gd name="connsiteY2187" fmla="*/ 167554 h 8714439"/>
              <a:gd name="connsiteX2188" fmla="*/ 5577905 w 9240942"/>
              <a:gd name="connsiteY2188" fmla="*/ 168640 h 8714439"/>
              <a:gd name="connsiteX2189" fmla="*/ 5631155 w 9240942"/>
              <a:gd name="connsiteY2189" fmla="*/ 130651 h 8714439"/>
              <a:gd name="connsiteX2190" fmla="*/ 5632909 w 9240942"/>
              <a:gd name="connsiteY2190" fmla="*/ 108215 h 8714439"/>
              <a:gd name="connsiteX2191" fmla="*/ 5656470 w 9240942"/>
              <a:gd name="connsiteY2191" fmla="*/ 111476 h 8714439"/>
              <a:gd name="connsiteX2192" fmla="*/ 5659713 w 9240942"/>
              <a:gd name="connsiteY2192" fmla="*/ 87913 h 8714439"/>
              <a:gd name="connsiteX2193" fmla="*/ 5720095 w 9240942"/>
              <a:gd name="connsiteY2193" fmla="*/ 56246 h 8714439"/>
              <a:gd name="connsiteX2194" fmla="*/ 5723386 w 9240942"/>
              <a:gd name="connsiteY2194" fmla="*/ 42027 h 8714439"/>
              <a:gd name="connsiteX2195" fmla="*/ 5788018 w 9240942"/>
              <a:gd name="connsiteY2195" fmla="*/ 37629 h 8714439"/>
              <a:gd name="connsiteX2196" fmla="*/ 5788161 w 9240942"/>
              <a:gd name="connsiteY2196" fmla="*/ 65663 h 8714439"/>
              <a:gd name="connsiteX2197" fmla="*/ 5754318 w 9240942"/>
              <a:gd name="connsiteY2197" fmla="*/ 98333 h 8714439"/>
              <a:gd name="connsiteX2198" fmla="*/ 5717089 w 9240942"/>
              <a:gd name="connsiteY2198" fmla="*/ 126532 h 8714439"/>
              <a:gd name="connsiteX2199" fmla="*/ 5684376 w 9240942"/>
              <a:gd name="connsiteY2199" fmla="*/ 160693 h 8714439"/>
              <a:gd name="connsiteX2200" fmla="*/ 5749225 w 9240942"/>
              <a:gd name="connsiteY2200" fmla="*/ 125642 h 8714439"/>
              <a:gd name="connsiteX2201" fmla="*/ 5764931 w 9240942"/>
              <a:gd name="connsiteY2201" fmla="*/ 127815 h 8714439"/>
              <a:gd name="connsiteX2202" fmla="*/ 5776751 w 9240942"/>
              <a:gd name="connsiteY2202" fmla="*/ 100102 h 8714439"/>
              <a:gd name="connsiteX2203" fmla="*/ 5814842 w 9240942"/>
              <a:gd name="connsiteY2203" fmla="*/ 94701 h 8714439"/>
              <a:gd name="connsiteX2204" fmla="*/ 5824043 w 9240942"/>
              <a:gd name="connsiteY2204" fmla="*/ 66625 h 8714439"/>
              <a:gd name="connsiteX2205" fmla="*/ 5839750 w 9240942"/>
              <a:gd name="connsiteY2205" fmla="*/ 68798 h 8714439"/>
              <a:gd name="connsiteX2206" fmla="*/ 5852432 w 9240942"/>
              <a:gd name="connsiteY2206" fmla="*/ 63883 h 8714439"/>
              <a:gd name="connsiteX2207" fmla="*/ 5903062 w 9240942"/>
              <a:gd name="connsiteY2207" fmla="*/ 25531 h 8714439"/>
              <a:gd name="connsiteX2208" fmla="*/ 5954604 w 9240942"/>
              <a:gd name="connsiteY2208" fmla="*/ 19322 h 8714439"/>
              <a:gd name="connsiteX2209" fmla="*/ 5988829 w 9240942"/>
              <a:gd name="connsiteY2209" fmla="*/ 983 h 8714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</a:cxnLst>
            <a:rect l="l" t="t" r="r" b="b"/>
            <a:pathLst>
              <a:path w="9240942" h="8714439">
                <a:moveTo>
                  <a:pt x="2483909" y="5416442"/>
                </a:moveTo>
                <a:lnTo>
                  <a:pt x="2484933" y="5416551"/>
                </a:lnTo>
                <a:lnTo>
                  <a:pt x="2482757" y="5419032"/>
                </a:lnTo>
                <a:close/>
                <a:moveTo>
                  <a:pt x="2485869" y="5415483"/>
                </a:moveTo>
                <a:cubicBezTo>
                  <a:pt x="2486020" y="5415662"/>
                  <a:pt x="2485609" y="5416622"/>
                  <a:pt x="2485609" y="5416622"/>
                </a:cubicBezTo>
                <a:lnTo>
                  <a:pt x="2484933" y="5416551"/>
                </a:lnTo>
                <a:close/>
                <a:moveTo>
                  <a:pt x="8617896" y="3186723"/>
                </a:moveTo>
                <a:cubicBezTo>
                  <a:pt x="8620598" y="3185850"/>
                  <a:pt x="8623582" y="3185763"/>
                  <a:pt x="8627030" y="3186949"/>
                </a:cubicBezTo>
                <a:cubicBezTo>
                  <a:pt x="8654132" y="3213238"/>
                  <a:pt x="8602822" y="3242242"/>
                  <a:pt x="8617738" y="3268580"/>
                </a:cubicBezTo>
                <a:cubicBezTo>
                  <a:pt x="8642350" y="3260082"/>
                  <a:pt x="8655674" y="3232432"/>
                  <a:pt x="8684744" y="3226315"/>
                </a:cubicBezTo>
                <a:cubicBezTo>
                  <a:pt x="8674870" y="3255153"/>
                  <a:pt x="8665410" y="3281589"/>
                  <a:pt x="8655120" y="3312827"/>
                </a:cubicBezTo>
                <a:cubicBezTo>
                  <a:pt x="8643704" y="3322472"/>
                  <a:pt x="8630860" y="3333323"/>
                  <a:pt x="8616590" y="3345379"/>
                </a:cubicBezTo>
                <a:cubicBezTo>
                  <a:pt x="8612308" y="3348996"/>
                  <a:pt x="8611476" y="3353799"/>
                  <a:pt x="8608204" y="3358612"/>
                </a:cubicBezTo>
                <a:cubicBezTo>
                  <a:pt x="8607372" y="3363415"/>
                  <a:pt x="8606538" y="3368218"/>
                  <a:pt x="8606954" y="3365816"/>
                </a:cubicBezTo>
                <a:cubicBezTo>
                  <a:pt x="8591612" y="3391076"/>
                  <a:pt x="8564978" y="3397181"/>
                  <a:pt x="8555936" y="3421216"/>
                </a:cubicBezTo>
                <a:cubicBezTo>
                  <a:pt x="8581914" y="3425912"/>
                  <a:pt x="8592862" y="3383871"/>
                  <a:pt x="8619432" y="3392165"/>
                </a:cubicBezTo>
                <a:cubicBezTo>
                  <a:pt x="8642266" y="3372875"/>
                  <a:pt x="8667056" y="3370376"/>
                  <a:pt x="8694106" y="3361868"/>
                </a:cubicBezTo>
                <a:cubicBezTo>
                  <a:pt x="8696898" y="3373856"/>
                  <a:pt x="8712116" y="3377395"/>
                  <a:pt x="8707178" y="3391814"/>
                </a:cubicBezTo>
                <a:cubicBezTo>
                  <a:pt x="8671502" y="3421955"/>
                  <a:pt x="8634400" y="3453300"/>
                  <a:pt x="8598724" y="3483441"/>
                </a:cubicBezTo>
                <a:cubicBezTo>
                  <a:pt x="8600682" y="3500232"/>
                  <a:pt x="8585402" y="3511092"/>
                  <a:pt x="8580224" y="3533911"/>
                </a:cubicBezTo>
                <a:cubicBezTo>
                  <a:pt x="8596932" y="3521846"/>
                  <a:pt x="8606922" y="3513406"/>
                  <a:pt x="8616494" y="3507368"/>
                </a:cubicBezTo>
                <a:cubicBezTo>
                  <a:pt x="8622796" y="3506143"/>
                  <a:pt x="8630108" y="3506113"/>
                  <a:pt x="8636410" y="3504889"/>
                </a:cubicBezTo>
                <a:cubicBezTo>
                  <a:pt x="8639148" y="3482079"/>
                  <a:pt x="8650388" y="3466435"/>
                  <a:pt x="8676188" y="3465133"/>
                </a:cubicBezTo>
                <a:cubicBezTo>
                  <a:pt x="8678802" y="3471121"/>
                  <a:pt x="8681418" y="3477110"/>
                  <a:pt x="8683022" y="3481904"/>
                </a:cubicBezTo>
                <a:cubicBezTo>
                  <a:pt x="8669762" y="3495155"/>
                  <a:pt x="8650616" y="3507232"/>
                  <a:pt x="8645680" y="3521650"/>
                </a:cubicBezTo>
                <a:cubicBezTo>
                  <a:pt x="8640324" y="3538470"/>
                  <a:pt x="8622608" y="3549340"/>
                  <a:pt x="8626586" y="3568523"/>
                </a:cubicBezTo>
                <a:cubicBezTo>
                  <a:pt x="8593764" y="3596252"/>
                  <a:pt x="8562370" y="3622776"/>
                  <a:pt x="8529548" y="3650505"/>
                </a:cubicBezTo>
                <a:cubicBezTo>
                  <a:pt x="8528121" y="3651711"/>
                  <a:pt x="8528715" y="3655307"/>
                  <a:pt x="8528299" y="3657710"/>
                </a:cubicBezTo>
                <a:cubicBezTo>
                  <a:pt x="8546131" y="3667237"/>
                  <a:pt x="8550297" y="3643222"/>
                  <a:pt x="8564328" y="3639567"/>
                </a:cubicBezTo>
                <a:cubicBezTo>
                  <a:pt x="8574078" y="3639528"/>
                  <a:pt x="8583826" y="3639489"/>
                  <a:pt x="8593576" y="3639450"/>
                </a:cubicBezTo>
                <a:cubicBezTo>
                  <a:pt x="8587628" y="3652673"/>
                  <a:pt x="8581680" y="3665896"/>
                  <a:pt x="8570618" y="3687539"/>
                </a:cubicBezTo>
                <a:cubicBezTo>
                  <a:pt x="8560629" y="3695977"/>
                  <a:pt x="8543505" y="3710444"/>
                  <a:pt x="8527808" y="3723706"/>
                </a:cubicBezTo>
                <a:cubicBezTo>
                  <a:pt x="8526142" y="3733313"/>
                  <a:pt x="8525307" y="3738116"/>
                  <a:pt x="8524474" y="3742918"/>
                </a:cubicBezTo>
                <a:cubicBezTo>
                  <a:pt x="8517162" y="3742948"/>
                  <a:pt x="8509850" y="3742977"/>
                  <a:pt x="8502538" y="3743006"/>
                </a:cubicBezTo>
                <a:cubicBezTo>
                  <a:pt x="8491122" y="3752652"/>
                  <a:pt x="8478279" y="3763502"/>
                  <a:pt x="8466863" y="3773147"/>
                </a:cubicBezTo>
                <a:cubicBezTo>
                  <a:pt x="8467040" y="3779145"/>
                  <a:pt x="8466206" y="3783948"/>
                  <a:pt x="8464363" y="3787556"/>
                </a:cubicBezTo>
                <a:cubicBezTo>
                  <a:pt x="8460259" y="3797171"/>
                  <a:pt x="8454134" y="3804395"/>
                  <a:pt x="8444322" y="3818834"/>
                </a:cubicBezTo>
                <a:cubicBezTo>
                  <a:pt x="8464060" y="3810355"/>
                  <a:pt x="8475591" y="3821108"/>
                  <a:pt x="8491288" y="3807847"/>
                </a:cubicBezTo>
                <a:cubicBezTo>
                  <a:pt x="8501277" y="3799407"/>
                  <a:pt x="8508349" y="3807779"/>
                  <a:pt x="8512984" y="3816159"/>
                </a:cubicBezTo>
                <a:cubicBezTo>
                  <a:pt x="8509474" y="3829372"/>
                  <a:pt x="8512859" y="3844958"/>
                  <a:pt x="8495142" y="3855828"/>
                </a:cubicBezTo>
                <a:cubicBezTo>
                  <a:pt x="8488839" y="3857053"/>
                  <a:pt x="8481527" y="3857082"/>
                  <a:pt x="8475642" y="3855906"/>
                </a:cubicBezTo>
                <a:cubicBezTo>
                  <a:pt x="8472548" y="3866717"/>
                  <a:pt x="8469871" y="3875127"/>
                  <a:pt x="8466184" y="3882341"/>
                </a:cubicBezTo>
                <a:cubicBezTo>
                  <a:pt x="8452153" y="3885998"/>
                  <a:pt x="8440560" y="3889643"/>
                  <a:pt x="8430395" y="3892084"/>
                </a:cubicBezTo>
                <a:cubicBezTo>
                  <a:pt x="8425874" y="3904101"/>
                  <a:pt x="8422186" y="3911315"/>
                  <a:pt x="8417665" y="3923333"/>
                </a:cubicBezTo>
                <a:cubicBezTo>
                  <a:pt x="8399114" y="3939006"/>
                  <a:pt x="8379136" y="3955884"/>
                  <a:pt x="8360584" y="3971557"/>
                </a:cubicBezTo>
                <a:cubicBezTo>
                  <a:pt x="8360762" y="3977556"/>
                  <a:pt x="8359928" y="3982359"/>
                  <a:pt x="8358678" y="3989563"/>
                </a:cubicBezTo>
                <a:cubicBezTo>
                  <a:pt x="8351366" y="3989593"/>
                  <a:pt x="8344054" y="3989622"/>
                  <a:pt x="8336742" y="3989651"/>
                </a:cubicBezTo>
                <a:cubicBezTo>
                  <a:pt x="8309629" y="4012558"/>
                  <a:pt x="8281088" y="4036671"/>
                  <a:pt x="8252548" y="4060783"/>
                </a:cubicBezTo>
                <a:cubicBezTo>
                  <a:pt x="8251298" y="4067987"/>
                  <a:pt x="8250048" y="4075191"/>
                  <a:pt x="8248799" y="4082396"/>
                </a:cubicBezTo>
                <a:cubicBezTo>
                  <a:pt x="8231674" y="4096864"/>
                  <a:pt x="8215976" y="4110125"/>
                  <a:pt x="8200279" y="4123387"/>
                </a:cubicBezTo>
                <a:cubicBezTo>
                  <a:pt x="8192967" y="4123416"/>
                  <a:pt x="8185655" y="4123446"/>
                  <a:pt x="8179353" y="4124671"/>
                </a:cubicBezTo>
                <a:cubicBezTo>
                  <a:pt x="8178103" y="4131875"/>
                  <a:pt x="8175843" y="4137884"/>
                  <a:pt x="8173582" y="4143892"/>
                </a:cubicBezTo>
                <a:cubicBezTo>
                  <a:pt x="8168708" y="4143912"/>
                  <a:pt x="8163833" y="4143931"/>
                  <a:pt x="8154084" y="4143971"/>
                </a:cubicBezTo>
                <a:cubicBezTo>
                  <a:pt x="8118408" y="4174110"/>
                  <a:pt x="8081306" y="4205456"/>
                  <a:pt x="8045630" y="4235598"/>
                </a:cubicBezTo>
                <a:cubicBezTo>
                  <a:pt x="8035880" y="4235636"/>
                  <a:pt x="8031006" y="4235655"/>
                  <a:pt x="8026132" y="4235675"/>
                </a:cubicBezTo>
                <a:cubicBezTo>
                  <a:pt x="8024881" y="4242880"/>
                  <a:pt x="8022621" y="4248888"/>
                  <a:pt x="8021788" y="4253691"/>
                </a:cubicBezTo>
                <a:cubicBezTo>
                  <a:pt x="8007278" y="4274148"/>
                  <a:pt x="7982664" y="4282646"/>
                  <a:pt x="7973446" y="4300682"/>
                </a:cubicBezTo>
                <a:cubicBezTo>
                  <a:pt x="7970769" y="4309091"/>
                  <a:pt x="7969936" y="4313894"/>
                  <a:pt x="7969102" y="4318697"/>
                </a:cubicBezTo>
                <a:cubicBezTo>
                  <a:pt x="7961790" y="4318726"/>
                  <a:pt x="7954478" y="4318755"/>
                  <a:pt x="7948177" y="4319981"/>
                </a:cubicBezTo>
                <a:cubicBezTo>
                  <a:pt x="7947342" y="4324784"/>
                  <a:pt x="7946510" y="4329587"/>
                  <a:pt x="7946271" y="4337987"/>
                </a:cubicBezTo>
                <a:cubicBezTo>
                  <a:pt x="7882054" y="4392240"/>
                  <a:pt x="7814984" y="4448903"/>
                  <a:pt x="7752196" y="4501951"/>
                </a:cubicBezTo>
                <a:cubicBezTo>
                  <a:pt x="7749101" y="4512763"/>
                  <a:pt x="7746842" y="4518771"/>
                  <a:pt x="7746008" y="4523574"/>
                </a:cubicBezTo>
                <a:cubicBezTo>
                  <a:pt x="7706000" y="4522535"/>
                  <a:pt x="7706000" y="4522535"/>
                  <a:pt x="7704333" y="4532140"/>
                </a:cubicBezTo>
                <a:cubicBezTo>
                  <a:pt x="7710395" y="4539316"/>
                  <a:pt x="7717468" y="4547687"/>
                  <a:pt x="7725550" y="4557254"/>
                </a:cubicBezTo>
                <a:cubicBezTo>
                  <a:pt x="7748383" y="4537964"/>
                  <a:pt x="7769788" y="4519880"/>
                  <a:pt x="7789766" y="4503001"/>
                </a:cubicBezTo>
                <a:cubicBezTo>
                  <a:pt x="7801953" y="4502951"/>
                  <a:pt x="7809266" y="4502923"/>
                  <a:pt x="7816577" y="4502894"/>
                </a:cubicBezTo>
                <a:cubicBezTo>
                  <a:pt x="7856534" y="4469136"/>
                  <a:pt x="7896490" y="4435379"/>
                  <a:pt x="7936447" y="4401622"/>
                </a:cubicBezTo>
                <a:cubicBezTo>
                  <a:pt x="7942748" y="4400397"/>
                  <a:pt x="7947623" y="4400377"/>
                  <a:pt x="7955945" y="4401544"/>
                </a:cubicBezTo>
                <a:cubicBezTo>
                  <a:pt x="8004464" y="4360553"/>
                  <a:pt x="8054410" y="4318356"/>
                  <a:pt x="8101501" y="4278571"/>
                </a:cubicBezTo>
                <a:cubicBezTo>
                  <a:pt x="8110240" y="4277336"/>
                  <a:pt x="8115115" y="4277317"/>
                  <a:pt x="8121000" y="4278493"/>
                </a:cubicBezTo>
                <a:cubicBezTo>
                  <a:pt x="8122250" y="4271289"/>
                  <a:pt x="8123500" y="4264084"/>
                  <a:pt x="8126771" y="4259271"/>
                </a:cubicBezTo>
                <a:cubicBezTo>
                  <a:pt x="8127604" y="4254469"/>
                  <a:pt x="8132896" y="4252047"/>
                  <a:pt x="8137177" y="4248430"/>
                </a:cubicBezTo>
                <a:cubicBezTo>
                  <a:pt x="8143478" y="4247206"/>
                  <a:pt x="8150791" y="4247175"/>
                  <a:pt x="8159530" y="4245942"/>
                </a:cubicBezTo>
                <a:cubicBezTo>
                  <a:pt x="8159353" y="4239943"/>
                  <a:pt x="8163040" y="4232728"/>
                  <a:pt x="8162863" y="4226729"/>
                </a:cubicBezTo>
                <a:cubicBezTo>
                  <a:pt x="8171665" y="4211096"/>
                  <a:pt x="8186049" y="4219438"/>
                  <a:pt x="8200496" y="4213380"/>
                </a:cubicBezTo>
                <a:cubicBezTo>
                  <a:pt x="8243307" y="4177211"/>
                  <a:pt x="8287544" y="4139838"/>
                  <a:pt x="8330355" y="4103669"/>
                </a:cubicBezTo>
                <a:cubicBezTo>
                  <a:pt x="8337666" y="4103639"/>
                  <a:pt x="8343969" y="4102414"/>
                  <a:pt x="8350271" y="4101189"/>
                </a:cubicBezTo>
                <a:cubicBezTo>
                  <a:pt x="8352531" y="4095180"/>
                  <a:pt x="8352354" y="4089182"/>
                  <a:pt x="8353187" y="4084379"/>
                </a:cubicBezTo>
                <a:cubicBezTo>
                  <a:pt x="8359489" y="4083154"/>
                  <a:pt x="8366801" y="4083124"/>
                  <a:pt x="8375540" y="4081890"/>
                </a:cubicBezTo>
                <a:cubicBezTo>
                  <a:pt x="8426913" y="4038488"/>
                  <a:pt x="8478285" y="3995085"/>
                  <a:pt x="8531085" y="3950477"/>
                </a:cubicBezTo>
                <a:cubicBezTo>
                  <a:pt x="8532512" y="3949272"/>
                  <a:pt x="8535960" y="3950458"/>
                  <a:pt x="8538397" y="3950448"/>
                </a:cubicBezTo>
                <a:cubicBezTo>
                  <a:pt x="8543272" y="3950429"/>
                  <a:pt x="8548146" y="3950409"/>
                  <a:pt x="8553021" y="3950389"/>
                </a:cubicBezTo>
                <a:cubicBezTo>
                  <a:pt x="8622946" y="3891314"/>
                  <a:pt x="8691442" y="3833445"/>
                  <a:pt x="8759938" y="3775575"/>
                </a:cubicBezTo>
                <a:cubicBezTo>
                  <a:pt x="8767250" y="3775546"/>
                  <a:pt x="8774564" y="3775516"/>
                  <a:pt x="8780864" y="3774292"/>
                </a:cubicBezTo>
                <a:cubicBezTo>
                  <a:pt x="8793708" y="3763440"/>
                  <a:pt x="8805124" y="3753795"/>
                  <a:pt x="8816540" y="3744151"/>
                </a:cubicBezTo>
                <a:cubicBezTo>
                  <a:pt x="8819218" y="3735741"/>
                  <a:pt x="8820468" y="3728536"/>
                  <a:pt x="8821300" y="3723733"/>
                </a:cubicBezTo>
                <a:cubicBezTo>
                  <a:pt x="8832540" y="3708089"/>
                  <a:pt x="8845498" y="3717637"/>
                  <a:pt x="8863216" y="3706767"/>
                </a:cubicBezTo>
                <a:cubicBezTo>
                  <a:pt x="8897464" y="3677832"/>
                  <a:pt x="8937420" y="3644074"/>
                  <a:pt x="8977376" y="3610318"/>
                </a:cubicBezTo>
                <a:cubicBezTo>
                  <a:pt x="8983262" y="3611494"/>
                  <a:pt x="8988136" y="3611474"/>
                  <a:pt x="8995448" y="3611445"/>
                </a:cubicBezTo>
                <a:cubicBezTo>
                  <a:pt x="9014000" y="3595772"/>
                  <a:pt x="9033978" y="3578893"/>
                  <a:pt x="9055382" y="3560810"/>
                </a:cubicBezTo>
                <a:cubicBezTo>
                  <a:pt x="9062696" y="3560781"/>
                  <a:pt x="9068996" y="3559555"/>
                  <a:pt x="9081184" y="3559506"/>
                </a:cubicBezTo>
                <a:cubicBezTo>
                  <a:pt x="9095454" y="3547450"/>
                  <a:pt x="9114006" y="3531777"/>
                  <a:pt x="9129702" y="3518516"/>
                </a:cubicBezTo>
                <a:cubicBezTo>
                  <a:pt x="9141890" y="3518467"/>
                  <a:pt x="9150212" y="3519634"/>
                  <a:pt x="9163408" y="3520780"/>
                </a:cubicBezTo>
                <a:cubicBezTo>
                  <a:pt x="9164180" y="3530377"/>
                  <a:pt x="9163940" y="3538777"/>
                  <a:pt x="9164294" y="3550775"/>
                </a:cubicBezTo>
                <a:cubicBezTo>
                  <a:pt x="9169344" y="3556754"/>
                  <a:pt x="9173564" y="3567536"/>
                  <a:pt x="9186344" y="3571085"/>
                </a:cubicBezTo>
                <a:cubicBezTo>
                  <a:pt x="9195500" y="3567449"/>
                  <a:pt x="9203644" y="3562616"/>
                  <a:pt x="9208936" y="3560196"/>
                </a:cubicBezTo>
                <a:cubicBezTo>
                  <a:pt x="9217134" y="3590161"/>
                  <a:pt x="9197926" y="3616636"/>
                  <a:pt x="9187040" y="3644277"/>
                </a:cubicBezTo>
                <a:cubicBezTo>
                  <a:pt x="9177052" y="3652716"/>
                  <a:pt x="9164208" y="3663567"/>
                  <a:pt x="9152792" y="3673212"/>
                </a:cubicBezTo>
                <a:cubicBezTo>
                  <a:pt x="9152552" y="3681612"/>
                  <a:pt x="9150292" y="3687621"/>
                  <a:pt x="9149042" y="3694825"/>
                </a:cubicBezTo>
                <a:cubicBezTo>
                  <a:pt x="9125616" y="3710518"/>
                  <a:pt x="9120022" y="3735738"/>
                  <a:pt x="9109970" y="3758577"/>
                </a:cubicBezTo>
                <a:cubicBezTo>
                  <a:pt x="9130188" y="3733298"/>
                  <a:pt x="9164072" y="3741562"/>
                  <a:pt x="9189580" y="3713862"/>
                </a:cubicBezTo>
                <a:cubicBezTo>
                  <a:pt x="9204382" y="3719802"/>
                  <a:pt x="9224538" y="3708922"/>
                  <a:pt x="9240942" y="3719656"/>
                </a:cubicBezTo>
                <a:cubicBezTo>
                  <a:pt x="9237848" y="3730467"/>
                  <a:pt x="9236182" y="3740074"/>
                  <a:pt x="9233504" y="3748484"/>
                </a:cubicBezTo>
                <a:cubicBezTo>
                  <a:pt x="9220662" y="3759334"/>
                  <a:pt x="9209246" y="3768979"/>
                  <a:pt x="9199256" y="3777419"/>
                </a:cubicBezTo>
                <a:cubicBezTo>
                  <a:pt x="9196580" y="3785829"/>
                  <a:pt x="9195328" y="3793033"/>
                  <a:pt x="9194496" y="3797836"/>
                </a:cubicBezTo>
                <a:cubicBezTo>
                  <a:pt x="9187184" y="3797865"/>
                  <a:pt x="9182310" y="3797885"/>
                  <a:pt x="9174996" y="3797914"/>
                </a:cubicBezTo>
                <a:cubicBezTo>
                  <a:pt x="9167862" y="3803942"/>
                  <a:pt x="9159716" y="3808775"/>
                  <a:pt x="9152164" y="3817204"/>
                </a:cubicBezTo>
                <a:cubicBezTo>
                  <a:pt x="9142176" y="3825643"/>
                  <a:pt x="9130166" y="3831691"/>
                  <a:pt x="9119280" y="3859332"/>
                </a:cubicBezTo>
                <a:cubicBezTo>
                  <a:pt x="9121124" y="3855725"/>
                  <a:pt x="9115594" y="3866547"/>
                  <a:pt x="9109052" y="3876172"/>
                </a:cubicBezTo>
                <a:cubicBezTo>
                  <a:pt x="9110062" y="3877368"/>
                  <a:pt x="9111072" y="3878564"/>
                  <a:pt x="9112082" y="3879759"/>
                </a:cubicBezTo>
                <a:cubicBezTo>
                  <a:pt x="9125102" y="3874909"/>
                  <a:pt x="9139966" y="3866450"/>
                  <a:pt x="9156612" y="3868782"/>
                </a:cubicBezTo>
                <a:cubicBezTo>
                  <a:pt x="9170882" y="3856726"/>
                  <a:pt x="9185568" y="3842269"/>
                  <a:pt x="9203702" y="3828997"/>
                </a:cubicBezTo>
                <a:cubicBezTo>
                  <a:pt x="9205130" y="3827792"/>
                  <a:pt x="9208578" y="3828978"/>
                  <a:pt x="9211016" y="3828968"/>
                </a:cubicBezTo>
                <a:cubicBezTo>
                  <a:pt x="9213566" y="3849356"/>
                  <a:pt x="9185328" y="3850669"/>
                  <a:pt x="9181996" y="3869881"/>
                </a:cubicBezTo>
                <a:cubicBezTo>
                  <a:pt x="9180506" y="3885485"/>
                  <a:pt x="9168256" y="3899934"/>
                  <a:pt x="9161892" y="3915558"/>
                </a:cubicBezTo>
                <a:cubicBezTo>
                  <a:pt x="9146194" y="3928820"/>
                  <a:pt x="9129070" y="3943288"/>
                  <a:pt x="9113374" y="3956549"/>
                </a:cubicBezTo>
                <a:cubicBezTo>
                  <a:pt x="9110518" y="3958960"/>
                  <a:pt x="9107248" y="3963773"/>
                  <a:pt x="9105404" y="3967380"/>
                </a:cubicBezTo>
                <a:cubicBezTo>
                  <a:pt x="9103144" y="3973388"/>
                  <a:pt x="9102310" y="3978191"/>
                  <a:pt x="9102904" y="3981789"/>
                </a:cubicBezTo>
                <a:cubicBezTo>
                  <a:pt x="9092738" y="3984230"/>
                  <a:pt x="9084000" y="3985464"/>
                  <a:pt x="9075260" y="3986699"/>
                </a:cubicBezTo>
                <a:cubicBezTo>
                  <a:pt x="9069312" y="3999922"/>
                  <a:pt x="9063782" y="4010743"/>
                  <a:pt x="9059678" y="4020359"/>
                </a:cubicBezTo>
                <a:cubicBezTo>
                  <a:pt x="9049510" y="4022799"/>
                  <a:pt x="9041782" y="4025230"/>
                  <a:pt x="9031616" y="4027671"/>
                </a:cubicBezTo>
                <a:cubicBezTo>
                  <a:pt x="9030784" y="4032474"/>
                  <a:pt x="9029950" y="4037277"/>
                  <a:pt x="9029116" y="4042079"/>
                </a:cubicBezTo>
                <a:cubicBezTo>
                  <a:pt x="9017044" y="4062526"/>
                  <a:pt x="8987556" y="4071044"/>
                  <a:pt x="8979524" y="4096274"/>
                </a:cubicBezTo>
                <a:cubicBezTo>
                  <a:pt x="8999024" y="4096196"/>
                  <a:pt x="9005388" y="4080571"/>
                  <a:pt x="9019242" y="4070917"/>
                </a:cubicBezTo>
                <a:cubicBezTo>
                  <a:pt x="9031668" y="4062468"/>
                  <a:pt x="9043500" y="4050422"/>
                  <a:pt x="9054916" y="4040777"/>
                </a:cubicBezTo>
                <a:cubicBezTo>
                  <a:pt x="9067344" y="4032328"/>
                  <a:pt x="9077156" y="4017890"/>
                  <a:pt x="9093624" y="4014223"/>
                </a:cubicBezTo>
                <a:cubicBezTo>
                  <a:pt x="9100518" y="4016596"/>
                  <a:pt x="9111518" y="4009353"/>
                  <a:pt x="9118590" y="4017724"/>
                </a:cubicBezTo>
                <a:cubicBezTo>
                  <a:pt x="9098612" y="4034602"/>
                  <a:pt x="9103184" y="4057383"/>
                  <a:pt x="9096404" y="4075408"/>
                </a:cubicBezTo>
                <a:cubicBezTo>
                  <a:pt x="9087664" y="4076643"/>
                  <a:pt x="9080352" y="4076672"/>
                  <a:pt x="9082790" y="4076663"/>
                </a:cubicBezTo>
                <a:cubicBezTo>
                  <a:pt x="9045990" y="4085209"/>
                  <a:pt x="9056624" y="4115165"/>
                  <a:pt x="9037478" y="4127240"/>
                </a:cubicBezTo>
                <a:cubicBezTo>
                  <a:pt x="9030166" y="4127270"/>
                  <a:pt x="9022854" y="4127298"/>
                  <a:pt x="9015542" y="4127328"/>
                </a:cubicBezTo>
                <a:cubicBezTo>
                  <a:pt x="9014292" y="4134532"/>
                  <a:pt x="9013042" y="4141737"/>
                  <a:pt x="9011792" y="4148941"/>
                </a:cubicBezTo>
                <a:cubicBezTo>
                  <a:pt x="9005908" y="4147765"/>
                  <a:pt x="9001032" y="4147784"/>
                  <a:pt x="8991284" y="4147824"/>
                </a:cubicBezTo>
                <a:cubicBezTo>
                  <a:pt x="8978024" y="4161075"/>
                  <a:pt x="8958878" y="4173152"/>
                  <a:pt x="8942348" y="4191216"/>
                </a:cubicBezTo>
                <a:cubicBezTo>
                  <a:pt x="8940922" y="4192421"/>
                  <a:pt x="8941514" y="4196019"/>
                  <a:pt x="8941098" y="4198420"/>
                </a:cubicBezTo>
                <a:cubicBezTo>
                  <a:pt x="8944130" y="4202008"/>
                  <a:pt x="8947160" y="4205596"/>
                  <a:pt x="8950192" y="4209183"/>
                </a:cubicBezTo>
                <a:cubicBezTo>
                  <a:pt x="8981044" y="4213859"/>
                  <a:pt x="9014876" y="4187327"/>
                  <a:pt x="9047092" y="4205196"/>
                </a:cubicBezTo>
                <a:cubicBezTo>
                  <a:pt x="9028540" y="4220869"/>
                  <a:pt x="9011416" y="4235337"/>
                  <a:pt x="8997146" y="4247392"/>
                </a:cubicBezTo>
                <a:cubicBezTo>
                  <a:pt x="8995062" y="4259401"/>
                  <a:pt x="8991376" y="4266615"/>
                  <a:pt x="8990126" y="4273819"/>
                </a:cubicBezTo>
                <a:cubicBezTo>
                  <a:pt x="8970146" y="4290698"/>
                  <a:pt x="8950168" y="4307576"/>
                  <a:pt x="8935898" y="4319632"/>
                </a:cubicBezTo>
                <a:cubicBezTo>
                  <a:pt x="8918888" y="4354498"/>
                  <a:pt x="8905566" y="4382149"/>
                  <a:pt x="8892244" y="4409800"/>
                </a:cubicBezTo>
                <a:cubicBezTo>
                  <a:pt x="8886536" y="4414622"/>
                  <a:pt x="8879400" y="4420651"/>
                  <a:pt x="8870838" y="4427885"/>
                </a:cubicBezTo>
                <a:cubicBezTo>
                  <a:pt x="8869588" y="4435090"/>
                  <a:pt x="8863640" y="4448312"/>
                  <a:pt x="8868692" y="4454291"/>
                </a:cubicBezTo>
                <a:cubicBezTo>
                  <a:pt x="8888306" y="4474612"/>
                  <a:pt x="8856140" y="4491539"/>
                  <a:pt x="8857682" y="4510731"/>
                </a:cubicBezTo>
                <a:cubicBezTo>
                  <a:pt x="8824266" y="4534863"/>
                  <a:pt x="8821464" y="4572072"/>
                  <a:pt x="8799996" y="4604555"/>
                </a:cubicBezTo>
                <a:cubicBezTo>
                  <a:pt x="8811348" y="4609309"/>
                  <a:pt x="8820682" y="4611671"/>
                  <a:pt x="8831024" y="4615230"/>
                </a:cubicBezTo>
                <a:cubicBezTo>
                  <a:pt x="8828046" y="4646439"/>
                  <a:pt x="8800526" y="4622552"/>
                  <a:pt x="8787860" y="4639401"/>
                </a:cubicBezTo>
                <a:cubicBezTo>
                  <a:pt x="8781912" y="4652624"/>
                  <a:pt x="8776558" y="4669444"/>
                  <a:pt x="8762288" y="4681500"/>
                </a:cubicBezTo>
                <a:cubicBezTo>
                  <a:pt x="8752300" y="4689940"/>
                  <a:pt x="8749382" y="4706750"/>
                  <a:pt x="8742424" y="4718777"/>
                </a:cubicBezTo>
                <a:cubicBezTo>
                  <a:pt x="8732612" y="4733215"/>
                  <a:pt x="8741466" y="4752378"/>
                  <a:pt x="8723332" y="4765650"/>
                </a:cubicBezTo>
                <a:cubicBezTo>
                  <a:pt x="8716018" y="4765679"/>
                  <a:pt x="8708706" y="4765708"/>
                  <a:pt x="8699968" y="4766943"/>
                </a:cubicBezTo>
                <a:cubicBezTo>
                  <a:pt x="8702166" y="4775334"/>
                  <a:pt x="8705790" y="4782519"/>
                  <a:pt x="8707988" y="4790909"/>
                </a:cubicBezTo>
                <a:cubicBezTo>
                  <a:pt x="8702874" y="4799329"/>
                  <a:pt x="8697758" y="4807749"/>
                  <a:pt x="8691634" y="4814973"/>
                </a:cubicBezTo>
                <a:cubicBezTo>
                  <a:pt x="8695676" y="4819757"/>
                  <a:pt x="8698706" y="4823344"/>
                  <a:pt x="8701738" y="4826931"/>
                </a:cubicBezTo>
                <a:cubicBezTo>
                  <a:pt x="8709050" y="4826903"/>
                  <a:pt x="8714934" y="4828079"/>
                  <a:pt x="8722246" y="4828050"/>
                </a:cubicBezTo>
                <a:cubicBezTo>
                  <a:pt x="8729318" y="4836421"/>
                  <a:pt x="8737402" y="4845988"/>
                  <a:pt x="8744474" y="4854358"/>
                </a:cubicBezTo>
                <a:cubicBezTo>
                  <a:pt x="8737338" y="4860387"/>
                  <a:pt x="8728776" y="4867621"/>
                  <a:pt x="8719798" y="4877256"/>
                </a:cubicBezTo>
                <a:cubicBezTo>
                  <a:pt x="8718016" y="4866463"/>
                  <a:pt x="8718256" y="4858063"/>
                  <a:pt x="8719506" y="4850859"/>
                </a:cubicBezTo>
                <a:cubicBezTo>
                  <a:pt x="8705716" y="4846114"/>
                  <a:pt x="8692936" y="4842565"/>
                  <a:pt x="8679144" y="4837821"/>
                </a:cubicBezTo>
                <a:cubicBezTo>
                  <a:pt x="8660594" y="4853494"/>
                  <a:pt x="8640616" y="4870372"/>
                  <a:pt x="8620636" y="4887252"/>
                </a:cubicBezTo>
                <a:cubicBezTo>
                  <a:pt x="8619210" y="4888457"/>
                  <a:pt x="8619804" y="4892055"/>
                  <a:pt x="8616950" y="4894466"/>
                </a:cubicBezTo>
                <a:cubicBezTo>
                  <a:pt x="8632584" y="4895603"/>
                  <a:pt x="8632584" y="4895603"/>
                  <a:pt x="8662552" y="4870285"/>
                </a:cubicBezTo>
                <a:cubicBezTo>
                  <a:pt x="8682884" y="4865404"/>
                  <a:pt x="8701132" y="4872531"/>
                  <a:pt x="8719798" y="4877256"/>
                </a:cubicBezTo>
                <a:cubicBezTo>
                  <a:pt x="8729308" y="4885617"/>
                  <a:pt x="8716642" y="4902467"/>
                  <a:pt x="8729598" y="4912014"/>
                </a:cubicBezTo>
                <a:cubicBezTo>
                  <a:pt x="8729598" y="4912014"/>
                  <a:pt x="8724900" y="4918032"/>
                  <a:pt x="8723058" y="4921639"/>
                </a:cubicBezTo>
                <a:cubicBezTo>
                  <a:pt x="8711704" y="4916885"/>
                  <a:pt x="8702434" y="4900123"/>
                  <a:pt x="8687924" y="4920580"/>
                </a:cubicBezTo>
                <a:cubicBezTo>
                  <a:pt x="8684414" y="4933793"/>
                  <a:pt x="8681914" y="4948202"/>
                  <a:pt x="8678404" y="4961416"/>
                </a:cubicBezTo>
                <a:cubicBezTo>
                  <a:pt x="8671092" y="4961444"/>
                  <a:pt x="8664790" y="4962670"/>
                  <a:pt x="8655040" y="4962708"/>
                </a:cubicBezTo>
                <a:cubicBezTo>
                  <a:pt x="8645404" y="4983145"/>
                  <a:pt x="8634342" y="5004788"/>
                  <a:pt x="8625124" y="5022824"/>
                </a:cubicBezTo>
                <a:cubicBezTo>
                  <a:pt x="8617812" y="5022853"/>
                  <a:pt x="8612938" y="5022873"/>
                  <a:pt x="8608062" y="5022892"/>
                </a:cubicBezTo>
                <a:cubicBezTo>
                  <a:pt x="8588502" y="5037369"/>
                  <a:pt x="8573398" y="5054228"/>
                  <a:pt x="8554253" y="5066304"/>
                </a:cubicBezTo>
                <a:cubicBezTo>
                  <a:pt x="8544326" y="5060345"/>
                  <a:pt x="8536421" y="5056776"/>
                  <a:pt x="8529942" y="5052003"/>
                </a:cubicBezTo>
                <a:cubicBezTo>
                  <a:pt x="8523817" y="5059226"/>
                  <a:pt x="8519120" y="5065244"/>
                  <a:pt x="8514838" y="5068861"/>
                </a:cubicBezTo>
                <a:cubicBezTo>
                  <a:pt x="8518046" y="5078448"/>
                  <a:pt x="8521671" y="5085633"/>
                  <a:pt x="8522858" y="5092828"/>
                </a:cubicBezTo>
                <a:cubicBezTo>
                  <a:pt x="8504370" y="5094102"/>
                  <a:pt x="8485881" y="5095375"/>
                  <a:pt x="8468820" y="5095443"/>
                </a:cubicBezTo>
                <a:cubicBezTo>
                  <a:pt x="8460560" y="5079878"/>
                  <a:pt x="8443676" y="5085945"/>
                  <a:pt x="8430479" y="5084798"/>
                </a:cubicBezTo>
                <a:cubicBezTo>
                  <a:pt x="8432438" y="5101588"/>
                  <a:pt x="8439269" y="5118360"/>
                  <a:pt x="8428624" y="5137602"/>
                </a:cubicBezTo>
                <a:cubicBezTo>
                  <a:pt x="8422145" y="5132827"/>
                  <a:pt x="8414239" y="5129259"/>
                  <a:pt x="8405323" y="5124495"/>
                </a:cubicBezTo>
                <a:cubicBezTo>
                  <a:pt x="8397115" y="5143726"/>
                  <a:pt x="8387897" y="5161762"/>
                  <a:pt x="8381532" y="5177386"/>
                </a:cubicBezTo>
                <a:cubicBezTo>
                  <a:pt x="8365835" y="5190648"/>
                  <a:pt x="8354419" y="5200293"/>
                  <a:pt x="8343004" y="5209938"/>
                </a:cubicBezTo>
                <a:cubicBezTo>
                  <a:pt x="8333076" y="5203979"/>
                  <a:pt x="8326597" y="5199205"/>
                  <a:pt x="8314234" y="5193255"/>
                </a:cubicBezTo>
                <a:cubicBezTo>
                  <a:pt x="8318452" y="5204036"/>
                  <a:pt x="8318629" y="5210036"/>
                  <a:pt x="8322670" y="5214819"/>
                </a:cubicBezTo>
                <a:cubicBezTo>
                  <a:pt x="8326296" y="5222004"/>
                  <a:pt x="8335211" y="5226769"/>
                  <a:pt x="8330690" y="5238785"/>
                </a:cubicBezTo>
                <a:cubicBezTo>
                  <a:pt x="8320941" y="5238824"/>
                  <a:pt x="8311191" y="5238864"/>
                  <a:pt x="8301442" y="5238902"/>
                </a:cubicBezTo>
                <a:cubicBezTo>
                  <a:pt x="8295379" y="5231727"/>
                  <a:pt x="8290328" y="5225748"/>
                  <a:pt x="8285277" y="5219768"/>
                </a:cubicBezTo>
                <a:cubicBezTo>
                  <a:pt x="8272081" y="5218621"/>
                  <a:pt x="8260310" y="5216268"/>
                  <a:pt x="8251987" y="5215102"/>
                </a:cubicBezTo>
                <a:cubicBezTo>
                  <a:pt x="8230582" y="5233186"/>
                  <a:pt x="8214885" y="5246448"/>
                  <a:pt x="8200614" y="5258504"/>
                </a:cubicBezTo>
                <a:cubicBezTo>
                  <a:pt x="8191875" y="5259739"/>
                  <a:pt x="8187001" y="5259758"/>
                  <a:pt x="8183136" y="5260974"/>
                </a:cubicBezTo>
                <a:cubicBezTo>
                  <a:pt x="8168803" y="5287429"/>
                  <a:pt x="8193291" y="5307730"/>
                  <a:pt x="8177948" y="5332989"/>
                </a:cubicBezTo>
                <a:cubicBezTo>
                  <a:pt x="8175094" y="5335401"/>
                  <a:pt x="8170813" y="5339017"/>
                  <a:pt x="8165522" y="5341438"/>
                </a:cubicBezTo>
                <a:cubicBezTo>
                  <a:pt x="8158626" y="5339066"/>
                  <a:pt x="8150720" y="5335498"/>
                  <a:pt x="8144242" y="5330724"/>
                </a:cubicBezTo>
                <a:cubicBezTo>
                  <a:pt x="8127357" y="5336791"/>
                  <a:pt x="8111900" y="5341653"/>
                  <a:pt x="8096026" y="5348916"/>
                </a:cubicBezTo>
                <a:cubicBezTo>
                  <a:pt x="8089484" y="5358541"/>
                  <a:pt x="8094297" y="5372921"/>
                  <a:pt x="8078421" y="5380184"/>
                </a:cubicBezTo>
                <a:cubicBezTo>
                  <a:pt x="8055652" y="5385074"/>
                  <a:pt x="8031518" y="5376771"/>
                  <a:pt x="8004051" y="5387681"/>
                </a:cubicBezTo>
                <a:cubicBezTo>
                  <a:pt x="7995249" y="5403315"/>
                  <a:pt x="8016112" y="5416431"/>
                  <a:pt x="8005884" y="5433269"/>
                </a:cubicBezTo>
                <a:cubicBezTo>
                  <a:pt x="8004040" y="5436876"/>
                  <a:pt x="8002196" y="5440484"/>
                  <a:pt x="8001780" y="5442885"/>
                </a:cubicBezTo>
                <a:cubicBezTo>
                  <a:pt x="7980260" y="5440571"/>
                  <a:pt x="7969437" y="5453814"/>
                  <a:pt x="7958198" y="5469458"/>
                </a:cubicBezTo>
                <a:cubicBezTo>
                  <a:pt x="7957365" y="5474261"/>
                  <a:pt x="7956532" y="5479063"/>
                  <a:pt x="7956115" y="5481466"/>
                </a:cubicBezTo>
                <a:cubicBezTo>
                  <a:pt x="7934532" y="5493551"/>
                  <a:pt x="7923242" y="5474397"/>
                  <a:pt x="7906181" y="5474465"/>
                </a:cubicBezTo>
                <a:cubicBezTo>
                  <a:pt x="7900473" y="5479287"/>
                  <a:pt x="7897619" y="5481699"/>
                  <a:pt x="7893338" y="5485315"/>
                </a:cubicBezTo>
                <a:cubicBezTo>
                  <a:pt x="7891671" y="5494922"/>
                  <a:pt x="7890004" y="5504528"/>
                  <a:pt x="7890004" y="5504528"/>
                </a:cubicBezTo>
                <a:cubicBezTo>
                  <a:pt x="7889524" y="5521329"/>
                  <a:pt x="7904743" y="5524867"/>
                  <a:pt x="7891899" y="5535718"/>
                </a:cubicBezTo>
                <a:cubicBezTo>
                  <a:pt x="7883994" y="5532149"/>
                  <a:pt x="7876088" y="5528582"/>
                  <a:pt x="7869193" y="5526209"/>
                </a:cubicBezTo>
                <a:cubicBezTo>
                  <a:pt x="7851298" y="5531080"/>
                  <a:pt x="7851652" y="5543079"/>
                  <a:pt x="7850995" y="5553881"/>
                </a:cubicBezTo>
                <a:cubicBezTo>
                  <a:pt x="7839402" y="5557526"/>
                  <a:pt x="7827809" y="5561173"/>
                  <a:pt x="7815205" y="5563623"/>
                </a:cubicBezTo>
                <a:cubicBezTo>
                  <a:pt x="7819007" y="5576806"/>
                  <a:pt x="7820788" y="5587598"/>
                  <a:pt x="7823756" y="5605585"/>
                </a:cubicBezTo>
                <a:cubicBezTo>
                  <a:pt x="7807528" y="5600851"/>
                  <a:pt x="7794748" y="5597301"/>
                  <a:pt x="7783988" y="5596145"/>
                </a:cubicBezTo>
                <a:cubicBezTo>
                  <a:pt x="7778040" y="5609368"/>
                  <a:pt x="7773936" y="5618984"/>
                  <a:pt x="7770249" y="5626198"/>
                </a:cubicBezTo>
                <a:cubicBezTo>
                  <a:pt x="7760083" y="5628638"/>
                  <a:pt x="7752771" y="5628667"/>
                  <a:pt x="7745458" y="5628697"/>
                </a:cubicBezTo>
                <a:cubicBezTo>
                  <a:pt x="7743198" y="5634706"/>
                  <a:pt x="7741948" y="5641910"/>
                  <a:pt x="7740698" y="5649114"/>
                </a:cubicBezTo>
                <a:cubicBezTo>
                  <a:pt x="7733386" y="5649144"/>
                  <a:pt x="7726074" y="5649173"/>
                  <a:pt x="7718762" y="5649201"/>
                </a:cubicBezTo>
                <a:cubicBezTo>
                  <a:pt x="7720543" y="5659994"/>
                  <a:pt x="7723751" y="5669580"/>
                  <a:pt x="7724522" y="5679177"/>
                </a:cubicBezTo>
                <a:cubicBezTo>
                  <a:pt x="7703594" y="5680460"/>
                  <a:pt x="7683086" y="5679342"/>
                  <a:pt x="7663587" y="5679420"/>
                </a:cubicBezTo>
                <a:cubicBezTo>
                  <a:pt x="7663587" y="5679420"/>
                  <a:pt x="7661744" y="5683027"/>
                  <a:pt x="7661327" y="5685429"/>
                </a:cubicBezTo>
                <a:cubicBezTo>
                  <a:pt x="7662868" y="5704621"/>
                  <a:pt x="7690273" y="5708111"/>
                  <a:pt x="7684679" y="5733332"/>
                </a:cubicBezTo>
                <a:cubicBezTo>
                  <a:pt x="7665837" y="5722609"/>
                  <a:pt x="7649483" y="5746672"/>
                  <a:pt x="7629391" y="5743153"/>
                </a:cubicBezTo>
                <a:cubicBezTo>
                  <a:pt x="7624517" y="5743172"/>
                  <a:pt x="7613694" y="5756414"/>
                  <a:pt x="7606558" y="5762442"/>
                </a:cubicBezTo>
                <a:cubicBezTo>
                  <a:pt x="7605069" y="5778047"/>
                  <a:pt x="7603580" y="5793652"/>
                  <a:pt x="7583070" y="5792534"/>
                </a:cubicBezTo>
                <a:cubicBezTo>
                  <a:pt x="7576591" y="5787760"/>
                  <a:pt x="7571123" y="5784182"/>
                  <a:pt x="7565654" y="5780604"/>
                </a:cubicBezTo>
                <a:cubicBezTo>
                  <a:pt x="7547103" y="5796278"/>
                  <a:pt x="7528551" y="5811951"/>
                  <a:pt x="7517136" y="5821595"/>
                </a:cubicBezTo>
                <a:cubicBezTo>
                  <a:pt x="7508928" y="5840826"/>
                  <a:pt x="7501970" y="5852853"/>
                  <a:pt x="7497866" y="5862469"/>
                </a:cubicBezTo>
                <a:cubicBezTo>
                  <a:pt x="7501073" y="5872057"/>
                  <a:pt x="7502677" y="5876849"/>
                  <a:pt x="7505292" y="5882838"/>
                </a:cubicBezTo>
                <a:cubicBezTo>
                  <a:pt x="7499584" y="5887660"/>
                  <a:pt x="7495303" y="5891278"/>
                  <a:pt x="7491022" y="5894895"/>
                </a:cubicBezTo>
                <a:cubicBezTo>
                  <a:pt x="7483709" y="5894924"/>
                  <a:pt x="7476398" y="5894952"/>
                  <a:pt x="7469085" y="5894982"/>
                </a:cubicBezTo>
                <a:cubicBezTo>
                  <a:pt x="7460523" y="5902216"/>
                  <a:pt x="7453388" y="5908244"/>
                  <a:pt x="7444826" y="5915477"/>
                </a:cubicBezTo>
                <a:cubicBezTo>
                  <a:pt x="7435494" y="5913115"/>
                  <a:pt x="7425150" y="5909557"/>
                  <a:pt x="7413797" y="5904803"/>
                </a:cubicBezTo>
                <a:cubicBezTo>
                  <a:pt x="7418015" y="5915585"/>
                  <a:pt x="7420213" y="5923976"/>
                  <a:pt x="7423004" y="5935964"/>
                </a:cubicBezTo>
                <a:cubicBezTo>
                  <a:pt x="7416285" y="5939590"/>
                  <a:pt x="7408140" y="5944423"/>
                  <a:pt x="7402432" y="5949245"/>
                </a:cubicBezTo>
                <a:cubicBezTo>
                  <a:pt x="7390485" y="5940893"/>
                  <a:pt x="7388111" y="5926504"/>
                  <a:pt x="7372476" y="5925367"/>
                </a:cubicBezTo>
                <a:cubicBezTo>
                  <a:pt x="7370215" y="5931375"/>
                  <a:pt x="7368966" y="5938580"/>
                  <a:pt x="7367716" y="5945784"/>
                </a:cubicBezTo>
                <a:cubicBezTo>
                  <a:pt x="7356299" y="5955429"/>
                  <a:pt x="7344883" y="5965073"/>
                  <a:pt x="7330613" y="5977130"/>
                </a:cubicBezTo>
                <a:cubicBezTo>
                  <a:pt x="7321457" y="5980766"/>
                  <a:pt x="7307073" y="5972424"/>
                  <a:pt x="7298270" y="5988058"/>
                </a:cubicBezTo>
                <a:cubicBezTo>
                  <a:pt x="7297438" y="5992861"/>
                  <a:pt x="7294761" y="6001272"/>
                  <a:pt x="7293511" y="6008476"/>
                </a:cubicBezTo>
                <a:cubicBezTo>
                  <a:pt x="7286376" y="6014504"/>
                  <a:pt x="7277813" y="6021738"/>
                  <a:pt x="7270678" y="6027766"/>
                </a:cubicBezTo>
                <a:cubicBezTo>
                  <a:pt x="7269428" y="6034970"/>
                  <a:pt x="7268178" y="6042174"/>
                  <a:pt x="7266928" y="6049379"/>
                </a:cubicBezTo>
                <a:cubicBezTo>
                  <a:pt x="7250877" y="6050643"/>
                  <a:pt x="7238513" y="6044693"/>
                  <a:pt x="7223650" y="6053151"/>
                </a:cubicBezTo>
                <a:cubicBezTo>
                  <a:pt x="7227274" y="6060337"/>
                  <a:pt x="7229472" y="6068728"/>
                  <a:pt x="7232680" y="6078314"/>
                </a:cubicBezTo>
                <a:cubicBezTo>
                  <a:pt x="7224118" y="6085548"/>
                  <a:pt x="7214545" y="6091585"/>
                  <a:pt x="7208420" y="6098810"/>
                </a:cubicBezTo>
                <a:cubicBezTo>
                  <a:pt x="7203723" y="6104828"/>
                  <a:pt x="7202056" y="6114434"/>
                  <a:pt x="7199379" y="6122845"/>
                </a:cubicBezTo>
                <a:cubicBezTo>
                  <a:pt x="7189452" y="6116884"/>
                  <a:pt x="7181548" y="6113316"/>
                  <a:pt x="7173641" y="6109748"/>
                </a:cubicBezTo>
                <a:cubicBezTo>
                  <a:pt x="7166506" y="6115776"/>
                  <a:pt x="7160798" y="6120598"/>
                  <a:pt x="7157528" y="6125411"/>
                </a:cubicBezTo>
                <a:cubicBezTo>
                  <a:pt x="7150632" y="6123039"/>
                  <a:pt x="7145757" y="6123058"/>
                  <a:pt x="7139872" y="6121882"/>
                </a:cubicBezTo>
                <a:cubicBezTo>
                  <a:pt x="7139393" y="6138682"/>
                  <a:pt x="7146944" y="6130253"/>
                  <a:pt x="7157528" y="6125411"/>
                </a:cubicBezTo>
                <a:cubicBezTo>
                  <a:pt x="7164183" y="6136184"/>
                  <a:pt x="7155621" y="6143417"/>
                  <a:pt x="7144205" y="6153062"/>
                </a:cubicBezTo>
                <a:cubicBezTo>
                  <a:pt x="7133445" y="6151905"/>
                  <a:pt x="7119238" y="6149562"/>
                  <a:pt x="7102593" y="6147229"/>
                </a:cubicBezTo>
                <a:cubicBezTo>
                  <a:pt x="7104967" y="6161619"/>
                  <a:pt x="7106748" y="6172411"/>
                  <a:pt x="7109956" y="6181998"/>
                </a:cubicBezTo>
                <a:cubicBezTo>
                  <a:pt x="7104247" y="6186820"/>
                  <a:pt x="7099967" y="6190437"/>
                  <a:pt x="7095686" y="6194053"/>
                </a:cubicBezTo>
                <a:cubicBezTo>
                  <a:pt x="7086770" y="6189290"/>
                  <a:pt x="7076427" y="6185731"/>
                  <a:pt x="7067094" y="6183369"/>
                </a:cubicBezTo>
                <a:cubicBezTo>
                  <a:pt x="7054251" y="6194219"/>
                  <a:pt x="7041408" y="6205070"/>
                  <a:pt x="7029992" y="6214714"/>
                </a:cubicBezTo>
                <a:cubicBezTo>
                  <a:pt x="7029158" y="6219517"/>
                  <a:pt x="7028325" y="6224320"/>
                  <a:pt x="7027492" y="6229124"/>
                </a:cubicBezTo>
                <a:cubicBezTo>
                  <a:pt x="7018096" y="6241160"/>
                  <a:pt x="7007690" y="6252002"/>
                  <a:pt x="6999722" y="6262832"/>
                </a:cubicBezTo>
                <a:cubicBezTo>
                  <a:pt x="7003763" y="6267615"/>
                  <a:pt x="7006794" y="6271203"/>
                  <a:pt x="7011847" y="6277182"/>
                </a:cubicBezTo>
                <a:cubicBezTo>
                  <a:pt x="7005721" y="6284406"/>
                  <a:pt x="7001023" y="6290425"/>
                  <a:pt x="6993472" y="6298855"/>
                </a:cubicBezTo>
                <a:cubicBezTo>
                  <a:pt x="6980514" y="6289307"/>
                  <a:pt x="6971005" y="6280946"/>
                  <a:pt x="6959474" y="6270192"/>
                </a:cubicBezTo>
                <a:cubicBezTo>
                  <a:pt x="6957391" y="6282200"/>
                  <a:pt x="6955131" y="6288208"/>
                  <a:pt x="6953880" y="6295413"/>
                </a:cubicBezTo>
                <a:cubicBezTo>
                  <a:pt x="6946745" y="6301441"/>
                  <a:pt x="6938183" y="6308675"/>
                  <a:pt x="6931048" y="6314703"/>
                </a:cubicBezTo>
                <a:cubicBezTo>
                  <a:pt x="6928371" y="6323113"/>
                  <a:pt x="6927121" y="6330317"/>
                  <a:pt x="6925871" y="6337521"/>
                </a:cubicBezTo>
                <a:cubicBezTo>
                  <a:pt x="6918736" y="6343551"/>
                  <a:pt x="6910174" y="6350783"/>
                  <a:pt x="6903039" y="6356812"/>
                </a:cubicBezTo>
                <a:cubicBezTo>
                  <a:pt x="6894300" y="6358046"/>
                  <a:pt x="6886988" y="6358076"/>
                  <a:pt x="6881102" y="6356899"/>
                </a:cubicBezTo>
                <a:cubicBezTo>
                  <a:pt x="6861958" y="6368975"/>
                  <a:pt x="6871406" y="6391736"/>
                  <a:pt x="6851666" y="6400214"/>
                </a:cubicBezTo>
                <a:cubicBezTo>
                  <a:pt x="6833355" y="6407487"/>
                  <a:pt x="6845416" y="6436236"/>
                  <a:pt x="6821636" y="6439931"/>
                </a:cubicBezTo>
                <a:cubicBezTo>
                  <a:pt x="6813730" y="6436363"/>
                  <a:pt x="6807251" y="6431589"/>
                  <a:pt x="6798336" y="6426825"/>
                </a:cubicBezTo>
                <a:cubicBezTo>
                  <a:pt x="6792211" y="6434050"/>
                  <a:pt x="6786503" y="6438872"/>
                  <a:pt x="6783232" y="6443684"/>
                </a:cubicBezTo>
                <a:cubicBezTo>
                  <a:pt x="6786440" y="6453271"/>
                  <a:pt x="6788638" y="6461662"/>
                  <a:pt x="6790835" y="6470052"/>
                </a:cubicBezTo>
                <a:cubicBezTo>
                  <a:pt x="6783523" y="6470081"/>
                  <a:pt x="6776211" y="6470110"/>
                  <a:pt x="6768899" y="6470140"/>
                </a:cubicBezTo>
                <a:cubicBezTo>
                  <a:pt x="6760337" y="6477374"/>
                  <a:pt x="6751775" y="6484608"/>
                  <a:pt x="6744640" y="6490636"/>
                </a:cubicBezTo>
                <a:cubicBezTo>
                  <a:pt x="6742140" y="6505044"/>
                  <a:pt x="6742671" y="6523041"/>
                  <a:pt x="6721151" y="6520727"/>
                </a:cubicBezTo>
                <a:cubicBezTo>
                  <a:pt x="6715683" y="6517150"/>
                  <a:pt x="6710214" y="6513571"/>
                  <a:pt x="6705756" y="6511189"/>
                </a:cubicBezTo>
                <a:cubicBezTo>
                  <a:pt x="6687862" y="6516060"/>
                  <a:pt x="6671987" y="6523323"/>
                  <a:pt x="6656530" y="6528185"/>
                </a:cubicBezTo>
                <a:cubicBezTo>
                  <a:pt x="6653853" y="6536595"/>
                  <a:pt x="6652603" y="6543799"/>
                  <a:pt x="6649926" y="6552209"/>
                </a:cubicBezTo>
                <a:cubicBezTo>
                  <a:pt x="6642790" y="6558238"/>
                  <a:pt x="6634405" y="6571470"/>
                  <a:pt x="6628520" y="6570294"/>
                </a:cubicBezTo>
                <a:cubicBezTo>
                  <a:pt x="6608011" y="6569176"/>
                  <a:pt x="6591481" y="6587241"/>
                  <a:pt x="6558608" y="6580172"/>
                </a:cubicBezTo>
                <a:cubicBezTo>
                  <a:pt x="6563003" y="6596954"/>
                  <a:pt x="6565378" y="6611343"/>
                  <a:pt x="6568169" y="6623331"/>
                </a:cubicBezTo>
                <a:cubicBezTo>
                  <a:pt x="6556993" y="6624575"/>
                  <a:pt x="6552118" y="6624595"/>
                  <a:pt x="6546233" y="6623419"/>
                </a:cubicBezTo>
                <a:cubicBezTo>
                  <a:pt x="6543972" y="6629428"/>
                  <a:pt x="6542722" y="6636632"/>
                  <a:pt x="6541472" y="6643836"/>
                </a:cubicBezTo>
                <a:cubicBezTo>
                  <a:pt x="6534159" y="6643866"/>
                  <a:pt x="6526848" y="6643895"/>
                  <a:pt x="6520547" y="6645119"/>
                </a:cubicBezTo>
                <a:cubicBezTo>
                  <a:pt x="6510797" y="6645159"/>
                  <a:pt x="6501881" y="6640394"/>
                  <a:pt x="6488621" y="6653647"/>
                </a:cubicBezTo>
                <a:cubicBezTo>
                  <a:pt x="6486538" y="6665655"/>
                  <a:pt x="6482612" y="6681269"/>
                  <a:pt x="6478684" y="6696884"/>
                </a:cubicBezTo>
                <a:cubicBezTo>
                  <a:pt x="6472975" y="6701706"/>
                  <a:pt x="6467684" y="6704128"/>
                  <a:pt x="6465840" y="6707734"/>
                </a:cubicBezTo>
                <a:cubicBezTo>
                  <a:pt x="6456622" y="6725770"/>
                  <a:pt x="6447820" y="6741404"/>
                  <a:pt x="6438602" y="6759440"/>
                </a:cubicBezTo>
                <a:cubicBezTo>
                  <a:pt x="6436758" y="6763047"/>
                  <a:pt x="6433904" y="6765458"/>
                  <a:pt x="6432477" y="6766663"/>
                </a:cubicBezTo>
                <a:cubicBezTo>
                  <a:pt x="6426175" y="6767888"/>
                  <a:pt x="6421300" y="6767907"/>
                  <a:pt x="6418863" y="6767918"/>
                </a:cubicBezTo>
                <a:cubicBezTo>
                  <a:pt x="6410718" y="6772750"/>
                  <a:pt x="6403998" y="6776376"/>
                  <a:pt x="6400134" y="6777592"/>
                </a:cubicBezTo>
                <a:cubicBezTo>
                  <a:pt x="6383490" y="6775258"/>
                  <a:pt x="6384803" y="6753655"/>
                  <a:pt x="6362033" y="6758546"/>
                </a:cubicBezTo>
                <a:cubicBezTo>
                  <a:pt x="6369699" y="6770514"/>
                  <a:pt x="6374928" y="6782493"/>
                  <a:pt x="6381584" y="6793265"/>
                </a:cubicBezTo>
                <a:cubicBezTo>
                  <a:pt x="6372188" y="6805301"/>
                  <a:pt x="6363803" y="6818534"/>
                  <a:pt x="6346742" y="6818602"/>
                </a:cubicBezTo>
                <a:cubicBezTo>
                  <a:pt x="6346565" y="6812603"/>
                  <a:pt x="6347815" y="6805399"/>
                  <a:pt x="6348054" y="6796998"/>
                </a:cubicBezTo>
                <a:cubicBezTo>
                  <a:pt x="6340326" y="6799429"/>
                  <a:pt x="6333607" y="6803056"/>
                  <a:pt x="6328316" y="6805477"/>
                </a:cubicBezTo>
                <a:cubicBezTo>
                  <a:pt x="6325639" y="6813887"/>
                  <a:pt x="6324390" y="6821091"/>
                  <a:pt x="6323139" y="6828296"/>
                </a:cubicBezTo>
                <a:cubicBezTo>
                  <a:pt x="6315827" y="6828325"/>
                  <a:pt x="6308514" y="6828354"/>
                  <a:pt x="6299775" y="6829589"/>
                </a:cubicBezTo>
                <a:cubicBezTo>
                  <a:pt x="6300306" y="6847586"/>
                  <a:pt x="6300837" y="6865582"/>
                  <a:pt x="6302795" y="6882373"/>
                </a:cubicBezTo>
                <a:cubicBezTo>
                  <a:pt x="6288108" y="6896831"/>
                  <a:pt x="6273724" y="6888489"/>
                  <a:pt x="6262547" y="6889733"/>
                </a:cubicBezTo>
                <a:cubicBezTo>
                  <a:pt x="6254642" y="6886165"/>
                  <a:pt x="6249173" y="6882588"/>
                  <a:pt x="6246142" y="6879000"/>
                </a:cubicBezTo>
                <a:cubicBezTo>
                  <a:pt x="6234133" y="6885048"/>
                  <a:pt x="6225987" y="6889880"/>
                  <a:pt x="6229195" y="6899467"/>
                </a:cubicBezTo>
                <a:cubicBezTo>
                  <a:pt x="6235080" y="6900643"/>
                  <a:pt x="6240965" y="6901819"/>
                  <a:pt x="6246850" y="6902995"/>
                </a:cubicBezTo>
                <a:cubicBezTo>
                  <a:pt x="6247975" y="6924589"/>
                  <a:pt x="6230016" y="6943860"/>
                  <a:pt x="6224663" y="6960679"/>
                </a:cubicBezTo>
                <a:cubicBezTo>
                  <a:pt x="6210632" y="6964336"/>
                  <a:pt x="6197613" y="6969187"/>
                  <a:pt x="6185009" y="6971637"/>
                </a:cubicBezTo>
                <a:cubicBezTo>
                  <a:pt x="6179541" y="6968060"/>
                  <a:pt x="6174072" y="6964482"/>
                  <a:pt x="6167594" y="6959708"/>
                </a:cubicBezTo>
                <a:cubicBezTo>
                  <a:pt x="6163489" y="6969324"/>
                  <a:pt x="6163667" y="6975323"/>
                  <a:pt x="6160573" y="6986134"/>
                </a:cubicBezTo>
                <a:cubicBezTo>
                  <a:pt x="6149157" y="6995780"/>
                  <a:pt x="6136314" y="7006629"/>
                  <a:pt x="6123470" y="7017480"/>
                </a:cubicBezTo>
                <a:cubicBezTo>
                  <a:pt x="6126678" y="7027067"/>
                  <a:pt x="6129886" y="7036653"/>
                  <a:pt x="6131074" y="7043849"/>
                </a:cubicBezTo>
                <a:cubicBezTo>
                  <a:pt x="6125365" y="7048671"/>
                  <a:pt x="6122511" y="7051081"/>
                  <a:pt x="6115376" y="7057109"/>
                </a:cubicBezTo>
                <a:cubicBezTo>
                  <a:pt x="6100158" y="7053571"/>
                  <a:pt x="6082503" y="7050042"/>
                  <a:pt x="6064847" y="7046513"/>
                </a:cubicBezTo>
                <a:cubicBezTo>
                  <a:pt x="6060151" y="7052532"/>
                  <a:pt x="6056880" y="7057344"/>
                  <a:pt x="6051765" y="7065764"/>
                </a:cubicBezTo>
                <a:cubicBezTo>
                  <a:pt x="6060505" y="7064529"/>
                  <a:pt x="6066390" y="7065705"/>
                  <a:pt x="6076139" y="7065667"/>
                </a:cubicBezTo>
                <a:cubicBezTo>
                  <a:pt x="6072452" y="7072880"/>
                  <a:pt x="6067754" y="7078899"/>
                  <a:pt x="6062640" y="7087318"/>
                </a:cubicBezTo>
                <a:cubicBezTo>
                  <a:pt x="6047005" y="7086182"/>
                  <a:pt x="6032798" y="7083839"/>
                  <a:pt x="6019601" y="7082691"/>
                </a:cubicBezTo>
                <a:cubicBezTo>
                  <a:pt x="6017934" y="7092297"/>
                  <a:pt x="6016684" y="7099502"/>
                  <a:pt x="6015850" y="7104305"/>
                </a:cubicBezTo>
                <a:cubicBezTo>
                  <a:pt x="6005684" y="7106745"/>
                  <a:pt x="5995518" y="7109186"/>
                  <a:pt x="5986779" y="7110420"/>
                </a:cubicBezTo>
                <a:cubicBezTo>
                  <a:pt x="5982258" y="7122437"/>
                  <a:pt x="5979581" y="7130848"/>
                  <a:pt x="5975060" y="7142864"/>
                </a:cubicBezTo>
                <a:cubicBezTo>
                  <a:pt x="5968758" y="7144090"/>
                  <a:pt x="5962040" y="7147716"/>
                  <a:pt x="5956155" y="7146540"/>
                </a:cubicBezTo>
                <a:cubicBezTo>
                  <a:pt x="5943969" y="7146589"/>
                  <a:pt x="5937427" y="7156214"/>
                  <a:pt x="5929283" y="7161046"/>
                </a:cubicBezTo>
                <a:cubicBezTo>
                  <a:pt x="5925001" y="7164663"/>
                  <a:pt x="5918699" y="7165888"/>
                  <a:pt x="5910970" y="7168319"/>
                </a:cubicBezTo>
                <a:cubicBezTo>
                  <a:pt x="5912637" y="7158713"/>
                  <a:pt x="5912460" y="7152715"/>
                  <a:pt x="5912283" y="7146716"/>
                </a:cubicBezTo>
                <a:cubicBezTo>
                  <a:pt x="5902533" y="7146754"/>
                  <a:pt x="5892784" y="7146793"/>
                  <a:pt x="5884045" y="7148028"/>
                </a:cubicBezTo>
                <a:cubicBezTo>
                  <a:pt x="5879524" y="7160046"/>
                  <a:pt x="5889866" y="7163604"/>
                  <a:pt x="5894502" y="7171984"/>
                </a:cubicBezTo>
                <a:cubicBezTo>
                  <a:pt x="5896106" y="7176778"/>
                  <a:pt x="5896283" y="7182777"/>
                  <a:pt x="5897887" y="7187570"/>
                </a:cubicBezTo>
                <a:cubicBezTo>
                  <a:pt x="5880409" y="7190040"/>
                  <a:pt x="5866618" y="7185296"/>
                  <a:pt x="5850744" y="7192558"/>
                </a:cubicBezTo>
                <a:cubicBezTo>
                  <a:pt x="5830172" y="7205839"/>
                  <a:pt x="5856327" y="7216534"/>
                  <a:pt x="5849369" y="7228561"/>
                </a:cubicBezTo>
                <a:cubicBezTo>
                  <a:pt x="5821724" y="7233471"/>
                  <a:pt x="5828391" y="7195048"/>
                  <a:pt x="5802174" y="7198752"/>
                </a:cubicBezTo>
                <a:cubicBezTo>
                  <a:pt x="5796997" y="7221571"/>
                  <a:pt x="5824402" y="7225061"/>
                  <a:pt x="5818631" y="7244283"/>
                </a:cubicBezTo>
                <a:cubicBezTo>
                  <a:pt x="5820828" y="7252673"/>
                  <a:pt x="5821599" y="7262270"/>
                  <a:pt x="5823797" y="7270660"/>
                </a:cubicBezTo>
                <a:cubicBezTo>
                  <a:pt x="5805725" y="7269532"/>
                  <a:pt x="5793538" y="7269581"/>
                  <a:pt x="5787174" y="7285206"/>
                </a:cubicBezTo>
                <a:cubicBezTo>
                  <a:pt x="5789371" y="7293596"/>
                  <a:pt x="5792996" y="7300781"/>
                  <a:pt x="5796204" y="7310368"/>
                </a:cubicBezTo>
                <a:cubicBezTo>
                  <a:pt x="5780153" y="7311632"/>
                  <a:pt x="5765529" y="7311690"/>
                  <a:pt x="5747040" y="7312964"/>
                </a:cubicBezTo>
                <a:cubicBezTo>
                  <a:pt x="5745967" y="7326167"/>
                  <a:pt x="5745904" y="7340567"/>
                  <a:pt x="5746258" y="7352565"/>
                </a:cubicBezTo>
                <a:cubicBezTo>
                  <a:pt x="5733832" y="7361014"/>
                  <a:pt x="5725270" y="7368246"/>
                  <a:pt x="5718197" y="7359876"/>
                </a:cubicBezTo>
                <a:cubicBezTo>
                  <a:pt x="5721885" y="7352661"/>
                  <a:pt x="5722718" y="7347858"/>
                  <a:pt x="5723551" y="7343056"/>
                </a:cubicBezTo>
                <a:cubicBezTo>
                  <a:pt x="5707500" y="7344319"/>
                  <a:pt x="5716000" y="7351485"/>
                  <a:pt x="5718197" y="7359876"/>
                </a:cubicBezTo>
                <a:cubicBezTo>
                  <a:pt x="5711063" y="7365904"/>
                  <a:pt x="5704168" y="7363532"/>
                  <a:pt x="5698699" y="7359954"/>
                </a:cubicBezTo>
                <a:cubicBezTo>
                  <a:pt x="5693230" y="7356376"/>
                  <a:pt x="5688772" y="7353994"/>
                  <a:pt x="5684313" y="7351612"/>
                </a:cubicBezTo>
                <a:cubicBezTo>
                  <a:pt x="5674325" y="7360051"/>
                  <a:pt x="5665763" y="7367285"/>
                  <a:pt x="5660054" y="7372107"/>
                </a:cubicBezTo>
                <a:cubicBezTo>
                  <a:pt x="5650003" y="7394945"/>
                  <a:pt x="5654992" y="7415324"/>
                  <a:pt x="5642086" y="7440574"/>
                </a:cubicBezTo>
                <a:cubicBezTo>
                  <a:pt x="5616702" y="7439475"/>
                  <a:pt x="5590308" y="7437182"/>
                  <a:pt x="5563497" y="7437289"/>
                </a:cubicBezTo>
                <a:cubicBezTo>
                  <a:pt x="5561414" y="7449297"/>
                  <a:pt x="5562777" y="7462490"/>
                  <a:pt x="5557247" y="7473310"/>
                </a:cubicBezTo>
                <a:cubicBezTo>
                  <a:pt x="5550705" y="7482936"/>
                  <a:pt x="5541726" y="7492571"/>
                  <a:pt x="5543091" y="7505766"/>
                </a:cubicBezTo>
                <a:cubicBezTo>
                  <a:pt x="5528467" y="7505824"/>
                  <a:pt x="5513843" y="7505883"/>
                  <a:pt x="5500229" y="7507137"/>
                </a:cubicBezTo>
                <a:cubicBezTo>
                  <a:pt x="5498978" y="7514341"/>
                  <a:pt x="5496718" y="7520350"/>
                  <a:pt x="5494458" y="7526358"/>
                </a:cubicBezTo>
                <a:cubicBezTo>
                  <a:pt x="5487146" y="7526387"/>
                  <a:pt x="5479416" y="7528818"/>
                  <a:pt x="5488156" y="7527584"/>
                </a:cubicBezTo>
                <a:cubicBezTo>
                  <a:pt x="5443211" y="7540962"/>
                  <a:pt x="5454199" y="7582915"/>
                  <a:pt x="5419243" y="7587855"/>
                </a:cubicBezTo>
                <a:cubicBezTo>
                  <a:pt x="5411337" y="7584286"/>
                  <a:pt x="5403431" y="7580718"/>
                  <a:pt x="5395525" y="7577150"/>
                </a:cubicBezTo>
                <a:cubicBezTo>
                  <a:pt x="5394691" y="7581953"/>
                  <a:pt x="5393859" y="7586756"/>
                  <a:pt x="5394452" y="7590353"/>
                </a:cubicBezTo>
                <a:cubicBezTo>
                  <a:pt x="5396057" y="7595147"/>
                  <a:pt x="5400514" y="7597529"/>
                  <a:pt x="5399681" y="7602332"/>
                </a:cubicBezTo>
                <a:cubicBezTo>
                  <a:pt x="5400275" y="7605929"/>
                  <a:pt x="5395994" y="7609546"/>
                  <a:pt x="5392723" y="7614358"/>
                </a:cubicBezTo>
                <a:cubicBezTo>
                  <a:pt x="5388682" y="7609575"/>
                  <a:pt x="5386067" y="7603586"/>
                  <a:pt x="5379589" y="7598813"/>
                </a:cubicBezTo>
                <a:cubicBezTo>
                  <a:pt x="5378578" y="7597616"/>
                  <a:pt x="5373287" y="7600038"/>
                  <a:pt x="5369006" y="7603654"/>
                </a:cubicBezTo>
                <a:cubicBezTo>
                  <a:pt x="5367996" y="7602458"/>
                  <a:pt x="5367162" y="7607261"/>
                  <a:pt x="5368173" y="7608456"/>
                </a:cubicBezTo>
                <a:cubicBezTo>
                  <a:pt x="5373224" y="7614436"/>
                  <a:pt x="5377266" y="7619219"/>
                  <a:pt x="5381307" y="7624003"/>
                </a:cubicBezTo>
                <a:cubicBezTo>
                  <a:pt x="5376015" y="7626425"/>
                  <a:pt x="5371735" y="7630041"/>
                  <a:pt x="5368287" y="7628856"/>
                </a:cubicBezTo>
                <a:cubicBezTo>
                  <a:pt x="5359964" y="7627689"/>
                  <a:pt x="5352475" y="7621719"/>
                  <a:pt x="5344570" y="7618151"/>
                </a:cubicBezTo>
                <a:cubicBezTo>
                  <a:pt x="5338445" y="7625375"/>
                  <a:pt x="5333747" y="7631393"/>
                  <a:pt x="5331904" y="7635000"/>
                </a:cubicBezTo>
                <a:cubicBezTo>
                  <a:pt x="5332851" y="7650595"/>
                  <a:pt x="5355798" y="7651703"/>
                  <a:pt x="5343725" y="7672150"/>
                </a:cubicBezTo>
                <a:cubicBezTo>
                  <a:pt x="5337245" y="7667376"/>
                  <a:pt x="5329341" y="7663808"/>
                  <a:pt x="5318998" y="7660250"/>
                </a:cubicBezTo>
                <a:cubicBezTo>
                  <a:pt x="5290457" y="7684362"/>
                  <a:pt x="5260490" y="7709680"/>
                  <a:pt x="5233375" y="7732587"/>
                </a:cubicBezTo>
                <a:cubicBezTo>
                  <a:pt x="5223627" y="7732626"/>
                  <a:pt x="5218752" y="7732646"/>
                  <a:pt x="5213878" y="7732665"/>
                </a:cubicBezTo>
                <a:cubicBezTo>
                  <a:pt x="5206086" y="7749494"/>
                  <a:pt x="5198295" y="7766325"/>
                  <a:pt x="5191930" y="7781949"/>
                </a:cubicBezTo>
                <a:cubicBezTo>
                  <a:pt x="5177900" y="7785605"/>
                  <a:pt x="5164880" y="7790457"/>
                  <a:pt x="5150849" y="7794112"/>
                </a:cubicBezTo>
                <a:cubicBezTo>
                  <a:pt x="5146808" y="7789329"/>
                  <a:pt x="5141339" y="7785751"/>
                  <a:pt x="5136881" y="7783369"/>
                </a:cubicBezTo>
                <a:cubicBezTo>
                  <a:pt x="5119997" y="7789436"/>
                  <a:pt x="5103112" y="7795503"/>
                  <a:pt x="5090091" y="7800355"/>
                </a:cubicBezTo>
                <a:cubicBezTo>
                  <a:pt x="5088602" y="7815959"/>
                  <a:pt x="5086102" y="7830368"/>
                  <a:pt x="5084019" y="7842376"/>
                </a:cubicBezTo>
                <a:cubicBezTo>
                  <a:pt x="5051083" y="7849707"/>
                  <a:pt x="5065416" y="7823252"/>
                  <a:pt x="5057334" y="7813685"/>
                </a:cubicBezTo>
                <a:cubicBezTo>
                  <a:pt x="5042053" y="7824545"/>
                  <a:pt x="5042053" y="7824545"/>
                  <a:pt x="5033844" y="7843776"/>
                </a:cubicBezTo>
                <a:cubicBezTo>
                  <a:pt x="5028970" y="7843796"/>
                  <a:pt x="5024096" y="7843815"/>
                  <a:pt x="5019220" y="7843835"/>
                </a:cubicBezTo>
                <a:cubicBezTo>
                  <a:pt x="5003701" y="7863095"/>
                  <a:pt x="5019272" y="7878632"/>
                  <a:pt x="5017366" y="7896638"/>
                </a:cubicBezTo>
                <a:cubicBezTo>
                  <a:pt x="5010053" y="7896668"/>
                  <a:pt x="5002742" y="7896698"/>
                  <a:pt x="4996857" y="7895520"/>
                </a:cubicBezTo>
                <a:cubicBezTo>
                  <a:pt x="4995607" y="7902725"/>
                  <a:pt x="4992930" y="7911135"/>
                  <a:pt x="4992096" y="7915938"/>
                </a:cubicBezTo>
                <a:cubicBezTo>
                  <a:pt x="4974972" y="7930405"/>
                  <a:pt x="4959275" y="7943667"/>
                  <a:pt x="4942151" y="7958135"/>
                </a:cubicBezTo>
                <a:cubicBezTo>
                  <a:pt x="4940724" y="7959340"/>
                  <a:pt x="4937276" y="7958154"/>
                  <a:pt x="4934839" y="7958164"/>
                </a:cubicBezTo>
                <a:cubicBezTo>
                  <a:pt x="4936089" y="7950959"/>
                  <a:pt x="4935911" y="7944960"/>
                  <a:pt x="4937162" y="7937756"/>
                </a:cubicBezTo>
                <a:cubicBezTo>
                  <a:pt x="4915642" y="7935442"/>
                  <a:pt x="4914152" y="7951047"/>
                  <a:pt x="4912486" y="7960653"/>
                </a:cubicBezTo>
                <a:cubicBezTo>
                  <a:pt x="4900893" y="7964299"/>
                  <a:pt x="4888289" y="7966749"/>
                  <a:pt x="4881987" y="7967974"/>
                </a:cubicBezTo>
                <a:cubicBezTo>
                  <a:pt x="4870040" y="7959623"/>
                  <a:pt x="4867666" y="7945233"/>
                  <a:pt x="4851615" y="7946497"/>
                </a:cubicBezTo>
                <a:cubicBezTo>
                  <a:pt x="4847334" y="7950114"/>
                  <a:pt x="4843053" y="7953732"/>
                  <a:pt x="4838771" y="7957348"/>
                </a:cubicBezTo>
                <a:cubicBezTo>
                  <a:pt x="4829439" y="7954985"/>
                  <a:pt x="4820523" y="7950221"/>
                  <a:pt x="4810180" y="7946663"/>
                </a:cubicBezTo>
                <a:cubicBezTo>
                  <a:pt x="4806013" y="7970678"/>
                  <a:pt x="4834844" y="7972962"/>
                  <a:pt x="4834542" y="7995762"/>
                </a:cubicBezTo>
                <a:cubicBezTo>
                  <a:pt x="4831865" y="8004172"/>
                  <a:pt x="4830198" y="8013778"/>
                  <a:pt x="4827938" y="8019787"/>
                </a:cubicBezTo>
                <a:cubicBezTo>
                  <a:pt x="4818959" y="8029422"/>
                  <a:pt x="4811824" y="8035449"/>
                  <a:pt x="4801835" y="8043889"/>
                </a:cubicBezTo>
                <a:cubicBezTo>
                  <a:pt x="4803793" y="8060680"/>
                  <a:pt x="4806167" y="8075070"/>
                  <a:pt x="4807115" y="8090665"/>
                </a:cubicBezTo>
                <a:cubicBezTo>
                  <a:pt x="4799803" y="8090694"/>
                  <a:pt x="4793501" y="8091919"/>
                  <a:pt x="4786188" y="8091948"/>
                </a:cubicBezTo>
                <a:cubicBezTo>
                  <a:pt x="4766211" y="8108827"/>
                  <a:pt x="4746232" y="8125706"/>
                  <a:pt x="4726254" y="8142584"/>
                </a:cubicBezTo>
                <a:cubicBezTo>
                  <a:pt x="4709193" y="8142654"/>
                  <a:pt x="4691121" y="8141525"/>
                  <a:pt x="4674059" y="8141593"/>
                </a:cubicBezTo>
                <a:cubicBezTo>
                  <a:pt x="4673883" y="8135594"/>
                  <a:pt x="4675133" y="8128390"/>
                  <a:pt x="4676383" y="8121185"/>
                </a:cubicBezTo>
                <a:cubicBezTo>
                  <a:pt x="4670321" y="8114010"/>
                  <a:pt x="4664259" y="8106835"/>
                  <a:pt x="4662238" y="8104444"/>
                </a:cubicBezTo>
                <a:cubicBezTo>
                  <a:pt x="4659270" y="8086457"/>
                  <a:pt x="4657905" y="8073263"/>
                  <a:pt x="4655113" y="8061275"/>
                </a:cubicBezTo>
                <a:cubicBezTo>
                  <a:pt x="4660228" y="8052855"/>
                  <a:pt x="4675269" y="8050395"/>
                  <a:pt x="4663145" y="8036044"/>
                </a:cubicBezTo>
                <a:cubicBezTo>
                  <a:pt x="4637458" y="8057745"/>
                  <a:pt x="4611773" y="8079447"/>
                  <a:pt x="4586085" y="8101148"/>
                </a:cubicBezTo>
                <a:cubicBezTo>
                  <a:pt x="4578773" y="8101177"/>
                  <a:pt x="4571462" y="8101207"/>
                  <a:pt x="4562722" y="8102441"/>
                </a:cubicBezTo>
                <a:cubicBezTo>
                  <a:pt x="4565337" y="8108430"/>
                  <a:pt x="4567952" y="8114419"/>
                  <a:pt x="4570566" y="8120408"/>
                </a:cubicBezTo>
                <a:cubicBezTo>
                  <a:pt x="4586201" y="8121546"/>
                  <a:pt x="4600825" y="8121487"/>
                  <a:pt x="4613011" y="8121439"/>
                </a:cubicBezTo>
                <a:cubicBezTo>
                  <a:pt x="4611105" y="8139445"/>
                  <a:pt x="4608188" y="8156255"/>
                  <a:pt x="4605271" y="8173067"/>
                </a:cubicBezTo>
                <a:cubicBezTo>
                  <a:pt x="4596709" y="8180299"/>
                  <a:pt x="4589574" y="8186328"/>
                  <a:pt x="4575303" y="8198384"/>
                </a:cubicBezTo>
                <a:cubicBezTo>
                  <a:pt x="4576075" y="8207980"/>
                  <a:pt x="4577439" y="8221174"/>
                  <a:pt x="4577376" y="8235573"/>
                </a:cubicBezTo>
                <a:cubicBezTo>
                  <a:pt x="4566617" y="8234416"/>
                  <a:pt x="4561742" y="8234435"/>
                  <a:pt x="4556867" y="8234455"/>
                </a:cubicBezTo>
                <a:cubicBezTo>
                  <a:pt x="4551335" y="8245276"/>
                  <a:pt x="4547232" y="8254892"/>
                  <a:pt x="4543128" y="8264508"/>
                </a:cubicBezTo>
                <a:cubicBezTo>
                  <a:pt x="4531951" y="8265752"/>
                  <a:pt x="4524639" y="8265781"/>
                  <a:pt x="4517327" y="8265811"/>
                </a:cubicBezTo>
                <a:cubicBezTo>
                  <a:pt x="4510192" y="8271839"/>
                  <a:pt x="4501630" y="8279072"/>
                  <a:pt x="4493068" y="8286306"/>
                </a:cubicBezTo>
                <a:cubicBezTo>
                  <a:pt x="4491818" y="8293511"/>
                  <a:pt x="4489558" y="8299519"/>
                  <a:pt x="4489735" y="8305518"/>
                </a:cubicBezTo>
                <a:cubicBezTo>
                  <a:pt x="4479568" y="8307958"/>
                  <a:pt x="4469819" y="8307997"/>
                  <a:pt x="4461080" y="8309232"/>
                </a:cubicBezTo>
                <a:cubicBezTo>
                  <a:pt x="4456559" y="8321250"/>
                  <a:pt x="4453882" y="8329660"/>
                  <a:pt x="4448945" y="8344078"/>
                </a:cubicBezTo>
                <a:cubicBezTo>
                  <a:pt x="4440206" y="8345313"/>
                  <a:pt x="4426592" y="8346568"/>
                  <a:pt x="4416009" y="8351409"/>
                </a:cubicBezTo>
                <a:cubicBezTo>
                  <a:pt x="4403583" y="8359859"/>
                  <a:pt x="4392760" y="8373101"/>
                  <a:pt x="4373084" y="8367180"/>
                </a:cubicBezTo>
                <a:cubicBezTo>
                  <a:pt x="4357387" y="8380442"/>
                  <a:pt x="4338836" y="8396115"/>
                  <a:pt x="4324566" y="8408171"/>
                </a:cubicBezTo>
                <a:cubicBezTo>
                  <a:pt x="4315827" y="8409406"/>
                  <a:pt x="4310952" y="8409426"/>
                  <a:pt x="4306077" y="8409445"/>
                </a:cubicBezTo>
                <a:cubicBezTo>
                  <a:pt x="4304827" y="8416649"/>
                  <a:pt x="4302566" y="8422658"/>
                  <a:pt x="4301317" y="8429862"/>
                </a:cubicBezTo>
                <a:cubicBezTo>
                  <a:pt x="4289900" y="8439507"/>
                  <a:pt x="4277057" y="8450358"/>
                  <a:pt x="4265641" y="8460003"/>
                </a:cubicBezTo>
                <a:cubicBezTo>
                  <a:pt x="4253871" y="8457650"/>
                  <a:pt x="4240434" y="8464903"/>
                  <a:pt x="4229914" y="8455346"/>
                </a:cubicBezTo>
                <a:cubicBezTo>
                  <a:pt x="4227123" y="8443358"/>
                  <a:pt x="4225759" y="8430164"/>
                  <a:pt x="4222967" y="8418176"/>
                </a:cubicBezTo>
                <a:cubicBezTo>
                  <a:pt x="4208937" y="8421833"/>
                  <a:pt x="4197344" y="8425478"/>
                  <a:pt x="4185751" y="8429124"/>
                </a:cubicBezTo>
                <a:cubicBezTo>
                  <a:pt x="4192709" y="8417097"/>
                  <a:pt x="4196813" y="8407482"/>
                  <a:pt x="4203771" y="8395455"/>
                </a:cubicBezTo>
                <a:cubicBezTo>
                  <a:pt x="4195865" y="8391887"/>
                  <a:pt x="4190397" y="8388309"/>
                  <a:pt x="4184511" y="8387132"/>
                </a:cubicBezTo>
                <a:cubicBezTo>
                  <a:pt x="4153118" y="8413656"/>
                  <a:pt x="4123150" y="8438974"/>
                  <a:pt x="4093183" y="8464291"/>
                </a:cubicBezTo>
                <a:cubicBezTo>
                  <a:pt x="4088902" y="8467909"/>
                  <a:pt x="4084027" y="8467927"/>
                  <a:pt x="4078736" y="8470349"/>
                </a:cubicBezTo>
                <a:cubicBezTo>
                  <a:pt x="4072257" y="8465575"/>
                  <a:pt x="4064351" y="8462007"/>
                  <a:pt x="4057873" y="8457234"/>
                </a:cubicBezTo>
                <a:cubicBezTo>
                  <a:pt x="4054779" y="8468046"/>
                  <a:pt x="4053529" y="8475250"/>
                  <a:pt x="4052279" y="8482454"/>
                </a:cubicBezTo>
                <a:cubicBezTo>
                  <a:pt x="4016603" y="8512594"/>
                  <a:pt x="3979501" y="8543941"/>
                  <a:pt x="3945252" y="8572875"/>
                </a:cubicBezTo>
                <a:cubicBezTo>
                  <a:pt x="3942575" y="8581285"/>
                  <a:pt x="3940314" y="8587294"/>
                  <a:pt x="3938055" y="8593303"/>
                </a:cubicBezTo>
                <a:cubicBezTo>
                  <a:pt x="3924857" y="8592155"/>
                  <a:pt x="3912671" y="8592204"/>
                  <a:pt x="3900483" y="8592253"/>
                </a:cubicBezTo>
                <a:cubicBezTo>
                  <a:pt x="3895963" y="8604270"/>
                  <a:pt x="3891859" y="8613886"/>
                  <a:pt x="3887754" y="8623502"/>
                </a:cubicBezTo>
                <a:cubicBezTo>
                  <a:pt x="3875568" y="8623550"/>
                  <a:pt x="3869266" y="8624775"/>
                  <a:pt x="3861954" y="8624805"/>
                </a:cubicBezTo>
                <a:cubicBezTo>
                  <a:pt x="3860704" y="8632009"/>
                  <a:pt x="3859454" y="8639214"/>
                  <a:pt x="3857788" y="8648819"/>
                </a:cubicBezTo>
                <a:cubicBezTo>
                  <a:pt x="3836027" y="8654906"/>
                  <a:pt x="3814268" y="8660993"/>
                  <a:pt x="3792510" y="8667079"/>
                </a:cubicBezTo>
                <a:cubicBezTo>
                  <a:pt x="3791260" y="8674284"/>
                  <a:pt x="3790427" y="8679087"/>
                  <a:pt x="3789593" y="8683890"/>
                </a:cubicBezTo>
                <a:cubicBezTo>
                  <a:pt x="3782281" y="8683919"/>
                  <a:pt x="3775978" y="8685144"/>
                  <a:pt x="3768667" y="8685174"/>
                </a:cubicBezTo>
                <a:cubicBezTo>
                  <a:pt x="3760104" y="8692407"/>
                  <a:pt x="3752970" y="8698435"/>
                  <a:pt x="3744408" y="8705669"/>
                </a:cubicBezTo>
                <a:cubicBezTo>
                  <a:pt x="3737096" y="8705698"/>
                  <a:pt x="3729784" y="8705727"/>
                  <a:pt x="3722472" y="8705756"/>
                </a:cubicBezTo>
                <a:cubicBezTo>
                  <a:pt x="3718191" y="8709373"/>
                  <a:pt x="3713910" y="8712990"/>
                  <a:pt x="3713910" y="8712990"/>
                </a:cubicBezTo>
                <a:cubicBezTo>
                  <a:pt x="3685671" y="8714303"/>
                  <a:pt x="3661298" y="8714401"/>
                  <a:pt x="3651549" y="8714439"/>
                </a:cubicBezTo>
                <a:cubicBezTo>
                  <a:pt x="3628425" y="8707332"/>
                  <a:pt x="3619092" y="8704970"/>
                  <a:pt x="3608749" y="8701411"/>
                </a:cubicBezTo>
                <a:cubicBezTo>
                  <a:pt x="3608749" y="8701411"/>
                  <a:pt x="3609583" y="8696607"/>
                  <a:pt x="3610000" y="8694207"/>
                </a:cubicBezTo>
                <a:cubicBezTo>
                  <a:pt x="3617135" y="8688179"/>
                  <a:pt x="3625697" y="8680945"/>
                  <a:pt x="3634259" y="8673711"/>
                </a:cubicBezTo>
                <a:cubicBezTo>
                  <a:pt x="3641571" y="8673682"/>
                  <a:pt x="3648883" y="8673653"/>
                  <a:pt x="3653757" y="8673633"/>
                </a:cubicBezTo>
                <a:cubicBezTo>
                  <a:pt x="3661904" y="8668801"/>
                  <a:pt x="3668622" y="8665175"/>
                  <a:pt x="3673913" y="8662754"/>
                </a:cubicBezTo>
                <a:cubicBezTo>
                  <a:pt x="3680392" y="8667527"/>
                  <a:pt x="3685859" y="8671105"/>
                  <a:pt x="3693348" y="8677075"/>
                </a:cubicBezTo>
                <a:cubicBezTo>
                  <a:pt x="3701910" y="8669841"/>
                  <a:pt x="3708036" y="8662617"/>
                  <a:pt x="3716181" y="8657785"/>
                </a:cubicBezTo>
                <a:cubicBezTo>
                  <a:pt x="3725337" y="8654149"/>
                  <a:pt x="3735087" y="8654111"/>
                  <a:pt x="3747690" y="8651659"/>
                </a:cubicBezTo>
                <a:cubicBezTo>
                  <a:pt x="3774803" y="8628753"/>
                  <a:pt x="3801917" y="8605846"/>
                  <a:pt x="3829030" y="8582939"/>
                </a:cubicBezTo>
                <a:cubicBezTo>
                  <a:pt x="3851560" y="8586449"/>
                  <a:pt x="3861372" y="8572011"/>
                  <a:pt x="3873621" y="8557563"/>
                </a:cubicBezTo>
                <a:cubicBezTo>
                  <a:pt x="3874455" y="8552760"/>
                  <a:pt x="3874278" y="8546761"/>
                  <a:pt x="3875111" y="8541958"/>
                </a:cubicBezTo>
                <a:cubicBezTo>
                  <a:pt x="3882423" y="8541929"/>
                  <a:pt x="3889735" y="8541900"/>
                  <a:pt x="3896037" y="8540674"/>
                </a:cubicBezTo>
                <a:cubicBezTo>
                  <a:pt x="3898536" y="8526265"/>
                  <a:pt x="3894912" y="8519080"/>
                  <a:pt x="3877434" y="8521550"/>
                </a:cubicBezTo>
                <a:cubicBezTo>
                  <a:pt x="3870299" y="8527578"/>
                  <a:pt x="3861737" y="8534812"/>
                  <a:pt x="3854602" y="8540840"/>
                </a:cubicBezTo>
                <a:cubicBezTo>
                  <a:pt x="3847290" y="8540869"/>
                  <a:pt x="3839978" y="8540898"/>
                  <a:pt x="3833676" y="8542124"/>
                </a:cubicBezTo>
                <a:cubicBezTo>
                  <a:pt x="3832843" y="8546928"/>
                  <a:pt x="3833020" y="8552925"/>
                  <a:pt x="3832186" y="8557728"/>
                </a:cubicBezTo>
                <a:cubicBezTo>
                  <a:pt x="3820593" y="8561375"/>
                  <a:pt x="3809000" y="8565022"/>
                  <a:pt x="3799428" y="8571058"/>
                </a:cubicBezTo>
                <a:cubicBezTo>
                  <a:pt x="3791282" y="8575891"/>
                  <a:pt x="3785158" y="8583115"/>
                  <a:pt x="3772971" y="8583163"/>
                </a:cubicBezTo>
                <a:cubicBezTo>
                  <a:pt x="3757753" y="8579624"/>
                  <a:pt x="3751389" y="8595249"/>
                  <a:pt x="3739379" y="8601296"/>
                </a:cubicBezTo>
                <a:cubicBezTo>
                  <a:pt x="3727192" y="8601345"/>
                  <a:pt x="3711141" y="8602609"/>
                  <a:pt x="3696517" y="8602668"/>
                </a:cubicBezTo>
                <a:cubicBezTo>
                  <a:pt x="3672257" y="8623164"/>
                  <a:pt x="3647998" y="8643659"/>
                  <a:pt x="3625166" y="8662948"/>
                </a:cubicBezTo>
                <a:cubicBezTo>
                  <a:pt x="3609115" y="8664212"/>
                  <a:pt x="3603292" y="8648637"/>
                  <a:pt x="3586824" y="8652302"/>
                </a:cubicBezTo>
                <a:cubicBezTo>
                  <a:pt x="3575232" y="8655948"/>
                  <a:pt x="3563878" y="8651194"/>
                  <a:pt x="3554368" y="8642834"/>
                </a:cubicBezTo>
                <a:cubicBezTo>
                  <a:pt x="3547890" y="8638059"/>
                  <a:pt x="3526724" y="8647743"/>
                  <a:pt x="3519235" y="8641773"/>
                </a:cubicBezTo>
                <a:cubicBezTo>
                  <a:pt x="3501820" y="8629844"/>
                  <a:pt x="3470311" y="8635969"/>
                  <a:pt x="3466988" y="8605985"/>
                </a:cubicBezTo>
                <a:cubicBezTo>
                  <a:pt x="3471989" y="8577167"/>
                  <a:pt x="3497498" y="8549467"/>
                  <a:pt x="3490135" y="8514699"/>
                </a:cubicBezTo>
                <a:cubicBezTo>
                  <a:pt x="3486686" y="8513513"/>
                  <a:pt x="3481219" y="8509935"/>
                  <a:pt x="3473313" y="8506367"/>
                </a:cubicBezTo>
                <a:cubicBezTo>
                  <a:pt x="3454762" y="8522040"/>
                  <a:pt x="3437638" y="8536507"/>
                  <a:pt x="3427648" y="8544946"/>
                </a:cubicBezTo>
                <a:cubicBezTo>
                  <a:pt x="3412191" y="8549808"/>
                  <a:pt x="3404462" y="8552239"/>
                  <a:pt x="3396733" y="8554669"/>
                </a:cubicBezTo>
                <a:cubicBezTo>
                  <a:pt x="3391088" y="8545093"/>
                  <a:pt x="3385026" y="8537917"/>
                  <a:pt x="3370402" y="8537976"/>
                </a:cubicBezTo>
                <a:cubicBezTo>
                  <a:pt x="3363091" y="8538005"/>
                  <a:pt x="3354591" y="8530840"/>
                  <a:pt x="3346685" y="8527271"/>
                </a:cubicBezTo>
                <a:cubicBezTo>
                  <a:pt x="3336696" y="8535711"/>
                  <a:pt x="3326707" y="8544150"/>
                  <a:pt x="3319571" y="8550178"/>
                </a:cubicBezTo>
                <a:cubicBezTo>
                  <a:pt x="3318738" y="8554981"/>
                  <a:pt x="3318321" y="8557383"/>
                  <a:pt x="3320342" y="8559774"/>
                </a:cubicBezTo>
                <a:cubicBezTo>
                  <a:pt x="3334069" y="8578918"/>
                  <a:pt x="3359517" y="8565618"/>
                  <a:pt x="3379609" y="8569137"/>
                </a:cubicBezTo>
                <a:cubicBezTo>
                  <a:pt x="3385317" y="8564314"/>
                  <a:pt x="3391025" y="8559492"/>
                  <a:pt x="3396733" y="8554669"/>
                </a:cubicBezTo>
                <a:cubicBezTo>
                  <a:pt x="3399764" y="8558257"/>
                  <a:pt x="3400358" y="8561854"/>
                  <a:pt x="3400535" y="8567853"/>
                </a:cubicBezTo>
                <a:cubicBezTo>
                  <a:pt x="3387692" y="8578705"/>
                  <a:pt x="3374849" y="8589554"/>
                  <a:pt x="3359152" y="8602817"/>
                </a:cubicBezTo>
                <a:cubicBezTo>
                  <a:pt x="3339476" y="8596896"/>
                  <a:pt x="3320810" y="8592170"/>
                  <a:pt x="3303155" y="8588641"/>
                </a:cubicBezTo>
                <a:cubicBezTo>
                  <a:pt x="3293052" y="8576682"/>
                  <a:pt x="3283959" y="8565919"/>
                  <a:pt x="3276886" y="8557549"/>
                </a:cubicBezTo>
                <a:cubicBezTo>
                  <a:pt x="3278136" y="8550344"/>
                  <a:pt x="3278970" y="8545542"/>
                  <a:pt x="3278793" y="8539542"/>
                </a:cubicBezTo>
                <a:cubicBezTo>
                  <a:pt x="3272907" y="8538366"/>
                  <a:pt x="3267023" y="8537190"/>
                  <a:pt x="3259711" y="8537218"/>
                </a:cubicBezTo>
                <a:cubicBezTo>
                  <a:pt x="3250618" y="8526456"/>
                  <a:pt x="3236233" y="8518114"/>
                  <a:pt x="3233265" y="8500127"/>
                </a:cubicBezTo>
                <a:cubicBezTo>
                  <a:pt x="3240817" y="8491697"/>
                  <a:pt x="3250806" y="8483258"/>
                  <a:pt x="3261212" y="8472417"/>
                </a:cubicBezTo>
                <a:cubicBezTo>
                  <a:pt x="3258597" y="8466428"/>
                  <a:pt x="3255984" y="8460439"/>
                  <a:pt x="3252357" y="8453254"/>
                </a:cubicBezTo>
                <a:cubicBezTo>
                  <a:pt x="3253608" y="8446049"/>
                  <a:pt x="3255275" y="8436443"/>
                  <a:pt x="3256942" y="8426837"/>
                </a:cubicBezTo>
                <a:cubicBezTo>
                  <a:pt x="3273649" y="8414772"/>
                  <a:pt x="3277400" y="8393158"/>
                  <a:pt x="3290659" y="8379906"/>
                </a:cubicBezTo>
                <a:cubicBezTo>
                  <a:pt x="3308200" y="8363037"/>
                  <a:pt x="3312961" y="8342620"/>
                  <a:pt x="3326044" y="8323369"/>
                </a:cubicBezTo>
                <a:cubicBezTo>
                  <a:pt x="3322001" y="8318585"/>
                  <a:pt x="3317961" y="8313802"/>
                  <a:pt x="3312909" y="8307822"/>
                </a:cubicBezTo>
                <a:cubicBezTo>
                  <a:pt x="3300483" y="8316271"/>
                  <a:pt x="3291921" y="8323505"/>
                  <a:pt x="3281932" y="8331944"/>
                </a:cubicBezTo>
                <a:cubicBezTo>
                  <a:pt x="3274618" y="8331974"/>
                  <a:pt x="3267306" y="8332003"/>
                  <a:pt x="3256131" y="8333247"/>
                </a:cubicBezTo>
                <a:cubicBezTo>
                  <a:pt x="3246735" y="8345284"/>
                  <a:pt x="3238349" y="8358517"/>
                  <a:pt x="3228538" y="8372956"/>
                </a:cubicBezTo>
                <a:cubicBezTo>
                  <a:pt x="3217778" y="8371798"/>
                  <a:pt x="3205592" y="8371848"/>
                  <a:pt x="3194415" y="8373091"/>
                </a:cubicBezTo>
                <a:cubicBezTo>
                  <a:pt x="3188884" y="8383914"/>
                  <a:pt x="3184780" y="8393528"/>
                  <a:pt x="3180676" y="8403144"/>
                </a:cubicBezTo>
                <a:cubicBezTo>
                  <a:pt x="3168489" y="8403194"/>
                  <a:pt x="3162188" y="8404418"/>
                  <a:pt x="3153865" y="8403251"/>
                </a:cubicBezTo>
                <a:cubicBezTo>
                  <a:pt x="3145303" y="8410485"/>
                  <a:pt x="3138168" y="8416513"/>
                  <a:pt x="3129606" y="8423747"/>
                </a:cubicBezTo>
                <a:cubicBezTo>
                  <a:pt x="3110940" y="8419022"/>
                  <a:pt x="3084067" y="8433529"/>
                  <a:pt x="3068318" y="8411993"/>
                </a:cubicBezTo>
                <a:cubicBezTo>
                  <a:pt x="3073016" y="8405975"/>
                  <a:pt x="3077714" y="8399956"/>
                  <a:pt x="3081401" y="8392742"/>
                </a:cubicBezTo>
                <a:cubicBezTo>
                  <a:pt x="3096025" y="8392683"/>
                  <a:pt x="3111659" y="8393821"/>
                  <a:pt x="3125273" y="8392566"/>
                </a:cubicBezTo>
                <a:cubicBezTo>
                  <a:pt x="3131574" y="8391341"/>
                  <a:pt x="3135679" y="8381725"/>
                  <a:pt x="3141387" y="8376904"/>
                </a:cubicBezTo>
                <a:cubicBezTo>
                  <a:pt x="3133304" y="8367336"/>
                  <a:pt x="3126232" y="8358965"/>
                  <a:pt x="3120170" y="8351790"/>
                </a:cubicBezTo>
                <a:cubicBezTo>
                  <a:pt x="3097817" y="8354279"/>
                  <a:pt x="3088359" y="8380715"/>
                  <a:pt x="3064996" y="8382008"/>
                </a:cubicBezTo>
                <a:cubicBezTo>
                  <a:pt x="3055903" y="8371245"/>
                  <a:pt x="3048653" y="8356875"/>
                  <a:pt x="3027311" y="8360560"/>
                </a:cubicBezTo>
                <a:cubicBezTo>
                  <a:pt x="3022259" y="8354581"/>
                  <a:pt x="3016197" y="8347406"/>
                  <a:pt x="3010135" y="8340230"/>
                </a:cubicBezTo>
                <a:cubicBezTo>
                  <a:pt x="3008354" y="8329438"/>
                  <a:pt x="3020427" y="8308991"/>
                  <a:pt x="2992188" y="8310304"/>
                </a:cubicBezTo>
                <a:cubicBezTo>
                  <a:pt x="2929400" y="8363351"/>
                  <a:pt x="2862330" y="8420014"/>
                  <a:pt x="2796687" y="8475474"/>
                </a:cubicBezTo>
                <a:cubicBezTo>
                  <a:pt x="2786761" y="8469514"/>
                  <a:pt x="2778854" y="8465946"/>
                  <a:pt x="2771959" y="8463574"/>
                </a:cubicBezTo>
                <a:cubicBezTo>
                  <a:pt x="2766075" y="8462398"/>
                  <a:pt x="2755908" y="8464838"/>
                  <a:pt x="2760430" y="8452820"/>
                </a:cubicBezTo>
                <a:cubicBezTo>
                  <a:pt x="2767565" y="8446792"/>
                  <a:pt x="2776126" y="8439559"/>
                  <a:pt x="2783261" y="8433530"/>
                </a:cubicBezTo>
                <a:cubicBezTo>
                  <a:pt x="2784512" y="8426326"/>
                  <a:pt x="2787189" y="8417916"/>
                  <a:pt x="2788438" y="8410711"/>
                </a:cubicBezTo>
                <a:cubicBezTo>
                  <a:pt x="2808001" y="8396234"/>
                  <a:pt x="2806990" y="8395038"/>
                  <a:pt x="2809906" y="8378228"/>
                </a:cubicBezTo>
                <a:cubicBezTo>
                  <a:pt x="2791356" y="8393902"/>
                  <a:pt x="2772804" y="8409574"/>
                  <a:pt x="2757106" y="8422836"/>
                </a:cubicBezTo>
                <a:cubicBezTo>
                  <a:pt x="2743910" y="8421690"/>
                  <a:pt x="2734160" y="8421728"/>
                  <a:pt x="2729286" y="8421747"/>
                </a:cubicBezTo>
                <a:cubicBezTo>
                  <a:pt x="2713058" y="8417012"/>
                  <a:pt x="2714548" y="8401407"/>
                  <a:pt x="2699924" y="8401466"/>
                </a:cubicBezTo>
                <a:cubicBezTo>
                  <a:pt x="2690768" y="8405102"/>
                  <a:pt x="2681612" y="8408739"/>
                  <a:pt x="2674894" y="8412365"/>
                </a:cubicBezTo>
                <a:cubicBezTo>
                  <a:pt x="2667821" y="8403995"/>
                  <a:pt x="2661759" y="8396820"/>
                  <a:pt x="2655696" y="8389644"/>
                </a:cubicBezTo>
                <a:cubicBezTo>
                  <a:pt x="2658259" y="8360835"/>
                  <a:pt x="2677051" y="8336762"/>
                  <a:pt x="2690374" y="8309111"/>
                </a:cubicBezTo>
                <a:cubicBezTo>
                  <a:pt x="2681281" y="8298348"/>
                  <a:pt x="2671177" y="8286389"/>
                  <a:pt x="2662084" y="8275626"/>
                </a:cubicBezTo>
                <a:cubicBezTo>
                  <a:pt x="2671896" y="8261189"/>
                  <a:pt x="2681292" y="8249151"/>
                  <a:pt x="2682782" y="8233547"/>
                </a:cubicBezTo>
                <a:cubicBezTo>
                  <a:pt x="2698479" y="8220285"/>
                  <a:pt x="2714176" y="8207024"/>
                  <a:pt x="2729873" y="8193761"/>
                </a:cubicBezTo>
                <a:cubicBezTo>
                  <a:pt x="2729696" y="8187762"/>
                  <a:pt x="2730530" y="8182959"/>
                  <a:pt x="2733206" y="8174549"/>
                </a:cubicBezTo>
                <a:cubicBezTo>
                  <a:pt x="2753184" y="8157671"/>
                  <a:pt x="2774590" y="8139586"/>
                  <a:pt x="2791714" y="8125119"/>
                </a:cubicBezTo>
                <a:cubicBezTo>
                  <a:pt x="2796235" y="8113102"/>
                  <a:pt x="2797485" y="8105897"/>
                  <a:pt x="2797902" y="8103496"/>
                </a:cubicBezTo>
                <a:cubicBezTo>
                  <a:pt x="2828286" y="8075776"/>
                  <a:pt x="2855816" y="8050469"/>
                  <a:pt x="2881919" y="8026366"/>
                </a:cubicBezTo>
                <a:cubicBezTo>
                  <a:pt x="2883346" y="8025160"/>
                  <a:pt x="2882752" y="8021563"/>
                  <a:pt x="2883169" y="8019161"/>
                </a:cubicBezTo>
                <a:cubicBezTo>
                  <a:pt x="2859806" y="8020454"/>
                  <a:pt x="2852785" y="8046880"/>
                  <a:pt x="2831442" y="8050566"/>
                </a:cubicBezTo>
                <a:cubicBezTo>
                  <a:pt x="2826568" y="8050585"/>
                  <a:pt x="2821693" y="8050606"/>
                  <a:pt x="2816818" y="8050624"/>
                </a:cubicBezTo>
                <a:cubicBezTo>
                  <a:pt x="2815568" y="8057828"/>
                  <a:pt x="2813308" y="8063837"/>
                  <a:pt x="2811641" y="8073443"/>
                </a:cubicBezTo>
                <a:cubicBezTo>
                  <a:pt x="2799871" y="8071091"/>
                  <a:pt x="2789111" y="8069933"/>
                  <a:pt x="2777341" y="8067582"/>
                </a:cubicBezTo>
                <a:cubicBezTo>
                  <a:pt x="2769434" y="8064012"/>
                  <a:pt x="2760519" y="8059248"/>
                  <a:pt x="2750176" y="8055690"/>
                </a:cubicBezTo>
                <a:cubicBezTo>
                  <a:pt x="2777946" y="8021981"/>
                  <a:pt x="2818849" y="8003819"/>
                  <a:pt x="2844006" y="7964123"/>
                </a:cubicBezTo>
                <a:cubicBezTo>
                  <a:pt x="2829558" y="7970179"/>
                  <a:pt x="2820996" y="7977413"/>
                  <a:pt x="2812257" y="7978647"/>
                </a:cubicBezTo>
                <a:cubicBezTo>
                  <a:pt x="2800070" y="7978696"/>
                  <a:pt x="2787884" y="7978746"/>
                  <a:pt x="2777124" y="7977588"/>
                </a:cubicBezTo>
                <a:cubicBezTo>
                  <a:pt x="2773020" y="7987204"/>
                  <a:pt x="2771353" y="7996810"/>
                  <a:pt x="2766832" y="8008828"/>
                </a:cubicBezTo>
                <a:cubicBezTo>
                  <a:pt x="2744896" y="8008915"/>
                  <a:pt x="2726407" y="8010188"/>
                  <a:pt x="2707326" y="8007865"/>
                </a:cubicBezTo>
                <a:cubicBezTo>
                  <a:pt x="2701264" y="8000690"/>
                  <a:pt x="2696212" y="7994710"/>
                  <a:pt x="2690150" y="7987535"/>
                </a:cubicBezTo>
                <a:cubicBezTo>
                  <a:pt x="2678557" y="7991181"/>
                  <a:pt x="2666963" y="7994827"/>
                  <a:pt x="2657807" y="7998463"/>
                </a:cubicBezTo>
                <a:cubicBezTo>
                  <a:pt x="2650735" y="7990092"/>
                  <a:pt x="2644673" y="7982917"/>
                  <a:pt x="2642653" y="7980525"/>
                </a:cubicBezTo>
                <a:cubicBezTo>
                  <a:pt x="2634279" y="7944561"/>
                  <a:pt x="2663653" y="7915646"/>
                  <a:pt x="2665205" y="7885642"/>
                </a:cubicBezTo>
                <a:cubicBezTo>
                  <a:pt x="2659142" y="7878467"/>
                  <a:pt x="2653081" y="7871293"/>
                  <a:pt x="2654091" y="7872487"/>
                </a:cubicBezTo>
                <a:cubicBezTo>
                  <a:pt x="2642270" y="7835337"/>
                  <a:pt x="2663914" y="7808853"/>
                  <a:pt x="2673790" y="7780015"/>
                </a:cubicBezTo>
                <a:cubicBezTo>
                  <a:pt x="2728016" y="7734202"/>
                  <a:pt x="2785097" y="7685977"/>
                  <a:pt x="2842178" y="7637753"/>
                </a:cubicBezTo>
                <a:cubicBezTo>
                  <a:pt x="2843428" y="7630549"/>
                  <a:pt x="2844678" y="7623344"/>
                  <a:pt x="2845927" y="7616140"/>
                </a:cubicBezTo>
                <a:cubicBezTo>
                  <a:pt x="2905863" y="7565503"/>
                  <a:pt x="2967224" y="7513662"/>
                  <a:pt x="3034294" y="7456998"/>
                </a:cubicBezTo>
                <a:cubicBezTo>
                  <a:pt x="3034534" y="7448598"/>
                  <a:pt x="3033170" y="7435404"/>
                  <a:pt x="3032222" y="7419808"/>
                </a:cubicBezTo>
                <a:cubicBezTo>
                  <a:pt x="3061533" y="7405293"/>
                  <a:pt x="3075866" y="7378838"/>
                  <a:pt x="3102917" y="7370330"/>
                </a:cubicBezTo>
                <a:cubicBezTo>
                  <a:pt x="3109395" y="7375103"/>
                  <a:pt x="3114864" y="7378682"/>
                  <a:pt x="3121342" y="7383456"/>
                </a:cubicBezTo>
                <a:cubicBezTo>
                  <a:pt x="3125926" y="7357039"/>
                  <a:pt x="3126759" y="7352236"/>
                  <a:pt x="3122187" y="7329456"/>
                </a:cubicBezTo>
                <a:cubicBezTo>
                  <a:pt x="3129322" y="7323428"/>
                  <a:pt x="3137883" y="7316194"/>
                  <a:pt x="3146446" y="7308960"/>
                </a:cubicBezTo>
                <a:cubicBezTo>
                  <a:pt x="3153757" y="7308931"/>
                  <a:pt x="3161070" y="7308901"/>
                  <a:pt x="3168382" y="7308873"/>
                </a:cubicBezTo>
                <a:cubicBezTo>
                  <a:pt x="3174091" y="7304050"/>
                  <a:pt x="3179799" y="7299227"/>
                  <a:pt x="3188361" y="7291994"/>
                </a:cubicBezTo>
                <a:cubicBezTo>
                  <a:pt x="3189131" y="7301590"/>
                  <a:pt x="3188892" y="7309991"/>
                  <a:pt x="3187225" y="7319597"/>
                </a:cubicBezTo>
                <a:cubicBezTo>
                  <a:pt x="3204880" y="7323125"/>
                  <a:pt x="3209641" y="7302708"/>
                  <a:pt x="3228546" y="7299033"/>
                </a:cubicBezTo>
                <a:cubicBezTo>
                  <a:pt x="3221890" y="7288260"/>
                  <a:pt x="3216838" y="7282281"/>
                  <a:pt x="3212203" y="7273899"/>
                </a:cubicBezTo>
                <a:cubicBezTo>
                  <a:pt x="3201203" y="7281144"/>
                  <a:pt x="3194069" y="7287171"/>
                  <a:pt x="3188361" y="7291994"/>
                </a:cubicBezTo>
                <a:cubicBezTo>
                  <a:pt x="3183309" y="7286014"/>
                  <a:pt x="3170529" y="7282466"/>
                  <a:pt x="3173622" y="7271655"/>
                </a:cubicBezTo>
                <a:cubicBezTo>
                  <a:pt x="3181351" y="7269224"/>
                  <a:pt x="3189080" y="7266793"/>
                  <a:pt x="3196809" y="7264361"/>
                </a:cubicBezTo>
                <a:cubicBezTo>
                  <a:pt x="3196632" y="7258363"/>
                  <a:pt x="3197465" y="7253560"/>
                  <a:pt x="3199725" y="7247552"/>
                </a:cubicBezTo>
                <a:cubicBezTo>
                  <a:pt x="3205610" y="7248728"/>
                  <a:pt x="3211912" y="7247503"/>
                  <a:pt x="3220651" y="7246268"/>
                </a:cubicBezTo>
                <a:cubicBezTo>
                  <a:pt x="3259180" y="7213716"/>
                  <a:pt x="3299137" y="7179959"/>
                  <a:pt x="3339094" y="7146202"/>
                </a:cubicBezTo>
                <a:cubicBezTo>
                  <a:pt x="3340521" y="7144996"/>
                  <a:pt x="3345395" y="7144977"/>
                  <a:pt x="3347833" y="7144967"/>
                </a:cubicBezTo>
                <a:cubicBezTo>
                  <a:pt x="3359603" y="7147320"/>
                  <a:pt x="3371196" y="7143674"/>
                  <a:pt x="3376133" y="7129255"/>
                </a:cubicBezTo>
                <a:cubicBezTo>
                  <a:pt x="3372925" y="7119669"/>
                  <a:pt x="3369301" y="7112483"/>
                  <a:pt x="3367520" y="7101692"/>
                </a:cubicBezTo>
                <a:cubicBezTo>
                  <a:pt x="3378873" y="7106446"/>
                  <a:pt x="3389216" y="7110004"/>
                  <a:pt x="3398132" y="7114769"/>
                </a:cubicBezTo>
                <a:cubicBezTo>
                  <a:pt x="3413829" y="7101507"/>
                  <a:pt x="3426673" y="7090656"/>
                  <a:pt x="3438506" y="7078610"/>
                </a:cubicBezTo>
                <a:cubicBezTo>
                  <a:pt x="3445400" y="7080982"/>
                  <a:pt x="3450276" y="7080962"/>
                  <a:pt x="3456161" y="7082138"/>
                </a:cubicBezTo>
                <a:cubicBezTo>
                  <a:pt x="3456640" y="7065338"/>
                  <a:pt x="3449088" y="7073768"/>
                  <a:pt x="3438506" y="7078610"/>
                </a:cubicBezTo>
                <a:cubicBezTo>
                  <a:pt x="3431850" y="7067837"/>
                  <a:pt x="3442672" y="7054594"/>
                  <a:pt x="3441308" y="7041401"/>
                </a:cubicBezTo>
                <a:cubicBezTo>
                  <a:pt x="3458432" y="7026934"/>
                  <a:pt x="3475556" y="7012466"/>
                  <a:pt x="3491254" y="6999204"/>
                </a:cubicBezTo>
                <a:cubicBezTo>
                  <a:pt x="3491493" y="6990804"/>
                  <a:pt x="3492327" y="6986001"/>
                  <a:pt x="3493159" y="6981198"/>
                </a:cubicBezTo>
                <a:cubicBezTo>
                  <a:pt x="3500472" y="6981168"/>
                  <a:pt x="3507784" y="6981140"/>
                  <a:pt x="3516523" y="6979904"/>
                </a:cubicBezTo>
                <a:cubicBezTo>
                  <a:pt x="3530616" y="6961850"/>
                  <a:pt x="3555230" y="6953352"/>
                  <a:pt x="3564448" y="6935316"/>
                </a:cubicBezTo>
                <a:cubicBezTo>
                  <a:pt x="3564094" y="6923319"/>
                  <a:pt x="3551313" y="6919770"/>
                  <a:pt x="3560709" y="6907733"/>
                </a:cubicBezTo>
                <a:cubicBezTo>
                  <a:pt x="3568615" y="6911301"/>
                  <a:pt x="3576521" y="6914869"/>
                  <a:pt x="3582999" y="6919643"/>
                </a:cubicBezTo>
                <a:cubicBezTo>
                  <a:pt x="3595426" y="6911194"/>
                  <a:pt x="3608863" y="6903941"/>
                  <a:pt x="3618435" y="6897903"/>
                </a:cubicBezTo>
                <a:cubicBezTo>
                  <a:pt x="3627351" y="6902668"/>
                  <a:pt x="3631392" y="6907451"/>
                  <a:pt x="3645777" y="6915792"/>
                </a:cubicBezTo>
                <a:cubicBezTo>
                  <a:pt x="3643225" y="6895404"/>
                  <a:pt x="3641861" y="6882210"/>
                  <a:pt x="3642101" y="6873810"/>
                </a:cubicBezTo>
                <a:cubicBezTo>
                  <a:pt x="3666360" y="6853315"/>
                  <a:pt x="3683901" y="6836446"/>
                  <a:pt x="3702035" y="6823174"/>
                </a:cubicBezTo>
                <a:cubicBezTo>
                  <a:pt x="3706317" y="6819557"/>
                  <a:pt x="3710181" y="6818342"/>
                  <a:pt x="3715472" y="6815921"/>
                </a:cubicBezTo>
                <a:cubicBezTo>
                  <a:pt x="3720347" y="6815902"/>
                  <a:pt x="3725222" y="6815882"/>
                  <a:pt x="3730097" y="6815862"/>
                </a:cubicBezTo>
                <a:cubicBezTo>
                  <a:pt x="3748648" y="6800190"/>
                  <a:pt x="3765772" y="6785723"/>
                  <a:pt x="3782896" y="6771255"/>
                </a:cubicBezTo>
                <a:cubicBezTo>
                  <a:pt x="3788781" y="6772431"/>
                  <a:pt x="3794666" y="6773607"/>
                  <a:pt x="3799541" y="6773588"/>
                </a:cubicBezTo>
                <a:cubicBezTo>
                  <a:pt x="3801031" y="6757984"/>
                  <a:pt x="3791042" y="6766422"/>
                  <a:pt x="3782896" y="6771255"/>
                </a:cubicBezTo>
                <a:cubicBezTo>
                  <a:pt x="3781292" y="6766461"/>
                  <a:pt x="3778261" y="6762874"/>
                  <a:pt x="3776240" y="6760482"/>
                </a:cubicBezTo>
                <a:cubicBezTo>
                  <a:pt x="3787240" y="6753239"/>
                  <a:pt x="3780585" y="6742466"/>
                  <a:pt x="3787126" y="6732841"/>
                </a:cubicBezTo>
                <a:cubicBezTo>
                  <a:pt x="3791584" y="6735222"/>
                  <a:pt x="3795031" y="6736409"/>
                  <a:pt x="3799489" y="6738791"/>
                </a:cubicBezTo>
                <a:cubicBezTo>
                  <a:pt x="3805374" y="6739968"/>
                  <a:pt x="3809833" y="6742349"/>
                  <a:pt x="3815301" y="6745927"/>
                </a:cubicBezTo>
                <a:cubicBezTo>
                  <a:pt x="3815540" y="6737527"/>
                  <a:pt x="3817801" y="6731518"/>
                  <a:pt x="3819051" y="6724313"/>
                </a:cubicBezTo>
                <a:cubicBezTo>
                  <a:pt x="3830467" y="6714669"/>
                  <a:pt x="3844737" y="6702612"/>
                  <a:pt x="3850445" y="6697790"/>
                </a:cubicBezTo>
                <a:cubicBezTo>
                  <a:pt x="3857227" y="6679764"/>
                  <a:pt x="3862341" y="6671345"/>
                  <a:pt x="3865017" y="6662934"/>
                </a:cubicBezTo>
                <a:cubicBezTo>
                  <a:pt x="3876195" y="6661690"/>
                  <a:pt x="3883506" y="6661660"/>
                  <a:pt x="3890819" y="6661632"/>
                </a:cubicBezTo>
                <a:cubicBezTo>
                  <a:pt x="3897954" y="6655604"/>
                  <a:pt x="3906516" y="6648370"/>
                  <a:pt x="3915078" y="6641136"/>
                </a:cubicBezTo>
                <a:cubicBezTo>
                  <a:pt x="3917338" y="6635128"/>
                  <a:pt x="3918588" y="6627922"/>
                  <a:pt x="3919838" y="6620718"/>
                </a:cubicBezTo>
                <a:cubicBezTo>
                  <a:pt x="3927150" y="6620689"/>
                  <a:pt x="3934463" y="6620660"/>
                  <a:pt x="3939337" y="6620641"/>
                </a:cubicBezTo>
                <a:cubicBezTo>
                  <a:pt x="3969304" y="6595322"/>
                  <a:pt x="3996417" y="6572415"/>
                  <a:pt x="4024957" y="6548303"/>
                </a:cubicBezTo>
                <a:cubicBezTo>
                  <a:pt x="4026208" y="6541099"/>
                  <a:pt x="4028469" y="6535091"/>
                  <a:pt x="4029302" y="6530287"/>
                </a:cubicBezTo>
                <a:cubicBezTo>
                  <a:pt x="4038041" y="6529052"/>
                  <a:pt x="4044343" y="6527827"/>
                  <a:pt x="4053082" y="6526592"/>
                </a:cubicBezTo>
                <a:cubicBezTo>
                  <a:pt x="4073061" y="6509714"/>
                  <a:pt x="4093038" y="6492835"/>
                  <a:pt x="4111590" y="6477162"/>
                </a:cubicBezTo>
                <a:cubicBezTo>
                  <a:pt x="4118902" y="6477133"/>
                  <a:pt x="4123776" y="6477113"/>
                  <a:pt x="4128651" y="6477094"/>
                </a:cubicBezTo>
                <a:cubicBezTo>
                  <a:pt x="4150056" y="6459010"/>
                  <a:pt x="4171462" y="6440925"/>
                  <a:pt x="4191440" y="6424046"/>
                </a:cubicBezTo>
                <a:cubicBezTo>
                  <a:pt x="4192690" y="6416842"/>
                  <a:pt x="4193523" y="6412039"/>
                  <a:pt x="4195784" y="6406031"/>
                </a:cubicBezTo>
                <a:cubicBezTo>
                  <a:pt x="4202919" y="6400002"/>
                  <a:pt x="4211481" y="6392769"/>
                  <a:pt x="4220043" y="6385535"/>
                </a:cubicBezTo>
                <a:cubicBezTo>
                  <a:pt x="4224918" y="6385515"/>
                  <a:pt x="4232230" y="6385487"/>
                  <a:pt x="4240969" y="6384251"/>
                </a:cubicBezTo>
                <a:cubicBezTo>
                  <a:pt x="4263801" y="6364962"/>
                  <a:pt x="4288060" y="6344467"/>
                  <a:pt x="4312320" y="6323971"/>
                </a:cubicBezTo>
                <a:cubicBezTo>
                  <a:pt x="4319632" y="6323942"/>
                  <a:pt x="4326944" y="6323912"/>
                  <a:pt x="4333246" y="6322687"/>
                </a:cubicBezTo>
                <a:cubicBezTo>
                  <a:pt x="4335506" y="6316678"/>
                  <a:pt x="4336756" y="6309474"/>
                  <a:pt x="4339016" y="6303465"/>
                </a:cubicBezTo>
                <a:cubicBezTo>
                  <a:pt x="4343891" y="6303446"/>
                  <a:pt x="4348766" y="6303427"/>
                  <a:pt x="4356078" y="6303398"/>
                </a:cubicBezTo>
                <a:cubicBezTo>
                  <a:pt x="4364640" y="6296163"/>
                  <a:pt x="4374628" y="6287724"/>
                  <a:pt x="4381764" y="6281696"/>
                </a:cubicBezTo>
                <a:cubicBezTo>
                  <a:pt x="4384441" y="6273285"/>
                  <a:pt x="4387118" y="6264876"/>
                  <a:pt x="4387535" y="6262474"/>
                </a:cubicBezTo>
                <a:cubicBezTo>
                  <a:pt x="4403232" y="6249213"/>
                  <a:pt x="4414648" y="6239568"/>
                  <a:pt x="4424637" y="6231129"/>
                </a:cubicBezTo>
                <a:cubicBezTo>
                  <a:pt x="4431949" y="6231100"/>
                  <a:pt x="4436824" y="6231080"/>
                  <a:pt x="4445147" y="6232247"/>
                </a:cubicBezTo>
                <a:cubicBezTo>
                  <a:pt x="4452521" y="6217818"/>
                  <a:pt x="4472854" y="6212936"/>
                  <a:pt x="4481062" y="6193705"/>
                </a:cubicBezTo>
                <a:cubicBezTo>
                  <a:pt x="4481895" y="6188902"/>
                  <a:pt x="4482728" y="6184099"/>
                  <a:pt x="4483562" y="6179296"/>
                </a:cubicBezTo>
                <a:cubicBezTo>
                  <a:pt x="4493905" y="6182855"/>
                  <a:pt x="4502821" y="6187619"/>
                  <a:pt x="4512154" y="6189981"/>
                </a:cubicBezTo>
                <a:cubicBezTo>
                  <a:pt x="4514832" y="6181571"/>
                  <a:pt x="4516081" y="6174367"/>
                  <a:pt x="4517331" y="6167162"/>
                </a:cubicBezTo>
                <a:cubicBezTo>
                  <a:pt x="4541589" y="6146667"/>
                  <a:pt x="4565849" y="6126171"/>
                  <a:pt x="4588682" y="6106882"/>
                </a:cubicBezTo>
                <a:cubicBezTo>
                  <a:pt x="4587557" y="6085288"/>
                  <a:pt x="4604858" y="6076818"/>
                  <a:pt x="4621149" y="6067154"/>
                </a:cubicBezTo>
                <a:cubicBezTo>
                  <a:pt x="4634763" y="6065901"/>
                  <a:pt x="4648554" y="6070645"/>
                  <a:pt x="4664428" y="6063382"/>
                </a:cubicBezTo>
                <a:cubicBezTo>
                  <a:pt x="4671802" y="6048953"/>
                  <a:pt x="4679176" y="6034525"/>
                  <a:pt x="4687979" y="6018891"/>
                </a:cubicBezTo>
                <a:cubicBezTo>
                  <a:pt x="4686615" y="6005697"/>
                  <a:pt x="4665096" y="6003383"/>
                  <a:pt x="4674731" y="5982946"/>
                </a:cubicBezTo>
                <a:cubicBezTo>
                  <a:pt x="4680199" y="5986524"/>
                  <a:pt x="4685667" y="5990102"/>
                  <a:pt x="4690125" y="5992484"/>
                </a:cubicBezTo>
                <a:cubicBezTo>
                  <a:pt x="4714499" y="5992386"/>
                  <a:pt x="4738873" y="5992290"/>
                  <a:pt x="4765683" y="5992182"/>
                </a:cubicBezTo>
                <a:cubicBezTo>
                  <a:pt x="4765569" y="5971785"/>
                  <a:pt x="4764860" y="5947789"/>
                  <a:pt x="4765996" y="5920186"/>
                </a:cubicBezTo>
                <a:cubicBezTo>
                  <a:pt x="4775924" y="5926146"/>
                  <a:pt x="4783829" y="5929715"/>
                  <a:pt x="4793755" y="5935674"/>
                </a:cubicBezTo>
                <a:cubicBezTo>
                  <a:pt x="4815161" y="5917590"/>
                  <a:pt x="4836566" y="5899506"/>
                  <a:pt x="4856544" y="5882627"/>
                </a:cubicBezTo>
                <a:cubicBezTo>
                  <a:pt x="4863857" y="5882598"/>
                  <a:pt x="4870158" y="5881373"/>
                  <a:pt x="4876042" y="5882549"/>
                </a:cubicBezTo>
                <a:cubicBezTo>
                  <a:pt x="4893167" y="5868082"/>
                  <a:pt x="4910292" y="5853614"/>
                  <a:pt x="4927416" y="5839146"/>
                </a:cubicBezTo>
                <a:cubicBezTo>
                  <a:pt x="4924208" y="5829561"/>
                  <a:pt x="4922010" y="5821170"/>
                  <a:pt x="4918801" y="5811583"/>
                </a:cubicBezTo>
                <a:cubicBezTo>
                  <a:pt x="4925521" y="5807957"/>
                  <a:pt x="4931229" y="5803134"/>
                  <a:pt x="4937947" y="5799507"/>
                </a:cubicBezTo>
                <a:cubicBezTo>
                  <a:pt x="4946862" y="5804272"/>
                  <a:pt x="4953342" y="5809045"/>
                  <a:pt x="4961247" y="5812613"/>
                </a:cubicBezTo>
                <a:cubicBezTo>
                  <a:pt x="4966956" y="5807791"/>
                  <a:pt x="4971237" y="5804174"/>
                  <a:pt x="4974091" y="5801763"/>
                </a:cubicBezTo>
                <a:cubicBezTo>
                  <a:pt x="4975757" y="5792156"/>
                  <a:pt x="4979862" y="5782541"/>
                  <a:pt x="4982539" y="5774131"/>
                </a:cubicBezTo>
                <a:cubicBezTo>
                  <a:pt x="4996569" y="5770476"/>
                  <a:pt x="5008162" y="5766829"/>
                  <a:pt x="5022193" y="5763173"/>
                </a:cubicBezTo>
                <a:cubicBezTo>
                  <a:pt x="5024276" y="5751166"/>
                  <a:pt x="5026360" y="5739158"/>
                  <a:pt x="5028860" y="5724749"/>
                </a:cubicBezTo>
                <a:cubicBezTo>
                  <a:pt x="5013996" y="5733208"/>
                  <a:pt x="5001569" y="5741657"/>
                  <a:pt x="4988132" y="5748911"/>
                </a:cubicBezTo>
                <a:cubicBezTo>
                  <a:pt x="4975769" y="5742961"/>
                  <a:pt x="4966259" y="5734600"/>
                  <a:pt x="4967749" y="5718994"/>
                </a:cubicBezTo>
                <a:cubicBezTo>
                  <a:pt x="4974050" y="5717769"/>
                  <a:pt x="4981362" y="5717740"/>
                  <a:pt x="4988675" y="5717711"/>
                </a:cubicBezTo>
                <a:cubicBezTo>
                  <a:pt x="4995810" y="5711683"/>
                  <a:pt x="5004372" y="5704449"/>
                  <a:pt x="5012934" y="5697215"/>
                </a:cubicBezTo>
                <a:cubicBezTo>
                  <a:pt x="5020245" y="5697186"/>
                  <a:pt x="5027557" y="5697157"/>
                  <a:pt x="5034870" y="5697127"/>
                </a:cubicBezTo>
                <a:cubicBezTo>
                  <a:pt x="5040401" y="5686307"/>
                  <a:pt x="5057879" y="5683836"/>
                  <a:pt x="5059368" y="5668231"/>
                </a:cubicBezTo>
                <a:cubicBezTo>
                  <a:pt x="5058182" y="5661037"/>
                  <a:pt x="5045401" y="5657488"/>
                  <a:pt x="5054797" y="5645451"/>
                </a:cubicBezTo>
                <a:cubicBezTo>
                  <a:pt x="5062703" y="5649019"/>
                  <a:pt x="5073046" y="5652578"/>
                  <a:pt x="5080951" y="5656146"/>
                </a:cubicBezTo>
                <a:cubicBezTo>
                  <a:pt x="5087733" y="5638120"/>
                  <a:pt x="5081316" y="5618947"/>
                  <a:pt x="5099451" y="5605676"/>
                </a:cubicBezTo>
                <a:cubicBezTo>
                  <a:pt x="5111638" y="5605628"/>
                  <a:pt x="5123231" y="5601981"/>
                  <a:pt x="5131730" y="5609147"/>
                </a:cubicBezTo>
                <a:cubicBezTo>
                  <a:pt x="5129887" y="5612754"/>
                  <a:pt x="5126616" y="5617567"/>
                  <a:pt x="5123762" y="5619978"/>
                </a:cubicBezTo>
                <a:cubicBezTo>
                  <a:pt x="5119064" y="5625996"/>
                  <a:pt x="5111929" y="5632024"/>
                  <a:pt x="5123283" y="5636778"/>
                </a:cubicBezTo>
                <a:cubicBezTo>
                  <a:pt x="5136126" y="5625928"/>
                  <a:pt x="5150396" y="5613872"/>
                  <a:pt x="5163239" y="5603021"/>
                </a:cubicBezTo>
                <a:cubicBezTo>
                  <a:pt x="5165499" y="5597013"/>
                  <a:pt x="5166749" y="5589808"/>
                  <a:pt x="5169010" y="5583799"/>
                </a:cubicBezTo>
                <a:cubicBezTo>
                  <a:pt x="5182207" y="5584946"/>
                  <a:pt x="5194394" y="5584898"/>
                  <a:pt x="5209018" y="5584839"/>
                </a:cubicBezTo>
                <a:cubicBezTo>
                  <a:pt x="5210268" y="5577635"/>
                  <a:pt x="5211518" y="5570430"/>
                  <a:pt x="5212768" y="5563226"/>
                </a:cubicBezTo>
                <a:cubicBezTo>
                  <a:pt x="5228464" y="5549964"/>
                  <a:pt x="5244162" y="5536702"/>
                  <a:pt x="5259859" y="5523440"/>
                </a:cubicBezTo>
                <a:cubicBezTo>
                  <a:pt x="5261287" y="5522235"/>
                  <a:pt x="5264733" y="5523421"/>
                  <a:pt x="5269609" y="5523402"/>
                </a:cubicBezTo>
                <a:cubicBezTo>
                  <a:pt x="5272640" y="5526989"/>
                  <a:pt x="5276681" y="5531773"/>
                  <a:pt x="5279295" y="5537762"/>
                </a:cubicBezTo>
                <a:cubicBezTo>
                  <a:pt x="5280899" y="5542555"/>
                  <a:pt x="5278639" y="5548564"/>
                  <a:pt x="5278399" y="5556964"/>
                </a:cubicBezTo>
                <a:cubicBezTo>
                  <a:pt x="5311397" y="5535234"/>
                  <a:pt x="5311397" y="5535234"/>
                  <a:pt x="5312054" y="5524432"/>
                </a:cubicBezTo>
                <a:cubicBezTo>
                  <a:pt x="5301711" y="5520873"/>
                  <a:pt x="5279535" y="5529362"/>
                  <a:pt x="5283702" y="5505347"/>
                </a:cubicBezTo>
                <a:cubicBezTo>
                  <a:pt x="5296305" y="5502896"/>
                  <a:pt x="5306472" y="5500455"/>
                  <a:pt x="5316638" y="5498015"/>
                </a:cubicBezTo>
                <a:cubicBezTo>
                  <a:pt x="5318721" y="5486007"/>
                  <a:pt x="5319971" y="5478803"/>
                  <a:pt x="5321638" y="5469197"/>
                </a:cubicBezTo>
                <a:cubicBezTo>
                  <a:pt x="5333585" y="5477550"/>
                  <a:pt x="5344522" y="5484705"/>
                  <a:pt x="5354030" y="5493066"/>
                </a:cubicBezTo>
                <a:cubicBezTo>
                  <a:pt x="5363781" y="5493027"/>
                  <a:pt x="5372520" y="5491792"/>
                  <a:pt x="5382269" y="5491753"/>
                </a:cubicBezTo>
                <a:cubicBezTo>
                  <a:pt x="5391248" y="5482118"/>
                  <a:pt x="5406706" y="5477257"/>
                  <a:pt x="5406768" y="5462858"/>
                </a:cubicBezTo>
                <a:cubicBezTo>
                  <a:pt x="5389530" y="5456927"/>
                  <a:pt x="5371217" y="5464200"/>
                  <a:pt x="5354334" y="5470267"/>
                </a:cubicBezTo>
                <a:cubicBezTo>
                  <a:pt x="5357251" y="5453456"/>
                  <a:pt x="5358740" y="5437852"/>
                  <a:pt x="5361063" y="5417444"/>
                </a:cubicBezTo>
                <a:cubicBezTo>
                  <a:pt x="5370990" y="5423404"/>
                  <a:pt x="5378895" y="5426972"/>
                  <a:pt x="5387812" y="5431736"/>
                </a:cubicBezTo>
                <a:cubicBezTo>
                  <a:pt x="5409217" y="5413651"/>
                  <a:pt x="5430622" y="5395567"/>
                  <a:pt x="5454881" y="5375071"/>
                </a:cubicBezTo>
                <a:cubicBezTo>
                  <a:pt x="5441987" y="5351125"/>
                  <a:pt x="5482411" y="5349764"/>
                  <a:pt x="5480693" y="5324573"/>
                </a:cubicBezTo>
                <a:cubicBezTo>
                  <a:pt x="5472788" y="5321003"/>
                  <a:pt x="5462444" y="5317445"/>
                  <a:pt x="5450674" y="5315093"/>
                </a:cubicBezTo>
                <a:cubicBezTo>
                  <a:pt x="5454778" y="5305477"/>
                  <a:pt x="5458466" y="5298263"/>
                  <a:pt x="5472080" y="5297008"/>
                </a:cubicBezTo>
                <a:cubicBezTo>
                  <a:pt x="5479569" y="5302978"/>
                  <a:pt x="5488068" y="5310143"/>
                  <a:pt x="5496568" y="5317310"/>
                </a:cubicBezTo>
                <a:cubicBezTo>
                  <a:pt x="5497577" y="5318505"/>
                  <a:pt x="5501442" y="5317290"/>
                  <a:pt x="5503879" y="5317279"/>
                </a:cubicBezTo>
                <a:cubicBezTo>
                  <a:pt x="5515712" y="5305234"/>
                  <a:pt x="5534024" y="5297961"/>
                  <a:pt x="5541815" y="5281131"/>
                </a:cubicBezTo>
                <a:cubicBezTo>
                  <a:pt x="5541638" y="5275132"/>
                  <a:pt x="5542472" y="5270329"/>
                  <a:pt x="5544316" y="5266722"/>
                </a:cubicBezTo>
                <a:cubicBezTo>
                  <a:pt x="5552877" y="5259488"/>
                  <a:pt x="5561440" y="5252254"/>
                  <a:pt x="5568575" y="5246227"/>
                </a:cubicBezTo>
                <a:cubicBezTo>
                  <a:pt x="5575887" y="5246197"/>
                  <a:pt x="5583199" y="5246168"/>
                  <a:pt x="5589501" y="5244943"/>
                </a:cubicBezTo>
                <a:cubicBezTo>
                  <a:pt x="5607218" y="5234073"/>
                  <a:pt x="5610135" y="5217262"/>
                  <a:pt x="5620958" y="5204020"/>
                </a:cubicBezTo>
                <a:cubicBezTo>
                  <a:pt x="5630770" y="5189582"/>
                  <a:pt x="5640165" y="5177545"/>
                  <a:pt x="5647540" y="5163117"/>
                </a:cubicBezTo>
                <a:cubicBezTo>
                  <a:pt x="5664603" y="5163049"/>
                  <a:pt x="5662872" y="5187054"/>
                  <a:pt x="5680350" y="5184584"/>
                </a:cubicBezTo>
                <a:cubicBezTo>
                  <a:pt x="5699255" y="5180909"/>
                  <a:pt x="5700797" y="5200101"/>
                  <a:pt x="5705255" y="5202483"/>
                </a:cubicBezTo>
                <a:cubicBezTo>
                  <a:pt x="5723326" y="5203611"/>
                  <a:pt x="5732659" y="5205973"/>
                  <a:pt x="5742409" y="5205934"/>
                </a:cubicBezTo>
                <a:cubicBezTo>
                  <a:pt x="5743065" y="5195132"/>
                  <a:pt x="5744732" y="5185526"/>
                  <a:pt x="5747825" y="5174716"/>
                </a:cubicBezTo>
                <a:cubicBezTo>
                  <a:pt x="5741764" y="5167540"/>
                  <a:pt x="5736712" y="5161561"/>
                  <a:pt x="5730650" y="5154385"/>
                </a:cubicBezTo>
                <a:cubicBezTo>
                  <a:pt x="5723338" y="5154414"/>
                  <a:pt x="5716026" y="5154444"/>
                  <a:pt x="5710141" y="5153267"/>
                </a:cubicBezTo>
                <a:cubicBezTo>
                  <a:pt x="5708776" y="5140074"/>
                  <a:pt x="5707412" y="5126880"/>
                  <a:pt x="5705037" y="5112491"/>
                </a:cubicBezTo>
                <a:cubicBezTo>
                  <a:pt x="5712349" y="5112461"/>
                  <a:pt x="5719662" y="5112432"/>
                  <a:pt x="5725963" y="5111207"/>
                </a:cubicBezTo>
                <a:cubicBezTo>
                  <a:pt x="5726797" y="5106405"/>
                  <a:pt x="5728047" y="5099200"/>
                  <a:pt x="5730724" y="5090789"/>
                </a:cubicBezTo>
                <a:cubicBezTo>
                  <a:pt x="5739640" y="5095553"/>
                  <a:pt x="5749983" y="5099112"/>
                  <a:pt x="5759316" y="5101474"/>
                </a:cubicBezTo>
                <a:cubicBezTo>
                  <a:pt x="5765024" y="5096651"/>
                  <a:pt x="5767878" y="5094241"/>
                  <a:pt x="5771148" y="5089428"/>
                </a:cubicBezTo>
                <a:cubicBezTo>
                  <a:pt x="5771628" y="5072627"/>
                  <a:pt x="5754629" y="5058296"/>
                  <a:pt x="5775024" y="5039016"/>
                </a:cubicBezTo>
                <a:cubicBezTo>
                  <a:pt x="5784534" y="5047378"/>
                  <a:pt x="5794044" y="5055739"/>
                  <a:pt x="5805991" y="5064091"/>
                </a:cubicBezTo>
                <a:cubicBezTo>
                  <a:pt x="5807657" y="5054485"/>
                  <a:pt x="5808907" y="5047279"/>
                  <a:pt x="5811168" y="5041271"/>
                </a:cubicBezTo>
                <a:cubicBezTo>
                  <a:pt x="5819730" y="5034037"/>
                  <a:pt x="5826865" y="5028009"/>
                  <a:pt x="5841135" y="5015953"/>
                </a:cubicBezTo>
                <a:cubicBezTo>
                  <a:pt x="5849458" y="5017119"/>
                  <a:pt x="5863665" y="5019463"/>
                  <a:pt x="5874425" y="5020621"/>
                </a:cubicBezTo>
                <a:cubicBezTo>
                  <a:pt x="5890122" y="5007358"/>
                  <a:pt x="5901538" y="4997714"/>
                  <a:pt x="5920088" y="4982040"/>
                </a:cubicBezTo>
                <a:cubicBezTo>
                  <a:pt x="5919319" y="4972444"/>
                  <a:pt x="5917954" y="4959251"/>
                  <a:pt x="5918194" y="4950851"/>
                </a:cubicBezTo>
                <a:cubicBezTo>
                  <a:pt x="5937579" y="4930374"/>
                  <a:pt x="5944234" y="4941147"/>
                  <a:pt x="5952734" y="4948312"/>
                </a:cubicBezTo>
                <a:cubicBezTo>
                  <a:pt x="5953744" y="4949508"/>
                  <a:pt x="5957608" y="4948292"/>
                  <a:pt x="5963493" y="4949469"/>
                </a:cubicBezTo>
                <a:cubicBezTo>
                  <a:pt x="5972295" y="4933835"/>
                  <a:pt x="5993638" y="4930150"/>
                  <a:pt x="5999408" y="4910928"/>
                </a:cubicBezTo>
                <a:cubicBezTo>
                  <a:pt x="6000242" y="4906125"/>
                  <a:pt x="6001075" y="4901322"/>
                  <a:pt x="6001909" y="4896519"/>
                </a:cubicBezTo>
                <a:cubicBezTo>
                  <a:pt x="6026168" y="4876024"/>
                  <a:pt x="6050427" y="4855529"/>
                  <a:pt x="6074687" y="4835032"/>
                </a:cubicBezTo>
                <a:cubicBezTo>
                  <a:pt x="6075937" y="4827829"/>
                  <a:pt x="6077187" y="4820624"/>
                  <a:pt x="6079447" y="4814615"/>
                </a:cubicBezTo>
                <a:cubicBezTo>
                  <a:pt x="6083728" y="4810999"/>
                  <a:pt x="6088009" y="4807382"/>
                  <a:pt x="6090863" y="4804971"/>
                </a:cubicBezTo>
                <a:cubicBezTo>
                  <a:pt x="6101206" y="4808528"/>
                  <a:pt x="6110539" y="4810891"/>
                  <a:pt x="6118446" y="4814459"/>
                </a:cubicBezTo>
                <a:cubicBezTo>
                  <a:pt x="6136756" y="4807187"/>
                  <a:pt x="6130934" y="4791611"/>
                  <a:pt x="6143600" y="4774761"/>
                </a:cubicBezTo>
                <a:cubicBezTo>
                  <a:pt x="6146277" y="4766352"/>
                  <a:pt x="6172078" y="4765048"/>
                  <a:pt x="6173391" y="4743444"/>
                </a:cubicBezTo>
                <a:cubicBezTo>
                  <a:pt x="6170360" y="4739857"/>
                  <a:pt x="6167330" y="4736270"/>
                  <a:pt x="6163287" y="4731486"/>
                </a:cubicBezTo>
                <a:cubicBezTo>
                  <a:pt x="6167985" y="4725468"/>
                  <a:pt x="6171255" y="4720655"/>
                  <a:pt x="6174943" y="4713441"/>
                </a:cubicBezTo>
                <a:cubicBezTo>
                  <a:pt x="6197713" y="4708550"/>
                  <a:pt x="6218992" y="4719264"/>
                  <a:pt x="6242241" y="4697573"/>
                </a:cubicBezTo>
                <a:cubicBezTo>
                  <a:pt x="6245449" y="4707160"/>
                  <a:pt x="6249074" y="4714344"/>
                  <a:pt x="6251688" y="4720333"/>
                </a:cubicBezTo>
                <a:cubicBezTo>
                  <a:pt x="6245147" y="4729959"/>
                  <a:pt x="6231116" y="4733615"/>
                  <a:pt x="6242647" y="4744367"/>
                </a:cubicBezTo>
                <a:cubicBezTo>
                  <a:pt x="6260364" y="4733498"/>
                  <a:pt x="6275645" y="4722638"/>
                  <a:pt x="6286291" y="4703397"/>
                </a:cubicBezTo>
                <a:cubicBezTo>
                  <a:pt x="6272083" y="4701054"/>
                  <a:pt x="6252761" y="4707130"/>
                  <a:pt x="6257345" y="4680714"/>
                </a:cubicBezTo>
                <a:cubicBezTo>
                  <a:pt x="6308718" y="4637312"/>
                  <a:pt x="6362944" y="4591498"/>
                  <a:pt x="6415743" y="4546890"/>
                </a:cubicBezTo>
                <a:cubicBezTo>
                  <a:pt x="6417234" y="4531286"/>
                  <a:pt x="6418307" y="4518082"/>
                  <a:pt x="6439233" y="4516798"/>
                </a:cubicBezTo>
                <a:cubicBezTo>
                  <a:pt x="6445295" y="4523974"/>
                  <a:pt x="6451358" y="4531149"/>
                  <a:pt x="6458429" y="4539520"/>
                </a:cubicBezTo>
                <a:cubicBezTo>
                  <a:pt x="6457179" y="4546724"/>
                  <a:pt x="6457356" y="4552723"/>
                  <a:pt x="6456106" y="4559928"/>
                </a:cubicBezTo>
                <a:cubicBezTo>
                  <a:pt x="6476854" y="4552646"/>
                  <a:pt x="6495166" y="4545373"/>
                  <a:pt x="6509613" y="4539316"/>
                </a:cubicBezTo>
                <a:cubicBezTo>
                  <a:pt x="6512707" y="4528505"/>
                  <a:pt x="6514967" y="4522496"/>
                  <a:pt x="6514790" y="4516497"/>
                </a:cubicBezTo>
                <a:cubicBezTo>
                  <a:pt x="6528050" y="4503244"/>
                  <a:pt x="6549810" y="4497157"/>
                  <a:pt x="6552133" y="4476749"/>
                </a:cubicBezTo>
                <a:cubicBezTo>
                  <a:pt x="6548091" y="4471967"/>
                  <a:pt x="6543040" y="4465987"/>
                  <a:pt x="6538998" y="4461204"/>
                </a:cubicBezTo>
                <a:cubicBezTo>
                  <a:pt x="6544706" y="4456381"/>
                  <a:pt x="6551841" y="4450353"/>
                  <a:pt x="6557550" y="4445531"/>
                </a:cubicBezTo>
                <a:cubicBezTo>
                  <a:pt x="6558800" y="4438327"/>
                  <a:pt x="6560049" y="4431122"/>
                  <a:pt x="6561301" y="4423917"/>
                </a:cubicBezTo>
                <a:cubicBezTo>
                  <a:pt x="6574143" y="4413067"/>
                  <a:pt x="6585559" y="4403422"/>
                  <a:pt x="6596975" y="4393777"/>
                </a:cubicBezTo>
                <a:cubicBezTo>
                  <a:pt x="6598642" y="4384171"/>
                  <a:pt x="6600308" y="4374566"/>
                  <a:pt x="6600725" y="4372163"/>
                </a:cubicBezTo>
                <a:cubicBezTo>
                  <a:pt x="6602215" y="4356559"/>
                  <a:pt x="6586998" y="4353020"/>
                  <a:pt x="6598413" y="4343375"/>
                </a:cubicBezTo>
                <a:cubicBezTo>
                  <a:pt x="6613037" y="4343316"/>
                  <a:pt x="6614401" y="4356510"/>
                  <a:pt x="6622901" y="4363676"/>
                </a:cubicBezTo>
                <a:cubicBezTo>
                  <a:pt x="6637942" y="4361216"/>
                  <a:pt x="6651316" y="4368361"/>
                  <a:pt x="6664576" y="4355109"/>
                </a:cubicBezTo>
                <a:cubicBezTo>
                  <a:pt x="6669931" y="4338289"/>
                  <a:pt x="6672847" y="4321479"/>
                  <a:pt x="6675763" y="4304668"/>
                </a:cubicBezTo>
                <a:cubicBezTo>
                  <a:pt x="6689376" y="4303414"/>
                  <a:pt x="6698116" y="4302179"/>
                  <a:pt x="6706857" y="4300944"/>
                </a:cubicBezTo>
                <a:cubicBezTo>
                  <a:pt x="6706918" y="4286545"/>
                  <a:pt x="6714470" y="4278115"/>
                  <a:pt x="6723449" y="4268481"/>
                </a:cubicBezTo>
                <a:cubicBezTo>
                  <a:pt x="6733854" y="4257640"/>
                  <a:pt x="6739802" y="4244417"/>
                  <a:pt x="6747177" y="4229988"/>
                </a:cubicBezTo>
                <a:cubicBezTo>
                  <a:pt x="6766677" y="4229910"/>
                  <a:pt x="6786175" y="4229832"/>
                  <a:pt x="6805673" y="4229754"/>
                </a:cubicBezTo>
                <a:cubicBezTo>
                  <a:pt x="6817861" y="4229706"/>
                  <a:pt x="6822559" y="4223687"/>
                  <a:pt x="6825652" y="4212876"/>
                </a:cubicBezTo>
                <a:cubicBezTo>
                  <a:pt x="6820007" y="4203298"/>
                  <a:pt x="6814361" y="4193722"/>
                  <a:pt x="6807705" y="4182950"/>
                </a:cubicBezTo>
                <a:cubicBezTo>
                  <a:pt x="6813413" y="4178128"/>
                  <a:pt x="6818111" y="4172109"/>
                  <a:pt x="6822392" y="4168492"/>
                </a:cubicBezTo>
                <a:cubicBezTo>
                  <a:pt x="6856869" y="4180353"/>
                  <a:pt x="6856869" y="4180353"/>
                  <a:pt x="6895513" y="4168199"/>
                </a:cubicBezTo>
                <a:cubicBezTo>
                  <a:pt x="6903596" y="4177766"/>
                  <a:pt x="6910668" y="4186138"/>
                  <a:pt x="6918157" y="4192108"/>
                </a:cubicBezTo>
                <a:cubicBezTo>
                  <a:pt x="6914470" y="4199322"/>
                  <a:pt x="6913636" y="4204125"/>
                  <a:pt x="6911376" y="4210133"/>
                </a:cubicBezTo>
                <a:cubicBezTo>
                  <a:pt x="6928854" y="4207664"/>
                  <a:pt x="6920355" y="4200498"/>
                  <a:pt x="6918157" y="4192108"/>
                </a:cubicBezTo>
                <a:cubicBezTo>
                  <a:pt x="6939739" y="4180022"/>
                  <a:pt x="6957749" y="4195548"/>
                  <a:pt x="6974393" y="4197882"/>
                </a:cubicBezTo>
                <a:cubicBezTo>
                  <a:pt x="6987237" y="4187032"/>
                  <a:pt x="6998652" y="4177387"/>
                  <a:pt x="7010068" y="4167742"/>
                </a:cubicBezTo>
                <a:cubicBezTo>
                  <a:pt x="7008704" y="4154548"/>
                  <a:pt x="7007340" y="4141355"/>
                  <a:pt x="7003955" y="4125769"/>
                </a:cubicBezTo>
                <a:cubicBezTo>
                  <a:pt x="6988914" y="4128229"/>
                  <a:pt x="6971019" y="4133101"/>
                  <a:pt x="6953541" y="4135570"/>
                </a:cubicBezTo>
                <a:cubicBezTo>
                  <a:pt x="6959489" y="4122348"/>
                  <a:pt x="6966448" y="4110320"/>
                  <a:pt x="6974239" y="4093490"/>
                </a:cubicBezTo>
                <a:cubicBezTo>
                  <a:pt x="6978520" y="4089874"/>
                  <a:pt x="6987083" y="4082640"/>
                  <a:pt x="6991363" y="4079023"/>
                </a:cubicBezTo>
                <a:cubicBezTo>
                  <a:pt x="7009258" y="4074152"/>
                  <a:pt x="7023288" y="4070496"/>
                  <a:pt x="7036308" y="4065644"/>
                </a:cubicBezTo>
                <a:cubicBezTo>
                  <a:pt x="7036246" y="4080044"/>
                  <a:pt x="7033745" y="4094453"/>
                  <a:pt x="7032673" y="4107656"/>
                </a:cubicBezTo>
                <a:cubicBezTo>
                  <a:pt x="7032256" y="4110057"/>
                  <a:pt x="7035703" y="4111243"/>
                  <a:pt x="7035703" y="4111243"/>
                </a:cubicBezTo>
                <a:cubicBezTo>
                  <a:pt x="7045807" y="4123202"/>
                  <a:pt x="7051930" y="4115978"/>
                  <a:pt x="7066202" y="4103922"/>
                </a:cubicBezTo>
                <a:cubicBezTo>
                  <a:pt x="7068108" y="4085915"/>
                  <a:pt x="7071265" y="4060705"/>
                  <a:pt x="7074004" y="4037896"/>
                </a:cubicBezTo>
                <a:cubicBezTo>
                  <a:pt x="7074421" y="4035494"/>
                  <a:pt x="7072401" y="4033102"/>
                  <a:pt x="7071390" y="4031906"/>
                </a:cubicBezTo>
                <a:cubicBezTo>
                  <a:pt x="7065151" y="4018733"/>
                  <a:pt x="7046486" y="4014007"/>
                  <a:pt x="7051246" y="3993590"/>
                </a:cubicBezTo>
                <a:cubicBezTo>
                  <a:pt x="7058558" y="3993560"/>
                  <a:pt x="7064860" y="3992336"/>
                  <a:pt x="7072172" y="3992306"/>
                </a:cubicBezTo>
                <a:cubicBezTo>
                  <a:pt x="7070037" y="3969516"/>
                  <a:pt x="7087338" y="3961048"/>
                  <a:pt x="7107493" y="3950168"/>
                </a:cubicBezTo>
                <a:cubicBezTo>
                  <a:pt x="7112482" y="3970547"/>
                  <a:pt x="7133648" y="3960863"/>
                  <a:pt x="7150294" y="3963196"/>
                </a:cubicBezTo>
                <a:cubicBezTo>
                  <a:pt x="7148512" y="3952404"/>
                  <a:pt x="7145304" y="3942818"/>
                  <a:pt x="7143523" y="3932025"/>
                </a:cubicBezTo>
                <a:cubicBezTo>
                  <a:pt x="7152085" y="3924791"/>
                  <a:pt x="7160647" y="3917558"/>
                  <a:pt x="7169209" y="3910324"/>
                </a:cubicBezTo>
                <a:cubicBezTo>
                  <a:pt x="7178125" y="3915088"/>
                  <a:pt x="7188468" y="3918647"/>
                  <a:pt x="7197801" y="3921010"/>
                </a:cubicBezTo>
                <a:cubicBezTo>
                  <a:pt x="7210644" y="3910159"/>
                  <a:pt x="7222060" y="3900514"/>
                  <a:pt x="7239184" y="3886046"/>
                </a:cubicBezTo>
                <a:cubicBezTo>
                  <a:pt x="7239841" y="3875245"/>
                  <a:pt x="7238476" y="3862051"/>
                  <a:pt x="7238539" y="3847652"/>
                </a:cubicBezTo>
                <a:cubicBezTo>
                  <a:pt x="7250132" y="3844006"/>
                  <a:pt x="7257861" y="3841575"/>
                  <a:pt x="7261726" y="3840359"/>
                </a:cubicBezTo>
                <a:cubicBezTo>
                  <a:pt x="7268204" y="3845133"/>
                  <a:pt x="7273673" y="3848711"/>
                  <a:pt x="7278131" y="3851094"/>
                </a:cubicBezTo>
                <a:cubicBezTo>
                  <a:pt x="7304765" y="3844987"/>
                  <a:pt x="7288839" y="3817453"/>
                  <a:pt x="7311015" y="3808964"/>
                </a:cubicBezTo>
                <a:cubicBezTo>
                  <a:pt x="7316899" y="3810141"/>
                  <a:pt x="7324212" y="3810112"/>
                  <a:pt x="7331524" y="3810082"/>
                </a:cubicBezTo>
                <a:cubicBezTo>
                  <a:pt x="7340086" y="3802849"/>
                  <a:pt x="7347221" y="3796821"/>
                  <a:pt x="7360063" y="3785970"/>
                </a:cubicBezTo>
                <a:cubicBezTo>
                  <a:pt x="7369814" y="3785931"/>
                  <a:pt x="7384021" y="3788274"/>
                  <a:pt x="7396802" y="3791823"/>
                </a:cubicBezTo>
                <a:cubicBezTo>
                  <a:pt x="7398468" y="3782217"/>
                  <a:pt x="7399302" y="3777414"/>
                  <a:pt x="7400968" y="3767808"/>
                </a:cubicBezTo>
                <a:cubicBezTo>
                  <a:pt x="7412383" y="3758163"/>
                  <a:pt x="7426655" y="3746107"/>
                  <a:pt x="7439498" y="3735256"/>
                </a:cubicBezTo>
                <a:cubicBezTo>
                  <a:pt x="7443779" y="3731640"/>
                  <a:pt x="7448060" y="3728023"/>
                  <a:pt x="7452936" y="3728003"/>
                </a:cubicBezTo>
                <a:cubicBezTo>
                  <a:pt x="7456799" y="3726788"/>
                  <a:pt x="7459830" y="3730375"/>
                  <a:pt x="7464288" y="3732757"/>
                </a:cubicBezTo>
                <a:cubicBezTo>
                  <a:pt x="7462444" y="3736364"/>
                  <a:pt x="7456320" y="3743589"/>
                  <a:pt x="7457330" y="3744784"/>
                </a:cubicBezTo>
                <a:cubicBezTo>
                  <a:pt x="7462975" y="3754361"/>
                  <a:pt x="7469037" y="3761536"/>
                  <a:pt x="7477714" y="3774700"/>
                </a:cubicBezTo>
                <a:cubicBezTo>
                  <a:pt x="7494837" y="3760233"/>
                  <a:pt x="7507682" y="3749383"/>
                  <a:pt x="7520941" y="3736131"/>
                </a:cubicBezTo>
                <a:cubicBezTo>
                  <a:pt x="7522191" y="3728926"/>
                  <a:pt x="7524451" y="3722917"/>
                  <a:pt x="7525702" y="3715714"/>
                </a:cubicBezTo>
                <a:cubicBezTo>
                  <a:pt x="7562804" y="3684367"/>
                  <a:pt x="7598479" y="3654227"/>
                  <a:pt x="7634155" y="3624086"/>
                </a:cubicBezTo>
                <a:cubicBezTo>
                  <a:pt x="7635405" y="3616882"/>
                  <a:pt x="7636238" y="3612079"/>
                  <a:pt x="7637488" y="3604874"/>
                </a:cubicBezTo>
                <a:cubicBezTo>
                  <a:pt x="7677445" y="3571117"/>
                  <a:pt x="7718828" y="3536154"/>
                  <a:pt x="7758785" y="3502397"/>
                </a:cubicBezTo>
                <a:cubicBezTo>
                  <a:pt x="7760451" y="3492791"/>
                  <a:pt x="7761285" y="3487988"/>
                  <a:pt x="7761524" y="3479588"/>
                </a:cubicBezTo>
                <a:cubicBezTo>
                  <a:pt x="7801481" y="3445830"/>
                  <a:pt x="7844292" y="3409661"/>
                  <a:pt x="7882820" y="3377110"/>
                </a:cubicBezTo>
                <a:cubicBezTo>
                  <a:pt x="7885498" y="3368701"/>
                  <a:pt x="7886331" y="3363897"/>
                  <a:pt x="7886155" y="3357898"/>
                </a:cubicBezTo>
                <a:cubicBezTo>
                  <a:pt x="7926111" y="3324141"/>
                  <a:pt x="7967495" y="3289179"/>
                  <a:pt x="8007451" y="3255420"/>
                </a:cubicBezTo>
                <a:cubicBezTo>
                  <a:pt x="8026117" y="3260145"/>
                  <a:pt x="8044074" y="3240875"/>
                  <a:pt x="8061729" y="3244404"/>
                </a:cubicBezTo>
                <a:cubicBezTo>
                  <a:pt x="8062979" y="3237200"/>
                  <a:pt x="8065240" y="3231192"/>
                  <a:pt x="8067500" y="3225182"/>
                </a:cubicBezTo>
                <a:cubicBezTo>
                  <a:pt x="8076239" y="3223948"/>
                  <a:pt x="8082541" y="3222724"/>
                  <a:pt x="8087415" y="3222704"/>
                </a:cubicBezTo>
                <a:cubicBezTo>
                  <a:pt x="8103706" y="3213040"/>
                  <a:pt x="8113341" y="3192602"/>
                  <a:pt x="8133850" y="3193720"/>
                </a:cubicBezTo>
                <a:cubicBezTo>
                  <a:pt x="8136882" y="3197308"/>
                  <a:pt x="8139913" y="3200895"/>
                  <a:pt x="8142944" y="3204483"/>
                </a:cubicBezTo>
                <a:cubicBezTo>
                  <a:pt x="8137413" y="3215305"/>
                  <a:pt x="8131881" y="3226125"/>
                  <a:pt x="8126350" y="3236947"/>
                </a:cubicBezTo>
                <a:cubicBezTo>
                  <a:pt x="8132829" y="3241721"/>
                  <a:pt x="8138714" y="3242897"/>
                  <a:pt x="8144183" y="3246474"/>
                </a:cubicBezTo>
                <a:cubicBezTo>
                  <a:pt x="8154172" y="3238036"/>
                  <a:pt x="8164161" y="3229597"/>
                  <a:pt x="8176587" y="3221147"/>
                </a:cubicBezTo>
                <a:cubicBezTo>
                  <a:pt x="8182649" y="3228323"/>
                  <a:pt x="8186690" y="3233106"/>
                  <a:pt x="8189722" y="3236694"/>
                </a:cubicBezTo>
                <a:cubicBezTo>
                  <a:pt x="8173785" y="3258356"/>
                  <a:pt x="8171638" y="3284762"/>
                  <a:pt x="8147202" y="3299259"/>
                </a:cubicBezTo>
                <a:cubicBezTo>
                  <a:pt x="8146483" y="3324460"/>
                  <a:pt x="8121213" y="3343759"/>
                  <a:pt x="8116213" y="3372578"/>
                </a:cubicBezTo>
                <a:cubicBezTo>
                  <a:pt x="8130067" y="3362923"/>
                  <a:pt x="8142077" y="3356876"/>
                  <a:pt x="8154503" y="3348426"/>
                </a:cubicBezTo>
                <a:cubicBezTo>
                  <a:pt x="8169898" y="3357964"/>
                  <a:pt x="8180783" y="3330323"/>
                  <a:pt x="8194751" y="3341066"/>
                </a:cubicBezTo>
                <a:cubicBezTo>
                  <a:pt x="8208718" y="3351810"/>
                  <a:pt x="8197479" y="3367454"/>
                  <a:pt x="8194979" y="3381862"/>
                </a:cubicBezTo>
                <a:cubicBezTo>
                  <a:pt x="8183563" y="3391507"/>
                  <a:pt x="8172148" y="3401152"/>
                  <a:pt x="8160731" y="3410797"/>
                </a:cubicBezTo>
                <a:cubicBezTo>
                  <a:pt x="8159064" y="3420403"/>
                  <a:pt x="8156803" y="3426411"/>
                  <a:pt x="8155971" y="3431214"/>
                </a:cubicBezTo>
                <a:cubicBezTo>
                  <a:pt x="8142294" y="3446868"/>
                  <a:pt x="8121962" y="3451749"/>
                  <a:pt x="8119639" y="3472156"/>
                </a:cubicBezTo>
                <a:cubicBezTo>
                  <a:pt x="8129388" y="3472118"/>
                  <a:pt x="8139137" y="3472079"/>
                  <a:pt x="8148887" y="3472040"/>
                </a:cubicBezTo>
                <a:cubicBezTo>
                  <a:pt x="8151147" y="3466031"/>
                  <a:pt x="8152397" y="3458827"/>
                  <a:pt x="8154658" y="3452817"/>
                </a:cubicBezTo>
                <a:cubicBezTo>
                  <a:pt x="8163220" y="3445585"/>
                  <a:pt x="8171605" y="3432352"/>
                  <a:pt x="8192531" y="3431068"/>
                </a:cubicBezTo>
                <a:cubicBezTo>
                  <a:pt x="8186999" y="3441890"/>
                  <a:pt x="8183905" y="3452701"/>
                  <a:pt x="8178968" y="3467120"/>
                </a:cubicBezTo>
                <a:cubicBezTo>
                  <a:pt x="8170407" y="3474353"/>
                  <a:pt x="8158990" y="3483998"/>
                  <a:pt x="8146148" y="3494849"/>
                </a:cubicBezTo>
                <a:cubicBezTo>
                  <a:pt x="8149115" y="3512836"/>
                  <a:pt x="8133241" y="3520099"/>
                  <a:pt x="8123846" y="3532136"/>
                </a:cubicBezTo>
                <a:cubicBezTo>
                  <a:pt x="8113023" y="3545378"/>
                  <a:pt x="8109095" y="3560992"/>
                  <a:pt x="8101305" y="3577822"/>
                </a:cubicBezTo>
                <a:cubicBezTo>
                  <a:pt x="8108200" y="3580194"/>
                  <a:pt x="8113668" y="3583773"/>
                  <a:pt x="8120147" y="3588546"/>
                </a:cubicBezTo>
                <a:cubicBezTo>
                  <a:pt x="8121813" y="3578940"/>
                  <a:pt x="8124074" y="3572931"/>
                  <a:pt x="8125324" y="3565727"/>
                </a:cubicBezTo>
                <a:cubicBezTo>
                  <a:pt x="8246621" y="3463249"/>
                  <a:pt x="8367917" y="3360772"/>
                  <a:pt x="8489214" y="3258295"/>
                </a:cubicBezTo>
                <a:cubicBezTo>
                  <a:pt x="8496526" y="3258266"/>
                  <a:pt x="8502828" y="3257041"/>
                  <a:pt x="8510140" y="3257011"/>
                </a:cubicBezTo>
                <a:cubicBezTo>
                  <a:pt x="8518703" y="3249778"/>
                  <a:pt x="8525837" y="3243749"/>
                  <a:pt x="8534399" y="3236515"/>
                </a:cubicBezTo>
                <a:cubicBezTo>
                  <a:pt x="8541711" y="3236487"/>
                  <a:pt x="8549023" y="3236458"/>
                  <a:pt x="8555325" y="3235232"/>
                </a:cubicBezTo>
                <a:cubicBezTo>
                  <a:pt x="8556575" y="3228028"/>
                  <a:pt x="8558835" y="3222019"/>
                  <a:pt x="8561929" y="3211208"/>
                </a:cubicBezTo>
                <a:cubicBezTo>
                  <a:pt x="8572094" y="3208766"/>
                  <a:pt x="8584698" y="3206316"/>
                  <a:pt x="8596292" y="3202671"/>
                </a:cubicBezTo>
                <a:cubicBezTo>
                  <a:pt x="8604228" y="3199039"/>
                  <a:pt x="8609792" y="3189343"/>
                  <a:pt x="8617896" y="3186723"/>
                </a:cubicBezTo>
                <a:close/>
                <a:moveTo>
                  <a:pt x="7052411" y="1479892"/>
                </a:moveTo>
                <a:cubicBezTo>
                  <a:pt x="7055047" y="1480117"/>
                  <a:pt x="7060316" y="1480570"/>
                  <a:pt x="7061525" y="1482000"/>
                </a:cubicBezTo>
                <a:cubicBezTo>
                  <a:pt x="7085701" y="1510614"/>
                  <a:pt x="7109877" y="1539229"/>
                  <a:pt x="7132841" y="1566414"/>
                </a:cubicBezTo>
                <a:cubicBezTo>
                  <a:pt x="7133398" y="1575752"/>
                  <a:pt x="7132746" y="1583659"/>
                  <a:pt x="7133302" y="1592996"/>
                </a:cubicBezTo>
                <a:cubicBezTo>
                  <a:pt x="7141642" y="1588403"/>
                  <a:pt x="7148556" y="1585013"/>
                  <a:pt x="7156896" y="1580419"/>
                </a:cubicBezTo>
                <a:cubicBezTo>
                  <a:pt x="7164801" y="1581095"/>
                  <a:pt x="7176550" y="1583429"/>
                  <a:pt x="7190934" y="1585989"/>
                </a:cubicBezTo>
                <a:cubicBezTo>
                  <a:pt x="7210371" y="1591636"/>
                  <a:pt x="7186680" y="1621459"/>
                  <a:pt x="7207108" y="1631172"/>
                </a:cubicBezTo>
                <a:cubicBezTo>
                  <a:pt x="7201959" y="1645330"/>
                  <a:pt x="7198236" y="1658282"/>
                  <a:pt x="7188591" y="1678691"/>
                </a:cubicBezTo>
                <a:cubicBezTo>
                  <a:pt x="7181459" y="1684717"/>
                  <a:pt x="7168405" y="1698197"/>
                  <a:pt x="7155569" y="1709041"/>
                </a:cubicBezTo>
                <a:cubicBezTo>
                  <a:pt x="7158107" y="1726513"/>
                  <a:pt x="7170847" y="1732912"/>
                  <a:pt x="7176891" y="1740067"/>
                </a:cubicBezTo>
                <a:cubicBezTo>
                  <a:pt x="7188423" y="1745036"/>
                  <a:pt x="7197537" y="1747145"/>
                  <a:pt x="7214338" y="1752564"/>
                </a:cubicBezTo>
                <a:cubicBezTo>
                  <a:pt x="7208972" y="1769359"/>
                  <a:pt x="7205032" y="1784948"/>
                  <a:pt x="7199665" y="1801740"/>
                </a:cubicBezTo>
                <a:cubicBezTo>
                  <a:pt x="7216902" y="1801890"/>
                  <a:pt x="7226016" y="1803997"/>
                  <a:pt x="7237764" y="1806331"/>
                </a:cubicBezTo>
                <a:cubicBezTo>
                  <a:pt x="7249175" y="1796692"/>
                  <a:pt x="7262011" y="1785847"/>
                  <a:pt x="7264864" y="1783437"/>
                </a:cubicBezTo>
                <a:cubicBezTo>
                  <a:pt x="7285823" y="1770633"/>
                  <a:pt x="7301971" y="1783962"/>
                  <a:pt x="7311835" y="1760917"/>
                </a:cubicBezTo>
                <a:cubicBezTo>
                  <a:pt x="7311835" y="1760917"/>
                  <a:pt x="7312488" y="1753009"/>
                  <a:pt x="7314349" y="1746533"/>
                </a:cubicBezTo>
                <a:cubicBezTo>
                  <a:pt x="7326315" y="1746230"/>
                  <a:pt x="7338282" y="1745930"/>
                  <a:pt x="7344978" y="1745176"/>
                </a:cubicBezTo>
                <a:cubicBezTo>
                  <a:pt x="7371015" y="1767314"/>
                  <a:pt x="7342368" y="1776804"/>
                  <a:pt x="7345124" y="1791639"/>
                </a:cubicBezTo>
                <a:cubicBezTo>
                  <a:pt x="7359508" y="1794199"/>
                  <a:pt x="7375318" y="1795553"/>
                  <a:pt x="7389702" y="1798113"/>
                </a:cubicBezTo>
                <a:cubicBezTo>
                  <a:pt x="7387962" y="1819199"/>
                  <a:pt x="7386221" y="1840284"/>
                  <a:pt x="7384481" y="1861370"/>
                </a:cubicBezTo>
                <a:cubicBezTo>
                  <a:pt x="7385690" y="1862800"/>
                  <a:pt x="7386899" y="1864232"/>
                  <a:pt x="7389534" y="1864458"/>
                </a:cubicBezTo>
                <a:cubicBezTo>
                  <a:pt x="7399083" y="1861295"/>
                  <a:pt x="7408632" y="1858131"/>
                  <a:pt x="7418181" y="1854967"/>
                </a:cubicBezTo>
                <a:cubicBezTo>
                  <a:pt x="7425433" y="1863551"/>
                  <a:pt x="7432686" y="1872136"/>
                  <a:pt x="7439939" y="1880720"/>
                </a:cubicBezTo>
                <a:cubicBezTo>
                  <a:pt x="7442912" y="1892920"/>
                  <a:pt x="7431937" y="1897288"/>
                  <a:pt x="7427223" y="1906174"/>
                </a:cubicBezTo>
                <a:cubicBezTo>
                  <a:pt x="7426136" y="1919353"/>
                  <a:pt x="7425048" y="1932533"/>
                  <a:pt x="7423743" y="1948347"/>
                </a:cubicBezTo>
                <a:cubicBezTo>
                  <a:pt x="7416611" y="1954372"/>
                  <a:pt x="7409480" y="1960396"/>
                  <a:pt x="7399496" y="1968832"/>
                </a:cubicBezTo>
                <a:cubicBezTo>
                  <a:pt x="7406870" y="1992025"/>
                  <a:pt x="7411608" y="2014993"/>
                  <a:pt x="7417556" y="2039392"/>
                </a:cubicBezTo>
                <a:cubicBezTo>
                  <a:pt x="7413277" y="2043008"/>
                  <a:pt x="7408998" y="2046621"/>
                  <a:pt x="7404719" y="2050238"/>
                </a:cubicBezTo>
                <a:cubicBezTo>
                  <a:pt x="7400561" y="2068462"/>
                  <a:pt x="7407162" y="2084953"/>
                  <a:pt x="7412335" y="2102650"/>
                </a:cubicBezTo>
                <a:cubicBezTo>
                  <a:pt x="7414874" y="2120121"/>
                  <a:pt x="7409290" y="2139550"/>
                  <a:pt x="7408975" y="2159432"/>
                </a:cubicBezTo>
                <a:cubicBezTo>
                  <a:pt x="7411176" y="2164929"/>
                  <a:pt x="7414585" y="2171856"/>
                  <a:pt x="7417993" y="2178785"/>
                </a:cubicBezTo>
                <a:cubicBezTo>
                  <a:pt x="7412844" y="2192942"/>
                  <a:pt x="7406486" y="2205670"/>
                  <a:pt x="7399693" y="2223668"/>
                </a:cubicBezTo>
                <a:cubicBezTo>
                  <a:pt x="7391136" y="2230899"/>
                  <a:pt x="7379726" y="2240538"/>
                  <a:pt x="7376873" y="2242949"/>
                </a:cubicBezTo>
                <a:cubicBezTo>
                  <a:pt x="7355382" y="2278268"/>
                  <a:pt x="7356833" y="2308918"/>
                  <a:pt x="7344335" y="2331736"/>
                </a:cubicBezTo>
                <a:cubicBezTo>
                  <a:pt x="7334255" y="2357416"/>
                  <a:pt x="7341411" y="2383246"/>
                  <a:pt x="7332757" y="2407722"/>
                </a:cubicBezTo>
                <a:cubicBezTo>
                  <a:pt x="7316850" y="2423613"/>
                  <a:pt x="7318519" y="2451626"/>
                  <a:pt x="7294925" y="2464203"/>
                </a:cubicBezTo>
                <a:cubicBezTo>
                  <a:pt x="7299010" y="2495079"/>
                  <a:pt x="7268164" y="2499073"/>
                  <a:pt x="7257527" y="2515416"/>
                </a:cubicBezTo>
                <a:cubicBezTo>
                  <a:pt x="7248413" y="2513307"/>
                  <a:pt x="7243143" y="2512855"/>
                  <a:pt x="7236447" y="2513609"/>
                </a:cubicBezTo>
                <a:cubicBezTo>
                  <a:pt x="7199580" y="2542303"/>
                  <a:pt x="7165132" y="2573859"/>
                  <a:pt x="7126623" y="2606394"/>
                </a:cubicBezTo>
                <a:cubicBezTo>
                  <a:pt x="7120700" y="2613850"/>
                  <a:pt x="7131144" y="2631998"/>
                  <a:pt x="7105567" y="2636443"/>
                </a:cubicBezTo>
                <a:cubicBezTo>
                  <a:pt x="7105567" y="2636443"/>
                  <a:pt x="7097662" y="2635765"/>
                  <a:pt x="7088330" y="2636293"/>
                </a:cubicBezTo>
                <a:cubicBezTo>
                  <a:pt x="7089104" y="2642996"/>
                  <a:pt x="7087025" y="2652107"/>
                  <a:pt x="7086373" y="2660015"/>
                </a:cubicBezTo>
                <a:cubicBezTo>
                  <a:pt x="7079242" y="2666040"/>
                  <a:pt x="7070683" y="2673271"/>
                  <a:pt x="7063552" y="2679296"/>
                </a:cubicBezTo>
                <a:cubicBezTo>
                  <a:pt x="7062899" y="2687202"/>
                  <a:pt x="7060820" y="2696314"/>
                  <a:pt x="7060168" y="2704222"/>
                </a:cubicBezTo>
                <a:cubicBezTo>
                  <a:pt x="7031642" y="2728322"/>
                  <a:pt x="7004543" y="2751217"/>
                  <a:pt x="6976017" y="2775317"/>
                </a:cubicBezTo>
                <a:cubicBezTo>
                  <a:pt x="6975582" y="2780588"/>
                  <a:pt x="6975147" y="2785860"/>
                  <a:pt x="6974277" y="2796403"/>
                </a:cubicBezTo>
                <a:cubicBezTo>
                  <a:pt x="6947177" y="2819297"/>
                  <a:pt x="6917225" y="2844603"/>
                  <a:pt x="6890126" y="2867498"/>
                </a:cubicBezTo>
                <a:cubicBezTo>
                  <a:pt x="6888047" y="2876610"/>
                  <a:pt x="6887612" y="2881882"/>
                  <a:pt x="6888385" y="2888583"/>
                </a:cubicBezTo>
                <a:cubicBezTo>
                  <a:pt x="6872696" y="2901839"/>
                  <a:pt x="6857007" y="2915094"/>
                  <a:pt x="6842744" y="2927143"/>
                </a:cubicBezTo>
                <a:cubicBezTo>
                  <a:pt x="6834960" y="2941076"/>
                  <a:pt x="6844195" y="2957793"/>
                  <a:pt x="6825096" y="2964120"/>
                </a:cubicBezTo>
                <a:cubicBezTo>
                  <a:pt x="6819827" y="2963669"/>
                  <a:pt x="6811922" y="2962991"/>
                  <a:pt x="6802591" y="2963519"/>
                </a:cubicBezTo>
                <a:cubicBezTo>
                  <a:pt x="6791180" y="2973160"/>
                  <a:pt x="6779770" y="2982799"/>
                  <a:pt x="6766933" y="2993644"/>
                </a:cubicBezTo>
                <a:cubicBezTo>
                  <a:pt x="6766281" y="3001552"/>
                  <a:pt x="6764419" y="3008028"/>
                  <a:pt x="6764976" y="3017366"/>
                </a:cubicBezTo>
                <a:cubicBezTo>
                  <a:pt x="6745007" y="3034236"/>
                  <a:pt x="6725040" y="3051106"/>
                  <a:pt x="6705072" y="3067976"/>
                </a:cubicBezTo>
                <a:cubicBezTo>
                  <a:pt x="6703210" y="3074453"/>
                  <a:pt x="6702776" y="3079724"/>
                  <a:pt x="6702123" y="3087631"/>
                </a:cubicBezTo>
                <a:cubicBezTo>
                  <a:pt x="6686433" y="3100886"/>
                  <a:pt x="6669318" y="3115346"/>
                  <a:pt x="6653630" y="3128601"/>
                </a:cubicBezTo>
                <a:cubicBezTo>
                  <a:pt x="6652759" y="3139144"/>
                  <a:pt x="6652324" y="3144415"/>
                  <a:pt x="6652880" y="3153753"/>
                </a:cubicBezTo>
                <a:cubicBezTo>
                  <a:pt x="6632912" y="3170623"/>
                  <a:pt x="6611518" y="3188699"/>
                  <a:pt x="6591550" y="3205569"/>
                </a:cubicBezTo>
                <a:cubicBezTo>
                  <a:pt x="6590897" y="3213476"/>
                  <a:pt x="6590462" y="3218748"/>
                  <a:pt x="6589809" y="3226655"/>
                </a:cubicBezTo>
                <a:cubicBezTo>
                  <a:pt x="6578400" y="3236294"/>
                  <a:pt x="6566989" y="3245935"/>
                  <a:pt x="6555578" y="3255574"/>
                </a:cubicBezTo>
                <a:cubicBezTo>
                  <a:pt x="6553500" y="3264687"/>
                  <a:pt x="6552847" y="3272594"/>
                  <a:pt x="6552195" y="3280501"/>
                </a:cubicBezTo>
                <a:cubicBezTo>
                  <a:pt x="6523669" y="3304601"/>
                  <a:pt x="6496569" y="3327497"/>
                  <a:pt x="6468043" y="3351596"/>
                </a:cubicBezTo>
                <a:cubicBezTo>
                  <a:pt x="6467392" y="3359503"/>
                  <a:pt x="6466738" y="3367410"/>
                  <a:pt x="6464659" y="3376523"/>
                </a:cubicBezTo>
                <a:cubicBezTo>
                  <a:pt x="6444691" y="3393393"/>
                  <a:pt x="6424723" y="3410263"/>
                  <a:pt x="6404755" y="3427133"/>
                </a:cubicBezTo>
                <a:cubicBezTo>
                  <a:pt x="6404320" y="3432404"/>
                  <a:pt x="6403885" y="3437675"/>
                  <a:pt x="6403233" y="3445583"/>
                </a:cubicBezTo>
                <a:cubicBezTo>
                  <a:pt x="6383265" y="3462453"/>
                  <a:pt x="6361869" y="3480527"/>
                  <a:pt x="6341902" y="3497397"/>
                </a:cubicBezTo>
                <a:cubicBezTo>
                  <a:pt x="6341032" y="3507940"/>
                  <a:pt x="6340597" y="3513212"/>
                  <a:pt x="6341153" y="3522550"/>
                </a:cubicBezTo>
                <a:cubicBezTo>
                  <a:pt x="6321185" y="3539420"/>
                  <a:pt x="6299791" y="3557495"/>
                  <a:pt x="6279822" y="3574365"/>
                </a:cubicBezTo>
                <a:cubicBezTo>
                  <a:pt x="6279169" y="3582273"/>
                  <a:pt x="6278735" y="3587543"/>
                  <a:pt x="6277865" y="3598088"/>
                </a:cubicBezTo>
                <a:cubicBezTo>
                  <a:pt x="6246487" y="3624597"/>
                  <a:pt x="6212257" y="3653517"/>
                  <a:pt x="6180877" y="3680027"/>
                </a:cubicBezTo>
                <a:cubicBezTo>
                  <a:pt x="6180224" y="3687934"/>
                  <a:pt x="6179790" y="3693205"/>
                  <a:pt x="6179137" y="3701113"/>
                </a:cubicBezTo>
                <a:cubicBezTo>
                  <a:pt x="6160595" y="3716778"/>
                  <a:pt x="6140627" y="3733648"/>
                  <a:pt x="6120660" y="3750517"/>
                </a:cubicBezTo>
                <a:cubicBezTo>
                  <a:pt x="6118581" y="3759630"/>
                  <a:pt x="6117928" y="3767537"/>
                  <a:pt x="6117275" y="3775445"/>
                </a:cubicBezTo>
                <a:cubicBezTo>
                  <a:pt x="6101586" y="3788700"/>
                  <a:pt x="6085897" y="3801954"/>
                  <a:pt x="6068782" y="3816414"/>
                </a:cubicBezTo>
                <a:cubicBezTo>
                  <a:pt x="6068129" y="3824322"/>
                  <a:pt x="6067477" y="3832228"/>
                  <a:pt x="6066824" y="3840136"/>
                </a:cubicBezTo>
                <a:cubicBezTo>
                  <a:pt x="6042577" y="3860621"/>
                  <a:pt x="6018330" y="3881106"/>
                  <a:pt x="5994084" y="3901591"/>
                </a:cubicBezTo>
                <a:cubicBezTo>
                  <a:pt x="5993648" y="3906862"/>
                  <a:pt x="5993213" y="3912135"/>
                  <a:pt x="5992343" y="3922677"/>
                </a:cubicBezTo>
                <a:cubicBezTo>
                  <a:pt x="5971940" y="3944819"/>
                  <a:pt x="5942640" y="3962216"/>
                  <a:pt x="5919385" y="3986768"/>
                </a:cubicBezTo>
                <a:cubicBezTo>
                  <a:pt x="5918950" y="3992039"/>
                  <a:pt x="5918515" y="3997311"/>
                  <a:pt x="5917644" y="4007854"/>
                </a:cubicBezTo>
                <a:cubicBezTo>
                  <a:pt x="5903382" y="4019904"/>
                  <a:pt x="5884840" y="4035568"/>
                  <a:pt x="5869151" y="4048823"/>
                </a:cubicBezTo>
                <a:cubicBezTo>
                  <a:pt x="5868716" y="4054095"/>
                  <a:pt x="5867072" y="4057936"/>
                  <a:pt x="5868281" y="4059367"/>
                </a:cubicBezTo>
                <a:cubicBezTo>
                  <a:pt x="5871907" y="4063659"/>
                  <a:pt x="5875533" y="4067951"/>
                  <a:pt x="5879159" y="4072244"/>
                </a:cubicBezTo>
                <a:cubicBezTo>
                  <a:pt x="5901448" y="4075480"/>
                  <a:pt x="5908459" y="4054846"/>
                  <a:pt x="5922504" y="4045432"/>
                </a:cubicBezTo>
                <a:cubicBezTo>
                  <a:pt x="5931280" y="4035566"/>
                  <a:pt x="5920836" y="4017417"/>
                  <a:pt x="5946630" y="4010337"/>
                </a:cubicBezTo>
                <a:cubicBezTo>
                  <a:pt x="5946630" y="4010337"/>
                  <a:pt x="5954535" y="4011014"/>
                  <a:pt x="5962440" y="4011691"/>
                </a:cubicBezTo>
                <a:cubicBezTo>
                  <a:pt x="5969572" y="4005667"/>
                  <a:pt x="5978131" y="3998436"/>
                  <a:pt x="5986687" y="3991206"/>
                </a:cubicBezTo>
                <a:cubicBezTo>
                  <a:pt x="5987340" y="3983299"/>
                  <a:pt x="5989201" y="3976822"/>
                  <a:pt x="5988427" y="3970121"/>
                </a:cubicBezTo>
                <a:cubicBezTo>
                  <a:pt x="5997637" y="3954983"/>
                  <a:pt x="6011804" y="3960178"/>
                  <a:pt x="6022344" y="3961081"/>
                </a:cubicBezTo>
                <a:cubicBezTo>
                  <a:pt x="6036608" y="3949031"/>
                  <a:pt x="6048018" y="3939391"/>
                  <a:pt x="6059428" y="3929751"/>
                </a:cubicBezTo>
                <a:cubicBezTo>
                  <a:pt x="6061289" y="3923274"/>
                  <a:pt x="6061724" y="3918003"/>
                  <a:pt x="6062377" y="3910096"/>
                </a:cubicBezTo>
                <a:cubicBezTo>
                  <a:pt x="6105166" y="3873946"/>
                  <a:pt x="6149381" y="3836591"/>
                  <a:pt x="6193595" y="3799237"/>
                </a:cubicBezTo>
                <a:cubicBezTo>
                  <a:pt x="6194248" y="3791329"/>
                  <a:pt x="6196327" y="3782217"/>
                  <a:pt x="6198406" y="3773104"/>
                </a:cubicBezTo>
                <a:cubicBezTo>
                  <a:pt x="6261162" y="3720084"/>
                  <a:pt x="6325345" y="3665860"/>
                  <a:pt x="6389528" y="3611634"/>
                </a:cubicBezTo>
                <a:cubicBezTo>
                  <a:pt x="6391607" y="3602522"/>
                  <a:pt x="6392260" y="3594615"/>
                  <a:pt x="6392912" y="3586707"/>
                </a:cubicBezTo>
                <a:cubicBezTo>
                  <a:pt x="6403888" y="3582339"/>
                  <a:pt x="6419045" y="3591601"/>
                  <a:pt x="6426829" y="3577669"/>
                </a:cubicBezTo>
                <a:cubicBezTo>
                  <a:pt x="6427482" y="3569762"/>
                  <a:pt x="6428134" y="3561854"/>
                  <a:pt x="6429996" y="3555378"/>
                </a:cubicBezTo>
                <a:cubicBezTo>
                  <a:pt x="6435266" y="3555830"/>
                  <a:pt x="6440537" y="3556281"/>
                  <a:pt x="6449867" y="3555753"/>
                </a:cubicBezTo>
                <a:cubicBezTo>
                  <a:pt x="6451728" y="3549276"/>
                  <a:pt x="6453808" y="3540164"/>
                  <a:pt x="6455887" y="3531052"/>
                </a:cubicBezTo>
                <a:cubicBezTo>
                  <a:pt x="6471576" y="3517797"/>
                  <a:pt x="6500900" y="3532254"/>
                  <a:pt x="6511198" y="3503937"/>
                </a:cubicBezTo>
                <a:cubicBezTo>
                  <a:pt x="6512841" y="3500098"/>
                  <a:pt x="6513494" y="3492190"/>
                  <a:pt x="6515572" y="3483078"/>
                </a:cubicBezTo>
                <a:cubicBezTo>
                  <a:pt x="6525557" y="3474643"/>
                  <a:pt x="6538394" y="3463798"/>
                  <a:pt x="6551230" y="3452953"/>
                </a:cubicBezTo>
                <a:cubicBezTo>
                  <a:pt x="6556501" y="3453404"/>
                  <a:pt x="6565832" y="3452876"/>
                  <a:pt x="6573737" y="3453553"/>
                </a:cubicBezTo>
                <a:cubicBezTo>
                  <a:pt x="6580868" y="3447529"/>
                  <a:pt x="6589426" y="3440299"/>
                  <a:pt x="6597984" y="3433069"/>
                </a:cubicBezTo>
                <a:cubicBezTo>
                  <a:pt x="6598636" y="3425161"/>
                  <a:pt x="6599289" y="3417254"/>
                  <a:pt x="6599941" y="3409347"/>
                </a:cubicBezTo>
                <a:cubicBezTo>
                  <a:pt x="6607073" y="3403321"/>
                  <a:pt x="6615630" y="3396092"/>
                  <a:pt x="6622762" y="3390066"/>
                </a:cubicBezTo>
                <a:cubicBezTo>
                  <a:pt x="6633302" y="3390970"/>
                  <a:pt x="6639999" y="3390217"/>
                  <a:pt x="6650539" y="3391119"/>
                </a:cubicBezTo>
                <a:cubicBezTo>
                  <a:pt x="6653827" y="3383438"/>
                  <a:pt x="6658540" y="3374551"/>
                  <a:pt x="6663907" y="3357758"/>
                </a:cubicBezTo>
                <a:cubicBezTo>
                  <a:pt x="6669612" y="3352938"/>
                  <a:pt x="6682449" y="3342093"/>
                  <a:pt x="6696712" y="3330044"/>
                </a:cubicBezTo>
                <a:cubicBezTo>
                  <a:pt x="6700773" y="3329064"/>
                  <a:pt x="6708678" y="3329741"/>
                  <a:pt x="6718010" y="3329213"/>
                </a:cubicBezTo>
                <a:cubicBezTo>
                  <a:pt x="6718444" y="3323942"/>
                  <a:pt x="6720305" y="3317465"/>
                  <a:pt x="6722385" y="3308352"/>
                </a:cubicBezTo>
                <a:cubicBezTo>
                  <a:pt x="6728090" y="3303532"/>
                  <a:pt x="6736647" y="3296303"/>
                  <a:pt x="6745206" y="3289072"/>
                </a:cubicBezTo>
                <a:cubicBezTo>
                  <a:pt x="6745858" y="3281166"/>
                  <a:pt x="6746510" y="3273258"/>
                  <a:pt x="6747163" y="3265351"/>
                </a:cubicBezTo>
                <a:cubicBezTo>
                  <a:pt x="6757486" y="3268890"/>
                  <a:pt x="6769017" y="3273859"/>
                  <a:pt x="6779122" y="3280034"/>
                </a:cubicBezTo>
                <a:cubicBezTo>
                  <a:pt x="6780210" y="3266856"/>
                  <a:pt x="6781080" y="3256312"/>
                  <a:pt x="6781950" y="3245769"/>
                </a:cubicBezTo>
                <a:cubicBezTo>
                  <a:pt x="6774045" y="3245092"/>
                  <a:pt x="6767566" y="3243210"/>
                  <a:pt x="6759661" y="3242533"/>
                </a:cubicBezTo>
                <a:cubicBezTo>
                  <a:pt x="6764810" y="3228374"/>
                  <a:pt x="6771168" y="3215648"/>
                  <a:pt x="6776534" y="3198854"/>
                </a:cubicBezTo>
                <a:cubicBezTo>
                  <a:pt x="6781587" y="3201941"/>
                  <a:pt x="6786639" y="3205028"/>
                  <a:pt x="6792901" y="3209545"/>
                </a:cubicBezTo>
                <a:cubicBezTo>
                  <a:pt x="6799162" y="3214064"/>
                  <a:pt x="6806849" y="3217377"/>
                  <a:pt x="6814199" y="3208717"/>
                </a:cubicBezTo>
                <a:cubicBezTo>
                  <a:pt x="6819034" y="3214439"/>
                  <a:pt x="6823869" y="3220161"/>
                  <a:pt x="6829913" y="3227315"/>
                </a:cubicBezTo>
                <a:cubicBezTo>
                  <a:pt x="6848358" y="3228896"/>
                  <a:pt x="6856142" y="3214964"/>
                  <a:pt x="6865135" y="3202462"/>
                </a:cubicBezTo>
                <a:cubicBezTo>
                  <a:pt x="6865570" y="3197190"/>
                  <a:pt x="6866005" y="3191919"/>
                  <a:pt x="6866440" y="3186648"/>
                </a:cubicBezTo>
                <a:cubicBezTo>
                  <a:pt x="6875771" y="3186120"/>
                  <a:pt x="6885103" y="3185592"/>
                  <a:pt x="6894434" y="3185064"/>
                </a:cubicBezTo>
                <a:cubicBezTo>
                  <a:pt x="6899583" y="3170906"/>
                  <a:pt x="6903088" y="3160589"/>
                  <a:pt x="6906593" y="3150272"/>
                </a:cubicBezTo>
                <a:cubicBezTo>
                  <a:pt x="6931614" y="3136489"/>
                  <a:pt x="6950180" y="3152679"/>
                  <a:pt x="6969617" y="3158325"/>
                </a:cubicBezTo>
                <a:cubicBezTo>
                  <a:pt x="6971477" y="3151849"/>
                  <a:pt x="6973340" y="3145373"/>
                  <a:pt x="6973992" y="3137466"/>
                </a:cubicBezTo>
                <a:cubicBezTo>
                  <a:pt x="6994638" y="3144542"/>
                  <a:pt x="7001020" y="3163670"/>
                  <a:pt x="7014534" y="3176772"/>
                </a:cubicBezTo>
                <a:cubicBezTo>
                  <a:pt x="7015307" y="3183475"/>
                  <a:pt x="7014655" y="3191382"/>
                  <a:pt x="7013567" y="3204560"/>
                </a:cubicBezTo>
                <a:cubicBezTo>
                  <a:pt x="7029377" y="3205915"/>
                  <a:pt x="7045188" y="3207269"/>
                  <a:pt x="7063633" y="3208850"/>
                </a:cubicBezTo>
                <a:cubicBezTo>
                  <a:pt x="7064625" y="3212915"/>
                  <a:pt x="7068033" y="3219844"/>
                  <a:pt x="7068807" y="3226547"/>
                </a:cubicBezTo>
                <a:cubicBezTo>
                  <a:pt x="7060902" y="3225869"/>
                  <a:pt x="7052997" y="3225191"/>
                  <a:pt x="7045092" y="3224515"/>
                </a:cubicBezTo>
                <a:cubicBezTo>
                  <a:pt x="7037525" y="3235811"/>
                  <a:pt x="7020071" y="3238297"/>
                  <a:pt x="7021401" y="3254337"/>
                </a:cubicBezTo>
                <a:cubicBezTo>
                  <a:pt x="7041490" y="3252077"/>
                  <a:pt x="7062449" y="3239273"/>
                  <a:pt x="7084859" y="3257119"/>
                </a:cubicBezTo>
                <a:cubicBezTo>
                  <a:pt x="7094529" y="3268566"/>
                  <a:pt x="7081475" y="3282045"/>
                  <a:pt x="7087084" y="3294471"/>
                </a:cubicBezTo>
                <a:cubicBezTo>
                  <a:pt x="7078526" y="3301701"/>
                  <a:pt x="7069969" y="3308931"/>
                  <a:pt x="7062836" y="3314956"/>
                </a:cubicBezTo>
                <a:cubicBezTo>
                  <a:pt x="7060758" y="3324069"/>
                  <a:pt x="7060106" y="3331975"/>
                  <a:pt x="7059453" y="3339883"/>
                </a:cubicBezTo>
                <a:cubicBezTo>
                  <a:pt x="7051548" y="3339205"/>
                  <a:pt x="7044852" y="3339959"/>
                  <a:pt x="7036947" y="3339281"/>
                </a:cubicBezTo>
                <a:cubicBezTo>
                  <a:pt x="7036511" y="3344554"/>
                  <a:pt x="7036077" y="3349825"/>
                  <a:pt x="7036633" y="3359163"/>
                </a:cubicBezTo>
                <a:cubicBezTo>
                  <a:pt x="7029501" y="3365187"/>
                  <a:pt x="7019517" y="3373622"/>
                  <a:pt x="7010742" y="3383488"/>
                </a:cubicBezTo>
                <a:cubicBezTo>
                  <a:pt x="7013933" y="3393052"/>
                  <a:pt x="7017125" y="3402616"/>
                  <a:pt x="7021524" y="3413610"/>
                </a:cubicBezTo>
                <a:cubicBezTo>
                  <a:pt x="7010114" y="3423250"/>
                  <a:pt x="6998704" y="3432890"/>
                  <a:pt x="6990146" y="3440120"/>
                </a:cubicBezTo>
                <a:cubicBezTo>
                  <a:pt x="6981927" y="3459323"/>
                  <a:pt x="6975352" y="3474687"/>
                  <a:pt x="6969985" y="3491481"/>
                </a:cubicBezTo>
                <a:cubicBezTo>
                  <a:pt x="6977890" y="3492158"/>
                  <a:pt x="6984369" y="3494039"/>
                  <a:pt x="6992274" y="3494717"/>
                </a:cubicBezTo>
                <a:cubicBezTo>
                  <a:pt x="6989108" y="3517008"/>
                  <a:pt x="6967592" y="3520473"/>
                  <a:pt x="6957391" y="3531543"/>
                </a:cubicBezTo>
                <a:cubicBezTo>
                  <a:pt x="6950380" y="3552179"/>
                  <a:pt x="6943370" y="3572812"/>
                  <a:pt x="6936360" y="3593447"/>
                </a:cubicBezTo>
                <a:cubicBezTo>
                  <a:pt x="6930656" y="3598267"/>
                  <a:pt x="6923523" y="3604292"/>
                  <a:pt x="6916392" y="3610317"/>
                </a:cubicBezTo>
                <a:cubicBezTo>
                  <a:pt x="6914095" y="3622065"/>
                  <a:pt x="6912017" y="3631178"/>
                  <a:pt x="6910155" y="3637654"/>
                </a:cubicBezTo>
                <a:cubicBezTo>
                  <a:pt x="6893257" y="3649479"/>
                  <a:pt x="6880735" y="3640442"/>
                  <a:pt x="6864707" y="3641724"/>
                </a:cubicBezTo>
                <a:cubicBezTo>
                  <a:pt x="6870847" y="3631632"/>
                  <a:pt x="6876770" y="3624177"/>
                  <a:pt x="6880057" y="3616495"/>
                </a:cubicBezTo>
                <a:cubicBezTo>
                  <a:pt x="6881701" y="3612654"/>
                  <a:pt x="6876866" y="3606931"/>
                  <a:pt x="6874449" y="3604070"/>
                </a:cubicBezTo>
                <a:cubicBezTo>
                  <a:pt x="6880371" y="3596614"/>
                  <a:pt x="6890355" y="3588179"/>
                  <a:pt x="6873336" y="3585393"/>
                </a:cubicBezTo>
                <a:cubicBezTo>
                  <a:pt x="6872901" y="3590665"/>
                  <a:pt x="6873675" y="3597368"/>
                  <a:pt x="6874449" y="3604070"/>
                </a:cubicBezTo>
                <a:cubicBezTo>
                  <a:pt x="6865891" y="3611300"/>
                  <a:pt x="6855907" y="3619735"/>
                  <a:pt x="6845923" y="3628169"/>
                </a:cubicBezTo>
                <a:cubicBezTo>
                  <a:pt x="6845053" y="3638713"/>
                  <a:pt x="6844183" y="3649255"/>
                  <a:pt x="6843313" y="3659799"/>
                </a:cubicBezTo>
                <a:cubicBezTo>
                  <a:pt x="6854626" y="3667404"/>
                  <a:pt x="6879429" y="3656257"/>
                  <a:pt x="6874402" y="3685025"/>
                </a:cubicBezTo>
                <a:cubicBezTo>
                  <a:pt x="6866279" y="3686982"/>
                  <a:pt x="6856947" y="3687510"/>
                  <a:pt x="6844763" y="3690448"/>
                </a:cubicBezTo>
                <a:cubicBezTo>
                  <a:pt x="6841476" y="3698130"/>
                  <a:pt x="6839397" y="3707241"/>
                  <a:pt x="6837101" y="3718989"/>
                </a:cubicBezTo>
                <a:cubicBezTo>
                  <a:pt x="6831395" y="3723810"/>
                  <a:pt x="6822838" y="3731040"/>
                  <a:pt x="6814280" y="3738270"/>
                </a:cubicBezTo>
                <a:cubicBezTo>
                  <a:pt x="6813627" y="3746177"/>
                  <a:pt x="6812975" y="3754084"/>
                  <a:pt x="6812322" y="3761992"/>
                </a:cubicBezTo>
                <a:cubicBezTo>
                  <a:pt x="6772386" y="3795732"/>
                  <a:pt x="6731023" y="3830677"/>
                  <a:pt x="6691088" y="3864416"/>
                </a:cubicBezTo>
                <a:cubicBezTo>
                  <a:pt x="6690435" y="3872324"/>
                  <a:pt x="6689782" y="3880231"/>
                  <a:pt x="6687921" y="3886708"/>
                </a:cubicBezTo>
                <a:cubicBezTo>
                  <a:pt x="6682651" y="3886256"/>
                  <a:pt x="6677381" y="3885805"/>
                  <a:pt x="6672111" y="3885353"/>
                </a:cubicBezTo>
                <a:cubicBezTo>
                  <a:pt x="6649169" y="3890024"/>
                  <a:pt x="6644794" y="3910884"/>
                  <a:pt x="6636793" y="3927452"/>
                </a:cubicBezTo>
                <a:cubicBezTo>
                  <a:pt x="6631522" y="3927000"/>
                  <a:pt x="6626252" y="3926549"/>
                  <a:pt x="6619556" y="3927302"/>
                </a:cubicBezTo>
                <a:cubicBezTo>
                  <a:pt x="6609572" y="3935738"/>
                  <a:pt x="6596735" y="3946582"/>
                  <a:pt x="6583899" y="3957427"/>
                </a:cubicBezTo>
                <a:cubicBezTo>
                  <a:pt x="6582037" y="3963903"/>
                  <a:pt x="6580176" y="3970380"/>
                  <a:pt x="6579524" y="3978288"/>
                </a:cubicBezTo>
                <a:cubicBezTo>
                  <a:pt x="6543866" y="4008413"/>
                  <a:pt x="6506783" y="4039743"/>
                  <a:pt x="6471126" y="4069867"/>
                </a:cubicBezTo>
                <a:cubicBezTo>
                  <a:pt x="6470473" y="4077775"/>
                  <a:pt x="6469821" y="4085682"/>
                  <a:pt x="6469168" y="4093589"/>
                </a:cubicBezTo>
                <a:cubicBezTo>
                  <a:pt x="6461263" y="4092913"/>
                  <a:pt x="6453358" y="4092235"/>
                  <a:pt x="6441391" y="4092537"/>
                </a:cubicBezTo>
                <a:cubicBezTo>
                  <a:pt x="6438104" y="4100218"/>
                  <a:pt x="6434599" y="4110536"/>
                  <a:pt x="6426379" y="4129739"/>
                </a:cubicBezTo>
                <a:cubicBezTo>
                  <a:pt x="6404985" y="4147814"/>
                  <a:pt x="6375032" y="4173119"/>
                  <a:pt x="6347933" y="4196014"/>
                </a:cubicBezTo>
                <a:cubicBezTo>
                  <a:pt x="6347282" y="4203922"/>
                  <a:pt x="6348054" y="4210624"/>
                  <a:pt x="6346193" y="4217101"/>
                </a:cubicBezTo>
                <a:cubicBezTo>
                  <a:pt x="6339497" y="4217853"/>
                  <a:pt x="6332800" y="4218607"/>
                  <a:pt x="6324895" y="4217930"/>
                </a:cubicBezTo>
                <a:cubicBezTo>
                  <a:pt x="6309206" y="4231185"/>
                  <a:pt x="6293517" y="4244440"/>
                  <a:pt x="6276402" y="4258901"/>
                </a:cubicBezTo>
                <a:cubicBezTo>
                  <a:pt x="6275966" y="4264172"/>
                  <a:pt x="6273888" y="4273283"/>
                  <a:pt x="6273235" y="4281191"/>
                </a:cubicBezTo>
                <a:cubicBezTo>
                  <a:pt x="6266104" y="4287217"/>
                  <a:pt x="6257546" y="4294446"/>
                  <a:pt x="6248987" y="4301676"/>
                </a:cubicBezTo>
                <a:cubicBezTo>
                  <a:pt x="6242510" y="4299794"/>
                  <a:pt x="6233179" y="4300322"/>
                  <a:pt x="6225272" y="4299644"/>
                </a:cubicBezTo>
                <a:cubicBezTo>
                  <a:pt x="6209583" y="4312899"/>
                  <a:pt x="6193894" y="4326155"/>
                  <a:pt x="6176779" y="4340615"/>
                </a:cubicBezTo>
                <a:cubicBezTo>
                  <a:pt x="6176344" y="4345886"/>
                  <a:pt x="6177118" y="4352588"/>
                  <a:pt x="6176682" y="4357860"/>
                </a:cubicBezTo>
                <a:cubicBezTo>
                  <a:pt x="6168681" y="4374427"/>
                  <a:pt x="6152001" y="4383617"/>
                  <a:pt x="6139164" y="4394461"/>
                </a:cubicBezTo>
                <a:cubicBezTo>
                  <a:pt x="6131259" y="4393783"/>
                  <a:pt x="6123354" y="4393107"/>
                  <a:pt x="6116657" y="4393861"/>
                </a:cubicBezTo>
                <a:cubicBezTo>
                  <a:pt x="6116222" y="4399132"/>
                  <a:pt x="6116996" y="4405834"/>
                  <a:pt x="6114917" y="4414946"/>
                </a:cubicBezTo>
                <a:cubicBezTo>
                  <a:pt x="6079260" y="4445071"/>
                  <a:pt x="6042177" y="4476402"/>
                  <a:pt x="6006519" y="4506527"/>
                </a:cubicBezTo>
                <a:cubicBezTo>
                  <a:pt x="6005649" y="4517069"/>
                  <a:pt x="6005214" y="4522341"/>
                  <a:pt x="6004779" y="4527613"/>
                </a:cubicBezTo>
                <a:cubicBezTo>
                  <a:pt x="5979106" y="4549302"/>
                  <a:pt x="5953433" y="4570992"/>
                  <a:pt x="5929186" y="4591477"/>
                </a:cubicBezTo>
                <a:cubicBezTo>
                  <a:pt x="5921280" y="4590800"/>
                  <a:pt x="5916011" y="4590348"/>
                  <a:pt x="5909532" y="4588466"/>
                </a:cubicBezTo>
                <a:cubicBezTo>
                  <a:pt x="5908227" y="4604281"/>
                  <a:pt x="5906921" y="4620095"/>
                  <a:pt x="5905399" y="4638545"/>
                </a:cubicBezTo>
                <a:cubicBezTo>
                  <a:pt x="5895850" y="4641708"/>
                  <a:pt x="5886518" y="4642237"/>
                  <a:pt x="5866212" y="4647133"/>
                </a:cubicBezTo>
                <a:cubicBezTo>
                  <a:pt x="5792044" y="4709793"/>
                  <a:pt x="5709320" y="4779683"/>
                  <a:pt x="5629448" y="4847163"/>
                </a:cubicBezTo>
                <a:cubicBezTo>
                  <a:pt x="5620116" y="4847691"/>
                  <a:pt x="5614846" y="4847239"/>
                  <a:pt x="5608367" y="4845357"/>
                </a:cubicBezTo>
                <a:cubicBezTo>
                  <a:pt x="5606506" y="4851833"/>
                  <a:pt x="5604645" y="4858310"/>
                  <a:pt x="5602566" y="4867422"/>
                </a:cubicBezTo>
                <a:cubicBezTo>
                  <a:pt x="5535531" y="4924057"/>
                  <a:pt x="5467068" y="4981898"/>
                  <a:pt x="5398607" y="5039737"/>
                </a:cubicBezTo>
                <a:cubicBezTo>
                  <a:pt x="5397954" y="5047644"/>
                  <a:pt x="5397302" y="5055552"/>
                  <a:pt x="5395223" y="5064664"/>
                </a:cubicBezTo>
                <a:cubicBezTo>
                  <a:pt x="5387318" y="5063987"/>
                  <a:pt x="5380621" y="5064740"/>
                  <a:pt x="5372716" y="5064063"/>
                </a:cubicBezTo>
                <a:cubicBezTo>
                  <a:pt x="5332780" y="5097803"/>
                  <a:pt x="5292844" y="5131543"/>
                  <a:pt x="5251482" y="5166488"/>
                </a:cubicBezTo>
                <a:cubicBezTo>
                  <a:pt x="5251046" y="5171760"/>
                  <a:pt x="5252038" y="5175826"/>
                  <a:pt x="5251385" y="5183733"/>
                </a:cubicBezTo>
                <a:cubicBezTo>
                  <a:pt x="5236252" y="5206327"/>
                  <a:pt x="5207388" y="5218453"/>
                  <a:pt x="5192472" y="5238409"/>
                </a:cubicBezTo>
                <a:cubicBezTo>
                  <a:pt x="5180506" y="5238712"/>
                  <a:pt x="5172601" y="5238035"/>
                  <a:pt x="5160634" y="5238337"/>
                </a:cubicBezTo>
                <a:cubicBezTo>
                  <a:pt x="5158554" y="5247449"/>
                  <a:pt x="5153841" y="5256336"/>
                  <a:pt x="5149901" y="5271924"/>
                </a:cubicBezTo>
                <a:cubicBezTo>
                  <a:pt x="5114244" y="5302049"/>
                  <a:pt x="5074308" y="5335789"/>
                  <a:pt x="5034372" y="5369530"/>
                </a:cubicBezTo>
                <a:cubicBezTo>
                  <a:pt x="5031084" y="5377211"/>
                  <a:pt x="5030432" y="5385118"/>
                  <a:pt x="5029562" y="5395661"/>
                </a:cubicBezTo>
                <a:cubicBezTo>
                  <a:pt x="5023856" y="5400481"/>
                  <a:pt x="5015299" y="5407710"/>
                  <a:pt x="5005315" y="5416146"/>
                </a:cubicBezTo>
                <a:cubicBezTo>
                  <a:pt x="5000045" y="5415694"/>
                  <a:pt x="4992139" y="5415017"/>
                  <a:pt x="4984234" y="5414340"/>
                </a:cubicBezTo>
                <a:cubicBezTo>
                  <a:pt x="4940019" y="5451695"/>
                  <a:pt x="4895805" y="5489050"/>
                  <a:pt x="4851591" y="5526405"/>
                </a:cubicBezTo>
                <a:cubicBezTo>
                  <a:pt x="4843684" y="5525728"/>
                  <a:pt x="4835779" y="5525051"/>
                  <a:pt x="4827874" y="5524373"/>
                </a:cubicBezTo>
                <a:cubicBezTo>
                  <a:pt x="4811411" y="5530926"/>
                  <a:pt x="4814167" y="5545762"/>
                  <a:pt x="4813297" y="5556304"/>
                </a:cubicBezTo>
                <a:cubicBezTo>
                  <a:pt x="4799034" y="5568354"/>
                  <a:pt x="4787623" y="5577995"/>
                  <a:pt x="4776214" y="5587634"/>
                </a:cubicBezTo>
                <a:cubicBezTo>
                  <a:pt x="4770944" y="5587183"/>
                  <a:pt x="4764247" y="5587936"/>
                  <a:pt x="4756341" y="5587259"/>
                </a:cubicBezTo>
                <a:cubicBezTo>
                  <a:pt x="4754698" y="5591100"/>
                  <a:pt x="4752837" y="5597576"/>
                  <a:pt x="4751967" y="5608119"/>
                </a:cubicBezTo>
                <a:cubicBezTo>
                  <a:pt x="4734852" y="5622579"/>
                  <a:pt x="4714883" y="5639450"/>
                  <a:pt x="4692063" y="5658729"/>
                </a:cubicBezTo>
                <a:cubicBezTo>
                  <a:pt x="4686793" y="5658278"/>
                  <a:pt x="4680096" y="5659031"/>
                  <a:pt x="4670765" y="5659560"/>
                </a:cubicBezTo>
                <a:cubicBezTo>
                  <a:pt x="4670330" y="5664831"/>
                  <a:pt x="4668469" y="5671308"/>
                  <a:pt x="4666390" y="5680419"/>
                </a:cubicBezTo>
                <a:cubicBezTo>
                  <a:pt x="4659911" y="5678537"/>
                  <a:pt x="4653214" y="5679291"/>
                  <a:pt x="4645309" y="5678614"/>
                </a:cubicBezTo>
                <a:cubicBezTo>
                  <a:pt x="4644874" y="5683884"/>
                  <a:pt x="4644439" y="5689157"/>
                  <a:pt x="4643569" y="5699699"/>
                </a:cubicBezTo>
                <a:cubicBezTo>
                  <a:pt x="4601988" y="5737280"/>
                  <a:pt x="4553713" y="5775614"/>
                  <a:pt x="4510707" y="5814400"/>
                </a:cubicBezTo>
                <a:cubicBezTo>
                  <a:pt x="4508628" y="5823512"/>
                  <a:pt x="4508193" y="5828784"/>
                  <a:pt x="4507540" y="5836692"/>
                </a:cubicBezTo>
                <a:cubicBezTo>
                  <a:pt x="4499635" y="5836014"/>
                  <a:pt x="4494365" y="5835562"/>
                  <a:pt x="4486460" y="5834885"/>
                </a:cubicBezTo>
                <a:cubicBezTo>
                  <a:pt x="4453655" y="5862600"/>
                  <a:pt x="4420851" y="5890315"/>
                  <a:pt x="4388046" y="5918030"/>
                </a:cubicBezTo>
                <a:cubicBezTo>
                  <a:pt x="4387394" y="5925937"/>
                  <a:pt x="4386959" y="5931209"/>
                  <a:pt x="4386524" y="5936480"/>
                </a:cubicBezTo>
                <a:cubicBezTo>
                  <a:pt x="4362277" y="5956965"/>
                  <a:pt x="4338030" y="5977451"/>
                  <a:pt x="4312356" y="5999141"/>
                </a:cubicBezTo>
                <a:cubicBezTo>
                  <a:pt x="4304016" y="6003734"/>
                  <a:pt x="4289076" y="5991838"/>
                  <a:pt x="4279648" y="6009611"/>
                </a:cubicBezTo>
                <a:cubicBezTo>
                  <a:pt x="4277787" y="6016087"/>
                  <a:pt x="4277134" y="6023994"/>
                  <a:pt x="4276482" y="6031901"/>
                </a:cubicBezTo>
                <a:cubicBezTo>
                  <a:pt x="4227988" y="6072871"/>
                  <a:pt x="4179494" y="6113841"/>
                  <a:pt x="4131000" y="6154811"/>
                </a:cubicBezTo>
                <a:cubicBezTo>
                  <a:pt x="4123095" y="6154134"/>
                  <a:pt x="4115190" y="6153456"/>
                  <a:pt x="4104650" y="6152554"/>
                </a:cubicBezTo>
                <a:cubicBezTo>
                  <a:pt x="4101362" y="6160235"/>
                  <a:pt x="4096648" y="6169122"/>
                  <a:pt x="4087003" y="6189531"/>
                </a:cubicBezTo>
                <a:cubicBezTo>
                  <a:pt x="4029952" y="6237731"/>
                  <a:pt x="3964342" y="6293161"/>
                  <a:pt x="3901586" y="6346180"/>
                </a:cubicBezTo>
                <a:cubicBezTo>
                  <a:pt x="3900498" y="6359360"/>
                  <a:pt x="3897210" y="6367040"/>
                  <a:pt x="3896340" y="6377583"/>
                </a:cubicBezTo>
                <a:cubicBezTo>
                  <a:pt x="3888218" y="6379542"/>
                  <a:pt x="3877460" y="6381275"/>
                  <a:pt x="3864067" y="6382782"/>
                </a:cubicBezTo>
                <a:cubicBezTo>
                  <a:pt x="3832690" y="6409292"/>
                  <a:pt x="3799884" y="6437007"/>
                  <a:pt x="3767080" y="6464722"/>
                </a:cubicBezTo>
                <a:cubicBezTo>
                  <a:pt x="3766427" y="6472629"/>
                  <a:pt x="3765992" y="6477901"/>
                  <a:pt x="3765556" y="6483172"/>
                </a:cubicBezTo>
                <a:cubicBezTo>
                  <a:pt x="3660012" y="6572342"/>
                  <a:pt x="3555893" y="6660308"/>
                  <a:pt x="3450347" y="6749477"/>
                </a:cubicBezTo>
                <a:cubicBezTo>
                  <a:pt x="3449695" y="6757385"/>
                  <a:pt x="3449042" y="6765292"/>
                  <a:pt x="3446963" y="6774404"/>
                </a:cubicBezTo>
                <a:cubicBezTo>
                  <a:pt x="3435553" y="6784044"/>
                  <a:pt x="3424143" y="6793684"/>
                  <a:pt x="3411306" y="6804529"/>
                </a:cubicBezTo>
                <a:cubicBezTo>
                  <a:pt x="3403401" y="6803852"/>
                  <a:pt x="3396705" y="6804606"/>
                  <a:pt x="3388798" y="6803928"/>
                </a:cubicBezTo>
                <a:cubicBezTo>
                  <a:pt x="3371128" y="6809050"/>
                  <a:pt x="3378937" y="6826973"/>
                  <a:pt x="3372795" y="6837064"/>
                </a:cubicBezTo>
                <a:cubicBezTo>
                  <a:pt x="3362812" y="6845499"/>
                  <a:pt x="3352828" y="6853934"/>
                  <a:pt x="3339992" y="6864779"/>
                </a:cubicBezTo>
                <a:cubicBezTo>
                  <a:pt x="3335930" y="6865758"/>
                  <a:pt x="3328025" y="6865082"/>
                  <a:pt x="3314631" y="6866588"/>
                </a:cubicBezTo>
                <a:cubicBezTo>
                  <a:pt x="3293238" y="6884663"/>
                  <a:pt x="3267565" y="6906353"/>
                  <a:pt x="3243318" y="6926838"/>
                </a:cubicBezTo>
                <a:cubicBezTo>
                  <a:pt x="3234204" y="6924731"/>
                  <a:pt x="3228934" y="6924279"/>
                  <a:pt x="3223664" y="6923828"/>
                </a:cubicBezTo>
                <a:cubicBezTo>
                  <a:pt x="3206549" y="6938287"/>
                  <a:pt x="3188007" y="6953953"/>
                  <a:pt x="3172318" y="6967208"/>
                </a:cubicBezTo>
                <a:cubicBezTo>
                  <a:pt x="3171665" y="6975115"/>
                  <a:pt x="3171230" y="6980386"/>
                  <a:pt x="3170795" y="6985658"/>
                </a:cubicBezTo>
                <a:cubicBezTo>
                  <a:pt x="3122300" y="7026628"/>
                  <a:pt x="3073807" y="7067598"/>
                  <a:pt x="3025313" y="7108568"/>
                </a:cubicBezTo>
                <a:cubicBezTo>
                  <a:pt x="3024661" y="7116475"/>
                  <a:pt x="3024008" y="7124382"/>
                  <a:pt x="3021930" y="7133494"/>
                </a:cubicBezTo>
                <a:cubicBezTo>
                  <a:pt x="2970583" y="7176874"/>
                  <a:pt x="2917811" y="7221460"/>
                  <a:pt x="2865038" y="7266044"/>
                </a:cubicBezTo>
                <a:cubicBezTo>
                  <a:pt x="2864385" y="7273952"/>
                  <a:pt x="2863733" y="7281859"/>
                  <a:pt x="2863080" y="7289766"/>
                </a:cubicBezTo>
                <a:cubicBezTo>
                  <a:pt x="2825997" y="7321096"/>
                  <a:pt x="2790339" y="7351221"/>
                  <a:pt x="2754682" y="7381346"/>
                </a:cubicBezTo>
                <a:cubicBezTo>
                  <a:pt x="2746777" y="7380669"/>
                  <a:pt x="2737446" y="7381197"/>
                  <a:pt x="2726906" y="7380294"/>
                </a:cubicBezTo>
                <a:cubicBezTo>
                  <a:pt x="2723618" y="7387976"/>
                  <a:pt x="2720113" y="7398292"/>
                  <a:pt x="2712111" y="7414861"/>
                </a:cubicBezTo>
                <a:cubicBezTo>
                  <a:pt x="2642223" y="7473905"/>
                  <a:pt x="2566630" y="7537771"/>
                  <a:pt x="2489609" y="7602840"/>
                </a:cubicBezTo>
                <a:cubicBezTo>
                  <a:pt x="2487531" y="7611953"/>
                  <a:pt x="2486879" y="7619860"/>
                  <a:pt x="2484800" y="7628973"/>
                </a:cubicBezTo>
                <a:cubicBezTo>
                  <a:pt x="2466257" y="7644638"/>
                  <a:pt x="2446290" y="7661507"/>
                  <a:pt x="2424896" y="7679581"/>
                </a:cubicBezTo>
                <a:cubicBezTo>
                  <a:pt x="2419626" y="7679130"/>
                  <a:pt x="2412929" y="7679884"/>
                  <a:pt x="2402389" y="7678982"/>
                </a:cubicBezTo>
                <a:cubicBezTo>
                  <a:pt x="2395258" y="7685006"/>
                  <a:pt x="2388126" y="7691031"/>
                  <a:pt x="2375290" y="7701876"/>
                </a:cubicBezTo>
                <a:cubicBezTo>
                  <a:pt x="2355636" y="7698865"/>
                  <a:pt x="2332138" y="7694198"/>
                  <a:pt x="2308640" y="7689531"/>
                </a:cubicBezTo>
                <a:cubicBezTo>
                  <a:pt x="2308422" y="7692166"/>
                  <a:pt x="2309414" y="7696233"/>
                  <a:pt x="2309196" y="7698868"/>
                </a:cubicBezTo>
                <a:cubicBezTo>
                  <a:pt x="2297230" y="7699171"/>
                  <a:pt x="2283836" y="7700677"/>
                  <a:pt x="2272862" y="7705046"/>
                </a:cubicBezTo>
                <a:cubicBezTo>
                  <a:pt x="2263313" y="7708210"/>
                  <a:pt x="2257390" y="7715665"/>
                  <a:pt x="2253111" y="7719280"/>
                </a:cubicBezTo>
                <a:cubicBezTo>
                  <a:pt x="2237083" y="7720562"/>
                  <a:pt x="2226543" y="7719659"/>
                  <a:pt x="2218638" y="7718982"/>
                </a:cubicBezTo>
                <a:cubicBezTo>
                  <a:pt x="2198645" y="7703998"/>
                  <a:pt x="2217066" y="7673722"/>
                  <a:pt x="2191368" y="7663558"/>
                </a:cubicBezTo>
                <a:cubicBezTo>
                  <a:pt x="2186412" y="7643226"/>
                  <a:pt x="2186943" y="7620709"/>
                  <a:pt x="2163881" y="7610771"/>
                </a:cubicBezTo>
                <a:cubicBezTo>
                  <a:pt x="2150270" y="7614914"/>
                  <a:pt x="2136442" y="7621692"/>
                  <a:pt x="2119423" y="7618906"/>
                </a:cubicBezTo>
                <a:cubicBezTo>
                  <a:pt x="2108013" y="7628546"/>
                  <a:pt x="2095176" y="7639391"/>
                  <a:pt x="2082340" y="7650236"/>
                </a:cubicBezTo>
                <a:cubicBezTo>
                  <a:pt x="2076079" y="7645719"/>
                  <a:pt x="2069817" y="7641201"/>
                  <a:pt x="2063556" y="7636683"/>
                </a:cubicBezTo>
                <a:cubicBezTo>
                  <a:pt x="2068487" y="7625160"/>
                  <a:pt x="2073419" y="7613639"/>
                  <a:pt x="2076923" y="7603321"/>
                </a:cubicBezTo>
                <a:cubicBezTo>
                  <a:pt x="2064280" y="7579676"/>
                  <a:pt x="2039260" y="7593458"/>
                  <a:pt x="2024102" y="7584197"/>
                </a:cubicBezTo>
                <a:cubicBezTo>
                  <a:pt x="2023763" y="7572224"/>
                  <a:pt x="2023207" y="7562885"/>
                  <a:pt x="2024077" y="7552343"/>
                </a:cubicBezTo>
                <a:cubicBezTo>
                  <a:pt x="2036914" y="7541498"/>
                  <a:pt x="2048324" y="7531858"/>
                  <a:pt x="2056882" y="7524628"/>
                </a:cubicBezTo>
                <a:cubicBezTo>
                  <a:pt x="2063675" y="7506629"/>
                  <a:pt x="2068824" y="7492471"/>
                  <a:pt x="2075399" y="7477108"/>
                </a:cubicBezTo>
                <a:cubicBezTo>
                  <a:pt x="2069355" y="7469954"/>
                  <a:pt x="2062103" y="7461370"/>
                  <a:pt x="2054850" y="7452785"/>
                </a:cubicBezTo>
                <a:cubicBezTo>
                  <a:pt x="2055503" y="7444878"/>
                  <a:pt x="2056155" y="7436971"/>
                  <a:pt x="2057025" y="7426428"/>
                </a:cubicBezTo>
                <a:cubicBezTo>
                  <a:pt x="2041771" y="7434411"/>
                  <a:pt x="2027943" y="7441189"/>
                  <a:pt x="2015324" y="7449399"/>
                </a:cubicBezTo>
                <a:cubicBezTo>
                  <a:pt x="2005654" y="7437953"/>
                  <a:pt x="2013221" y="7426656"/>
                  <a:pt x="2011673" y="7413253"/>
                </a:cubicBezTo>
                <a:cubicBezTo>
                  <a:pt x="2018804" y="7407227"/>
                  <a:pt x="2027362" y="7399998"/>
                  <a:pt x="2035920" y="7392768"/>
                </a:cubicBezTo>
                <a:cubicBezTo>
                  <a:pt x="2042398" y="7394650"/>
                  <a:pt x="2051729" y="7394121"/>
                  <a:pt x="2059636" y="7394799"/>
                </a:cubicBezTo>
                <a:cubicBezTo>
                  <a:pt x="2051150" y="7352929"/>
                  <a:pt x="2085380" y="7324009"/>
                  <a:pt x="2091278" y="7284699"/>
                </a:cubicBezTo>
                <a:cubicBezTo>
                  <a:pt x="2105540" y="7272649"/>
                  <a:pt x="2121230" y="7259394"/>
                  <a:pt x="2136919" y="7246139"/>
                </a:cubicBezTo>
                <a:cubicBezTo>
                  <a:pt x="2138999" y="7237027"/>
                  <a:pt x="2139651" y="7229119"/>
                  <a:pt x="2140304" y="7221212"/>
                </a:cubicBezTo>
                <a:cubicBezTo>
                  <a:pt x="2160272" y="7204342"/>
                  <a:pt x="2180240" y="7187473"/>
                  <a:pt x="2201634" y="7169397"/>
                </a:cubicBezTo>
                <a:cubicBezTo>
                  <a:pt x="2200643" y="7165331"/>
                  <a:pt x="2201078" y="7160059"/>
                  <a:pt x="2199868" y="7158628"/>
                </a:cubicBezTo>
                <a:cubicBezTo>
                  <a:pt x="2201729" y="7152152"/>
                  <a:pt x="2200739" y="7148085"/>
                  <a:pt x="2202165" y="7146880"/>
                </a:cubicBezTo>
                <a:cubicBezTo>
                  <a:pt x="2230691" y="7122780"/>
                  <a:pt x="2259216" y="7098680"/>
                  <a:pt x="2287742" y="7074580"/>
                </a:cubicBezTo>
                <a:cubicBezTo>
                  <a:pt x="2288177" y="7069309"/>
                  <a:pt x="2288613" y="7064038"/>
                  <a:pt x="2288057" y="7054700"/>
                </a:cubicBezTo>
                <a:cubicBezTo>
                  <a:pt x="2303746" y="7041445"/>
                  <a:pt x="2322288" y="7025780"/>
                  <a:pt x="2336549" y="7013730"/>
                </a:cubicBezTo>
                <a:cubicBezTo>
                  <a:pt x="2337421" y="7003187"/>
                  <a:pt x="2337856" y="6997916"/>
                  <a:pt x="2338508" y="6990008"/>
                </a:cubicBezTo>
                <a:cubicBezTo>
                  <a:pt x="2351345" y="6979163"/>
                  <a:pt x="2364181" y="6968317"/>
                  <a:pt x="2375592" y="6958678"/>
                </a:cubicBezTo>
                <a:cubicBezTo>
                  <a:pt x="2376462" y="6948135"/>
                  <a:pt x="2376897" y="6942863"/>
                  <a:pt x="2377549" y="6934957"/>
                </a:cubicBezTo>
                <a:cubicBezTo>
                  <a:pt x="2401796" y="6914471"/>
                  <a:pt x="2427470" y="6892781"/>
                  <a:pt x="2450290" y="6873501"/>
                </a:cubicBezTo>
                <a:cubicBezTo>
                  <a:pt x="2451160" y="6862958"/>
                  <a:pt x="2451595" y="6857687"/>
                  <a:pt x="2452030" y="6852415"/>
                </a:cubicBezTo>
                <a:cubicBezTo>
                  <a:pt x="2467720" y="6839160"/>
                  <a:pt x="2483409" y="6825905"/>
                  <a:pt x="2499098" y="6812651"/>
                </a:cubicBezTo>
                <a:cubicBezTo>
                  <a:pt x="2501177" y="6803539"/>
                  <a:pt x="2501829" y="6795631"/>
                  <a:pt x="2502482" y="6787723"/>
                </a:cubicBezTo>
                <a:cubicBezTo>
                  <a:pt x="2526729" y="6767239"/>
                  <a:pt x="2550976" y="6746754"/>
                  <a:pt x="2575223" y="6726269"/>
                </a:cubicBezTo>
                <a:cubicBezTo>
                  <a:pt x="2575657" y="6720997"/>
                  <a:pt x="2576093" y="6715726"/>
                  <a:pt x="2576528" y="6710454"/>
                </a:cubicBezTo>
                <a:cubicBezTo>
                  <a:pt x="2576745" y="6707819"/>
                  <a:pt x="2575754" y="6703753"/>
                  <a:pt x="2577180" y="6702547"/>
                </a:cubicBezTo>
                <a:cubicBezTo>
                  <a:pt x="2597148" y="6685677"/>
                  <a:pt x="2617115" y="6668807"/>
                  <a:pt x="2637084" y="6651937"/>
                </a:cubicBezTo>
                <a:cubicBezTo>
                  <a:pt x="2637519" y="6646666"/>
                  <a:pt x="2637954" y="6641395"/>
                  <a:pt x="2638824" y="6630851"/>
                </a:cubicBezTo>
                <a:cubicBezTo>
                  <a:pt x="2655166" y="6609689"/>
                  <a:pt x="2684248" y="6594926"/>
                  <a:pt x="2704869" y="6570150"/>
                </a:cubicBezTo>
                <a:cubicBezTo>
                  <a:pt x="2683014" y="6561642"/>
                  <a:pt x="2677866" y="6575799"/>
                  <a:pt x="2667882" y="6584234"/>
                </a:cubicBezTo>
                <a:cubicBezTo>
                  <a:pt x="2659542" y="6588829"/>
                  <a:pt x="2653401" y="6598920"/>
                  <a:pt x="2640444" y="6595156"/>
                </a:cubicBezTo>
                <a:cubicBezTo>
                  <a:pt x="2624851" y="6591166"/>
                  <a:pt x="2618276" y="6606528"/>
                  <a:pt x="2607300" y="6610897"/>
                </a:cubicBezTo>
                <a:cubicBezTo>
                  <a:pt x="2605222" y="6620009"/>
                  <a:pt x="2604568" y="6627917"/>
                  <a:pt x="2602489" y="6637029"/>
                </a:cubicBezTo>
                <a:cubicBezTo>
                  <a:pt x="2592506" y="6645464"/>
                  <a:pt x="2579669" y="6656309"/>
                  <a:pt x="2566832" y="6667154"/>
                </a:cubicBezTo>
                <a:cubicBezTo>
                  <a:pt x="2561563" y="6666702"/>
                  <a:pt x="2553658" y="6666025"/>
                  <a:pt x="2544325" y="6666553"/>
                </a:cubicBezTo>
                <a:cubicBezTo>
                  <a:pt x="2532915" y="6676193"/>
                  <a:pt x="2521505" y="6685833"/>
                  <a:pt x="2508668" y="6696678"/>
                </a:cubicBezTo>
                <a:cubicBezTo>
                  <a:pt x="2500764" y="6696001"/>
                  <a:pt x="2492859" y="6695324"/>
                  <a:pt x="2482319" y="6694421"/>
                </a:cubicBezTo>
                <a:cubicBezTo>
                  <a:pt x="2479031" y="6702103"/>
                  <a:pt x="2474317" y="6710989"/>
                  <a:pt x="2467742" y="6726351"/>
                </a:cubicBezTo>
                <a:cubicBezTo>
                  <a:pt x="2454349" y="6727858"/>
                  <a:pt x="2436677" y="6732981"/>
                  <a:pt x="2407039" y="6738405"/>
                </a:cubicBezTo>
                <a:cubicBezTo>
                  <a:pt x="2398482" y="6745635"/>
                  <a:pt x="2379940" y="6761300"/>
                  <a:pt x="2364251" y="6774555"/>
                </a:cubicBezTo>
                <a:cubicBezTo>
                  <a:pt x="2356345" y="6773877"/>
                  <a:pt x="2351075" y="6773426"/>
                  <a:pt x="2344597" y="6771543"/>
                </a:cubicBezTo>
                <a:cubicBezTo>
                  <a:pt x="2333186" y="6781184"/>
                  <a:pt x="2320350" y="6792028"/>
                  <a:pt x="2308939" y="6801669"/>
                </a:cubicBezTo>
                <a:cubicBezTo>
                  <a:pt x="2299608" y="6802196"/>
                  <a:pt x="2291703" y="6801519"/>
                  <a:pt x="2285005" y="6802273"/>
                </a:cubicBezTo>
                <a:cubicBezTo>
                  <a:pt x="2283144" y="6808749"/>
                  <a:pt x="2282493" y="6816657"/>
                  <a:pt x="2281840" y="6824564"/>
                </a:cubicBezTo>
                <a:cubicBezTo>
                  <a:pt x="2276570" y="6824113"/>
                  <a:pt x="2271300" y="6823661"/>
                  <a:pt x="2262185" y="6821553"/>
                </a:cubicBezTo>
                <a:cubicBezTo>
                  <a:pt x="2235739" y="6836541"/>
                  <a:pt x="2213475" y="6865158"/>
                  <a:pt x="2185600" y="6881351"/>
                </a:cubicBezTo>
                <a:cubicBezTo>
                  <a:pt x="2173634" y="6881654"/>
                  <a:pt x="2163095" y="6880751"/>
                  <a:pt x="2155189" y="6880073"/>
                </a:cubicBezTo>
                <a:cubicBezTo>
                  <a:pt x="2147719" y="6874125"/>
                  <a:pt x="2141458" y="6869607"/>
                  <a:pt x="2127727" y="6859141"/>
                </a:cubicBezTo>
                <a:cubicBezTo>
                  <a:pt x="2131257" y="6880678"/>
                  <a:pt x="2132587" y="6896718"/>
                  <a:pt x="2134351" y="6907487"/>
                </a:cubicBezTo>
                <a:cubicBezTo>
                  <a:pt x="2121515" y="6918331"/>
                  <a:pt x="2112956" y="6925561"/>
                  <a:pt x="2108678" y="6929176"/>
                </a:cubicBezTo>
                <a:cubicBezTo>
                  <a:pt x="2089798" y="6932868"/>
                  <a:pt x="2074761" y="6938216"/>
                  <a:pt x="2060160" y="6938292"/>
                </a:cubicBezTo>
                <a:cubicBezTo>
                  <a:pt x="2049402" y="6940025"/>
                  <a:pt x="2036444" y="6936260"/>
                  <a:pt x="2024477" y="6936562"/>
                </a:cubicBezTo>
                <a:cubicBezTo>
                  <a:pt x="2023825" y="6944470"/>
                  <a:pt x="2023390" y="6949741"/>
                  <a:pt x="2021310" y="6958853"/>
                </a:cubicBezTo>
                <a:cubicBezTo>
                  <a:pt x="2010771" y="6957950"/>
                  <a:pt x="1997813" y="6954185"/>
                  <a:pt x="1984421" y="6955693"/>
                </a:cubicBezTo>
                <a:cubicBezTo>
                  <a:pt x="1975089" y="6956221"/>
                  <a:pt x="1966749" y="6960815"/>
                  <a:pt x="1957200" y="6963978"/>
                </a:cubicBezTo>
                <a:cubicBezTo>
                  <a:pt x="1950939" y="6959460"/>
                  <a:pt x="1944678" y="6954943"/>
                  <a:pt x="1934572" y="6948769"/>
                </a:cubicBezTo>
                <a:cubicBezTo>
                  <a:pt x="1926015" y="6955998"/>
                  <a:pt x="1917456" y="6963228"/>
                  <a:pt x="1904838" y="6971437"/>
                </a:cubicBezTo>
                <a:cubicBezTo>
                  <a:pt x="1895941" y="6966693"/>
                  <a:pt x="1888471" y="6960745"/>
                  <a:pt x="1879575" y="6956001"/>
                </a:cubicBezTo>
                <a:cubicBezTo>
                  <a:pt x="1872661" y="6959390"/>
                  <a:pt x="1865747" y="6962780"/>
                  <a:pt x="1858832" y="6966169"/>
                </a:cubicBezTo>
                <a:cubicBezTo>
                  <a:pt x="1843023" y="6964815"/>
                  <a:pt x="1841692" y="6948775"/>
                  <a:pt x="1830379" y="6941169"/>
                </a:cubicBezTo>
                <a:cubicBezTo>
                  <a:pt x="1822474" y="6940493"/>
                  <a:pt x="1814569" y="6939815"/>
                  <a:pt x="1808090" y="6937932"/>
                </a:cubicBezTo>
                <a:cubicBezTo>
                  <a:pt x="1800838" y="6929349"/>
                  <a:pt x="1793585" y="6920764"/>
                  <a:pt x="1786331" y="6912180"/>
                </a:cubicBezTo>
                <a:cubicBezTo>
                  <a:pt x="1780845" y="6914364"/>
                  <a:pt x="1774366" y="6912482"/>
                  <a:pt x="1771513" y="6914892"/>
                </a:cubicBezTo>
                <a:cubicBezTo>
                  <a:pt x="1742988" y="6938992"/>
                  <a:pt x="1714462" y="6963092"/>
                  <a:pt x="1690214" y="6983577"/>
                </a:cubicBezTo>
                <a:cubicBezTo>
                  <a:pt x="1679675" y="6982674"/>
                  <a:pt x="1674405" y="6982222"/>
                  <a:pt x="1669135" y="6981771"/>
                </a:cubicBezTo>
                <a:cubicBezTo>
                  <a:pt x="1644888" y="7002256"/>
                  <a:pt x="1620640" y="7022741"/>
                  <a:pt x="1594968" y="7044431"/>
                </a:cubicBezTo>
                <a:cubicBezTo>
                  <a:pt x="1594532" y="7049702"/>
                  <a:pt x="1593879" y="7057610"/>
                  <a:pt x="1593226" y="7065517"/>
                </a:cubicBezTo>
                <a:cubicBezTo>
                  <a:pt x="1567530" y="7055353"/>
                  <a:pt x="1541832" y="7045188"/>
                  <a:pt x="1512507" y="7030731"/>
                </a:cubicBezTo>
                <a:cubicBezTo>
                  <a:pt x="1506464" y="7023577"/>
                  <a:pt x="1495585" y="7010700"/>
                  <a:pt x="1485915" y="6999255"/>
                </a:cubicBezTo>
                <a:cubicBezTo>
                  <a:pt x="1485141" y="6992552"/>
                  <a:pt x="1484585" y="6983214"/>
                  <a:pt x="1485237" y="6975307"/>
                </a:cubicBezTo>
                <a:cubicBezTo>
                  <a:pt x="1477332" y="6974631"/>
                  <a:pt x="1469427" y="6973952"/>
                  <a:pt x="1458887" y="6973050"/>
                </a:cubicBezTo>
                <a:cubicBezTo>
                  <a:pt x="1455913" y="6960850"/>
                  <a:pt x="1457001" y="6947672"/>
                  <a:pt x="1452600" y="6936677"/>
                </a:cubicBezTo>
                <a:cubicBezTo>
                  <a:pt x="1447983" y="6928319"/>
                  <a:pt x="1439305" y="6920940"/>
                  <a:pt x="1433261" y="6913785"/>
                </a:cubicBezTo>
                <a:cubicBezTo>
                  <a:pt x="1434783" y="6895335"/>
                  <a:pt x="1449602" y="6892623"/>
                  <a:pt x="1459804" y="6881553"/>
                </a:cubicBezTo>
                <a:cubicBezTo>
                  <a:pt x="1455404" y="6870558"/>
                  <a:pt x="1452430" y="6858359"/>
                  <a:pt x="1449239" y="6848795"/>
                </a:cubicBezTo>
                <a:cubicBezTo>
                  <a:pt x="1458570" y="6848267"/>
                  <a:pt x="1465267" y="6847514"/>
                  <a:pt x="1473172" y="6848191"/>
                </a:cubicBezTo>
                <a:cubicBezTo>
                  <a:pt x="1470634" y="6830721"/>
                  <a:pt x="1460962" y="6819274"/>
                  <a:pt x="1442953" y="6812422"/>
                </a:cubicBezTo>
                <a:cubicBezTo>
                  <a:pt x="1441092" y="6818899"/>
                  <a:pt x="1439231" y="6825375"/>
                  <a:pt x="1438578" y="6833283"/>
                </a:cubicBezTo>
                <a:cubicBezTo>
                  <a:pt x="1431881" y="6834036"/>
                  <a:pt x="1423976" y="6833359"/>
                  <a:pt x="1418706" y="6832907"/>
                </a:cubicBezTo>
                <a:cubicBezTo>
                  <a:pt x="1412784" y="6840364"/>
                  <a:pt x="1419601" y="6854220"/>
                  <a:pt x="1408408" y="6861224"/>
                </a:cubicBezTo>
                <a:cubicBezTo>
                  <a:pt x="1403573" y="6855501"/>
                  <a:pt x="1397530" y="6848346"/>
                  <a:pt x="1391486" y="6841193"/>
                </a:cubicBezTo>
                <a:cubicBezTo>
                  <a:pt x="1396200" y="6832307"/>
                  <a:pt x="1400914" y="6823420"/>
                  <a:pt x="1406836" y="6815965"/>
                </a:cubicBezTo>
                <a:cubicBezTo>
                  <a:pt x="1403645" y="6806401"/>
                  <a:pt x="1400454" y="6796838"/>
                  <a:pt x="1397263" y="6787273"/>
                </a:cubicBezTo>
                <a:cubicBezTo>
                  <a:pt x="1389671" y="6766716"/>
                  <a:pt x="1411839" y="6755342"/>
                  <a:pt x="1413361" y="6736892"/>
                </a:cubicBezTo>
                <a:cubicBezTo>
                  <a:pt x="1414232" y="6726349"/>
                  <a:pt x="1428277" y="6716935"/>
                  <a:pt x="1437052" y="6707069"/>
                </a:cubicBezTo>
                <a:cubicBezTo>
                  <a:pt x="1438792" y="6685983"/>
                  <a:pt x="1416939" y="6677475"/>
                  <a:pt x="1407704" y="6660758"/>
                </a:cubicBezTo>
                <a:cubicBezTo>
                  <a:pt x="1407148" y="6651421"/>
                  <a:pt x="1408018" y="6640877"/>
                  <a:pt x="1409105" y="6627698"/>
                </a:cubicBezTo>
                <a:cubicBezTo>
                  <a:pt x="1414811" y="6622879"/>
                  <a:pt x="1424577" y="6617079"/>
                  <a:pt x="1429291" y="6608193"/>
                </a:cubicBezTo>
                <a:cubicBezTo>
                  <a:pt x="1435213" y="6600737"/>
                  <a:pt x="1434875" y="6588763"/>
                  <a:pt x="1438163" y="6581081"/>
                </a:cubicBezTo>
                <a:cubicBezTo>
                  <a:pt x="1441668" y="6570765"/>
                  <a:pt x="1446382" y="6561878"/>
                  <a:pt x="1454382" y="6545310"/>
                </a:cubicBezTo>
                <a:cubicBezTo>
                  <a:pt x="1467220" y="6534466"/>
                  <a:pt x="1487188" y="6517595"/>
                  <a:pt x="1507156" y="6500726"/>
                </a:cubicBezTo>
                <a:cubicBezTo>
                  <a:pt x="1509234" y="6491613"/>
                  <a:pt x="1511095" y="6485136"/>
                  <a:pt x="1511748" y="6477229"/>
                </a:cubicBezTo>
                <a:cubicBezTo>
                  <a:pt x="1523159" y="6467590"/>
                  <a:pt x="1535996" y="6456745"/>
                  <a:pt x="1547406" y="6447105"/>
                </a:cubicBezTo>
                <a:cubicBezTo>
                  <a:pt x="1548059" y="6439197"/>
                  <a:pt x="1548710" y="6431290"/>
                  <a:pt x="1550789" y="6422178"/>
                </a:cubicBezTo>
                <a:cubicBezTo>
                  <a:pt x="1573611" y="6402898"/>
                  <a:pt x="1597858" y="6382413"/>
                  <a:pt x="1622103" y="6361928"/>
                </a:cubicBezTo>
                <a:cubicBezTo>
                  <a:pt x="1621331" y="6355225"/>
                  <a:pt x="1621766" y="6349953"/>
                  <a:pt x="1623845" y="6340841"/>
                </a:cubicBezTo>
                <a:cubicBezTo>
                  <a:pt x="1643812" y="6323972"/>
                  <a:pt x="1665207" y="6305897"/>
                  <a:pt x="1685175" y="6289027"/>
                </a:cubicBezTo>
                <a:cubicBezTo>
                  <a:pt x="1684619" y="6279689"/>
                  <a:pt x="1685054" y="6274417"/>
                  <a:pt x="1687133" y="6265305"/>
                </a:cubicBezTo>
                <a:cubicBezTo>
                  <a:pt x="1714232" y="6242410"/>
                  <a:pt x="1744184" y="6217104"/>
                  <a:pt x="1771284" y="6194210"/>
                </a:cubicBezTo>
                <a:cubicBezTo>
                  <a:pt x="1772154" y="6183666"/>
                  <a:pt x="1772589" y="6178396"/>
                  <a:pt x="1771815" y="6171693"/>
                </a:cubicBezTo>
                <a:cubicBezTo>
                  <a:pt x="1779720" y="6172371"/>
                  <a:pt x="1786417" y="6171617"/>
                  <a:pt x="1794322" y="6172295"/>
                </a:cubicBezTo>
                <a:cubicBezTo>
                  <a:pt x="1794974" y="6164386"/>
                  <a:pt x="1796836" y="6157911"/>
                  <a:pt x="1797488" y="6150004"/>
                </a:cubicBezTo>
                <a:cubicBezTo>
                  <a:pt x="1837424" y="6116263"/>
                  <a:pt x="1877360" y="6082523"/>
                  <a:pt x="1918722" y="6047578"/>
                </a:cubicBezTo>
                <a:cubicBezTo>
                  <a:pt x="1919158" y="6042307"/>
                  <a:pt x="1919593" y="6037035"/>
                  <a:pt x="1918601" y="6032969"/>
                </a:cubicBezTo>
                <a:cubicBezTo>
                  <a:pt x="1920246" y="6029128"/>
                  <a:pt x="1919254" y="6025062"/>
                  <a:pt x="1920681" y="6023857"/>
                </a:cubicBezTo>
                <a:cubicBezTo>
                  <a:pt x="1969174" y="5982887"/>
                  <a:pt x="2017667" y="5941917"/>
                  <a:pt x="2066161" y="5900947"/>
                </a:cubicBezTo>
                <a:cubicBezTo>
                  <a:pt x="2066597" y="5895675"/>
                  <a:pt x="2067032" y="5890403"/>
                  <a:pt x="2067902" y="5879861"/>
                </a:cubicBezTo>
                <a:cubicBezTo>
                  <a:pt x="2114970" y="5840096"/>
                  <a:pt x="2164890" y="5797921"/>
                  <a:pt x="2213383" y="5756951"/>
                </a:cubicBezTo>
                <a:cubicBezTo>
                  <a:pt x="2212827" y="5747612"/>
                  <a:pt x="2213262" y="5742342"/>
                  <a:pt x="2215123" y="5735864"/>
                </a:cubicBezTo>
                <a:cubicBezTo>
                  <a:pt x="2237944" y="5716585"/>
                  <a:pt x="2262191" y="5696100"/>
                  <a:pt x="2289290" y="5673205"/>
                </a:cubicBezTo>
                <a:cubicBezTo>
                  <a:pt x="2291926" y="5673430"/>
                  <a:pt x="2299831" y="5674108"/>
                  <a:pt x="2310589" y="5672374"/>
                </a:cubicBezTo>
                <a:cubicBezTo>
                  <a:pt x="2316294" y="5667555"/>
                  <a:pt x="2327268" y="5663186"/>
                  <a:pt x="2331982" y="5654300"/>
                </a:cubicBezTo>
                <a:cubicBezTo>
                  <a:pt x="2339984" y="5637732"/>
                  <a:pt x="2345568" y="5618302"/>
                  <a:pt x="2352579" y="5597668"/>
                </a:cubicBezTo>
                <a:cubicBezTo>
                  <a:pt x="2357849" y="5598120"/>
                  <a:pt x="2365754" y="5598797"/>
                  <a:pt x="2372450" y="5598043"/>
                </a:cubicBezTo>
                <a:cubicBezTo>
                  <a:pt x="2374312" y="5591567"/>
                  <a:pt x="2374964" y="5583659"/>
                  <a:pt x="2375617" y="5575753"/>
                </a:cubicBezTo>
                <a:cubicBezTo>
                  <a:pt x="2385722" y="5581927"/>
                  <a:pt x="2394618" y="5586670"/>
                  <a:pt x="2404723" y="5592845"/>
                </a:cubicBezTo>
                <a:cubicBezTo>
                  <a:pt x="2411855" y="5586819"/>
                  <a:pt x="2420412" y="5579589"/>
                  <a:pt x="2430179" y="5573790"/>
                </a:cubicBezTo>
                <a:cubicBezTo>
                  <a:pt x="2430832" y="5565884"/>
                  <a:pt x="2432693" y="5559407"/>
                  <a:pt x="2434772" y="5550294"/>
                </a:cubicBezTo>
                <a:cubicBezTo>
                  <a:pt x="2440042" y="5550746"/>
                  <a:pt x="2446738" y="5549992"/>
                  <a:pt x="2456070" y="5549465"/>
                </a:cubicBezTo>
                <a:cubicBezTo>
                  <a:pt x="2463201" y="5543440"/>
                  <a:pt x="2470332" y="5537415"/>
                  <a:pt x="2480317" y="5528980"/>
                </a:cubicBezTo>
                <a:cubicBezTo>
                  <a:pt x="2478334" y="5520847"/>
                  <a:pt x="2473717" y="5512488"/>
                  <a:pt x="2471734" y="5504355"/>
                </a:cubicBezTo>
                <a:cubicBezTo>
                  <a:pt x="2470743" y="5500289"/>
                  <a:pt x="2469751" y="5496222"/>
                  <a:pt x="2471178" y="5495017"/>
                </a:cubicBezTo>
                <a:cubicBezTo>
                  <a:pt x="2491146" y="5478147"/>
                  <a:pt x="2512540" y="5460072"/>
                  <a:pt x="2531082" y="5444407"/>
                </a:cubicBezTo>
                <a:cubicBezTo>
                  <a:pt x="2540414" y="5443880"/>
                  <a:pt x="2548319" y="5444556"/>
                  <a:pt x="2553589" y="5445008"/>
                </a:cubicBezTo>
                <a:cubicBezTo>
                  <a:pt x="2555450" y="5438532"/>
                  <a:pt x="2555885" y="5433260"/>
                  <a:pt x="2556538" y="5425353"/>
                </a:cubicBezTo>
                <a:cubicBezTo>
                  <a:pt x="2572227" y="5412098"/>
                  <a:pt x="2589342" y="5397638"/>
                  <a:pt x="2607884" y="5381973"/>
                </a:cubicBezTo>
                <a:cubicBezTo>
                  <a:pt x="2622268" y="5384532"/>
                  <a:pt x="2634016" y="5386866"/>
                  <a:pt x="2640810" y="5368867"/>
                </a:cubicBezTo>
                <a:cubicBezTo>
                  <a:pt x="2639045" y="5358099"/>
                  <a:pt x="2632784" y="5353581"/>
                  <a:pt x="2621252" y="5348611"/>
                </a:cubicBezTo>
                <a:cubicBezTo>
                  <a:pt x="2599180" y="5342739"/>
                  <a:pt x="2582839" y="5363901"/>
                  <a:pt x="2560985" y="5355392"/>
                </a:cubicBezTo>
                <a:cubicBezTo>
                  <a:pt x="2548147" y="5366238"/>
                  <a:pt x="2536737" y="5375878"/>
                  <a:pt x="2525328" y="5385517"/>
                </a:cubicBezTo>
                <a:cubicBezTo>
                  <a:pt x="2515996" y="5386046"/>
                  <a:pt x="2508091" y="5385369"/>
                  <a:pt x="2497551" y="5384466"/>
                </a:cubicBezTo>
                <a:cubicBezTo>
                  <a:pt x="2495906" y="5388306"/>
                  <a:pt x="2494209" y="5392806"/>
                  <a:pt x="2491922" y="5398417"/>
                </a:cubicBezTo>
                <a:lnTo>
                  <a:pt x="2483909" y="5416442"/>
                </a:lnTo>
                <a:lnTo>
                  <a:pt x="2421159" y="5409774"/>
                </a:lnTo>
                <a:cubicBezTo>
                  <a:pt x="2412602" y="5417003"/>
                  <a:pt x="2405470" y="5423029"/>
                  <a:pt x="2396912" y="5430259"/>
                </a:cubicBezTo>
                <a:cubicBezTo>
                  <a:pt x="2389007" y="5429582"/>
                  <a:pt x="2381102" y="5428905"/>
                  <a:pt x="2374406" y="5429659"/>
                </a:cubicBezTo>
                <a:cubicBezTo>
                  <a:pt x="2365848" y="5436888"/>
                  <a:pt x="2357290" y="5444118"/>
                  <a:pt x="2350159" y="5450144"/>
                </a:cubicBezTo>
                <a:cubicBezTo>
                  <a:pt x="2349506" y="5458050"/>
                  <a:pt x="2347645" y="5464526"/>
                  <a:pt x="2346992" y="5472434"/>
                </a:cubicBezTo>
                <a:cubicBezTo>
                  <a:pt x="2335582" y="5482074"/>
                  <a:pt x="2325597" y="5490509"/>
                  <a:pt x="2314187" y="5500149"/>
                </a:cubicBezTo>
                <a:cubicBezTo>
                  <a:pt x="2307491" y="5500903"/>
                  <a:pt x="2300795" y="5501656"/>
                  <a:pt x="2288827" y="5501958"/>
                </a:cubicBezTo>
                <a:cubicBezTo>
                  <a:pt x="2278844" y="5510393"/>
                  <a:pt x="2264582" y="5522443"/>
                  <a:pt x="2251745" y="5533289"/>
                </a:cubicBezTo>
                <a:cubicBezTo>
                  <a:pt x="2252519" y="5539991"/>
                  <a:pt x="2252084" y="5545262"/>
                  <a:pt x="2250222" y="5551738"/>
                </a:cubicBezTo>
                <a:cubicBezTo>
                  <a:pt x="2221697" y="5575838"/>
                  <a:pt x="2191744" y="5601144"/>
                  <a:pt x="2163219" y="5625244"/>
                </a:cubicBezTo>
                <a:cubicBezTo>
                  <a:pt x="2155314" y="5624566"/>
                  <a:pt x="2150043" y="5624115"/>
                  <a:pt x="2144773" y="5623664"/>
                </a:cubicBezTo>
                <a:cubicBezTo>
                  <a:pt x="2142912" y="5630140"/>
                  <a:pt x="2142259" y="5638046"/>
                  <a:pt x="2141607" y="5645954"/>
                </a:cubicBezTo>
                <a:cubicBezTo>
                  <a:pt x="2133049" y="5653184"/>
                  <a:pt x="2125918" y="5659209"/>
                  <a:pt x="2117360" y="5666440"/>
                </a:cubicBezTo>
                <a:cubicBezTo>
                  <a:pt x="2109455" y="5665762"/>
                  <a:pt x="2101550" y="5665084"/>
                  <a:pt x="2094853" y="5665838"/>
                </a:cubicBezTo>
                <a:cubicBezTo>
                  <a:pt x="2086296" y="5673068"/>
                  <a:pt x="2077738" y="5680299"/>
                  <a:pt x="2070606" y="5686323"/>
                </a:cubicBezTo>
                <a:cubicBezTo>
                  <a:pt x="2069954" y="5694230"/>
                  <a:pt x="2069301" y="5702138"/>
                  <a:pt x="2068866" y="5707410"/>
                </a:cubicBezTo>
                <a:cubicBezTo>
                  <a:pt x="2058230" y="5723751"/>
                  <a:pt x="2043072" y="5714489"/>
                  <a:pt x="2026827" y="5718407"/>
                </a:cubicBezTo>
                <a:cubicBezTo>
                  <a:pt x="2024748" y="5727519"/>
                  <a:pt x="2021460" y="5735200"/>
                  <a:pt x="2017736" y="5748153"/>
                </a:cubicBezTo>
                <a:cubicBezTo>
                  <a:pt x="2012467" y="5747702"/>
                  <a:pt x="2005771" y="5748455"/>
                  <a:pt x="1997866" y="5747778"/>
                </a:cubicBezTo>
                <a:cubicBezTo>
                  <a:pt x="1957930" y="5781518"/>
                  <a:pt x="1917994" y="5815258"/>
                  <a:pt x="1878058" y="5848999"/>
                </a:cubicBezTo>
                <a:cubicBezTo>
                  <a:pt x="1870152" y="5848322"/>
                  <a:pt x="1862246" y="5847644"/>
                  <a:pt x="1852916" y="5848171"/>
                </a:cubicBezTo>
                <a:cubicBezTo>
                  <a:pt x="1853907" y="5852238"/>
                  <a:pt x="1853471" y="5857510"/>
                  <a:pt x="1853037" y="5862781"/>
                </a:cubicBezTo>
                <a:cubicBezTo>
                  <a:pt x="1844818" y="5881985"/>
                  <a:pt x="1828355" y="5888538"/>
                  <a:pt x="1814092" y="5900588"/>
                </a:cubicBezTo>
                <a:cubicBezTo>
                  <a:pt x="1808822" y="5900137"/>
                  <a:pt x="1803552" y="5899685"/>
                  <a:pt x="1793012" y="5898782"/>
                </a:cubicBezTo>
                <a:cubicBezTo>
                  <a:pt x="1778749" y="5910832"/>
                  <a:pt x="1760207" y="5926497"/>
                  <a:pt x="1744518" y="5939752"/>
                </a:cubicBezTo>
                <a:cubicBezTo>
                  <a:pt x="1736612" y="5939074"/>
                  <a:pt x="1731342" y="5938622"/>
                  <a:pt x="1723438" y="5937946"/>
                </a:cubicBezTo>
                <a:cubicBezTo>
                  <a:pt x="1721576" y="5944422"/>
                  <a:pt x="1721141" y="5949694"/>
                  <a:pt x="1719062" y="5958806"/>
                </a:cubicBezTo>
                <a:cubicBezTo>
                  <a:pt x="1713792" y="5958354"/>
                  <a:pt x="1705887" y="5957677"/>
                  <a:pt x="1696556" y="5958205"/>
                </a:cubicBezTo>
                <a:cubicBezTo>
                  <a:pt x="1682293" y="5970255"/>
                  <a:pt x="1665177" y="5984715"/>
                  <a:pt x="1649487" y="5997970"/>
                </a:cubicBezTo>
                <a:cubicBezTo>
                  <a:pt x="1641583" y="5997293"/>
                  <a:pt x="1633678" y="5996615"/>
                  <a:pt x="1625772" y="5995938"/>
                </a:cubicBezTo>
                <a:cubicBezTo>
                  <a:pt x="1612936" y="6006783"/>
                  <a:pt x="1601526" y="6016423"/>
                  <a:pt x="1588689" y="6027269"/>
                </a:cubicBezTo>
                <a:cubicBezTo>
                  <a:pt x="1583419" y="6026817"/>
                  <a:pt x="1578148" y="6026366"/>
                  <a:pt x="1570243" y="6025688"/>
                </a:cubicBezTo>
                <a:cubicBezTo>
                  <a:pt x="1554555" y="6038943"/>
                  <a:pt x="1537439" y="6053403"/>
                  <a:pt x="1521750" y="6066658"/>
                </a:cubicBezTo>
                <a:cubicBezTo>
                  <a:pt x="1503304" y="6065078"/>
                  <a:pt x="1490130" y="6063950"/>
                  <a:pt x="1474319" y="6062595"/>
                </a:cubicBezTo>
                <a:cubicBezTo>
                  <a:pt x="1468614" y="6067415"/>
                  <a:pt x="1458848" y="6073215"/>
                  <a:pt x="1446011" y="6084060"/>
                </a:cubicBezTo>
                <a:cubicBezTo>
                  <a:pt x="1436897" y="6081951"/>
                  <a:pt x="1420096" y="6076531"/>
                  <a:pt x="1408347" y="6074197"/>
                </a:cubicBezTo>
                <a:cubicBezTo>
                  <a:pt x="1390579" y="6096564"/>
                  <a:pt x="1369281" y="6097393"/>
                  <a:pt x="1350401" y="6101085"/>
                </a:cubicBezTo>
                <a:cubicBezTo>
                  <a:pt x="1332729" y="6106208"/>
                  <a:pt x="1316484" y="6110124"/>
                  <a:pt x="1300237" y="6114041"/>
                </a:cubicBezTo>
                <a:cubicBezTo>
                  <a:pt x="1296612" y="6109749"/>
                  <a:pt x="1292768" y="6108093"/>
                  <a:pt x="1287933" y="6102370"/>
                </a:cubicBezTo>
                <a:cubicBezTo>
                  <a:pt x="1260156" y="6101317"/>
                  <a:pt x="1231171" y="6098834"/>
                  <a:pt x="1202184" y="6096351"/>
                </a:cubicBezTo>
                <a:cubicBezTo>
                  <a:pt x="1188115" y="6073911"/>
                  <a:pt x="1164616" y="6069244"/>
                  <a:pt x="1145615" y="6058326"/>
                </a:cubicBezTo>
                <a:cubicBezTo>
                  <a:pt x="1140225" y="6043265"/>
                  <a:pt x="1149990" y="6037465"/>
                  <a:pt x="1158549" y="6030235"/>
                </a:cubicBezTo>
                <a:cubicBezTo>
                  <a:pt x="1155357" y="6020672"/>
                  <a:pt x="1150740" y="6012313"/>
                  <a:pt x="1147548" y="6002749"/>
                </a:cubicBezTo>
                <a:cubicBezTo>
                  <a:pt x="1151707" y="5984525"/>
                  <a:pt x="1166090" y="5987084"/>
                  <a:pt x="1180475" y="5989643"/>
                </a:cubicBezTo>
                <a:cubicBezTo>
                  <a:pt x="1181127" y="5981737"/>
                  <a:pt x="1182989" y="5975260"/>
                  <a:pt x="1184850" y="5968784"/>
                </a:cubicBezTo>
                <a:cubicBezTo>
                  <a:pt x="1203077" y="5972999"/>
                  <a:pt x="1203077" y="5972999"/>
                  <a:pt x="1204963" y="5998378"/>
                </a:cubicBezTo>
                <a:cubicBezTo>
                  <a:pt x="1220339" y="6005003"/>
                  <a:pt x="1234288" y="6012834"/>
                  <a:pt x="1248454" y="6018029"/>
                </a:cubicBezTo>
                <a:cubicBezTo>
                  <a:pt x="1261944" y="5999277"/>
                  <a:pt x="1261944" y="5999277"/>
                  <a:pt x="1262693" y="5974125"/>
                </a:cubicBezTo>
                <a:cubicBezTo>
                  <a:pt x="1254787" y="5973448"/>
                  <a:pt x="1248309" y="5971565"/>
                  <a:pt x="1240403" y="5970889"/>
                </a:cubicBezTo>
                <a:cubicBezTo>
                  <a:pt x="1241273" y="5960345"/>
                  <a:pt x="1242144" y="5949802"/>
                  <a:pt x="1243013" y="5939259"/>
                </a:cubicBezTo>
                <a:cubicBezTo>
                  <a:pt x="1249710" y="5938506"/>
                  <a:pt x="1257615" y="5939183"/>
                  <a:pt x="1265520" y="5939860"/>
                </a:cubicBezTo>
                <a:cubicBezTo>
                  <a:pt x="1266391" y="5929317"/>
                  <a:pt x="1267261" y="5918775"/>
                  <a:pt x="1268348" y="5905596"/>
                </a:cubicBezTo>
                <a:cubicBezTo>
                  <a:pt x="1256164" y="5908533"/>
                  <a:pt x="1243980" y="5911471"/>
                  <a:pt x="1234431" y="5914635"/>
                </a:cubicBezTo>
                <a:cubicBezTo>
                  <a:pt x="1231893" y="5897164"/>
                  <a:pt x="1248138" y="5893247"/>
                  <a:pt x="1256913" y="5883382"/>
                </a:cubicBezTo>
                <a:cubicBezTo>
                  <a:pt x="1263610" y="5882628"/>
                  <a:pt x="1271515" y="5883304"/>
                  <a:pt x="1280846" y="5882778"/>
                </a:cubicBezTo>
                <a:cubicBezTo>
                  <a:pt x="1287977" y="5876752"/>
                  <a:pt x="1295109" y="5870727"/>
                  <a:pt x="1303667" y="5863497"/>
                </a:cubicBezTo>
                <a:cubicBezTo>
                  <a:pt x="1311572" y="5864174"/>
                  <a:pt x="1319477" y="5864851"/>
                  <a:pt x="1327381" y="5865529"/>
                </a:cubicBezTo>
                <a:cubicBezTo>
                  <a:pt x="1367318" y="5831789"/>
                  <a:pt x="1408681" y="5796843"/>
                  <a:pt x="1448617" y="5763104"/>
                </a:cubicBezTo>
                <a:cubicBezTo>
                  <a:pt x="1456522" y="5763780"/>
                  <a:pt x="1464427" y="5764457"/>
                  <a:pt x="1472332" y="5765135"/>
                </a:cubicBezTo>
                <a:cubicBezTo>
                  <a:pt x="1472767" y="5759864"/>
                  <a:pt x="1473201" y="5754592"/>
                  <a:pt x="1472646" y="5745254"/>
                </a:cubicBezTo>
                <a:cubicBezTo>
                  <a:pt x="1496893" y="5724769"/>
                  <a:pt x="1522566" y="5703079"/>
                  <a:pt x="1548239" y="5681389"/>
                </a:cubicBezTo>
                <a:cubicBezTo>
                  <a:pt x="1553509" y="5681841"/>
                  <a:pt x="1558778" y="5682292"/>
                  <a:pt x="1566685" y="5682969"/>
                </a:cubicBezTo>
                <a:cubicBezTo>
                  <a:pt x="1579521" y="5672124"/>
                  <a:pt x="1592358" y="5661279"/>
                  <a:pt x="1605194" y="5650435"/>
                </a:cubicBezTo>
                <a:cubicBezTo>
                  <a:pt x="1607056" y="5643958"/>
                  <a:pt x="1607491" y="5638686"/>
                  <a:pt x="1606717" y="5631984"/>
                </a:cubicBezTo>
                <a:cubicBezTo>
                  <a:pt x="1613412" y="5631230"/>
                  <a:pt x="1621319" y="5631908"/>
                  <a:pt x="1629224" y="5632585"/>
                </a:cubicBezTo>
                <a:cubicBezTo>
                  <a:pt x="1629876" y="5624678"/>
                  <a:pt x="1630529" y="5616771"/>
                  <a:pt x="1631181" y="5608863"/>
                </a:cubicBezTo>
                <a:cubicBezTo>
                  <a:pt x="1666839" y="5578738"/>
                  <a:pt x="1703921" y="5547408"/>
                  <a:pt x="1739578" y="5517283"/>
                </a:cubicBezTo>
                <a:cubicBezTo>
                  <a:pt x="1747484" y="5517961"/>
                  <a:pt x="1756816" y="5517433"/>
                  <a:pt x="1767356" y="5518335"/>
                </a:cubicBezTo>
                <a:cubicBezTo>
                  <a:pt x="1770644" y="5510654"/>
                  <a:pt x="1775358" y="5501768"/>
                  <a:pt x="1781715" y="5489041"/>
                </a:cubicBezTo>
                <a:cubicBezTo>
                  <a:pt x="1783142" y="5487836"/>
                  <a:pt x="1789838" y="5487082"/>
                  <a:pt x="1799170" y="5486555"/>
                </a:cubicBezTo>
                <a:cubicBezTo>
                  <a:pt x="1812006" y="5475709"/>
                  <a:pt x="1827695" y="5462454"/>
                  <a:pt x="1846237" y="5446790"/>
                </a:cubicBezTo>
                <a:cubicBezTo>
                  <a:pt x="1847881" y="5442949"/>
                  <a:pt x="1848533" y="5435041"/>
                  <a:pt x="1850395" y="5428565"/>
                </a:cubicBezTo>
                <a:cubicBezTo>
                  <a:pt x="1858517" y="5426606"/>
                  <a:pt x="1869274" y="5424874"/>
                  <a:pt x="1881242" y="5424571"/>
                </a:cubicBezTo>
                <a:cubicBezTo>
                  <a:pt x="1883538" y="5412824"/>
                  <a:pt x="1885616" y="5403711"/>
                  <a:pt x="1887696" y="5394599"/>
                </a:cubicBezTo>
                <a:cubicBezTo>
                  <a:pt x="1891757" y="5393620"/>
                  <a:pt x="1897027" y="5394072"/>
                  <a:pt x="1907567" y="5394974"/>
                </a:cubicBezTo>
                <a:cubicBezTo>
                  <a:pt x="1932806" y="5378556"/>
                  <a:pt x="1956061" y="5354004"/>
                  <a:pt x="1984152" y="5335175"/>
                </a:cubicBezTo>
                <a:cubicBezTo>
                  <a:pt x="1989422" y="5335627"/>
                  <a:pt x="1994692" y="5336079"/>
                  <a:pt x="2002597" y="5336756"/>
                </a:cubicBezTo>
                <a:cubicBezTo>
                  <a:pt x="2004458" y="5330279"/>
                  <a:pt x="2004894" y="5325008"/>
                  <a:pt x="2007190" y="5313260"/>
                </a:cubicBezTo>
                <a:cubicBezTo>
                  <a:pt x="2021453" y="5301210"/>
                  <a:pt x="2039995" y="5285545"/>
                  <a:pt x="2054257" y="5273495"/>
                </a:cubicBezTo>
                <a:cubicBezTo>
                  <a:pt x="2055128" y="5262952"/>
                  <a:pt x="2055563" y="5257680"/>
                  <a:pt x="2055998" y="5252409"/>
                </a:cubicBezTo>
                <a:cubicBezTo>
                  <a:pt x="2081671" y="5230718"/>
                  <a:pt x="2107344" y="5209029"/>
                  <a:pt x="2131591" y="5188544"/>
                </a:cubicBezTo>
                <a:cubicBezTo>
                  <a:pt x="2140704" y="5190652"/>
                  <a:pt x="2145975" y="5191103"/>
                  <a:pt x="2151245" y="5191554"/>
                </a:cubicBezTo>
                <a:cubicBezTo>
                  <a:pt x="2184049" y="5163839"/>
                  <a:pt x="2215428" y="5137330"/>
                  <a:pt x="2248233" y="5109615"/>
                </a:cubicBezTo>
                <a:cubicBezTo>
                  <a:pt x="2248885" y="5101707"/>
                  <a:pt x="2249538" y="5093800"/>
                  <a:pt x="2250190" y="5085893"/>
                </a:cubicBezTo>
                <a:cubicBezTo>
                  <a:pt x="2263027" y="5075048"/>
                  <a:pt x="2274437" y="5065408"/>
                  <a:pt x="2287274" y="5054563"/>
                </a:cubicBezTo>
                <a:cubicBezTo>
                  <a:pt x="2293753" y="5056446"/>
                  <a:pt x="2299023" y="5056897"/>
                  <a:pt x="2304293" y="5057348"/>
                </a:cubicBezTo>
                <a:cubicBezTo>
                  <a:pt x="2307144" y="5054938"/>
                  <a:pt x="2313842" y="5054185"/>
                  <a:pt x="2316693" y="5051775"/>
                </a:cubicBezTo>
                <a:cubicBezTo>
                  <a:pt x="2335236" y="5036110"/>
                  <a:pt x="2353778" y="5020445"/>
                  <a:pt x="2369467" y="5007190"/>
                </a:cubicBezTo>
                <a:cubicBezTo>
                  <a:pt x="2371546" y="4998078"/>
                  <a:pt x="2372198" y="4990171"/>
                  <a:pt x="2374060" y="4983694"/>
                </a:cubicBezTo>
                <a:cubicBezTo>
                  <a:pt x="2383488" y="4965921"/>
                  <a:pt x="2399637" y="4979249"/>
                  <a:pt x="2414890" y="4971265"/>
                </a:cubicBezTo>
                <a:cubicBezTo>
                  <a:pt x="2416751" y="4964789"/>
                  <a:pt x="2418830" y="4955677"/>
                  <a:pt x="2423980" y="4941518"/>
                </a:cubicBezTo>
                <a:cubicBezTo>
                  <a:pt x="2428259" y="4937904"/>
                  <a:pt x="2436816" y="4930674"/>
                  <a:pt x="2445374" y="4923444"/>
                </a:cubicBezTo>
                <a:cubicBezTo>
                  <a:pt x="2450644" y="4923896"/>
                  <a:pt x="2458549" y="4924573"/>
                  <a:pt x="2467881" y="4924045"/>
                </a:cubicBezTo>
                <a:cubicBezTo>
                  <a:pt x="2552032" y="4852950"/>
                  <a:pt x="2637609" y="4780650"/>
                  <a:pt x="2721760" y="4709554"/>
                </a:cubicBezTo>
                <a:cubicBezTo>
                  <a:pt x="2729665" y="4710232"/>
                  <a:pt x="2737570" y="4710909"/>
                  <a:pt x="2744267" y="4710155"/>
                </a:cubicBezTo>
                <a:cubicBezTo>
                  <a:pt x="2746128" y="4703679"/>
                  <a:pt x="2746781" y="4695772"/>
                  <a:pt x="2749077" y="4684024"/>
                </a:cubicBezTo>
                <a:cubicBezTo>
                  <a:pt x="2757200" y="4682065"/>
                  <a:pt x="2766749" y="4678902"/>
                  <a:pt x="2785629" y="4675210"/>
                </a:cubicBezTo>
                <a:cubicBezTo>
                  <a:pt x="2789908" y="4671595"/>
                  <a:pt x="2801318" y="4661956"/>
                  <a:pt x="2817006" y="4648700"/>
                </a:cubicBezTo>
                <a:cubicBezTo>
                  <a:pt x="2817224" y="4646065"/>
                  <a:pt x="2817877" y="4638158"/>
                  <a:pt x="2821164" y="4630476"/>
                </a:cubicBezTo>
                <a:cubicBezTo>
                  <a:pt x="2829287" y="4628517"/>
                  <a:pt x="2837411" y="4626559"/>
                  <a:pt x="2850803" y="4625052"/>
                </a:cubicBezTo>
                <a:cubicBezTo>
                  <a:pt x="2852881" y="4615940"/>
                  <a:pt x="2854960" y="4606828"/>
                  <a:pt x="2858466" y="4596510"/>
                </a:cubicBezTo>
                <a:cubicBezTo>
                  <a:pt x="2861101" y="4596736"/>
                  <a:pt x="2866371" y="4597187"/>
                  <a:pt x="2871641" y="4597639"/>
                </a:cubicBezTo>
                <a:cubicBezTo>
                  <a:pt x="2875703" y="4596660"/>
                  <a:pt x="2882399" y="4595906"/>
                  <a:pt x="2885252" y="4593496"/>
                </a:cubicBezTo>
                <a:cubicBezTo>
                  <a:pt x="2912351" y="4570601"/>
                  <a:pt x="2938024" y="4548911"/>
                  <a:pt x="2963697" y="4527221"/>
                </a:cubicBezTo>
                <a:cubicBezTo>
                  <a:pt x="2965776" y="4518109"/>
                  <a:pt x="2966429" y="4510202"/>
                  <a:pt x="2965655" y="4503500"/>
                </a:cubicBezTo>
                <a:cubicBezTo>
                  <a:pt x="2976292" y="4487157"/>
                  <a:pt x="2991232" y="4499055"/>
                  <a:pt x="3006486" y="4491071"/>
                </a:cubicBezTo>
                <a:cubicBezTo>
                  <a:pt x="3009556" y="4486025"/>
                  <a:pt x="3013061" y="4475708"/>
                  <a:pt x="3016566" y="4465391"/>
                </a:cubicBezTo>
                <a:cubicBezTo>
                  <a:pt x="3020628" y="4464412"/>
                  <a:pt x="3027324" y="4463658"/>
                  <a:pt x="3036656" y="4463130"/>
                </a:cubicBezTo>
                <a:cubicBezTo>
                  <a:pt x="3079444" y="4426980"/>
                  <a:pt x="3123659" y="4389625"/>
                  <a:pt x="3167874" y="4352271"/>
                </a:cubicBezTo>
                <a:cubicBezTo>
                  <a:pt x="3175779" y="4352947"/>
                  <a:pt x="3183683" y="4353625"/>
                  <a:pt x="3193016" y="4353097"/>
                </a:cubicBezTo>
                <a:cubicBezTo>
                  <a:pt x="3192242" y="4346394"/>
                  <a:pt x="3194103" y="4339918"/>
                  <a:pt x="3194756" y="4332012"/>
                </a:cubicBezTo>
                <a:cubicBezTo>
                  <a:pt x="3199035" y="4328396"/>
                  <a:pt x="3203314" y="4324781"/>
                  <a:pt x="3207593" y="4321167"/>
                </a:cubicBezTo>
                <a:cubicBezTo>
                  <a:pt x="3212863" y="4321618"/>
                  <a:pt x="3218132" y="4322069"/>
                  <a:pt x="3227247" y="4324177"/>
                </a:cubicBezTo>
                <a:cubicBezTo>
                  <a:pt x="3253910" y="4306553"/>
                  <a:pt x="3275958" y="4280571"/>
                  <a:pt x="3301195" y="4264153"/>
                </a:cubicBezTo>
                <a:cubicBezTo>
                  <a:pt x="3303493" y="4252404"/>
                  <a:pt x="3304145" y="4244498"/>
                  <a:pt x="3306441" y="4232750"/>
                </a:cubicBezTo>
                <a:cubicBezTo>
                  <a:pt x="3315773" y="4232222"/>
                  <a:pt x="3326531" y="4230489"/>
                  <a:pt x="3343985" y="4228002"/>
                </a:cubicBezTo>
                <a:cubicBezTo>
                  <a:pt x="3383921" y="4194263"/>
                  <a:pt x="3429562" y="4155702"/>
                  <a:pt x="3473777" y="4118348"/>
                </a:cubicBezTo>
                <a:cubicBezTo>
                  <a:pt x="3481682" y="4119025"/>
                  <a:pt x="3486952" y="4119476"/>
                  <a:pt x="3494857" y="4120153"/>
                </a:cubicBezTo>
                <a:cubicBezTo>
                  <a:pt x="3494084" y="4113451"/>
                  <a:pt x="3494736" y="4105544"/>
                  <a:pt x="3496814" y="4096432"/>
                </a:cubicBezTo>
                <a:cubicBezTo>
                  <a:pt x="3515356" y="4080767"/>
                  <a:pt x="3536751" y="4062692"/>
                  <a:pt x="3556719" y="4045822"/>
                </a:cubicBezTo>
                <a:cubicBezTo>
                  <a:pt x="3564624" y="4046498"/>
                  <a:pt x="3572529" y="4047177"/>
                  <a:pt x="3580435" y="4047853"/>
                </a:cubicBezTo>
                <a:cubicBezTo>
                  <a:pt x="3580869" y="4042582"/>
                  <a:pt x="3581305" y="4037310"/>
                  <a:pt x="3580749" y="4027973"/>
                </a:cubicBezTo>
                <a:cubicBezTo>
                  <a:pt x="3587445" y="4027218"/>
                  <a:pt x="3592715" y="4027670"/>
                  <a:pt x="3602046" y="4027143"/>
                </a:cubicBezTo>
                <a:cubicBezTo>
                  <a:pt x="3631997" y="4001838"/>
                  <a:pt x="3664803" y="3974122"/>
                  <a:pt x="3696180" y="3947612"/>
                </a:cubicBezTo>
                <a:cubicBezTo>
                  <a:pt x="3705513" y="3947084"/>
                  <a:pt x="3713418" y="3947762"/>
                  <a:pt x="3722749" y="3947234"/>
                </a:cubicBezTo>
                <a:cubicBezTo>
                  <a:pt x="3729881" y="3941209"/>
                  <a:pt x="3737012" y="3935184"/>
                  <a:pt x="3746996" y="3926749"/>
                </a:cubicBezTo>
                <a:cubicBezTo>
                  <a:pt x="3747431" y="3921477"/>
                  <a:pt x="3749293" y="3915001"/>
                  <a:pt x="3751372" y="3905888"/>
                </a:cubicBezTo>
                <a:cubicBezTo>
                  <a:pt x="3756642" y="3906340"/>
                  <a:pt x="3764546" y="3907018"/>
                  <a:pt x="3772452" y="3907694"/>
                </a:cubicBezTo>
                <a:cubicBezTo>
                  <a:pt x="3796699" y="3887209"/>
                  <a:pt x="3820946" y="3866724"/>
                  <a:pt x="3845193" y="3846240"/>
                </a:cubicBezTo>
                <a:cubicBezTo>
                  <a:pt x="3853098" y="3846918"/>
                  <a:pt x="3859794" y="3846163"/>
                  <a:pt x="3867699" y="3846841"/>
                </a:cubicBezTo>
                <a:cubicBezTo>
                  <a:pt x="3868134" y="3841569"/>
                  <a:pt x="3868569" y="3836298"/>
                  <a:pt x="3869221" y="3828391"/>
                </a:cubicBezTo>
                <a:cubicBezTo>
                  <a:pt x="3886337" y="3813931"/>
                  <a:pt x="3903453" y="3799471"/>
                  <a:pt x="3920568" y="3785010"/>
                </a:cubicBezTo>
                <a:cubicBezTo>
                  <a:pt x="3925837" y="3785462"/>
                  <a:pt x="3931109" y="3785913"/>
                  <a:pt x="3939014" y="3786591"/>
                </a:cubicBezTo>
                <a:cubicBezTo>
                  <a:pt x="3986081" y="3746826"/>
                  <a:pt x="4034575" y="3705856"/>
                  <a:pt x="4083069" y="3664885"/>
                </a:cubicBezTo>
                <a:cubicBezTo>
                  <a:pt x="4090974" y="3665562"/>
                  <a:pt x="4099096" y="3663604"/>
                  <a:pt x="4107003" y="3664282"/>
                </a:cubicBezTo>
                <a:cubicBezTo>
                  <a:pt x="4108864" y="3657805"/>
                  <a:pt x="4110724" y="3651329"/>
                  <a:pt x="4111377" y="3643421"/>
                </a:cubicBezTo>
                <a:cubicBezTo>
                  <a:pt x="4122787" y="3633781"/>
                  <a:pt x="4134197" y="3624141"/>
                  <a:pt x="4147034" y="3613296"/>
                </a:cubicBezTo>
                <a:cubicBezTo>
                  <a:pt x="4153731" y="3612543"/>
                  <a:pt x="4161637" y="3613220"/>
                  <a:pt x="4169541" y="3613897"/>
                </a:cubicBezTo>
                <a:cubicBezTo>
                  <a:pt x="4250838" y="3545212"/>
                  <a:pt x="4332137" y="3476527"/>
                  <a:pt x="4412009" y="3409048"/>
                </a:cubicBezTo>
                <a:cubicBezTo>
                  <a:pt x="4419915" y="3409724"/>
                  <a:pt x="4427820" y="3410402"/>
                  <a:pt x="4434516" y="3409649"/>
                </a:cubicBezTo>
                <a:cubicBezTo>
                  <a:pt x="4435169" y="3401742"/>
                  <a:pt x="4437030" y="3395265"/>
                  <a:pt x="4439327" y="3383516"/>
                </a:cubicBezTo>
                <a:cubicBezTo>
                  <a:pt x="4447449" y="3381558"/>
                  <a:pt x="4458206" y="3379825"/>
                  <a:pt x="4474452" y="3375908"/>
                </a:cubicBezTo>
                <a:cubicBezTo>
                  <a:pt x="4532930" y="3326503"/>
                  <a:pt x="4597113" y="3272279"/>
                  <a:pt x="4655591" y="3222874"/>
                </a:cubicBezTo>
                <a:cubicBezTo>
                  <a:pt x="4673698" y="3212480"/>
                  <a:pt x="4689846" y="3225808"/>
                  <a:pt x="4701136" y="3201559"/>
                </a:cubicBezTo>
                <a:cubicBezTo>
                  <a:pt x="4701136" y="3201559"/>
                  <a:pt x="4701789" y="3193651"/>
                  <a:pt x="4702441" y="3185743"/>
                </a:cubicBezTo>
                <a:cubicBezTo>
                  <a:pt x="4726688" y="3165258"/>
                  <a:pt x="4750935" y="3144774"/>
                  <a:pt x="4775181" y="3124288"/>
                </a:cubicBezTo>
                <a:cubicBezTo>
                  <a:pt x="4784513" y="3123760"/>
                  <a:pt x="4795053" y="3124664"/>
                  <a:pt x="4807020" y="3124362"/>
                </a:cubicBezTo>
                <a:cubicBezTo>
                  <a:pt x="4808107" y="3111183"/>
                  <a:pt x="4810186" y="3102071"/>
                  <a:pt x="4812265" y="3092959"/>
                </a:cubicBezTo>
                <a:cubicBezTo>
                  <a:pt x="4840791" y="3068858"/>
                  <a:pt x="4869317" y="3044759"/>
                  <a:pt x="4897842" y="3020659"/>
                </a:cubicBezTo>
                <a:cubicBezTo>
                  <a:pt x="4903111" y="3021110"/>
                  <a:pt x="4908383" y="3021562"/>
                  <a:pt x="4914861" y="3023444"/>
                </a:cubicBezTo>
                <a:cubicBezTo>
                  <a:pt x="4922645" y="3009512"/>
                  <a:pt x="4925594" y="2989856"/>
                  <a:pt x="4950397" y="2978709"/>
                </a:cubicBezTo>
                <a:cubicBezTo>
                  <a:pt x="4958085" y="2982023"/>
                  <a:pt x="4973678" y="2986012"/>
                  <a:pt x="4985427" y="2988347"/>
                </a:cubicBezTo>
                <a:cubicBezTo>
                  <a:pt x="4998263" y="2977502"/>
                  <a:pt x="5005395" y="2971476"/>
                  <a:pt x="5013952" y="2964247"/>
                </a:cubicBezTo>
                <a:cubicBezTo>
                  <a:pt x="5014605" y="2956339"/>
                  <a:pt x="5015256" y="2948432"/>
                  <a:pt x="5017119" y="2941956"/>
                </a:cubicBezTo>
                <a:cubicBezTo>
                  <a:pt x="5054202" y="2910626"/>
                  <a:pt x="5089860" y="2880500"/>
                  <a:pt x="5121238" y="2853990"/>
                </a:cubicBezTo>
                <a:cubicBezTo>
                  <a:pt x="5148459" y="2845705"/>
                  <a:pt x="5169974" y="2842239"/>
                  <a:pt x="5191707" y="2836138"/>
                </a:cubicBezTo>
                <a:cubicBezTo>
                  <a:pt x="5198621" y="2832749"/>
                  <a:pt x="5201909" y="2825067"/>
                  <a:pt x="5207614" y="2820247"/>
                </a:cubicBezTo>
                <a:cubicBezTo>
                  <a:pt x="5208049" y="2814975"/>
                  <a:pt x="5207274" y="2808274"/>
                  <a:pt x="5209136" y="2801796"/>
                </a:cubicBezTo>
                <a:cubicBezTo>
                  <a:pt x="5220547" y="2792157"/>
                  <a:pt x="5231957" y="2782517"/>
                  <a:pt x="5246220" y="2770468"/>
                </a:cubicBezTo>
                <a:cubicBezTo>
                  <a:pt x="5250281" y="2769488"/>
                  <a:pt x="5258186" y="2770165"/>
                  <a:pt x="5267518" y="2769637"/>
                </a:cubicBezTo>
                <a:cubicBezTo>
                  <a:pt x="5277502" y="2761202"/>
                  <a:pt x="5290338" y="2750357"/>
                  <a:pt x="5301748" y="2740717"/>
                </a:cubicBezTo>
                <a:cubicBezTo>
                  <a:pt x="5309654" y="2741395"/>
                  <a:pt x="5318985" y="2740867"/>
                  <a:pt x="5326890" y="2741543"/>
                </a:cubicBezTo>
                <a:cubicBezTo>
                  <a:pt x="5327543" y="2733637"/>
                  <a:pt x="5329404" y="2727160"/>
                  <a:pt x="5328630" y="2720458"/>
                </a:cubicBezTo>
                <a:cubicBezTo>
                  <a:pt x="5336536" y="2721135"/>
                  <a:pt x="5343232" y="2720382"/>
                  <a:pt x="5351137" y="2721059"/>
                </a:cubicBezTo>
                <a:cubicBezTo>
                  <a:pt x="5352999" y="2714582"/>
                  <a:pt x="5353433" y="2709310"/>
                  <a:pt x="5352660" y="2702608"/>
                </a:cubicBezTo>
                <a:cubicBezTo>
                  <a:pt x="5375480" y="2683329"/>
                  <a:pt x="5399726" y="2662844"/>
                  <a:pt x="5425400" y="2641154"/>
                </a:cubicBezTo>
                <a:cubicBezTo>
                  <a:pt x="5432097" y="2640400"/>
                  <a:pt x="5442855" y="2638667"/>
                  <a:pt x="5453612" y="2636934"/>
                </a:cubicBezTo>
                <a:cubicBezTo>
                  <a:pt x="5458544" y="2625412"/>
                  <a:pt x="5462049" y="2615096"/>
                  <a:pt x="5467197" y="2600937"/>
                </a:cubicBezTo>
                <a:cubicBezTo>
                  <a:pt x="5477955" y="2599204"/>
                  <a:pt x="5491348" y="2597697"/>
                  <a:pt x="5506168" y="2594985"/>
                </a:cubicBezTo>
                <a:cubicBezTo>
                  <a:pt x="5508246" y="2585874"/>
                  <a:pt x="5509117" y="2575329"/>
                  <a:pt x="5511195" y="2566218"/>
                </a:cubicBezTo>
                <a:cubicBezTo>
                  <a:pt x="5519100" y="2566894"/>
                  <a:pt x="5527006" y="2567572"/>
                  <a:pt x="5533702" y="2566818"/>
                </a:cubicBezTo>
                <a:cubicBezTo>
                  <a:pt x="5540834" y="2560793"/>
                  <a:pt x="5546539" y="2555973"/>
                  <a:pt x="5553670" y="2549948"/>
                </a:cubicBezTo>
                <a:cubicBezTo>
                  <a:pt x="5565637" y="2549647"/>
                  <a:pt x="5577820" y="2546708"/>
                  <a:pt x="5588578" y="2544976"/>
                </a:cubicBezTo>
                <a:cubicBezTo>
                  <a:pt x="5592300" y="2532023"/>
                  <a:pt x="5594380" y="2522911"/>
                  <a:pt x="5598104" y="2509958"/>
                </a:cubicBezTo>
                <a:cubicBezTo>
                  <a:pt x="5607434" y="2509430"/>
                  <a:pt x="5618192" y="2507697"/>
                  <a:pt x="5627523" y="2507169"/>
                </a:cubicBezTo>
                <a:cubicBezTo>
                  <a:pt x="5629384" y="2500693"/>
                  <a:pt x="5630037" y="2492785"/>
                  <a:pt x="5630689" y="2484879"/>
                </a:cubicBezTo>
                <a:cubicBezTo>
                  <a:pt x="5642100" y="2475239"/>
                  <a:pt x="5653510" y="2465598"/>
                  <a:pt x="5666347" y="2454753"/>
                </a:cubicBezTo>
                <a:cubicBezTo>
                  <a:pt x="5671617" y="2455205"/>
                  <a:pt x="5678096" y="2457087"/>
                  <a:pt x="5686001" y="2457764"/>
                </a:cubicBezTo>
                <a:cubicBezTo>
                  <a:pt x="5701689" y="2444509"/>
                  <a:pt x="5720232" y="2428844"/>
                  <a:pt x="5734494" y="2416794"/>
                </a:cubicBezTo>
                <a:cubicBezTo>
                  <a:pt x="5746461" y="2416492"/>
                  <a:pt x="5754366" y="2417169"/>
                  <a:pt x="5766333" y="2416867"/>
                </a:cubicBezTo>
                <a:cubicBezTo>
                  <a:pt x="5769620" y="2409185"/>
                  <a:pt x="5773125" y="2398869"/>
                  <a:pt x="5779701" y="2383505"/>
                </a:cubicBezTo>
                <a:cubicBezTo>
                  <a:pt x="5785406" y="2378685"/>
                  <a:pt x="5796815" y="2369046"/>
                  <a:pt x="5816784" y="2352175"/>
                </a:cubicBezTo>
                <a:cubicBezTo>
                  <a:pt x="5818211" y="2350970"/>
                  <a:pt x="5834360" y="2364299"/>
                  <a:pt x="5845649" y="2340049"/>
                </a:cubicBezTo>
                <a:cubicBezTo>
                  <a:pt x="5845649" y="2340049"/>
                  <a:pt x="5847510" y="2333573"/>
                  <a:pt x="5848163" y="2325665"/>
                </a:cubicBezTo>
                <a:cubicBezTo>
                  <a:pt x="5862764" y="2325590"/>
                  <a:pt x="5878574" y="2326943"/>
                  <a:pt x="5893176" y="2326867"/>
                </a:cubicBezTo>
                <a:cubicBezTo>
                  <a:pt x="5893611" y="2321596"/>
                  <a:pt x="5894046" y="2316325"/>
                  <a:pt x="5894698" y="2308417"/>
                </a:cubicBezTo>
                <a:cubicBezTo>
                  <a:pt x="5934635" y="2274678"/>
                  <a:pt x="5977423" y="2238527"/>
                  <a:pt x="6018786" y="2203582"/>
                </a:cubicBezTo>
                <a:cubicBezTo>
                  <a:pt x="6024056" y="2204033"/>
                  <a:pt x="6029326" y="2204485"/>
                  <a:pt x="6034596" y="2204937"/>
                </a:cubicBezTo>
                <a:cubicBezTo>
                  <a:pt x="6037883" y="2197255"/>
                  <a:pt x="6041389" y="2186938"/>
                  <a:pt x="6044894" y="2176620"/>
                </a:cubicBezTo>
                <a:cubicBezTo>
                  <a:pt x="6066409" y="2173156"/>
                  <a:pt x="6086716" y="2168259"/>
                  <a:pt x="6109658" y="2163588"/>
                </a:cubicBezTo>
                <a:cubicBezTo>
                  <a:pt x="6110093" y="2158317"/>
                  <a:pt x="6110745" y="2150410"/>
                  <a:pt x="6112606" y="2143934"/>
                </a:cubicBezTo>
                <a:cubicBezTo>
                  <a:pt x="6125443" y="2133088"/>
                  <a:pt x="6136854" y="2123448"/>
                  <a:pt x="6148264" y="2113808"/>
                </a:cubicBezTo>
                <a:cubicBezTo>
                  <a:pt x="6154960" y="2113055"/>
                  <a:pt x="6158804" y="2114711"/>
                  <a:pt x="6165500" y="2113957"/>
                </a:cubicBezTo>
                <a:cubicBezTo>
                  <a:pt x="6182955" y="2111471"/>
                  <a:pt x="6190400" y="2085565"/>
                  <a:pt x="6213463" y="2095504"/>
                </a:cubicBezTo>
                <a:cubicBezTo>
                  <a:pt x="6234639" y="2080065"/>
                  <a:pt x="6255815" y="2064625"/>
                  <a:pt x="6275784" y="2047755"/>
                </a:cubicBezTo>
                <a:cubicBezTo>
                  <a:pt x="6277646" y="2041279"/>
                  <a:pt x="6278298" y="2033372"/>
                  <a:pt x="6280377" y="2024259"/>
                </a:cubicBezTo>
                <a:cubicBezTo>
                  <a:pt x="6287508" y="2018234"/>
                  <a:pt x="6294640" y="2012210"/>
                  <a:pt x="6304624" y="2003774"/>
                </a:cubicBezTo>
                <a:cubicBezTo>
                  <a:pt x="6314173" y="2000611"/>
                  <a:pt x="6330539" y="2011303"/>
                  <a:pt x="6337767" y="1988033"/>
                </a:cubicBezTo>
                <a:cubicBezTo>
                  <a:pt x="6339194" y="1986828"/>
                  <a:pt x="6339846" y="1978921"/>
                  <a:pt x="6340499" y="1971014"/>
                </a:cubicBezTo>
                <a:cubicBezTo>
                  <a:pt x="6345769" y="1971465"/>
                  <a:pt x="6351039" y="1971917"/>
                  <a:pt x="6356309" y="1972368"/>
                </a:cubicBezTo>
                <a:cubicBezTo>
                  <a:pt x="6358944" y="1972594"/>
                  <a:pt x="6362788" y="1974250"/>
                  <a:pt x="6364214" y="1973045"/>
                </a:cubicBezTo>
                <a:cubicBezTo>
                  <a:pt x="6405575" y="1938101"/>
                  <a:pt x="6445512" y="1904361"/>
                  <a:pt x="6484022" y="1871825"/>
                </a:cubicBezTo>
                <a:cubicBezTo>
                  <a:pt x="6490719" y="1871071"/>
                  <a:pt x="6497197" y="1872954"/>
                  <a:pt x="6505103" y="1873632"/>
                </a:cubicBezTo>
                <a:cubicBezTo>
                  <a:pt x="6547891" y="1837481"/>
                  <a:pt x="6592106" y="1800127"/>
                  <a:pt x="6634895" y="1763976"/>
                </a:cubicBezTo>
                <a:cubicBezTo>
                  <a:pt x="6647079" y="1761038"/>
                  <a:pt x="6656410" y="1760511"/>
                  <a:pt x="6669803" y="1759003"/>
                </a:cubicBezTo>
                <a:cubicBezTo>
                  <a:pt x="6673091" y="1751323"/>
                  <a:pt x="6675168" y="1742210"/>
                  <a:pt x="6680101" y="1730688"/>
                </a:cubicBezTo>
                <a:cubicBezTo>
                  <a:pt x="6684162" y="1729709"/>
                  <a:pt x="6692067" y="1730386"/>
                  <a:pt x="6699973" y="1731063"/>
                </a:cubicBezTo>
                <a:cubicBezTo>
                  <a:pt x="6744188" y="1693707"/>
                  <a:pt x="6788402" y="1656353"/>
                  <a:pt x="6832616" y="1618998"/>
                </a:cubicBezTo>
                <a:cubicBezTo>
                  <a:pt x="6840523" y="1619675"/>
                  <a:pt x="6848428" y="1620353"/>
                  <a:pt x="6855124" y="1619598"/>
                </a:cubicBezTo>
                <a:cubicBezTo>
                  <a:pt x="6856985" y="1613122"/>
                  <a:pt x="6857638" y="1605214"/>
                  <a:pt x="6859934" y="1593467"/>
                </a:cubicBezTo>
                <a:cubicBezTo>
                  <a:pt x="6869483" y="1590304"/>
                  <a:pt x="6880241" y="1588570"/>
                  <a:pt x="6893634" y="1587064"/>
                </a:cubicBezTo>
                <a:cubicBezTo>
                  <a:pt x="6892860" y="1580361"/>
                  <a:pt x="6893295" y="1575091"/>
                  <a:pt x="6894165" y="1564547"/>
                </a:cubicBezTo>
                <a:cubicBezTo>
                  <a:pt x="6909540" y="1571173"/>
                  <a:pt x="6922281" y="1577573"/>
                  <a:pt x="6937656" y="1584199"/>
                </a:cubicBezTo>
                <a:cubicBezTo>
                  <a:pt x="6939396" y="1563113"/>
                  <a:pt x="6941257" y="1556636"/>
                  <a:pt x="6941910" y="1548729"/>
                </a:cubicBezTo>
                <a:cubicBezTo>
                  <a:pt x="6949042" y="1542704"/>
                  <a:pt x="6957598" y="1535474"/>
                  <a:pt x="6964731" y="1529449"/>
                </a:cubicBezTo>
                <a:cubicBezTo>
                  <a:pt x="6974062" y="1528921"/>
                  <a:pt x="6981967" y="1529598"/>
                  <a:pt x="6989872" y="1530276"/>
                </a:cubicBezTo>
                <a:cubicBezTo>
                  <a:pt x="6998429" y="1523046"/>
                  <a:pt x="7005562" y="1517021"/>
                  <a:pt x="7012693" y="1510996"/>
                </a:cubicBezTo>
                <a:cubicBezTo>
                  <a:pt x="7022024" y="1510468"/>
                  <a:pt x="7029930" y="1511145"/>
                  <a:pt x="7039261" y="1510617"/>
                </a:cubicBezTo>
                <a:cubicBezTo>
                  <a:pt x="7042766" y="1500300"/>
                  <a:pt x="7048906" y="1490209"/>
                  <a:pt x="7052411" y="1479892"/>
                </a:cubicBezTo>
                <a:close/>
                <a:moveTo>
                  <a:pt x="5988829" y="983"/>
                </a:moveTo>
                <a:cubicBezTo>
                  <a:pt x="5992669" y="-424"/>
                  <a:pt x="5997014" y="-490"/>
                  <a:pt x="6002352" y="1916"/>
                </a:cubicBezTo>
                <a:cubicBezTo>
                  <a:pt x="6001991" y="4534"/>
                  <a:pt x="6002760" y="8643"/>
                  <a:pt x="6001271" y="9771"/>
                </a:cubicBezTo>
                <a:cubicBezTo>
                  <a:pt x="5984530" y="24797"/>
                  <a:pt x="5967020" y="35714"/>
                  <a:pt x="5952129" y="46994"/>
                </a:cubicBezTo>
                <a:cubicBezTo>
                  <a:pt x="5952224" y="65683"/>
                  <a:pt x="5941079" y="78815"/>
                  <a:pt x="5934042" y="91182"/>
                </a:cubicBezTo>
                <a:cubicBezTo>
                  <a:pt x="5935171" y="92672"/>
                  <a:pt x="5936299" y="94162"/>
                  <a:pt x="5937428" y="95652"/>
                </a:cubicBezTo>
                <a:cubicBezTo>
                  <a:pt x="5948621" y="91865"/>
                  <a:pt x="5960942" y="89567"/>
                  <a:pt x="5956835" y="90332"/>
                </a:cubicBezTo>
                <a:cubicBezTo>
                  <a:pt x="5987841" y="87953"/>
                  <a:pt x="5996008" y="77077"/>
                  <a:pt x="6006432" y="69181"/>
                </a:cubicBezTo>
                <a:cubicBezTo>
                  <a:pt x="6016496" y="63903"/>
                  <a:pt x="6022813" y="56772"/>
                  <a:pt x="6030258" y="51133"/>
                </a:cubicBezTo>
                <a:cubicBezTo>
                  <a:pt x="6031340" y="43278"/>
                  <a:pt x="6032060" y="38043"/>
                  <a:pt x="6033142" y="30188"/>
                </a:cubicBezTo>
                <a:cubicBezTo>
                  <a:pt x="6038377" y="30913"/>
                  <a:pt x="6046231" y="31999"/>
                  <a:pt x="6055574" y="31957"/>
                </a:cubicBezTo>
                <a:cubicBezTo>
                  <a:pt x="6065998" y="24061"/>
                  <a:pt x="6077911" y="15038"/>
                  <a:pt x="6091313" y="4886"/>
                </a:cubicBezTo>
                <a:cubicBezTo>
                  <a:pt x="6100655" y="4845"/>
                  <a:pt x="6111128" y="6293"/>
                  <a:pt x="6123087" y="6614"/>
                </a:cubicBezTo>
                <a:cubicBezTo>
                  <a:pt x="6132165" y="27880"/>
                  <a:pt x="6117683" y="45886"/>
                  <a:pt x="6121885" y="63809"/>
                </a:cubicBezTo>
                <a:cubicBezTo>
                  <a:pt x="6088716" y="81898"/>
                  <a:pt x="6092653" y="121130"/>
                  <a:pt x="6062822" y="134345"/>
                </a:cubicBezTo>
                <a:cubicBezTo>
                  <a:pt x="6088593" y="131239"/>
                  <a:pt x="6116261" y="133734"/>
                  <a:pt x="6136341" y="113834"/>
                </a:cubicBezTo>
                <a:cubicBezTo>
                  <a:pt x="6144195" y="114920"/>
                  <a:pt x="6150920" y="114517"/>
                  <a:pt x="6159902" y="117094"/>
                </a:cubicBezTo>
                <a:cubicBezTo>
                  <a:pt x="6171815" y="108069"/>
                  <a:pt x="6185218" y="97918"/>
                  <a:pt x="6195641" y="90022"/>
                </a:cubicBezTo>
                <a:cubicBezTo>
                  <a:pt x="6226648" y="87642"/>
                  <a:pt x="6257607" y="75917"/>
                  <a:pt x="6288349" y="94844"/>
                </a:cubicBezTo>
                <a:cubicBezTo>
                  <a:pt x="6285009" y="99718"/>
                  <a:pt x="6278693" y="106848"/>
                  <a:pt x="6273505" y="115469"/>
                </a:cubicBezTo>
                <a:cubicBezTo>
                  <a:pt x="6275450" y="130411"/>
                  <a:pt x="6286329" y="138586"/>
                  <a:pt x="6291973" y="146038"/>
                </a:cubicBezTo>
                <a:cubicBezTo>
                  <a:pt x="6304702" y="150466"/>
                  <a:pt x="6313685" y="153043"/>
                  <a:pt x="6323796" y="157110"/>
                </a:cubicBezTo>
                <a:cubicBezTo>
                  <a:pt x="6323122" y="171691"/>
                  <a:pt x="6323170" y="181036"/>
                  <a:pt x="6321368" y="194126"/>
                </a:cubicBezTo>
                <a:cubicBezTo>
                  <a:pt x="6304988" y="206534"/>
                  <a:pt x="6285629" y="221198"/>
                  <a:pt x="6270737" y="232478"/>
                </a:cubicBezTo>
                <a:cubicBezTo>
                  <a:pt x="6268935" y="245568"/>
                  <a:pt x="6266724" y="251932"/>
                  <a:pt x="6265644" y="259787"/>
                </a:cubicBezTo>
                <a:cubicBezTo>
                  <a:pt x="6243307" y="276707"/>
                  <a:pt x="6222459" y="292498"/>
                  <a:pt x="6203100" y="307162"/>
                </a:cubicBezTo>
                <a:cubicBezTo>
                  <a:pt x="6202019" y="315016"/>
                  <a:pt x="6201298" y="320253"/>
                  <a:pt x="6201706" y="326979"/>
                </a:cubicBezTo>
                <a:cubicBezTo>
                  <a:pt x="6160010" y="358562"/>
                  <a:pt x="6118314" y="390146"/>
                  <a:pt x="6082574" y="417218"/>
                </a:cubicBezTo>
                <a:cubicBezTo>
                  <a:pt x="6068451" y="432606"/>
                  <a:pt x="6076761" y="449763"/>
                  <a:pt x="6058483" y="456573"/>
                </a:cubicBezTo>
                <a:cubicBezTo>
                  <a:pt x="6053247" y="455848"/>
                  <a:pt x="6045392" y="454761"/>
                  <a:pt x="6036050" y="454803"/>
                </a:cubicBezTo>
                <a:cubicBezTo>
                  <a:pt x="6024137" y="463827"/>
                  <a:pt x="6012224" y="472851"/>
                  <a:pt x="5998822" y="483003"/>
                </a:cubicBezTo>
                <a:cubicBezTo>
                  <a:pt x="5996612" y="489366"/>
                  <a:pt x="5995531" y="497222"/>
                  <a:pt x="5994448" y="505076"/>
                </a:cubicBezTo>
                <a:cubicBezTo>
                  <a:pt x="5922969" y="559219"/>
                  <a:pt x="5851490" y="613362"/>
                  <a:pt x="5778522" y="668632"/>
                </a:cubicBezTo>
                <a:cubicBezTo>
                  <a:pt x="5777802" y="673869"/>
                  <a:pt x="5777081" y="679105"/>
                  <a:pt x="5776361" y="684341"/>
                </a:cubicBezTo>
                <a:cubicBezTo>
                  <a:pt x="5776000" y="686960"/>
                  <a:pt x="5776769" y="691068"/>
                  <a:pt x="5775280" y="692195"/>
                </a:cubicBezTo>
                <a:cubicBezTo>
                  <a:pt x="5720180" y="733932"/>
                  <a:pt x="5666572" y="774538"/>
                  <a:pt x="5612963" y="815145"/>
                </a:cubicBezTo>
                <a:cubicBezTo>
                  <a:pt x="5610392" y="824128"/>
                  <a:pt x="5609312" y="831983"/>
                  <a:pt x="5607101" y="838347"/>
                </a:cubicBezTo>
                <a:cubicBezTo>
                  <a:pt x="5601865" y="837622"/>
                  <a:pt x="5595501" y="835407"/>
                  <a:pt x="5588777" y="835812"/>
                </a:cubicBezTo>
                <a:cubicBezTo>
                  <a:pt x="5586566" y="842176"/>
                  <a:pt x="5584356" y="848540"/>
                  <a:pt x="5583274" y="856394"/>
                </a:cubicBezTo>
                <a:cubicBezTo>
                  <a:pt x="5538601" y="890234"/>
                  <a:pt x="5492437" y="925201"/>
                  <a:pt x="5447763" y="959041"/>
                </a:cubicBezTo>
                <a:cubicBezTo>
                  <a:pt x="5439236" y="972535"/>
                  <a:pt x="5446056" y="990820"/>
                  <a:pt x="5428139" y="995011"/>
                </a:cubicBezTo>
                <a:cubicBezTo>
                  <a:pt x="5421774" y="992797"/>
                  <a:pt x="5413560" y="994328"/>
                  <a:pt x="5407195" y="992115"/>
                </a:cubicBezTo>
                <a:cubicBezTo>
                  <a:pt x="5404625" y="1001097"/>
                  <a:pt x="5403544" y="1008951"/>
                  <a:pt x="5401334" y="1015315"/>
                </a:cubicBezTo>
                <a:cubicBezTo>
                  <a:pt x="5396866" y="1018700"/>
                  <a:pt x="5393528" y="1023574"/>
                  <a:pt x="5388292" y="1022849"/>
                </a:cubicBezTo>
                <a:cubicBezTo>
                  <a:pt x="5382696" y="1024743"/>
                  <a:pt x="5374842" y="1023656"/>
                  <a:pt x="5366988" y="1022570"/>
                </a:cubicBezTo>
                <a:cubicBezTo>
                  <a:pt x="5367396" y="1029297"/>
                  <a:pt x="5366676" y="1034532"/>
                  <a:pt x="5364105" y="1043515"/>
                </a:cubicBezTo>
                <a:cubicBezTo>
                  <a:pt x="5314963" y="1080738"/>
                  <a:pt x="5262843" y="1120218"/>
                  <a:pt x="5212212" y="1158569"/>
                </a:cubicBezTo>
                <a:cubicBezTo>
                  <a:pt x="5212260" y="1167913"/>
                  <a:pt x="5211539" y="1173149"/>
                  <a:pt x="5209329" y="1179514"/>
                </a:cubicBezTo>
                <a:cubicBezTo>
                  <a:pt x="5167633" y="1211097"/>
                  <a:pt x="5125937" y="1242681"/>
                  <a:pt x="5084241" y="1274264"/>
                </a:cubicBezTo>
                <a:cubicBezTo>
                  <a:pt x="5083160" y="1282119"/>
                  <a:pt x="5082079" y="1289973"/>
                  <a:pt x="5080276" y="1303064"/>
                </a:cubicBezTo>
                <a:cubicBezTo>
                  <a:pt x="5059429" y="1318855"/>
                  <a:pt x="5037091" y="1335776"/>
                  <a:pt x="5013265" y="1353823"/>
                </a:cubicBezTo>
                <a:cubicBezTo>
                  <a:pt x="5022295" y="1365744"/>
                  <a:pt x="5030196" y="1376176"/>
                  <a:pt x="5036969" y="1385116"/>
                </a:cubicBezTo>
                <a:cubicBezTo>
                  <a:pt x="5047440" y="1386565"/>
                  <a:pt x="5047440" y="1386565"/>
                  <a:pt x="5052078" y="1343185"/>
                </a:cubicBezTo>
                <a:cubicBezTo>
                  <a:pt x="5057314" y="1343909"/>
                  <a:pt x="5064039" y="1343506"/>
                  <a:pt x="5076000" y="1343826"/>
                </a:cubicBezTo>
                <a:cubicBezTo>
                  <a:pt x="5141522" y="1294195"/>
                  <a:pt x="5211512" y="1241180"/>
                  <a:pt x="5278523" y="1190421"/>
                </a:cubicBezTo>
                <a:cubicBezTo>
                  <a:pt x="5287506" y="1192998"/>
                  <a:pt x="5292741" y="1193721"/>
                  <a:pt x="5297977" y="1194446"/>
                </a:cubicBezTo>
                <a:cubicBezTo>
                  <a:pt x="5300188" y="1188082"/>
                  <a:pt x="5301268" y="1180227"/>
                  <a:pt x="5302350" y="1172373"/>
                </a:cubicBezTo>
                <a:cubicBezTo>
                  <a:pt x="5307585" y="1173098"/>
                  <a:pt x="5312821" y="1173822"/>
                  <a:pt x="5322164" y="1173780"/>
                </a:cubicBezTo>
                <a:cubicBezTo>
                  <a:pt x="5342698" y="1169952"/>
                  <a:pt x="5355286" y="1146347"/>
                  <a:pt x="5379160" y="1137644"/>
                </a:cubicBezTo>
                <a:cubicBezTo>
                  <a:pt x="5384395" y="1138368"/>
                  <a:pt x="5391120" y="1137965"/>
                  <a:pt x="5398974" y="1139051"/>
                </a:cubicBezTo>
                <a:cubicBezTo>
                  <a:pt x="5399695" y="1133815"/>
                  <a:pt x="5400416" y="1128579"/>
                  <a:pt x="5401857" y="1118106"/>
                </a:cubicBezTo>
                <a:cubicBezTo>
                  <a:pt x="5439086" y="1089907"/>
                  <a:pt x="5477804" y="1060579"/>
                  <a:pt x="5515032" y="1032380"/>
                </a:cubicBezTo>
                <a:cubicBezTo>
                  <a:pt x="5516473" y="1021907"/>
                  <a:pt x="5517195" y="1016671"/>
                  <a:pt x="5517914" y="1011434"/>
                </a:cubicBezTo>
                <a:cubicBezTo>
                  <a:pt x="5524640" y="1011030"/>
                  <a:pt x="5531365" y="1010627"/>
                  <a:pt x="5539219" y="1011714"/>
                </a:cubicBezTo>
                <a:cubicBezTo>
                  <a:pt x="5541429" y="1005350"/>
                  <a:pt x="5542509" y="997495"/>
                  <a:pt x="5543591" y="989640"/>
                </a:cubicBezTo>
                <a:cubicBezTo>
                  <a:pt x="5559971" y="977233"/>
                  <a:pt x="5576352" y="964825"/>
                  <a:pt x="5594222" y="951289"/>
                </a:cubicBezTo>
                <a:cubicBezTo>
                  <a:pt x="5602077" y="952376"/>
                  <a:pt x="5609930" y="953463"/>
                  <a:pt x="5617783" y="954549"/>
                </a:cubicBezTo>
                <a:cubicBezTo>
                  <a:pt x="5647566" y="931989"/>
                  <a:pt x="5677349" y="909430"/>
                  <a:pt x="5705643" y="887998"/>
                </a:cubicBezTo>
                <a:cubicBezTo>
                  <a:pt x="5706724" y="880144"/>
                  <a:pt x="5707805" y="872289"/>
                  <a:pt x="5708886" y="864435"/>
                </a:cubicBezTo>
                <a:cubicBezTo>
                  <a:pt x="5716740" y="865521"/>
                  <a:pt x="5721976" y="866245"/>
                  <a:pt x="5728340" y="868460"/>
                </a:cubicBezTo>
                <a:cubicBezTo>
                  <a:pt x="5747699" y="853796"/>
                  <a:pt x="5768547" y="838004"/>
                  <a:pt x="5787905" y="823341"/>
                </a:cubicBezTo>
                <a:cubicBezTo>
                  <a:pt x="5801356" y="822534"/>
                  <a:pt x="5809570" y="821002"/>
                  <a:pt x="5823020" y="820194"/>
                </a:cubicBezTo>
                <a:cubicBezTo>
                  <a:pt x="5827080" y="810084"/>
                  <a:pt x="5832628" y="798846"/>
                  <a:pt x="5838537" y="784989"/>
                </a:cubicBezTo>
                <a:cubicBezTo>
                  <a:pt x="5846751" y="783458"/>
                  <a:pt x="5856094" y="783417"/>
                  <a:pt x="5868055" y="783737"/>
                </a:cubicBezTo>
                <a:cubicBezTo>
                  <a:pt x="5867647" y="777011"/>
                  <a:pt x="5868728" y="769157"/>
                  <a:pt x="5870938" y="762792"/>
                </a:cubicBezTo>
                <a:cubicBezTo>
                  <a:pt x="5885061" y="747404"/>
                  <a:pt x="5901177" y="756304"/>
                  <a:pt x="5915755" y="756987"/>
                </a:cubicBezTo>
                <a:cubicBezTo>
                  <a:pt x="5924017" y="764799"/>
                  <a:pt x="5931918" y="775231"/>
                  <a:pt x="5921494" y="783127"/>
                </a:cubicBezTo>
                <a:cubicBezTo>
                  <a:pt x="5905113" y="795535"/>
                  <a:pt x="5914912" y="811564"/>
                  <a:pt x="5903045" y="829933"/>
                </a:cubicBezTo>
                <a:cubicBezTo>
                  <a:pt x="5919835" y="824251"/>
                  <a:pt x="5928409" y="820102"/>
                  <a:pt x="5939241" y="818932"/>
                </a:cubicBezTo>
                <a:cubicBezTo>
                  <a:pt x="5943348" y="818167"/>
                  <a:pt x="5948584" y="818891"/>
                  <a:pt x="5954949" y="821105"/>
                </a:cubicBezTo>
                <a:cubicBezTo>
                  <a:pt x="5966862" y="812081"/>
                  <a:pt x="5980264" y="801930"/>
                  <a:pt x="5992177" y="792906"/>
                </a:cubicBezTo>
                <a:cubicBezTo>
                  <a:pt x="5993258" y="785052"/>
                  <a:pt x="5994340" y="777197"/>
                  <a:pt x="5995421" y="769342"/>
                </a:cubicBezTo>
                <a:cubicBezTo>
                  <a:pt x="6000656" y="770067"/>
                  <a:pt x="6005893" y="770791"/>
                  <a:pt x="6016364" y="772240"/>
                </a:cubicBezTo>
                <a:cubicBezTo>
                  <a:pt x="6032745" y="759832"/>
                  <a:pt x="6050615" y="746297"/>
                  <a:pt x="6061037" y="738401"/>
                </a:cubicBezTo>
                <a:cubicBezTo>
                  <a:pt x="6085680" y="733806"/>
                  <a:pt x="6100620" y="731871"/>
                  <a:pt x="6115559" y="729935"/>
                </a:cubicBezTo>
                <a:cubicBezTo>
                  <a:pt x="6114117" y="740409"/>
                  <a:pt x="6112676" y="750881"/>
                  <a:pt x="6111234" y="761353"/>
                </a:cubicBezTo>
                <a:cubicBezTo>
                  <a:pt x="6105325" y="775210"/>
                  <a:pt x="6079145" y="771588"/>
                  <a:pt x="6086735" y="793982"/>
                </a:cubicBezTo>
                <a:cubicBezTo>
                  <a:pt x="6089352" y="794344"/>
                  <a:pt x="6093099" y="796197"/>
                  <a:pt x="6094588" y="795069"/>
                </a:cubicBezTo>
                <a:cubicBezTo>
                  <a:pt x="6128838" y="769125"/>
                  <a:pt x="6161600" y="744310"/>
                  <a:pt x="6195850" y="718366"/>
                </a:cubicBezTo>
                <a:cubicBezTo>
                  <a:pt x="6215712" y="729118"/>
                  <a:pt x="6229835" y="713729"/>
                  <a:pt x="6248521" y="713647"/>
                </a:cubicBezTo>
                <a:cubicBezTo>
                  <a:pt x="6264589" y="713202"/>
                  <a:pt x="6280201" y="696686"/>
                  <a:pt x="6296220" y="686896"/>
                </a:cubicBezTo>
                <a:cubicBezTo>
                  <a:pt x="6301096" y="690238"/>
                  <a:pt x="6307101" y="695071"/>
                  <a:pt x="6313105" y="699904"/>
                </a:cubicBezTo>
                <a:cubicBezTo>
                  <a:pt x="6308012" y="727213"/>
                  <a:pt x="6289734" y="734023"/>
                  <a:pt x="6265044" y="729272"/>
                </a:cubicBezTo>
                <a:cubicBezTo>
                  <a:pt x="6262833" y="735637"/>
                  <a:pt x="6261753" y="743492"/>
                  <a:pt x="6259543" y="749855"/>
                </a:cubicBezTo>
                <a:cubicBezTo>
                  <a:pt x="6251737" y="758114"/>
                  <a:pt x="6241313" y="766010"/>
                  <a:pt x="6226061" y="779907"/>
                </a:cubicBezTo>
                <a:cubicBezTo>
                  <a:pt x="6251111" y="782040"/>
                  <a:pt x="6264873" y="769269"/>
                  <a:pt x="6282478" y="777041"/>
                </a:cubicBezTo>
                <a:cubicBezTo>
                  <a:pt x="6319707" y="748842"/>
                  <a:pt x="6358425" y="719514"/>
                  <a:pt x="6395654" y="691314"/>
                </a:cubicBezTo>
                <a:cubicBezTo>
                  <a:pt x="6411722" y="690869"/>
                  <a:pt x="6413306" y="708430"/>
                  <a:pt x="6425674" y="715478"/>
                </a:cubicBezTo>
                <a:cubicBezTo>
                  <a:pt x="6412728" y="741701"/>
                  <a:pt x="6406506" y="767521"/>
                  <a:pt x="6382679" y="785567"/>
                </a:cubicBezTo>
                <a:cubicBezTo>
                  <a:pt x="6387697" y="816944"/>
                  <a:pt x="6341344" y="814533"/>
                  <a:pt x="6342614" y="844057"/>
                </a:cubicBezTo>
                <a:cubicBezTo>
                  <a:pt x="6369515" y="842443"/>
                  <a:pt x="6379844" y="815858"/>
                  <a:pt x="6408954" y="807879"/>
                </a:cubicBezTo>
                <a:cubicBezTo>
                  <a:pt x="6406336" y="807517"/>
                  <a:pt x="6411571" y="808241"/>
                  <a:pt x="6416807" y="808965"/>
                </a:cubicBezTo>
                <a:cubicBezTo>
                  <a:pt x="6422404" y="807072"/>
                  <a:pt x="6427639" y="807795"/>
                  <a:pt x="6432106" y="804412"/>
                </a:cubicBezTo>
                <a:cubicBezTo>
                  <a:pt x="6446998" y="793132"/>
                  <a:pt x="6460401" y="782981"/>
                  <a:pt x="6472314" y="773956"/>
                </a:cubicBezTo>
                <a:cubicBezTo>
                  <a:pt x="6507067" y="773429"/>
                  <a:pt x="6536584" y="772176"/>
                  <a:pt x="6568719" y="771286"/>
                </a:cubicBezTo>
                <a:cubicBezTo>
                  <a:pt x="6558031" y="800489"/>
                  <a:pt x="6526664" y="805488"/>
                  <a:pt x="6514078" y="829093"/>
                </a:cubicBezTo>
                <a:cubicBezTo>
                  <a:pt x="6539991" y="854022"/>
                  <a:pt x="6578253" y="808624"/>
                  <a:pt x="6602365" y="846644"/>
                </a:cubicBezTo>
                <a:cubicBezTo>
                  <a:pt x="6605439" y="863076"/>
                  <a:pt x="6587882" y="864649"/>
                  <a:pt x="6581204" y="874398"/>
                </a:cubicBezTo>
                <a:cubicBezTo>
                  <a:pt x="6575656" y="885636"/>
                  <a:pt x="6571236" y="898365"/>
                  <a:pt x="6567176" y="908475"/>
                </a:cubicBezTo>
                <a:cubicBezTo>
                  <a:pt x="6555216" y="908154"/>
                  <a:pt x="6548491" y="908558"/>
                  <a:pt x="6540637" y="907471"/>
                </a:cubicBezTo>
                <a:cubicBezTo>
                  <a:pt x="6538427" y="913836"/>
                  <a:pt x="6537346" y="921690"/>
                  <a:pt x="6536265" y="929545"/>
                </a:cubicBezTo>
                <a:cubicBezTo>
                  <a:pt x="6527330" y="936313"/>
                  <a:pt x="6519884" y="941952"/>
                  <a:pt x="6510948" y="948720"/>
                </a:cubicBezTo>
                <a:cubicBezTo>
                  <a:pt x="6509868" y="956575"/>
                  <a:pt x="6507658" y="962938"/>
                  <a:pt x="6506577" y="970794"/>
                </a:cubicBezTo>
                <a:cubicBezTo>
                  <a:pt x="6379998" y="1066671"/>
                  <a:pt x="6253422" y="1162550"/>
                  <a:pt x="6126844" y="1258428"/>
                </a:cubicBezTo>
                <a:cubicBezTo>
                  <a:pt x="6118991" y="1257342"/>
                  <a:pt x="6112266" y="1257745"/>
                  <a:pt x="6101794" y="1256296"/>
                </a:cubicBezTo>
                <a:cubicBezTo>
                  <a:pt x="6105949" y="1264875"/>
                  <a:pt x="6108975" y="1271964"/>
                  <a:pt x="6110512" y="1280181"/>
                </a:cubicBezTo>
                <a:cubicBezTo>
                  <a:pt x="6129558" y="1277480"/>
                  <a:pt x="6146754" y="1278525"/>
                  <a:pt x="6162414" y="1271353"/>
                </a:cubicBezTo>
                <a:cubicBezTo>
                  <a:pt x="6176585" y="1265310"/>
                  <a:pt x="6186601" y="1250687"/>
                  <a:pt x="6205334" y="1259948"/>
                </a:cubicBezTo>
                <a:cubicBezTo>
                  <a:pt x="6218736" y="1249797"/>
                  <a:pt x="6230649" y="1240773"/>
                  <a:pt x="6239584" y="1234005"/>
                </a:cubicBezTo>
                <a:cubicBezTo>
                  <a:pt x="6255652" y="1233560"/>
                  <a:pt x="6267613" y="1233881"/>
                  <a:pt x="6279934" y="1231584"/>
                </a:cubicBezTo>
                <a:cubicBezTo>
                  <a:pt x="6275562" y="1253656"/>
                  <a:pt x="6260262" y="1258210"/>
                  <a:pt x="6251327" y="1264978"/>
                </a:cubicBezTo>
                <a:cubicBezTo>
                  <a:pt x="6244602" y="1265382"/>
                  <a:pt x="6236749" y="1264295"/>
                  <a:pt x="6230024" y="1264698"/>
                </a:cubicBezTo>
                <a:cubicBezTo>
                  <a:pt x="6228582" y="1275171"/>
                  <a:pt x="6227141" y="1285644"/>
                  <a:pt x="6225699" y="1296116"/>
                </a:cubicBezTo>
                <a:cubicBezTo>
                  <a:pt x="6247771" y="1300504"/>
                  <a:pt x="6255889" y="1280283"/>
                  <a:pt x="6274528" y="1270856"/>
                </a:cubicBezTo>
                <a:cubicBezTo>
                  <a:pt x="6279764" y="1271580"/>
                  <a:pt x="6286489" y="1271177"/>
                  <a:pt x="6296960" y="1272625"/>
                </a:cubicBezTo>
                <a:cubicBezTo>
                  <a:pt x="6308873" y="1263602"/>
                  <a:pt x="6320786" y="1254578"/>
                  <a:pt x="6332700" y="1245553"/>
                </a:cubicBezTo>
                <a:cubicBezTo>
                  <a:pt x="6348407" y="1247728"/>
                  <a:pt x="6366685" y="1240918"/>
                  <a:pt x="6376124" y="1259566"/>
                </a:cubicBezTo>
                <a:cubicBezTo>
                  <a:pt x="6385561" y="1278214"/>
                  <a:pt x="6354554" y="1280593"/>
                  <a:pt x="6362503" y="1300370"/>
                </a:cubicBezTo>
                <a:cubicBezTo>
                  <a:pt x="6351718" y="1310883"/>
                  <a:pt x="6343552" y="1321760"/>
                  <a:pt x="6331278" y="1333401"/>
                </a:cubicBezTo>
                <a:cubicBezTo>
                  <a:pt x="6362693" y="1337747"/>
                  <a:pt x="6386880" y="1317082"/>
                  <a:pt x="6413827" y="1324811"/>
                </a:cubicBezTo>
                <a:cubicBezTo>
                  <a:pt x="6432778" y="1303421"/>
                  <a:pt x="6461214" y="1310024"/>
                  <a:pt x="6486576" y="1300193"/>
                </a:cubicBezTo>
                <a:cubicBezTo>
                  <a:pt x="6489964" y="1304663"/>
                  <a:pt x="6494479" y="1310624"/>
                  <a:pt x="6501251" y="1319566"/>
                </a:cubicBezTo>
                <a:cubicBezTo>
                  <a:pt x="6490467" y="1330079"/>
                  <a:pt x="6480043" y="1337975"/>
                  <a:pt x="6469619" y="1345870"/>
                </a:cubicBezTo>
                <a:cubicBezTo>
                  <a:pt x="6472645" y="1352959"/>
                  <a:pt x="6473053" y="1359685"/>
                  <a:pt x="6477207" y="1368265"/>
                </a:cubicBezTo>
                <a:cubicBezTo>
                  <a:pt x="6489528" y="1365967"/>
                  <a:pt x="6501850" y="1363670"/>
                  <a:pt x="6514171" y="1361373"/>
                </a:cubicBezTo>
                <a:cubicBezTo>
                  <a:pt x="6517557" y="1365843"/>
                  <a:pt x="6520943" y="1370314"/>
                  <a:pt x="6524328" y="1374784"/>
                </a:cubicBezTo>
                <a:cubicBezTo>
                  <a:pt x="6522575" y="1397219"/>
                  <a:pt x="6499422" y="1400687"/>
                  <a:pt x="6486787" y="1414946"/>
                </a:cubicBezTo>
                <a:cubicBezTo>
                  <a:pt x="6486067" y="1420182"/>
                  <a:pt x="6483857" y="1426547"/>
                  <a:pt x="6481287" y="1435529"/>
                </a:cubicBezTo>
                <a:cubicBezTo>
                  <a:pt x="6474562" y="1435934"/>
                  <a:pt x="6467837" y="1436337"/>
                  <a:pt x="6459984" y="1435250"/>
                </a:cubicBezTo>
                <a:cubicBezTo>
                  <a:pt x="6461207" y="1455429"/>
                  <a:pt x="6438102" y="1468240"/>
                  <a:pt x="6440454" y="1489910"/>
                </a:cubicBezTo>
                <a:cubicBezTo>
                  <a:pt x="6398758" y="1521493"/>
                  <a:pt x="6355572" y="1554205"/>
                  <a:pt x="6313877" y="1585789"/>
                </a:cubicBezTo>
                <a:cubicBezTo>
                  <a:pt x="6307512" y="1583574"/>
                  <a:pt x="6302277" y="1582850"/>
                  <a:pt x="6292934" y="1582891"/>
                </a:cubicBezTo>
                <a:cubicBezTo>
                  <a:pt x="6252727" y="1613346"/>
                  <a:pt x="6208052" y="1647186"/>
                  <a:pt x="6166356" y="1678769"/>
                </a:cubicBezTo>
                <a:cubicBezTo>
                  <a:pt x="6157374" y="1676192"/>
                  <a:pt x="6152138" y="1675468"/>
                  <a:pt x="6141666" y="1674019"/>
                </a:cubicBezTo>
                <a:cubicBezTo>
                  <a:pt x="6099970" y="1705603"/>
                  <a:pt x="6056785" y="1738314"/>
                  <a:pt x="6015089" y="1769897"/>
                </a:cubicBezTo>
                <a:cubicBezTo>
                  <a:pt x="6007235" y="1768811"/>
                  <a:pt x="6001999" y="1768087"/>
                  <a:pt x="5994146" y="1767000"/>
                </a:cubicBezTo>
                <a:cubicBezTo>
                  <a:pt x="5956917" y="1795200"/>
                  <a:pt x="5919688" y="1823399"/>
                  <a:pt x="5880971" y="1852727"/>
                </a:cubicBezTo>
                <a:cubicBezTo>
                  <a:pt x="5873117" y="1851640"/>
                  <a:pt x="5866392" y="1852044"/>
                  <a:pt x="5858538" y="1850958"/>
                </a:cubicBezTo>
                <a:cubicBezTo>
                  <a:pt x="5842518" y="1860747"/>
                  <a:pt x="5829116" y="1870898"/>
                  <a:pt x="5811246" y="1884434"/>
                </a:cubicBezTo>
                <a:cubicBezTo>
                  <a:pt x="5824023" y="1898207"/>
                  <a:pt x="5830795" y="1907148"/>
                  <a:pt x="5840186" y="1916452"/>
                </a:cubicBezTo>
                <a:cubicBezTo>
                  <a:pt x="5841314" y="1917942"/>
                  <a:pt x="5849889" y="1913792"/>
                  <a:pt x="5853996" y="1913027"/>
                </a:cubicBezTo>
                <a:cubicBezTo>
                  <a:pt x="5855893" y="1918625"/>
                  <a:pt x="5859280" y="1923096"/>
                  <a:pt x="5857430" y="1926842"/>
                </a:cubicBezTo>
                <a:cubicBezTo>
                  <a:pt x="5856708" y="1932078"/>
                  <a:pt x="5852242" y="1935462"/>
                  <a:pt x="5847774" y="1938847"/>
                </a:cubicBezTo>
                <a:cubicBezTo>
                  <a:pt x="5834372" y="1948997"/>
                  <a:pt x="5819480" y="1960277"/>
                  <a:pt x="5807567" y="1969302"/>
                </a:cubicBezTo>
                <a:cubicBezTo>
                  <a:pt x="5797096" y="1967852"/>
                  <a:pt x="5791860" y="1967128"/>
                  <a:pt x="5781388" y="1965679"/>
                </a:cubicBezTo>
                <a:cubicBezTo>
                  <a:pt x="5783332" y="1980623"/>
                  <a:pt x="5783789" y="1996693"/>
                  <a:pt x="5782347" y="2007165"/>
                </a:cubicBezTo>
                <a:cubicBezTo>
                  <a:pt x="5768945" y="2017319"/>
                  <a:pt x="5761499" y="2022958"/>
                  <a:pt x="5752564" y="2029726"/>
                </a:cubicBezTo>
                <a:cubicBezTo>
                  <a:pt x="5751482" y="2037581"/>
                  <a:pt x="5750402" y="2045434"/>
                  <a:pt x="5750809" y="2052161"/>
                </a:cubicBezTo>
                <a:cubicBezTo>
                  <a:pt x="5738583" y="2073148"/>
                  <a:pt x="5711541" y="2046728"/>
                  <a:pt x="5701212" y="2073314"/>
                </a:cubicBezTo>
                <a:cubicBezTo>
                  <a:pt x="5703109" y="2078912"/>
                  <a:pt x="5706135" y="2086000"/>
                  <a:pt x="5710290" y="2094579"/>
                </a:cubicBezTo>
                <a:cubicBezTo>
                  <a:pt x="5708440" y="2098326"/>
                  <a:pt x="5704741" y="2105817"/>
                  <a:pt x="5699193" y="2117056"/>
                </a:cubicBezTo>
                <a:cubicBezTo>
                  <a:pt x="5683845" y="2112265"/>
                  <a:pt x="5669988" y="2106347"/>
                  <a:pt x="5658387" y="2103406"/>
                </a:cubicBezTo>
                <a:cubicBezTo>
                  <a:pt x="5640517" y="2116943"/>
                  <a:pt x="5628604" y="2125966"/>
                  <a:pt x="5615202" y="2136118"/>
                </a:cubicBezTo>
                <a:cubicBezTo>
                  <a:pt x="5616378" y="2146953"/>
                  <a:pt x="5618684" y="2159278"/>
                  <a:pt x="5622478" y="2170475"/>
                </a:cubicBezTo>
                <a:cubicBezTo>
                  <a:pt x="5613543" y="2177242"/>
                  <a:pt x="5604608" y="2184010"/>
                  <a:pt x="5595673" y="2190778"/>
                </a:cubicBezTo>
                <a:cubicBezTo>
                  <a:pt x="5584433" y="2185222"/>
                  <a:pt x="5574682" y="2178536"/>
                  <a:pt x="5563443" y="2172979"/>
                </a:cubicBezTo>
                <a:cubicBezTo>
                  <a:pt x="5563537" y="2191668"/>
                  <a:pt x="5550183" y="2211165"/>
                  <a:pt x="5571173" y="2223407"/>
                </a:cubicBezTo>
                <a:cubicBezTo>
                  <a:pt x="5556690" y="2241413"/>
                  <a:pt x="5545185" y="2257164"/>
                  <a:pt x="5521216" y="2247177"/>
                </a:cubicBezTo>
                <a:cubicBezTo>
                  <a:pt x="5520135" y="2255032"/>
                  <a:pt x="5517925" y="2261396"/>
                  <a:pt x="5516844" y="2269250"/>
                </a:cubicBezTo>
                <a:cubicBezTo>
                  <a:pt x="5494411" y="2267481"/>
                  <a:pt x="5492059" y="2245811"/>
                  <a:pt x="5478922" y="2234655"/>
                </a:cubicBezTo>
                <a:cubicBezTo>
                  <a:pt x="5477793" y="2233166"/>
                  <a:pt x="5475535" y="2230185"/>
                  <a:pt x="5472917" y="2229824"/>
                </a:cubicBezTo>
                <a:cubicBezTo>
                  <a:pt x="5448228" y="2225074"/>
                  <a:pt x="5420920" y="2219961"/>
                  <a:pt x="5401466" y="2215936"/>
                </a:cubicBezTo>
                <a:cubicBezTo>
                  <a:pt x="5386574" y="2227216"/>
                  <a:pt x="5378000" y="2231365"/>
                  <a:pt x="5389286" y="2246267"/>
                </a:cubicBezTo>
                <a:cubicBezTo>
                  <a:pt x="5389286" y="2246267"/>
                  <a:pt x="5390056" y="2250376"/>
                  <a:pt x="5392674" y="2250737"/>
                </a:cubicBezTo>
                <a:cubicBezTo>
                  <a:pt x="5406891" y="2254039"/>
                  <a:pt x="5422599" y="2256211"/>
                  <a:pt x="5437945" y="2261003"/>
                </a:cubicBezTo>
                <a:cubicBezTo>
                  <a:pt x="5430907" y="2273369"/>
                  <a:pt x="5425000" y="2287225"/>
                  <a:pt x="5417241" y="2304829"/>
                </a:cubicBezTo>
                <a:cubicBezTo>
                  <a:pt x="5412773" y="2308212"/>
                  <a:pt x="5403839" y="2314981"/>
                  <a:pt x="5399371" y="2318364"/>
                </a:cubicBezTo>
                <a:cubicBezTo>
                  <a:pt x="5380325" y="2321065"/>
                  <a:pt x="5366515" y="2324491"/>
                  <a:pt x="5351576" y="2326426"/>
                </a:cubicBezTo>
                <a:cubicBezTo>
                  <a:pt x="5356716" y="2308461"/>
                  <a:pt x="5364475" y="2290858"/>
                  <a:pt x="5369255" y="2275512"/>
                </a:cubicBezTo>
                <a:cubicBezTo>
                  <a:pt x="5353140" y="2266612"/>
                  <a:pt x="5339282" y="2260694"/>
                  <a:pt x="5325424" y="2254774"/>
                </a:cubicBezTo>
                <a:cubicBezTo>
                  <a:pt x="5313511" y="2263797"/>
                  <a:pt x="5301598" y="2272821"/>
                  <a:pt x="5288196" y="2282973"/>
                </a:cubicBezTo>
                <a:cubicBezTo>
                  <a:pt x="5288291" y="2301662"/>
                  <a:pt x="5302244" y="2326271"/>
                  <a:pt x="5286271" y="2345405"/>
                </a:cubicBezTo>
                <a:cubicBezTo>
                  <a:pt x="5277649" y="2340210"/>
                  <a:pt x="5271237" y="2328651"/>
                  <a:pt x="5266096" y="2346616"/>
                </a:cubicBezTo>
                <a:cubicBezTo>
                  <a:pt x="5272821" y="2346213"/>
                  <a:pt x="5278057" y="2346936"/>
                  <a:pt x="5286271" y="2345405"/>
                </a:cubicBezTo>
                <a:cubicBezTo>
                  <a:pt x="5291555" y="2355474"/>
                  <a:pt x="5299456" y="2365906"/>
                  <a:pt x="5308486" y="2377826"/>
                </a:cubicBezTo>
                <a:cubicBezTo>
                  <a:pt x="5289990" y="2415288"/>
                  <a:pt x="5289990" y="2415288"/>
                  <a:pt x="5297675" y="2456370"/>
                </a:cubicBezTo>
                <a:cubicBezTo>
                  <a:pt x="5293206" y="2459754"/>
                  <a:pt x="5286120" y="2462776"/>
                  <a:pt x="5280164" y="2467289"/>
                </a:cubicBezTo>
                <a:cubicBezTo>
                  <a:pt x="5269645" y="2456495"/>
                  <a:pt x="5260256" y="2447192"/>
                  <a:pt x="5250865" y="2437889"/>
                </a:cubicBezTo>
                <a:cubicBezTo>
                  <a:pt x="5238904" y="2437568"/>
                  <a:pt x="5231818" y="2440589"/>
                  <a:pt x="5230016" y="2453680"/>
                </a:cubicBezTo>
                <a:cubicBezTo>
                  <a:pt x="5227133" y="2474626"/>
                  <a:pt x="5224250" y="2495571"/>
                  <a:pt x="5221367" y="2516516"/>
                </a:cubicBezTo>
                <a:cubicBezTo>
                  <a:pt x="5204939" y="2519579"/>
                  <a:pt x="5190000" y="2521514"/>
                  <a:pt x="5176958" y="2529048"/>
                </a:cubicBezTo>
                <a:cubicBezTo>
                  <a:pt x="5165405" y="2535453"/>
                  <a:pt x="5155341" y="2540731"/>
                  <a:pt x="5139995" y="2535940"/>
                </a:cubicBezTo>
                <a:cubicBezTo>
                  <a:pt x="5137424" y="2544922"/>
                  <a:pt x="5134854" y="2553904"/>
                  <a:pt x="5131563" y="2568124"/>
                </a:cubicBezTo>
                <a:cubicBezTo>
                  <a:pt x="5113238" y="2565588"/>
                  <a:pt x="5094912" y="2563053"/>
                  <a:pt x="5076227" y="2563136"/>
                </a:cubicBezTo>
                <a:cubicBezTo>
                  <a:pt x="5060206" y="2572926"/>
                  <a:pt x="5065897" y="2589720"/>
                  <a:pt x="5061117" y="2605067"/>
                </a:cubicBezTo>
                <a:cubicBezTo>
                  <a:pt x="5067529" y="2616627"/>
                  <a:pt x="5081387" y="2622545"/>
                  <a:pt x="5079225" y="2638255"/>
                </a:cubicBezTo>
                <a:cubicBezTo>
                  <a:pt x="5067312" y="2647279"/>
                  <a:pt x="5065727" y="2629718"/>
                  <a:pt x="5048892" y="2626054"/>
                </a:cubicBezTo>
                <a:cubicBezTo>
                  <a:pt x="5046273" y="2625692"/>
                  <a:pt x="5035802" y="2624244"/>
                  <a:pt x="5025330" y="2622795"/>
                </a:cubicBezTo>
                <a:cubicBezTo>
                  <a:pt x="5013417" y="2631818"/>
                  <a:pt x="5001504" y="2640842"/>
                  <a:pt x="4988102" y="2650994"/>
                </a:cubicBezTo>
                <a:cubicBezTo>
                  <a:pt x="4980248" y="2649908"/>
                  <a:pt x="4972394" y="2648821"/>
                  <a:pt x="4964541" y="2647735"/>
                </a:cubicBezTo>
                <a:cubicBezTo>
                  <a:pt x="4958584" y="2652246"/>
                  <a:pt x="4951138" y="2657886"/>
                  <a:pt x="4945182" y="2662399"/>
                </a:cubicBezTo>
                <a:cubicBezTo>
                  <a:pt x="4940667" y="2656438"/>
                  <a:pt x="4935023" y="2648986"/>
                  <a:pt x="4930508" y="2643026"/>
                </a:cubicBezTo>
                <a:cubicBezTo>
                  <a:pt x="4908436" y="2638638"/>
                  <a:pt x="4898828" y="2659987"/>
                  <a:pt x="4882807" y="2669776"/>
                </a:cubicBezTo>
                <a:cubicBezTo>
                  <a:pt x="4876443" y="2667562"/>
                  <a:pt x="4869718" y="2667965"/>
                  <a:pt x="4857757" y="2667644"/>
                </a:cubicBezTo>
                <a:cubicBezTo>
                  <a:pt x="4849231" y="2681139"/>
                  <a:pt x="4838854" y="2698379"/>
                  <a:pt x="4828117" y="2718239"/>
                </a:cubicBezTo>
                <a:cubicBezTo>
                  <a:pt x="4835971" y="2719325"/>
                  <a:pt x="4842335" y="2721539"/>
                  <a:pt x="4850189" y="2722626"/>
                </a:cubicBezTo>
                <a:cubicBezTo>
                  <a:pt x="4858090" y="2733057"/>
                  <a:pt x="4864863" y="2741997"/>
                  <a:pt x="4871636" y="2750940"/>
                </a:cubicBezTo>
                <a:cubicBezTo>
                  <a:pt x="4867263" y="2773012"/>
                  <a:pt x="4853045" y="2769711"/>
                  <a:pt x="4836209" y="2766048"/>
                </a:cubicBezTo>
                <a:cubicBezTo>
                  <a:pt x="4781110" y="2807783"/>
                  <a:pt x="4724523" y="2850646"/>
                  <a:pt x="4670914" y="2891253"/>
                </a:cubicBezTo>
                <a:cubicBezTo>
                  <a:pt x="4642117" y="2887270"/>
                  <a:pt x="4651364" y="2868538"/>
                  <a:pt x="4650909" y="2852468"/>
                </a:cubicBezTo>
                <a:cubicBezTo>
                  <a:pt x="4628885" y="2857425"/>
                  <a:pt x="4615122" y="2870195"/>
                  <a:pt x="4600999" y="2885583"/>
                </a:cubicBezTo>
                <a:cubicBezTo>
                  <a:pt x="4610797" y="2901613"/>
                  <a:pt x="4616706" y="2887756"/>
                  <a:pt x="4627898" y="2883968"/>
                </a:cubicBezTo>
                <a:cubicBezTo>
                  <a:pt x="4633903" y="2888801"/>
                  <a:pt x="4641035" y="2895124"/>
                  <a:pt x="4650786" y="2901809"/>
                </a:cubicBezTo>
                <a:cubicBezTo>
                  <a:pt x="4624342" y="2919495"/>
                  <a:pt x="4632699" y="2945997"/>
                  <a:pt x="4624219" y="2968836"/>
                </a:cubicBezTo>
                <a:cubicBezTo>
                  <a:pt x="4616005" y="2970368"/>
                  <a:pt x="4610409" y="2972261"/>
                  <a:pt x="4603324" y="2975283"/>
                </a:cubicBezTo>
                <a:cubicBezTo>
                  <a:pt x="4598809" y="2969322"/>
                  <a:pt x="4595423" y="2964851"/>
                  <a:pt x="4592036" y="2960381"/>
                </a:cubicBezTo>
                <a:cubicBezTo>
                  <a:pt x="4568836" y="2954502"/>
                  <a:pt x="4563743" y="2981813"/>
                  <a:pt x="4554400" y="2981855"/>
                </a:cubicBezTo>
                <a:cubicBezTo>
                  <a:pt x="4534633" y="2989791"/>
                  <a:pt x="4518878" y="2978274"/>
                  <a:pt x="4508502" y="2995514"/>
                </a:cubicBezTo>
                <a:cubicBezTo>
                  <a:pt x="4511167" y="3005221"/>
                  <a:pt x="4512343" y="3016056"/>
                  <a:pt x="4514648" y="3028380"/>
                </a:cubicBezTo>
                <a:cubicBezTo>
                  <a:pt x="4511670" y="3030636"/>
                  <a:pt x="4507203" y="3034020"/>
                  <a:pt x="4502735" y="3037404"/>
                </a:cubicBezTo>
                <a:cubicBezTo>
                  <a:pt x="4496010" y="3037807"/>
                  <a:pt x="4488156" y="3036721"/>
                  <a:pt x="4480303" y="3035635"/>
                </a:cubicBezTo>
                <a:cubicBezTo>
                  <a:pt x="4454987" y="3054811"/>
                  <a:pt x="4429672" y="3073986"/>
                  <a:pt x="4404356" y="3093162"/>
                </a:cubicBezTo>
                <a:cubicBezTo>
                  <a:pt x="4399121" y="3092438"/>
                  <a:pt x="4393884" y="3091713"/>
                  <a:pt x="4388649" y="3090989"/>
                </a:cubicBezTo>
                <a:cubicBezTo>
                  <a:pt x="4367344" y="3090709"/>
                  <a:pt x="4360355" y="3112421"/>
                  <a:pt x="4342438" y="3116612"/>
                </a:cubicBezTo>
                <a:cubicBezTo>
                  <a:pt x="4342846" y="3123338"/>
                  <a:pt x="4340996" y="3127083"/>
                  <a:pt x="4342125" y="3128574"/>
                </a:cubicBezTo>
                <a:cubicBezTo>
                  <a:pt x="4348538" y="3140133"/>
                  <a:pt x="4359056" y="3150927"/>
                  <a:pt x="4334461" y="3164866"/>
                </a:cubicBezTo>
                <a:cubicBezTo>
                  <a:pt x="4325479" y="3162290"/>
                  <a:pt x="4311621" y="3156369"/>
                  <a:pt x="4301510" y="3152304"/>
                </a:cubicBezTo>
                <a:cubicBezTo>
                  <a:pt x="4282151" y="3166967"/>
                  <a:pt x="4270238" y="3175991"/>
                  <a:pt x="4253858" y="3188398"/>
                </a:cubicBezTo>
                <a:cubicBezTo>
                  <a:pt x="4253545" y="3200361"/>
                  <a:pt x="4254000" y="3216433"/>
                  <a:pt x="4254048" y="3225777"/>
                </a:cubicBezTo>
                <a:cubicBezTo>
                  <a:pt x="4239156" y="3237056"/>
                  <a:pt x="4231711" y="3242696"/>
                  <a:pt x="4222776" y="3249464"/>
                </a:cubicBezTo>
                <a:cubicBezTo>
                  <a:pt x="4216051" y="3249869"/>
                  <a:pt x="4208197" y="3248781"/>
                  <a:pt x="4197726" y="3247333"/>
                </a:cubicBezTo>
                <a:cubicBezTo>
                  <a:pt x="4204906" y="3263000"/>
                  <a:pt x="4212447" y="3276050"/>
                  <a:pt x="4219988" y="3289099"/>
                </a:cubicBezTo>
                <a:cubicBezTo>
                  <a:pt x="4196522" y="3304528"/>
                  <a:pt x="4183697" y="3281409"/>
                  <a:pt x="4165732" y="3276257"/>
                </a:cubicBezTo>
                <a:cubicBezTo>
                  <a:pt x="4160136" y="3278150"/>
                  <a:pt x="4157158" y="3280407"/>
                  <a:pt x="4151202" y="3284918"/>
                </a:cubicBezTo>
                <a:cubicBezTo>
                  <a:pt x="4152378" y="3295753"/>
                  <a:pt x="4154683" y="3308079"/>
                  <a:pt x="4158477" y="3319275"/>
                </a:cubicBezTo>
                <a:cubicBezTo>
                  <a:pt x="4149134" y="3319316"/>
                  <a:pt x="4141281" y="3318230"/>
                  <a:pt x="4136045" y="3317505"/>
                </a:cubicBezTo>
                <a:cubicBezTo>
                  <a:pt x="4133835" y="3323869"/>
                  <a:pt x="4132753" y="3331724"/>
                  <a:pt x="4131672" y="3339579"/>
                </a:cubicBezTo>
                <a:cubicBezTo>
                  <a:pt x="4116686" y="3332169"/>
                  <a:pt x="4102828" y="3326250"/>
                  <a:pt x="4088970" y="3320331"/>
                </a:cubicBezTo>
                <a:cubicBezTo>
                  <a:pt x="4088562" y="3313605"/>
                  <a:pt x="4089644" y="3305750"/>
                  <a:pt x="4090724" y="3297895"/>
                </a:cubicBezTo>
                <a:cubicBezTo>
                  <a:pt x="4083952" y="3288954"/>
                  <a:pt x="4078308" y="3281504"/>
                  <a:pt x="4071536" y="3272563"/>
                </a:cubicBezTo>
                <a:cubicBezTo>
                  <a:pt x="4059575" y="3272242"/>
                  <a:pt x="4049103" y="3270793"/>
                  <a:pt x="4037503" y="3267854"/>
                </a:cubicBezTo>
                <a:cubicBezTo>
                  <a:pt x="4036061" y="3278327"/>
                  <a:pt x="4037238" y="3289162"/>
                  <a:pt x="4035844" y="3308979"/>
                </a:cubicBezTo>
                <a:cubicBezTo>
                  <a:pt x="4037741" y="3314577"/>
                  <a:pt x="4057963" y="3322711"/>
                  <a:pt x="4051334" y="3341804"/>
                </a:cubicBezTo>
                <a:cubicBezTo>
                  <a:pt x="4046193" y="3359768"/>
                  <a:pt x="4072011" y="3366008"/>
                  <a:pt x="4069489" y="3384336"/>
                </a:cubicBezTo>
                <a:cubicBezTo>
                  <a:pt x="4053060" y="3387399"/>
                  <a:pt x="4038890" y="3393442"/>
                  <a:pt x="4022101" y="3399124"/>
                </a:cubicBezTo>
                <a:cubicBezTo>
                  <a:pt x="4006442" y="3406294"/>
                  <a:pt x="3988116" y="3403760"/>
                  <a:pt x="3973993" y="3419148"/>
                </a:cubicBezTo>
                <a:cubicBezTo>
                  <a:pt x="3971783" y="3425512"/>
                  <a:pt x="3970702" y="3433367"/>
                  <a:pt x="3969621" y="3441221"/>
                </a:cubicBezTo>
                <a:cubicBezTo>
                  <a:pt x="3962175" y="3446861"/>
                  <a:pt x="3953240" y="3453628"/>
                  <a:pt x="3944306" y="3460396"/>
                </a:cubicBezTo>
                <a:cubicBezTo>
                  <a:pt x="3940199" y="3461162"/>
                  <a:pt x="3934963" y="3460438"/>
                  <a:pt x="3928598" y="3458224"/>
                </a:cubicBezTo>
                <a:cubicBezTo>
                  <a:pt x="3909552" y="3460925"/>
                  <a:pt x="3899175" y="3478165"/>
                  <a:pt x="3884644" y="3486827"/>
                </a:cubicBezTo>
                <a:cubicBezTo>
                  <a:pt x="3884284" y="3489444"/>
                  <a:pt x="3882434" y="3493190"/>
                  <a:pt x="3883563" y="3494681"/>
                </a:cubicBezTo>
                <a:cubicBezTo>
                  <a:pt x="3889975" y="3506240"/>
                  <a:pt x="3896387" y="3517799"/>
                  <a:pt x="3901671" y="3527868"/>
                </a:cubicBezTo>
                <a:cubicBezTo>
                  <a:pt x="3898379" y="3542087"/>
                  <a:pt x="3890166" y="3543619"/>
                  <a:pt x="3879333" y="3544788"/>
                </a:cubicBezTo>
                <a:cubicBezTo>
                  <a:pt x="3878518" y="3531335"/>
                  <a:pt x="3876212" y="3519010"/>
                  <a:pt x="3873547" y="3509303"/>
                </a:cubicBezTo>
                <a:cubicBezTo>
                  <a:pt x="3846960" y="3498955"/>
                  <a:pt x="3839704" y="3541973"/>
                  <a:pt x="3816049" y="3520024"/>
                </a:cubicBezTo>
                <a:cubicBezTo>
                  <a:pt x="3790733" y="3539199"/>
                  <a:pt x="3768396" y="3556120"/>
                  <a:pt x="3746059" y="3573039"/>
                </a:cubicBezTo>
                <a:cubicBezTo>
                  <a:pt x="3749853" y="3584236"/>
                  <a:pt x="3752518" y="3593943"/>
                  <a:pt x="3757441" y="3606630"/>
                </a:cubicBezTo>
                <a:cubicBezTo>
                  <a:pt x="3735369" y="3602242"/>
                  <a:pt x="3718533" y="3598579"/>
                  <a:pt x="3700208" y="3596044"/>
                </a:cubicBezTo>
                <a:cubicBezTo>
                  <a:pt x="3709095" y="3579932"/>
                  <a:pt x="3719472" y="3562691"/>
                  <a:pt x="3715629" y="3542149"/>
                </a:cubicBezTo>
                <a:cubicBezTo>
                  <a:pt x="3700283" y="3537358"/>
                  <a:pt x="3692885" y="3552342"/>
                  <a:pt x="3681332" y="3558748"/>
                </a:cubicBezTo>
                <a:cubicBezTo>
                  <a:pt x="3679890" y="3569221"/>
                  <a:pt x="3677320" y="3578203"/>
                  <a:pt x="3675879" y="3588675"/>
                </a:cubicBezTo>
                <a:cubicBezTo>
                  <a:pt x="3683419" y="3601725"/>
                  <a:pt x="3689471" y="3615903"/>
                  <a:pt x="3696651" y="3631570"/>
                </a:cubicBezTo>
                <a:cubicBezTo>
                  <a:pt x="3686180" y="3630122"/>
                  <a:pt x="3678326" y="3629034"/>
                  <a:pt x="3665237" y="3627224"/>
                </a:cubicBezTo>
                <a:cubicBezTo>
                  <a:pt x="3661177" y="3637335"/>
                  <a:pt x="3657118" y="3647445"/>
                  <a:pt x="3652697" y="3660173"/>
                </a:cubicBezTo>
                <a:cubicBezTo>
                  <a:pt x="3626519" y="3656551"/>
                  <a:pt x="3638745" y="3635565"/>
                  <a:pt x="3636440" y="3623240"/>
                </a:cubicBezTo>
                <a:cubicBezTo>
                  <a:pt x="3624840" y="3620300"/>
                  <a:pt x="3624840" y="3620300"/>
                  <a:pt x="3596954" y="3648458"/>
                </a:cubicBezTo>
                <a:cubicBezTo>
                  <a:pt x="3605936" y="3651035"/>
                  <a:pt x="3612660" y="3650632"/>
                  <a:pt x="3617537" y="3653974"/>
                </a:cubicBezTo>
                <a:cubicBezTo>
                  <a:pt x="3623541" y="3658807"/>
                  <a:pt x="3628056" y="3664768"/>
                  <a:pt x="3631442" y="3669238"/>
                </a:cubicBezTo>
                <a:cubicBezTo>
                  <a:pt x="3630721" y="3674475"/>
                  <a:pt x="3631490" y="3678583"/>
                  <a:pt x="3630000" y="3679711"/>
                </a:cubicBezTo>
                <a:cubicBezTo>
                  <a:pt x="3613620" y="3692119"/>
                  <a:pt x="3597239" y="3704527"/>
                  <a:pt x="3580858" y="3716934"/>
                </a:cubicBezTo>
                <a:cubicBezTo>
                  <a:pt x="3573005" y="3715848"/>
                  <a:pt x="3565151" y="3714761"/>
                  <a:pt x="3557297" y="3713674"/>
                </a:cubicBezTo>
                <a:cubicBezTo>
                  <a:pt x="3555134" y="3729383"/>
                  <a:pt x="3553333" y="3742473"/>
                  <a:pt x="3552660" y="3757055"/>
                </a:cubicBezTo>
                <a:cubicBezTo>
                  <a:pt x="3545935" y="3757458"/>
                  <a:pt x="3538081" y="3756372"/>
                  <a:pt x="3531356" y="3756775"/>
                </a:cubicBezTo>
                <a:cubicBezTo>
                  <a:pt x="3517954" y="3766927"/>
                  <a:pt x="3503062" y="3778207"/>
                  <a:pt x="3489660" y="3788359"/>
                </a:cubicBezTo>
                <a:cubicBezTo>
                  <a:pt x="3493094" y="3802174"/>
                  <a:pt x="3500540" y="3796534"/>
                  <a:pt x="3507625" y="3793512"/>
                </a:cubicBezTo>
                <a:cubicBezTo>
                  <a:pt x="3510603" y="3791256"/>
                  <a:pt x="3516200" y="3789363"/>
                  <a:pt x="3520307" y="3788597"/>
                </a:cubicBezTo>
                <a:cubicBezTo>
                  <a:pt x="3526719" y="3800156"/>
                  <a:pt x="3521170" y="3811394"/>
                  <a:pt x="3519368" y="3824485"/>
                </a:cubicBezTo>
                <a:cubicBezTo>
                  <a:pt x="3502627" y="3839510"/>
                  <a:pt x="3483126" y="3826141"/>
                  <a:pt x="3462951" y="3827352"/>
                </a:cubicBezTo>
                <a:cubicBezTo>
                  <a:pt x="3465616" y="3837058"/>
                  <a:pt x="3467921" y="3849384"/>
                  <a:pt x="3470587" y="3859090"/>
                </a:cubicBezTo>
                <a:cubicBezTo>
                  <a:pt x="3456416" y="3865134"/>
                  <a:pt x="3454471" y="3850190"/>
                  <a:pt x="3446978" y="3846487"/>
                </a:cubicBezTo>
                <a:cubicBezTo>
                  <a:pt x="3430142" y="3842823"/>
                  <a:pt x="3425001" y="3860787"/>
                  <a:pt x="3412680" y="3863085"/>
                </a:cubicBezTo>
                <a:cubicBezTo>
                  <a:pt x="3411600" y="3870940"/>
                  <a:pt x="3410519" y="3878794"/>
                  <a:pt x="3409437" y="3886648"/>
                </a:cubicBezTo>
                <a:cubicBezTo>
                  <a:pt x="3400502" y="3893417"/>
                  <a:pt x="3391567" y="3900185"/>
                  <a:pt x="3384121" y="3905823"/>
                </a:cubicBezTo>
                <a:cubicBezTo>
                  <a:pt x="3383040" y="3913678"/>
                  <a:pt x="3381959" y="3921533"/>
                  <a:pt x="3379749" y="3927897"/>
                </a:cubicBezTo>
                <a:cubicBezTo>
                  <a:pt x="3362913" y="3924234"/>
                  <a:pt x="3355372" y="3911185"/>
                  <a:pt x="3350808" y="3895879"/>
                </a:cubicBezTo>
                <a:cubicBezTo>
                  <a:pt x="3360465" y="3883875"/>
                  <a:pt x="3371249" y="3873361"/>
                  <a:pt x="3382394" y="3860228"/>
                </a:cubicBezTo>
                <a:cubicBezTo>
                  <a:pt x="3366687" y="3858056"/>
                  <a:pt x="3353597" y="3856245"/>
                  <a:pt x="3340508" y="3854434"/>
                </a:cubicBezTo>
                <a:cubicBezTo>
                  <a:pt x="3334599" y="3868290"/>
                  <a:pt x="3329050" y="3879529"/>
                  <a:pt x="3323141" y="3893385"/>
                </a:cubicBezTo>
                <a:cubicBezTo>
                  <a:pt x="3313797" y="3893427"/>
                  <a:pt x="3302966" y="3894596"/>
                  <a:pt x="3292495" y="3893148"/>
                </a:cubicBezTo>
                <a:cubicBezTo>
                  <a:pt x="3289516" y="3895403"/>
                  <a:pt x="3285049" y="3898787"/>
                  <a:pt x="3279093" y="3903299"/>
                </a:cubicBezTo>
                <a:cubicBezTo>
                  <a:pt x="3281758" y="3913006"/>
                  <a:pt x="3285912" y="3921584"/>
                  <a:pt x="3289707" y="3932782"/>
                </a:cubicBezTo>
                <a:cubicBezTo>
                  <a:pt x="3284878" y="3938784"/>
                  <a:pt x="3278921" y="3943296"/>
                  <a:pt x="3274094" y="3949297"/>
                </a:cubicBezTo>
                <a:cubicBezTo>
                  <a:pt x="3264344" y="3942613"/>
                  <a:pt x="3255722" y="3937417"/>
                  <a:pt x="3245971" y="3930733"/>
                </a:cubicBezTo>
                <a:cubicBezTo>
                  <a:pt x="3228101" y="3944269"/>
                  <a:pt x="3210231" y="3957805"/>
                  <a:pt x="3192361" y="3971341"/>
                </a:cubicBezTo>
                <a:cubicBezTo>
                  <a:pt x="3192769" y="3978067"/>
                  <a:pt x="3190560" y="3984430"/>
                  <a:pt x="3189478" y="3992285"/>
                </a:cubicBezTo>
                <a:cubicBezTo>
                  <a:pt x="3168630" y="4008077"/>
                  <a:pt x="3146293" y="4024997"/>
                  <a:pt x="3123955" y="4041916"/>
                </a:cubicBezTo>
                <a:cubicBezTo>
                  <a:pt x="3128879" y="4054604"/>
                  <a:pt x="3131544" y="4064310"/>
                  <a:pt x="3136466" y="4076997"/>
                </a:cubicBezTo>
                <a:cubicBezTo>
                  <a:pt x="3106902" y="4068906"/>
                  <a:pt x="3081444" y="4060047"/>
                  <a:pt x="3059731" y="4053041"/>
                </a:cubicBezTo>
                <a:cubicBezTo>
                  <a:pt x="3055768" y="4081841"/>
                  <a:pt x="3052164" y="4108022"/>
                  <a:pt x="3048560" y="4134203"/>
                </a:cubicBezTo>
                <a:cubicBezTo>
                  <a:pt x="3050457" y="4139802"/>
                  <a:pt x="3053483" y="4146891"/>
                  <a:pt x="3056509" y="4153980"/>
                </a:cubicBezTo>
                <a:cubicBezTo>
                  <a:pt x="3033356" y="4157446"/>
                  <a:pt x="3033982" y="4133521"/>
                  <a:pt x="3020124" y="4127601"/>
                </a:cubicBezTo>
                <a:cubicBezTo>
                  <a:pt x="3002206" y="4131793"/>
                  <a:pt x="2985778" y="4134856"/>
                  <a:pt x="2969350" y="4137919"/>
                </a:cubicBezTo>
                <a:cubicBezTo>
                  <a:pt x="2959334" y="4152541"/>
                  <a:pt x="2962407" y="4168975"/>
                  <a:pt x="2959116" y="4183193"/>
                </a:cubicBezTo>
                <a:cubicBezTo>
                  <a:pt x="2946482" y="4197454"/>
                  <a:pt x="2934977" y="4213204"/>
                  <a:pt x="2912137" y="4204708"/>
                </a:cubicBezTo>
                <a:cubicBezTo>
                  <a:pt x="2888311" y="4222755"/>
                  <a:pt x="2862994" y="4241931"/>
                  <a:pt x="2837680" y="4261107"/>
                </a:cubicBezTo>
                <a:cubicBezTo>
                  <a:pt x="2829826" y="4260020"/>
                  <a:pt x="2821972" y="4258934"/>
                  <a:pt x="2812629" y="4258975"/>
                </a:cubicBezTo>
                <a:cubicBezTo>
                  <a:pt x="2813805" y="4269810"/>
                  <a:pt x="2817600" y="4281007"/>
                  <a:pt x="2819905" y="4293332"/>
                </a:cubicBezTo>
                <a:cubicBezTo>
                  <a:pt x="2814668" y="4292607"/>
                  <a:pt x="2809433" y="4291883"/>
                  <a:pt x="2804198" y="4291158"/>
                </a:cubicBezTo>
                <a:cubicBezTo>
                  <a:pt x="2782534" y="4293497"/>
                  <a:pt x="2774415" y="4313717"/>
                  <a:pt x="2757987" y="4316781"/>
                </a:cubicBezTo>
                <a:cubicBezTo>
                  <a:pt x="2758033" y="4326126"/>
                  <a:pt x="2757313" y="4331362"/>
                  <a:pt x="2756232" y="4339216"/>
                </a:cubicBezTo>
                <a:cubicBezTo>
                  <a:pt x="2745808" y="4347112"/>
                  <a:pt x="2733895" y="4356136"/>
                  <a:pt x="2717514" y="4368544"/>
                </a:cubicBezTo>
                <a:cubicBezTo>
                  <a:pt x="2714896" y="4368182"/>
                  <a:pt x="2705553" y="4368224"/>
                  <a:pt x="2696211" y="4368265"/>
                </a:cubicBezTo>
                <a:cubicBezTo>
                  <a:pt x="2688765" y="4373904"/>
                  <a:pt x="2678341" y="4381800"/>
                  <a:pt x="2669406" y="4388568"/>
                </a:cubicBezTo>
                <a:cubicBezTo>
                  <a:pt x="2668325" y="4396423"/>
                  <a:pt x="2667603" y="4401659"/>
                  <a:pt x="2666883" y="4406895"/>
                </a:cubicBezTo>
                <a:cubicBezTo>
                  <a:pt x="2660157" y="4407299"/>
                  <a:pt x="2652305" y="4406212"/>
                  <a:pt x="2645580" y="4406616"/>
                </a:cubicBezTo>
                <a:cubicBezTo>
                  <a:pt x="2643370" y="4412980"/>
                  <a:pt x="2642289" y="4420835"/>
                  <a:pt x="2641207" y="4428690"/>
                </a:cubicBezTo>
                <a:cubicBezTo>
                  <a:pt x="2615892" y="4447865"/>
                  <a:pt x="2590577" y="4467040"/>
                  <a:pt x="2566750" y="4485088"/>
                </a:cubicBezTo>
                <a:cubicBezTo>
                  <a:pt x="2564180" y="4494070"/>
                  <a:pt x="2563098" y="4501925"/>
                  <a:pt x="2562377" y="4507161"/>
                </a:cubicBezTo>
                <a:cubicBezTo>
                  <a:pt x="2553443" y="4513929"/>
                  <a:pt x="2544508" y="4520697"/>
                  <a:pt x="2537062" y="4526337"/>
                </a:cubicBezTo>
                <a:cubicBezTo>
                  <a:pt x="2530337" y="4526740"/>
                  <a:pt x="2525101" y="4526015"/>
                  <a:pt x="2517247" y="4524929"/>
                </a:cubicBezTo>
                <a:cubicBezTo>
                  <a:pt x="2496400" y="4540721"/>
                  <a:pt x="2474063" y="4557640"/>
                  <a:pt x="2451725" y="4574561"/>
                </a:cubicBezTo>
                <a:cubicBezTo>
                  <a:pt x="2451005" y="4579796"/>
                  <a:pt x="2450284" y="4585033"/>
                  <a:pt x="2449203" y="4592887"/>
                </a:cubicBezTo>
                <a:cubicBezTo>
                  <a:pt x="2429843" y="4607551"/>
                  <a:pt x="2408996" y="4623343"/>
                  <a:pt x="2388148" y="4639134"/>
                </a:cubicBezTo>
                <a:cubicBezTo>
                  <a:pt x="2385577" y="4648117"/>
                  <a:pt x="2383367" y="4654481"/>
                  <a:pt x="2380797" y="4663464"/>
                </a:cubicBezTo>
                <a:cubicBezTo>
                  <a:pt x="2375561" y="4662739"/>
                  <a:pt x="2368836" y="4663144"/>
                  <a:pt x="2360983" y="4662056"/>
                </a:cubicBezTo>
                <a:cubicBezTo>
                  <a:pt x="2331199" y="4684616"/>
                  <a:pt x="2302906" y="4706048"/>
                  <a:pt x="2271634" y="4729736"/>
                </a:cubicBezTo>
                <a:cubicBezTo>
                  <a:pt x="2270912" y="4734972"/>
                  <a:pt x="2269831" y="4742826"/>
                  <a:pt x="2268751" y="4750680"/>
                </a:cubicBezTo>
                <a:cubicBezTo>
                  <a:pt x="2260896" y="4749594"/>
                  <a:pt x="2253043" y="4748507"/>
                  <a:pt x="2246317" y="4748911"/>
                </a:cubicBezTo>
                <a:cubicBezTo>
                  <a:pt x="2237382" y="4755679"/>
                  <a:pt x="2228449" y="4762447"/>
                  <a:pt x="2221003" y="4768086"/>
                </a:cubicBezTo>
                <a:cubicBezTo>
                  <a:pt x="2219922" y="4775941"/>
                  <a:pt x="2218841" y="4783795"/>
                  <a:pt x="2215909" y="4795396"/>
                </a:cubicBezTo>
                <a:cubicBezTo>
                  <a:pt x="2206567" y="4795437"/>
                  <a:pt x="2196863" y="4798097"/>
                  <a:pt x="2176689" y="4799308"/>
                </a:cubicBezTo>
                <a:cubicBezTo>
                  <a:pt x="2170732" y="4803820"/>
                  <a:pt x="2155841" y="4815099"/>
                  <a:pt x="2143927" y="4824123"/>
                </a:cubicBezTo>
                <a:cubicBezTo>
                  <a:pt x="2136074" y="4823037"/>
                  <a:pt x="2129349" y="4823441"/>
                  <a:pt x="2120367" y="4820864"/>
                </a:cubicBezTo>
                <a:cubicBezTo>
                  <a:pt x="2123392" y="4827952"/>
                  <a:pt x="2125290" y="4833550"/>
                  <a:pt x="2125698" y="4840277"/>
                </a:cubicBezTo>
                <a:cubicBezTo>
                  <a:pt x="2127594" y="4845876"/>
                  <a:pt x="2128362" y="4849984"/>
                  <a:pt x="2130260" y="4855582"/>
                </a:cubicBezTo>
                <a:cubicBezTo>
                  <a:pt x="2119068" y="4859370"/>
                  <a:pt x="2108549" y="4848577"/>
                  <a:pt x="2099253" y="4857963"/>
                </a:cubicBezTo>
                <a:cubicBezTo>
                  <a:pt x="2096995" y="4854982"/>
                  <a:pt x="2093610" y="4850511"/>
                  <a:pt x="2088734" y="4847170"/>
                </a:cubicBezTo>
                <a:cubicBezTo>
                  <a:pt x="2095051" y="4840039"/>
                  <a:pt x="2105475" y="4832143"/>
                  <a:pt x="2088639" y="4828480"/>
                </a:cubicBezTo>
                <a:cubicBezTo>
                  <a:pt x="2087918" y="4833716"/>
                  <a:pt x="2088325" y="4840443"/>
                  <a:pt x="2088734" y="4847170"/>
                </a:cubicBezTo>
                <a:cubicBezTo>
                  <a:pt x="2070865" y="4860705"/>
                  <a:pt x="2052995" y="4874241"/>
                  <a:pt x="2033636" y="4888904"/>
                </a:cubicBezTo>
                <a:cubicBezTo>
                  <a:pt x="2032915" y="4894141"/>
                  <a:pt x="2032194" y="4899377"/>
                  <a:pt x="2031473" y="4904613"/>
                </a:cubicBezTo>
                <a:cubicBezTo>
                  <a:pt x="2028134" y="4909488"/>
                  <a:pt x="2026285" y="4913234"/>
                  <a:pt x="2021818" y="4916617"/>
                </a:cubicBezTo>
                <a:cubicBezTo>
                  <a:pt x="2005077" y="4931643"/>
                  <a:pt x="1984588" y="4944817"/>
                  <a:pt x="1959274" y="4963992"/>
                </a:cubicBezTo>
                <a:cubicBezTo>
                  <a:pt x="1950291" y="4961416"/>
                  <a:pt x="1936432" y="4955497"/>
                  <a:pt x="1915082" y="4945873"/>
                </a:cubicBezTo>
                <a:cubicBezTo>
                  <a:pt x="1921902" y="4964159"/>
                  <a:pt x="1926417" y="4970120"/>
                  <a:pt x="1930211" y="4981316"/>
                </a:cubicBezTo>
                <a:cubicBezTo>
                  <a:pt x="1922405" y="4989575"/>
                  <a:pt x="1912750" y="5001578"/>
                  <a:pt x="1901965" y="5012093"/>
                </a:cubicBezTo>
                <a:cubicBezTo>
                  <a:pt x="1906120" y="5020671"/>
                  <a:pt x="1908785" y="5030378"/>
                  <a:pt x="1911451" y="5040085"/>
                </a:cubicBezTo>
                <a:cubicBezTo>
                  <a:pt x="1897280" y="5046128"/>
                  <a:pt x="1895336" y="5031185"/>
                  <a:pt x="1882606" y="5026755"/>
                </a:cubicBezTo>
                <a:cubicBezTo>
                  <a:pt x="1862071" y="5030585"/>
                  <a:pt x="1849484" y="5054189"/>
                  <a:pt x="1828229" y="5063255"/>
                </a:cubicBezTo>
                <a:cubicBezTo>
                  <a:pt x="1825659" y="5072238"/>
                  <a:pt x="1824576" y="5080092"/>
                  <a:pt x="1823496" y="5087947"/>
                </a:cubicBezTo>
                <a:cubicBezTo>
                  <a:pt x="1818260" y="5087222"/>
                  <a:pt x="1813025" y="5086497"/>
                  <a:pt x="1804041" y="5083921"/>
                </a:cubicBezTo>
                <a:cubicBezTo>
                  <a:pt x="1787661" y="5096328"/>
                  <a:pt x="1769792" y="5109864"/>
                  <a:pt x="1751922" y="5123400"/>
                </a:cubicBezTo>
                <a:cubicBezTo>
                  <a:pt x="1738064" y="5117481"/>
                  <a:pt x="1722404" y="5124653"/>
                  <a:pt x="1711884" y="5113859"/>
                </a:cubicBezTo>
                <a:cubicBezTo>
                  <a:pt x="1718563" y="5104111"/>
                  <a:pt x="1728626" y="5098833"/>
                  <a:pt x="1710661" y="5093680"/>
                </a:cubicBezTo>
                <a:cubicBezTo>
                  <a:pt x="1711069" y="5100406"/>
                  <a:pt x="1710348" y="5105643"/>
                  <a:pt x="1711884" y="5113859"/>
                </a:cubicBezTo>
                <a:cubicBezTo>
                  <a:pt x="1697354" y="5122520"/>
                  <a:pt x="1683952" y="5132672"/>
                  <a:pt x="1667570" y="5145080"/>
                </a:cubicBezTo>
                <a:cubicBezTo>
                  <a:pt x="1671365" y="5156278"/>
                  <a:pt x="1673670" y="5168603"/>
                  <a:pt x="1677104" y="5182418"/>
                </a:cubicBezTo>
                <a:cubicBezTo>
                  <a:pt x="1665864" y="5176860"/>
                  <a:pt x="1658731" y="5170537"/>
                  <a:pt x="1648980" y="5163853"/>
                </a:cubicBezTo>
                <a:cubicBezTo>
                  <a:pt x="1632913" y="5164297"/>
                  <a:pt x="1627364" y="5175535"/>
                  <a:pt x="1628180" y="5188988"/>
                </a:cubicBezTo>
                <a:cubicBezTo>
                  <a:pt x="1627820" y="5191606"/>
                  <a:pt x="1627099" y="5196843"/>
                  <a:pt x="1625610" y="5197971"/>
                </a:cubicBezTo>
                <a:cubicBezTo>
                  <a:pt x="1583914" y="5229554"/>
                  <a:pt x="1542217" y="5261138"/>
                  <a:pt x="1502011" y="5291593"/>
                </a:cubicBezTo>
                <a:cubicBezTo>
                  <a:pt x="1499440" y="5300576"/>
                  <a:pt x="1497230" y="5306940"/>
                  <a:pt x="1497638" y="5313667"/>
                </a:cubicBezTo>
                <a:cubicBezTo>
                  <a:pt x="1490913" y="5314070"/>
                  <a:pt x="1485677" y="5313345"/>
                  <a:pt x="1479313" y="5311131"/>
                </a:cubicBezTo>
                <a:cubicBezTo>
                  <a:pt x="1475614" y="5318623"/>
                  <a:pt x="1471915" y="5326115"/>
                  <a:pt x="1468216" y="5333608"/>
                </a:cubicBezTo>
                <a:cubicBezTo>
                  <a:pt x="1456254" y="5333287"/>
                  <a:pt x="1454310" y="5318344"/>
                  <a:pt x="1448667" y="5310894"/>
                </a:cubicBezTo>
                <a:cubicBezTo>
                  <a:pt x="1454623" y="5306381"/>
                  <a:pt x="1462069" y="5300741"/>
                  <a:pt x="1471364" y="5291355"/>
                </a:cubicBezTo>
                <a:cubicBezTo>
                  <a:pt x="1463103" y="5283543"/>
                  <a:pt x="1457459" y="5276091"/>
                  <a:pt x="1446940" y="5265298"/>
                </a:cubicBezTo>
                <a:cubicBezTo>
                  <a:pt x="1440310" y="5284390"/>
                  <a:pt x="1417878" y="5282621"/>
                  <a:pt x="1419101" y="5302801"/>
                </a:cubicBezTo>
                <a:cubicBezTo>
                  <a:pt x="1429572" y="5304249"/>
                  <a:pt x="1438555" y="5306826"/>
                  <a:pt x="1448667" y="5310894"/>
                </a:cubicBezTo>
                <a:cubicBezTo>
                  <a:pt x="1439732" y="5317660"/>
                  <a:pt x="1433775" y="5322173"/>
                  <a:pt x="1427819" y="5326684"/>
                </a:cubicBezTo>
                <a:cubicBezTo>
                  <a:pt x="1426737" y="5334539"/>
                  <a:pt x="1425656" y="5342394"/>
                  <a:pt x="1424575" y="5350248"/>
                </a:cubicBezTo>
                <a:cubicBezTo>
                  <a:pt x="1415640" y="5357016"/>
                  <a:pt x="1406705" y="5363784"/>
                  <a:pt x="1399259" y="5369424"/>
                </a:cubicBezTo>
                <a:cubicBezTo>
                  <a:pt x="1375650" y="5356819"/>
                  <a:pt x="1370415" y="5356095"/>
                  <a:pt x="1341617" y="5352111"/>
                </a:cubicBezTo>
                <a:cubicBezTo>
                  <a:pt x="1345773" y="5360689"/>
                  <a:pt x="1348799" y="5367778"/>
                  <a:pt x="1352953" y="5376357"/>
                </a:cubicBezTo>
                <a:cubicBezTo>
                  <a:pt x="1340007" y="5402580"/>
                  <a:pt x="1309767" y="5409069"/>
                  <a:pt x="1290096" y="5435695"/>
                </a:cubicBezTo>
                <a:cubicBezTo>
                  <a:pt x="1273621" y="5429414"/>
                  <a:pt x="1259763" y="5423494"/>
                  <a:pt x="1250780" y="5420918"/>
                </a:cubicBezTo>
                <a:cubicBezTo>
                  <a:pt x="1180791" y="5473933"/>
                  <a:pt x="1116757" y="5522435"/>
                  <a:pt x="1054212" y="5569811"/>
                </a:cubicBezTo>
                <a:cubicBezTo>
                  <a:pt x="1046359" y="5568724"/>
                  <a:pt x="1038506" y="5567638"/>
                  <a:pt x="1030652" y="5566552"/>
                </a:cubicBezTo>
                <a:cubicBezTo>
                  <a:pt x="971085" y="5611670"/>
                  <a:pt x="911520" y="5656789"/>
                  <a:pt x="854933" y="5699653"/>
                </a:cubicBezTo>
                <a:cubicBezTo>
                  <a:pt x="822797" y="5700542"/>
                  <a:pt x="791478" y="5714886"/>
                  <a:pt x="753602" y="5689636"/>
                </a:cubicBezTo>
                <a:cubicBezTo>
                  <a:pt x="754731" y="5691126"/>
                  <a:pt x="747959" y="5682186"/>
                  <a:pt x="741186" y="5673244"/>
                </a:cubicBezTo>
                <a:cubicBezTo>
                  <a:pt x="709004" y="5664790"/>
                  <a:pt x="673985" y="5686625"/>
                  <a:pt x="636878" y="5665483"/>
                </a:cubicBezTo>
                <a:cubicBezTo>
                  <a:pt x="634621" y="5662503"/>
                  <a:pt x="627849" y="5653562"/>
                  <a:pt x="619947" y="5643131"/>
                </a:cubicBezTo>
                <a:cubicBezTo>
                  <a:pt x="625136" y="5634510"/>
                  <a:pt x="630685" y="5623272"/>
                  <a:pt x="636233" y="5612034"/>
                </a:cubicBezTo>
                <a:cubicBezTo>
                  <a:pt x="629461" y="5603093"/>
                  <a:pt x="623816" y="5595642"/>
                  <a:pt x="617044" y="5586701"/>
                </a:cubicBezTo>
                <a:cubicBezTo>
                  <a:pt x="617310" y="5565394"/>
                  <a:pt x="621321" y="5545939"/>
                  <a:pt x="624565" y="5522375"/>
                </a:cubicBezTo>
                <a:cubicBezTo>
                  <a:pt x="638015" y="5521568"/>
                  <a:pt x="648487" y="5523016"/>
                  <a:pt x="659319" y="5521847"/>
                </a:cubicBezTo>
                <a:cubicBezTo>
                  <a:pt x="659630" y="5509885"/>
                  <a:pt x="661433" y="5496794"/>
                  <a:pt x="663235" y="5483703"/>
                </a:cubicBezTo>
                <a:cubicBezTo>
                  <a:pt x="665806" y="5474720"/>
                  <a:pt x="674741" y="5467952"/>
                  <a:pt x="683267" y="5454459"/>
                </a:cubicBezTo>
                <a:cubicBezTo>
                  <a:pt x="637369" y="5468118"/>
                  <a:pt x="612149" y="5505983"/>
                  <a:pt x="572255" y="5524476"/>
                </a:cubicBezTo>
                <a:cubicBezTo>
                  <a:pt x="569950" y="5512151"/>
                  <a:pt x="566155" y="5500954"/>
                  <a:pt x="563490" y="5491248"/>
                </a:cubicBezTo>
                <a:cubicBezTo>
                  <a:pt x="562674" y="5477794"/>
                  <a:pt x="562986" y="5465832"/>
                  <a:pt x="562171" y="5452379"/>
                </a:cubicBezTo>
                <a:cubicBezTo>
                  <a:pt x="572643" y="5453828"/>
                  <a:pt x="579368" y="5453424"/>
                  <a:pt x="587221" y="5454510"/>
                </a:cubicBezTo>
                <a:cubicBezTo>
                  <a:pt x="587942" y="5449275"/>
                  <a:pt x="588663" y="5444038"/>
                  <a:pt x="589383" y="5438802"/>
                </a:cubicBezTo>
                <a:cubicBezTo>
                  <a:pt x="596373" y="5417091"/>
                  <a:pt x="625530" y="5418457"/>
                  <a:pt x="630264" y="5393766"/>
                </a:cubicBezTo>
                <a:cubicBezTo>
                  <a:pt x="627646" y="5393403"/>
                  <a:pt x="623898" y="5391551"/>
                  <a:pt x="622409" y="5392679"/>
                </a:cubicBezTo>
                <a:cubicBezTo>
                  <a:pt x="592987" y="5412620"/>
                  <a:pt x="562076" y="5433690"/>
                  <a:pt x="528186" y="5457015"/>
                </a:cubicBezTo>
                <a:cubicBezTo>
                  <a:pt x="525568" y="5456653"/>
                  <a:pt x="517713" y="5455566"/>
                  <a:pt x="504264" y="5456374"/>
                </a:cubicBezTo>
                <a:cubicBezTo>
                  <a:pt x="486394" y="5469909"/>
                  <a:pt x="464057" y="5486829"/>
                  <a:pt x="443209" y="5502621"/>
                </a:cubicBezTo>
                <a:cubicBezTo>
                  <a:pt x="433867" y="5502662"/>
                  <a:pt x="428631" y="5501938"/>
                  <a:pt x="422266" y="5499724"/>
                </a:cubicBezTo>
                <a:cubicBezTo>
                  <a:pt x="405886" y="5512131"/>
                  <a:pt x="389505" y="5524539"/>
                  <a:pt x="373124" y="5536947"/>
                </a:cubicBezTo>
                <a:cubicBezTo>
                  <a:pt x="356288" y="5533284"/>
                  <a:pt x="342118" y="5539326"/>
                  <a:pt x="325329" y="5545008"/>
                </a:cubicBezTo>
                <a:cubicBezTo>
                  <a:pt x="315170" y="5531597"/>
                  <a:pt x="303883" y="5516694"/>
                  <a:pt x="293723" y="5503283"/>
                </a:cubicBezTo>
                <a:cubicBezTo>
                  <a:pt x="262357" y="5508281"/>
                  <a:pt x="234014" y="5520369"/>
                  <a:pt x="202961" y="5513404"/>
                </a:cubicBezTo>
                <a:cubicBezTo>
                  <a:pt x="196188" y="5504463"/>
                  <a:pt x="189416" y="5495523"/>
                  <a:pt x="181515" y="5485092"/>
                </a:cubicBezTo>
                <a:cubicBezTo>
                  <a:pt x="186343" y="5479089"/>
                  <a:pt x="191531" y="5470469"/>
                  <a:pt x="196719" y="5461849"/>
                </a:cubicBezTo>
                <a:cubicBezTo>
                  <a:pt x="198881" y="5446140"/>
                  <a:pt x="182046" y="5442477"/>
                  <a:pt x="179333" y="5423425"/>
                </a:cubicBezTo>
                <a:cubicBezTo>
                  <a:pt x="180053" y="5418189"/>
                  <a:pt x="181494" y="5407716"/>
                  <a:pt x="182168" y="5393135"/>
                </a:cubicBezTo>
                <a:cubicBezTo>
                  <a:pt x="198549" y="5380727"/>
                  <a:pt x="217906" y="5366064"/>
                  <a:pt x="237266" y="5351401"/>
                </a:cubicBezTo>
                <a:cubicBezTo>
                  <a:pt x="218941" y="5348865"/>
                  <a:pt x="217812" y="5347375"/>
                  <a:pt x="199582" y="5363529"/>
                </a:cubicBezTo>
                <a:cubicBezTo>
                  <a:pt x="191728" y="5362443"/>
                  <a:pt x="182386" y="5362484"/>
                  <a:pt x="174532" y="5361397"/>
                </a:cubicBezTo>
                <a:cubicBezTo>
                  <a:pt x="167086" y="5367036"/>
                  <a:pt x="158151" y="5373805"/>
                  <a:pt x="150706" y="5379445"/>
                </a:cubicBezTo>
                <a:cubicBezTo>
                  <a:pt x="137256" y="5380252"/>
                  <a:pt x="141315" y="5370142"/>
                  <a:pt x="140907" y="5363416"/>
                </a:cubicBezTo>
                <a:cubicBezTo>
                  <a:pt x="139371" y="5355199"/>
                  <a:pt x="136705" y="5345492"/>
                  <a:pt x="131782" y="5332805"/>
                </a:cubicBezTo>
                <a:cubicBezTo>
                  <a:pt x="200282" y="5280918"/>
                  <a:pt x="270273" y="5227902"/>
                  <a:pt x="335795" y="5178271"/>
                </a:cubicBezTo>
                <a:cubicBezTo>
                  <a:pt x="341249" y="5148344"/>
                  <a:pt x="317735" y="5154429"/>
                  <a:pt x="306494" y="5148872"/>
                </a:cubicBezTo>
                <a:cubicBezTo>
                  <a:pt x="299723" y="5139931"/>
                  <a:pt x="292949" y="5130990"/>
                  <a:pt x="287306" y="5123539"/>
                </a:cubicBezTo>
                <a:cubicBezTo>
                  <a:pt x="294297" y="5101828"/>
                  <a:pt x="280031" y="5089182"/>
                  <a:pt x="269872" y="5075771"/>
                </a:cubicBezTo>
                <a:cubicBezTo>
                  <a:pt x="274605" y="5051080"/>
                  <a:pt x="304122" y="5049828"/>
                  <a:pt x="309984" y="5026626"/>
                </a:cubicBezTo>
                <a:cubicBezTo>
                  <a:pt x="303211" y="5017685"/>
                  <a:pt x="295310" y="5007253"/>
                  <a:pt x="286279" y="4995333"/>
                </a:cubicBezTo>
                <a:cubicBezTo>
                  <a:pt x="280323" y="4999845"/>
                  <a:pt x="269491" y="5001014"/>
                  <a:pt x="267281" y="5007379"/>
                </a:cubicBezTo>
                <a:cubicBezTo>
                  <a:pt x="263990" y="5021597"/>
                  <a:pt x="262957" y="5038796"/>
                  <a:pt x="260794" y="5054505"/>
                </a:cubicBezTo>
                <a:cubicBezTo>
                  <a:pt x="252580" y="5056036"/>
                  <a:pt x="245495" y="5059058"/>
                  <a:pt x="238410" y="5062079"/>
                </a:cubicBezTo>
                <a:cubicBezTo>
                  <a:pt x="217732" y="5037876"/>
                  <a:pt x="237043" y="5013867"/>
                  <a:pt x="234690" y="4992197"/>
                </a:cubicBezTo>
                <a:cubicBezTo>
                  <a:pt x="243625" y="4985430"/>
                  <a:pt x="251071" y="4979790"/>
                  <a:pt x="260006" y="4973022"/>
                </a:cubicBezTo>
                <a:cubicBezTo>
                  <a:pt x="259958" y="4963677"/>
                  <a:pt x="262168" y="4957312"/>
                  <a:pt x="263969" y="4944222"/>
                </a:cubicBezTo>
                <a:cubicBezTo>
                  <a:pt x="274802" y="4943053"/>
                  <a:pt x="285634" y="4941884"/>
                  <a:pt x="297955" y="4939586"/>
                </a:cubicBezTo>
                <a:cubicBezTo>
                  <a:pt x="300886" y="4927985"/>
                  <a:pt x="302688" y="4914894"/>
                  <a:pt x="303000" y="4902932"/>
                </a:cubicBezTo>
                <a:cubicBezTo>
                  <a:pt x="319789" y="4897250"/>
                  <a:pt x="335089" y="4892698"/>
                  <a:pt x="349260" y="4886654"/>
                </a:cubicBezTo>
                <a:cubicBezTo>
                  <a:pt x="352190" y="4875053"/>
                  <a:pt x="353271" y="4867199"/>
                  <a:pt x="354353" y="4859344"/>
                </a:cubicBezTo>
                <a:cubicBezTo>
                  <a:pt x="364777" y="4851448"/>
                  <a:pt x="373712" y="4844680"/>
                  <a:pt x="384495" y="4834167"/>
                </a:cubicBezTo>
                <a:cubicBezTo>
                  <a:pt x="378852" y="4826716"/>
                  <a:pt x="374337" y="4820756"/>
                  <a:pt x="369822" y="4814795"/>
                </a:cubicBezTo>
                <a:cubicBezTo>
                  <a:pt x="347437" y="4822369"/>
                  <a:pt x="325005" y="4820600"/>
                  <a:pt x="304517" y="4833774"/>
                </a:cubicBezTo>
                <a:cubicBezTo>
                  <a:pt x="288497" y="4843563"/>
                  <a:pt x="264936" y="4840304"/>
                  <a:pt x="249684" y="4854202"/>
                </a:cubicBezTo>
                <a:cubicBezTo>
                  <a:pt x="239213" y="4852753"/>
                  <a:pt x="228741" y="4851304"/>
                  <a:pt x="220887" y="4850217"/>
                </a:cubicBezTo>
                <a:cubicBezTo>
                  <a:pt x="213755" y="4843895"/>
                  <a:pt x="207750" y="4839062"/>
                  <a:pt x="201745" y="4834229"/>
                </a:cubicBezTo>
                <a:cubicBezTo>
                  <a:pt x="188704" y="4841763"/>
                  <a:pt x="178281" y="4849659"/>
                  <a:pt x="168216" y="4854936"/>
                </a:cubicBezTo>
                <a:cubicBezTo>
                  <a:pt x="149484" y="4845675"/>
                  <a:pt x="142664" y="4827389"/>
                  <a:pt x="132504" y="4813978"/>
                </a:cubicBezTo>
                <a:cubicBezTo>
                  <a:pt x="133586" y="4806123"/>
                  <a:pt x="133177" y="4799397"/>
                  <a:pt x="132770" y="4792670"/>
                </a:cubicBezTo>
                <a:cubicBezTo>
                  <a:pt x="126405" y="4790456"/>
                  <a:pt x="121169" y="4789731"/>
                  <a:pt x="113316" y="4788645"/>
                </a:cubicBezTo>
                <a:cubicBezTo>
                  <a:pt x="105414" y="4778214"/>
                  <a:pt x="95256" y="4764802"/>
                  <a:pt x="83968" y="4749900"/>
                </a:cubicBezTo>
                <a:cubicBezTo>
                  <a:pt x="82744" y="4729721"/>
                  <a:pt x="80392" y="4708052"/>
                  <a:pt x="76910" y="4684892"/>
                </a:cubicBezTo>
                <a:cubicBezTo>
                  <a:pt x="93291" y="4672484"/>
                  <a:pt x="106694" y="4662332"/>
                  <a:pt x="120095" y="4652181"/>
                </a:cubicBezTo>
                <a:cubicBezTo>
                  <a:pt x="126461" y="4654395"/>
                  <a:pt x="130207" y="4656247"/>
                  <a:pt x="133593" y="4660717"/>
                </a:cubicBezTo>
                <a:cubicBezTo>
                  <a:pt x="127636" y="4665230"/>
                  <a:pt x="121680" y="4669742"/>
                  <a:pt x="115723" y="4674254"/>
                </a:cubicBezTo>
                <a:cubicBezTo>
                  <a:pt x="116587" y="4697051"/>
                  <a:pt x="98765" y="4719931"/>
                  <a:pt x="117185" y="4741156"/>
                </a:cubicBezTo>
                <a:cubicBezTo>
                  <a:pt x="119443" y="4744136"/>
                  <a:pt x="122061" y="4744499"/>
                  <a:pt x="127296" y="4745223"/>
                </a:cubicBezTo>
                <a:cubicBezTo>
                  <a:pt x="134742" y="4739583"/>
                  <a:pt x="145166" y="4731687"/>
                  <a:pt x="155590" y="4723791"/>
                </a:cubicBezTo>
                <a:cubicBezTo>
                  <a:pt x="152925" y="4714084"/>
                  <a:pt x="146512" y="4702525"/>
                  <a:pt x="147593" y="4694671"/>
                </a:cubicBezTo>
                <a:cubicBezTo>
                  <a:pt x="149756" y="4678962"/>
                  <a:pt x="142983" y="4670021"/>
                  <a:pt x="133593" y="4660717"/>
                </a:cubicBezTo>
                <a:cubicBezTo>
                  <a:pt x="137292" y="4653226"/>
                  <a:pt x="140991" y="4645733"/>
                  <a:pt x="148389" y="4630749"/>
                </a:cubicBezTo>
                <a:cubicBezTo>
                  <a:pt x="158813" y="4622853"/>
                  <a:pt x="176683" y="4609317"/>
                  <a:pt x="196042" y="4594653"/>
                </a:cubicBezTo>
                <a:cubicBezTo>
                  <a:pt x="193377" y="4584946"/>
                  <a:pt x="190350" y="4577859"/>
                  <a:pt x="189582" y="4573750"/>
                </a:cubicBezTo>
                <a:cubicBezTo>
                  <a:pt x="153605" y="4554099"/>
                  <a:pt x="120436" y="4572187"/>
                  <a:pt x="89022" y="4567842"/>
                </a:cubicBezTo>
                <a:cubicBezTo>
                  <a:pt x="57559" y="4554150"/>
                  <a:pt x="68608" y="4522329"/>
                  <a:pt x="58402" y="4499573"/>
                </a:cubicBezTo>
                <a:cubicBezTo>
                  <a:pt x="53119" y="4489503"/>
                  <a:pt x="66474" y="4470008"/>
                  <a:pt x="62319" y="4461429"/>
                </a:cubicBezTo>
                <a:cubicBezTo>
                  <a:pt x="54777" y="4448379"/>
                  <a:pt x="51345" y="4434564"/>
                  <a:pt x="56893" y="4423327"/>
                </a:cubicBezTo>
                <a:cubicBezTo>
                  <a:pt x="63163" y="4406851"/>
                  <a:pt x="47408" y="4395334"/>
                  <a:pt x="51059" y="4378497"/>
                </a:cubicBezTo>
                <a:cubicBezTo>
                  <a:pt x="74886" y="4360449"/>
                  <a:pt x="100200" y="4341273"/>
                  <a:pt x="125516" y="4322098"/>
                </a:cubicBezTo>
                <a:cubicBezTo>
                  <a:pt x="127679" y="4306389"/>
                  <a:pt x="131330" y="4289552"/>
                  <a:pt x="133132" y="4276461"/>
                </a:cubicBezTo>
                <a:cubicBezTo>
                  <a:pt x="141298" y="4265585"/>
                  <a:pt x="158855" y="4264013"/>
                  <a:pt x="157272" y="4246451"/>
                </a:cubicBezTo>
                <a:cubicBezTo>
                  <a:pt x="159073" y="4233360"/>
                  <a:pt x="167648" y="4229211"/>
                  <a:pt x="173965" y="4222080"/>
                </a:cubicBezTo>
                <a:cubicBezTo>
                  <a:pt x="181771" y="4213822"/>
                  <a:pt x="187319" y="4202585"/>
                  <a:pt x="192867" y="4191345"/>
                </a:cubicBezTo>
                <a:cubicBezTo>
                  <a:pt x="198103" y="4192070"/>
                  <a:pt x="204467" y="4194285"/>
                  <a:pt x="209704" y="4195009"/>
                </a:cubicBezTo>
                <a:cubicBezTo>
                  <a:pt x="211913" y="4188644"/>
                  <a:pt x="212994" y="4180790"/>
                  <a:pt x="214076" y="4172936"/>
                </a:cubicBezTo>
                <a:cubicBezTo>
                  <a:pt x="221522" y="4167296"/>
                  <a:pt x="230456" y="4160528"/>
                  <a:pt x="237902" y="4154888"/>
                </a:cubicBezTo>
                <a:cubicBezTo>
                  <a:pt x="243043" y="4136923"/>
                  <a:pt x="235911" y="4130601"/>
                  <a:pt x="220203" y="4128427"/>
                </a:cubicBezTo>
                <a:cubicBezTo>
                  <a:pt x="217993" y="4134792"/>
                  <a:pt x="216911" y="4142646"/>
                  <a:pt x="215831" y="4150501"/>
                </a:cubicBezTo>
                <a:cubicBezTo>
                  <a:pt x="210595" y="4149776"/>
                  <a:pt x="204230" y="4147562"/>
                  <a:pt x="198995" y="4146837"/>
                </a:cubicBezTo>
                <a:cubicBezTo>
                  <a:pt x="181846" y="4155137"/>
                  <a:pt x="165058" y="4160818"/>
                  <a:pt x="165560" y="4186234"/>
                </a:cubicBezTo>
                <a:cubicBezTo>
                  <a:pt x="137267" y="4207665"/>
                  <a:pt x="108973" y="4229097"/>
                  <a:pt x="80679" y="4250528"/>
                </a:cubicBezTo>
                <a:cubicBezTo>
                  <a:pt x="76259" y="4263257"/>
                  <a:pt x="74817" y="4273730"/>
                  <a:pt x="69629" y="4282350"/>
                </a:cubicBezTo>
                <a:cubicBezTo>
                  <a:pt x="63312" y="4289480"/>
                  <a:pt x="54739" y="4293629"/>
                  <a:pt x="45803" y="4300397"/>
                </a:cubicBezTo>
                <a:cubicBezTo>
                  <a:pt x="51086" y="4310466"/>
                  <a:pt x="54112" y="4317555"/>
                  <a:pt x="58267" y="4326133"/>
                </a:cubicBezTo>
                <a:cubicBezTo>
                  <a:pt x="54928" y="4331008"/>
                  <a:pt x="50100" y="4337010"/>
                  <a:pt x="43783" y="4344140"/>
                </a:cubicBezTo>
                <a:cubicBezTo>
                  <a:pt x="43063" y="4349376"/>
                  <a:pt x="41982" y="4357230"/>
                  <a:pt x="40900" y="4365085"/>
                </a:cubicBezTo>
                <a:cubicBezTo>
                  <a:pt x="31965" y="4371853"/>
                  <a:pt x="23030" y="4378622"/>
                  <a:pt x="15584" y="4384260"/>
                </a:cubicBezTo>
                <a:cubicBezTo>
                  <a:pt x="12967" y="4383898"/>
                  <a:pt x="7731" y="4383174"/>
                  <a:pt x="7731" y="4383174"/>
                </a:cubicBezTo>
                <a:cubicBezTo>
                  <a:pt x="5427" y="4370849"/>
                  <a:pt x="4249" y="4360015"/>
                  <a:pt x="0" y="4332747"/>
                </a:cubicBezTo>
                <a:cubicBezTo>
                  <a:pt x="1442" y="4322274"/>
                  <a:pt x="5045" y="4296093"/>
                  <a:pt x="10499" y="4266166"/>
                </a:cubicBezTo>
                <a:cubicBezTo>
                  <a:pt x="10499" y="4266166"/>
                  <a:pt x="14967" y="4262781"/>
                  <a:pt x="19433" y="4259397"/>
                </a:cubicBezTo>
                <a:cubicBezTo>
                  <a:pt x="20515" y="4251542"/>
                  <a:pt x="21596" y="4243688"/>
                  <a:pt x="22677" y="4235834"/>
                </a:cubicBezTo>
                <a:cubicBezTo>
                  <a:pt x="31612" y="4229066"/>
                  <a:pt x="39058" y="4223426"/>
                  <a:pt x="47993" y="4216659"/>
                </a:cubicBezTo>
                <a:cubicBezTo>
                  <a:pt x="49075" y="4208804"/>
                  <a:pt x="51284" y="4202440"/>
                  <a:pt x="52365" y="4194586"/>
                </a:cubicBezTo>
                <a:cubicBezTo>
                  <a:pt x="57602" y="4195310"/>
                  <a:pt x="62836" y="4196034"/>
                  <a:pt x="70691" y="4197120"/>
                </a:cubicBezTo>
                <a:cubicBezTo>
                  <a:pt x="80299" y="4175771"/>
                  <a:pt x="89906" y="4154422"/>
                  <a:pt x="99514" y="4133074"/>
                </a:cubicBezTo>
                <a:cubicBezTo>
                  <a:pt x="109986" y="4134523"/>
                  <a:pt x="117840" y="4135609"/>
                  <a:pt x="125694" y="4136696"/>
                </a:cubicBezTo>
                <a:cubicBezTo>
                  <a:pt x="126775" y="4128842"/>
                  <a:pt x="128984" y="4122477"/>
                  <a:pt x="130786" y="4109386"/>
                </a:cubicBezTo>
                <a:cubicBezTo>
                  <a:pt x="141619" y="4108217"/>
                  <a:pt x="152450" y="4107048"/>
                  <a:pt x="165900" y="4106240"/>
                </a:cubicBezTo>
                <a:cubicBezTo>
                  <a:pt x="167703" y="4093150"/>
                  <a:pt x="169504" y="4080059"/>
                  <a:pt x="170178" y="4065478"/>
                </a:cubicBezTo>
                <a:cubicBezTo>
                  <a:pt x="176903" y="4065075"/>
                  <a:pt x="183628" y="4064671"/>
                  <a:pt x="192970" y="4064629"/>
                </a:cubicBezTo>
                <a:cubicBezTo>
                  <a:pt x="228710" y="4037559"/>
                  <a:pt x="267428" y="4008231"/>
                  <a:pt x="304655" y="3980031"/>
                </a:cubicBezTo>
                <a:cubicBezTo>
                  <a:pt x="312510" y="3981118"/>
                  <a:pt x="320364" y="3982204"/>
                  <a:pt x="332324" y="3982525"/>
                </a:cubicBezTo>
                <a:cubicBezTo>
                  <a:pt x="328170" y="3973947"/>
                  <a:pt x="325503" y="3964239"/>
                  <a:pt x="321350" y="3955661"/>
                </a:cubicBezTo>
                <a:cubicBezTo>
                  <a:pt x="324689" y="3950787"/>
                  <a:pt x="325409" y="3945550"/>
                  <a:pt x="329877" y="3942166"/>
                </a:cubicBezTo>
                <a:cubicBezTo>
                  <a:pt x="361148" y="3918479"/>
                  <a:pt x="392420" y="3894791"/>
                  <a:pt x="425182" y="3869975"/>
                </a:cubicBezTo>
                <a:cubicBezTo>
                  <a:pt x="424774" y="3863249"/>
                  <a:pt x="421748" y="3856161"/>
                  <a:pt x="419083" y="3846454"/>
                </a:cubicBezTo>
                <a:cubicBezTo>
                  <a:pt x="405273" y="3849879"/>
                  <a:pt x="394441" y="3851049"/>
                  <a:pt x="380630" y="3854474"/>
                </a:cubicBezTo>
                <a:cubicBezTo>
                  <a:pt x="386179" y="3843236"/>
                  <a:pt x="391728" y="3831997"/>
                  <a:pt x="397637" y="3818140"/>
                </a:cubicBezTo>
                <a:cubicBezTo>
                  <a:pt x="385268" y="3811093"/>
                  <a:pt x="371409" y="3805174"/>
                  <a:pt x="359041" y="3798127"/>
                </a:cubicBezTo>
                <a:cubicBezTo>
                  <a:pt x="350371" y="3783588"/>
                  <a:pt x="360027" y="3771583"/>
                  <a:pt x="359210" y="3758130"/>
                </a:cubicBezTo>
                <a:cubicBezTo>
                  <a:pt x="371125" y="3749107"/>
                  <a:pt x="384527" y="3738955"/>
                  <a:pt x="396440" y="3729930"/>
                </a:cubicBezTo>
                <a:cubicBezTo>
                  <a:pt x="404294" y="3731018"/>
                  <a:pt x="411019" y="3730614"/>
                  <a:pt x="418872" y="3731700"/>
                </a:cubicBezTo>
                <a:cubicBezTo>
                  <a:pt x="419593" y="3726464"/>
                  <a:pt x="420314" y="3721227"/>
                  <a:pt x="422884" y="3712245"/>
                </a:cubicBezTo>
                <a:cubicBezTo>
                  <a:pt x="437775" y="3700966"/>
                  <a:pt x="457135" y="3686302"/>
                  <a:pt x="473515" y="3673894"/>
                </a:cubicBezTo>
                <a:cubicBezTo>
                  <a:pt x="470034" y="3650735"/>
                  <a:pt x="485694" y="3643564"/>
                  <a:pt x="496478" y="3633049"/>
                </a:cubicBezTo>
                <a:cubicBezTo>
                  <a:pt x="503155" y="3623301"/>
                  <a:pt x="506447" y="3609082"/>
                  <a:pt x="509017" y="3600100"/>
                </a:cubicBezTo>
                <a:cubicBezTo>
                  <a:pt x="525085" y="3599655"/>
                  <a:pt x="534428" y="3599613"/>
                  <a:pt x="547877" y="3598806"/>
                </a:cubicBezTo>
                <a:cubicBezTo>
                  <a:pt x="550448" y="3589824"/>
                  <a:pt x="551888" y="3579350"/>
                  <a:pt x="555949" y="3569241"/>
                </a:cubicBezTo>
                <a:cubicBezTo>
                  <a:pt x="562313" y="3571455"/>
                  <a:pt x="569038" y="3571052"/>
                  <a:pt x="576892" y="3572138"/>
                </a:cubicBezTo>
                <a:cubicBezTo>
                  <a:pt x="585827" y="3565370"/>
                  <a:pt x="594762" y="3558602"/>
                  <a:pt x="602208" y="3552962"/>
                </a:cubicBezTo>
                <a:cubicBezTo>
                  <a:pt x="603289" y="3545108"/>
                  <a:pt x="604370" y="3537254"/>
                  <a:pt x="607301" y="3525653"/>
                </a:cubicBezTo>
                <a:cubicBezTo>
                  <a:pt x="618132" y="3524484"/>
                  <a:pt x="628964" y="3523314"/>
                  <a:pt x="641286" y="3521017"/>
                </a:cubicBezTo>
                <a:cubicBezTo>
                  <a:pt x="642005" y="3515780"/>
                  <a:pt x="642727" y="3510544"/>
                  <a:pt x="643040" y="3498582"/>
                </a:cubicBezTo>
                <a:cubicBezTo>
                  <a:pt x="658387" y="3503373"/>
                  <a:pt x="672245" y="3509293"/>
                  <a:pt x="682356" y="3513358"/>
                </a:cubicBezTo>
                <a:cubicBezTo>
                  <a:pt x="697247" y="3502080"/>
                  <a:pt x="704693" y="3496439"/>
                  <a:pt x="713627" y="3489671"/>
                </a:cubicBezTo>
                <a:cubicBezTo>
                  <a:pt x="731953" y="3492207"/>
                  <a:pt x="750279" y="3494741"/>
                  <a:pt x="769732" y="3498767"/>
                </a:cubicBezTo>
                <a:cubicBezTo>
                  <a:pt x="767931" y="3511858"/>
                  <a:pt x="765768" y="3527568"/>
                  <a:pt x="764735" y="3544766"/>
                </a:cubicBezTo>
                <a:cubicBezTo>
                  <a:pt x="770738" y="3549599"/>
                  <a:pt x="776743" y="3554432"/>
                  <a:pt x="782746" y="3559264"/>
                </a:cubicBezTo>
                <a:cubicBezTo>
                  <a:pt x="785318" y="3550282"/>
                  <a:pt x="786399" y="3542427"/>
                  <a:pt x="787480" y="3534573"/>
                </a:cubicBezTo>
                <a:cubicBezTo>
                  <a:pt x="814284" y="3514269"/>
                  <a:pt x="841089" y="3493966"/>
                  <a:pt x="867894" y="3473662"/>
                </a:cubicBezTo>
                <a:cubicBezTo>
                  <a:pt x="854348" y="3455780"/>
                  <a:pt x="849569" y="3471126"/>
                  <a:pt x="839865" y="3473786"/>
                </a:cubicBezTo>
                <a:cubicBezTo>
                  <a:pt x="827497" y="3466739"/>
                  <a:pt x="813639" y="3460820"/>
                  <a:pt x="794906" y="3451558"/>
                </a:cubicBezTo>
                <a:cubicBezTo>
                  <a:pt x="792648" y="3448578"/>
                  <a:pt x="785876" y="3439637"/>
                  <a:pt x="779103" y="3430696"/>
                </a:cubicBezTo>
                <a:cubicBezTo>
                  <a:pt x="771249" y="3429609"/>
                  <a:pt x="763396" y="3428523"/>
                  <a:pt x="757030" y="3426308"/>
                </a:cubicBezTo>
                <a:cubicBezTo>
                  <a:pt x="759554" y="3407982"/>
                  <a:pt x="760947" y="3388164"/>
                  <a:pt x="763471" y="3369837"/>
                </a:cubicBezTo>
                <a:cubicBezTo>
                  <a:pt x="784319" y="3354046"/>
                  <a:pt x="805166" y="3338254"/>
                  <a:pt x="826015" y="3322463"/>
                </a:cubicBezTo>
                <a:cubicBezTo>
                  <a:pt x="827096" y="3314607"/>
                  <a:pt x="829305" y="3308243"/>
                  <a:pt x="830386" y="3300389"/>
                </a:cubicBezTo>
                <a:cubicBezTo>
                  <a:pt x="846863" y="3306670"/>
                  <a:pt x="861849" y="3314080"/>
                  <a:pt x="879454" y="3321852"/>
                </a:cubicBezTo>
                <a:cubicBezTo>
                  <a:pt x="889877" y="3313955"/>
                  <a:pt x="897324" y="3308316"/>
                  <a:pt x="908875" y="3301909"/>
                </a:cubicBezTo>
                <a:cubicBezTo>
                  <a:pt x="915601" y="3301506"/>
                  <a:pt x="926072" y="3302955"/>
                  <a:pt x="935416" y="3302914"/>
                </a:cubicBezTo>
                <a:cubicBezTo>
                  <a:pt x="959745" y="3310281"/>
                  <a:pt x="958038" y="3342061"/>
                  <a:pt x="984216" y="3345684"/>
                </a:cubicBezTo>
                <a:cubicBezTo>
                  <a:pt x="981911" y="3333358"/>
                  <a:pt x="978117" y="3322161"/>
                  <a:pt x="976942" y="3311327"/>
                </a:cubicBezTo>
                <a:cubicBezTo>
                  <a:pt x="981409" y="3307943"/>
                  <a:pt x="985877" y="3304558"/>
                  <a:pt x="990344" y="3301174"/>
                </a:cubicBezTo>
                <a:cubicBezTo>
                  <a:pt x="993996" y="3284338"/>
                  <a:pt x="979009" y="3276929"/>
                  <a:pt x="971829" y="3261261"/>
                </a:cubicBezTo>
                <a:cubicBezTo>
                  <a:pt x="974038" y="3254897"/>
                  <a:pt x="978457" y="3242168"/>
                  <a:pt x="984007" y="3230931"/>
                </a:cubicBezTo>
                <a:cubicBezTo>
                  <a:pt x="994479" y="3232379"/>
                  <a:pt x="1011315" y="3236042"/>
                  <a:pt x="1011940" y="3212117"/>
                </a:cubicBezTo>
                <a:cubicBezTo>
                  <a:pt x="1004087" y="3211030"/>
                  <a:pt x="997722" y="3208816"/>
                  <a:pt x="989868" y="3207729"/>
                </a:cubicBezTo>
                <a:cubicBezTo>
                  <a:pt x="990229" y="3205111"/>
                  <a:pt x="989460" y="3201003"/>
                  <a:pt x="990949" y="3199875"/>
                </a:cubicBezTo>
                <a:cubicBezTo>
                  <a:pt x="1008819" y="3186339"/>
                  <a:pt x="1025200" y="3173931"/>
                  <a:pt x="1043070" y="3160395"/>
                </a:cubicBezTo>
                <a:cubicBezTo>
                  <a:pt x="1048306" y="3161120"/>
                  <a:pt x="1057648" y="3161078"/>
                  <a:pt x="1065502" y="3162164"/>
                </a:cubicBezTo>
                <a:cubicBezTo>
                  <a:pt x="1065094" y="3155438"/>
                  <a:pt x="1066175" y="3147584"/>
                  <a:pt x="1067257" y="3139729"/>
                </a:cubicBezTo>
                <a:cubicBezTo>
                  <a:pt x="1086709" y="3143754"/>
                  <a:pt x="1101024" y="3165744"/>
                  <a:pt x="1123769" y="3155552"/>
                </a:cubicBezTo>
                <a:cubicBezTo>
                  <a:pt x="1124489" y="3150316"/>
                  <a:pt x="1125211" y="3145079"/>
                  <a:pt x="1125930" y="3139843"/>
                </a:cubicBezTo>
                <a:cubicBezTo>
                  <a:pt x="1147595" y="3137504"/>
                  <a:pt x="1147595" y="3137504"/>
                  <a:pt x="1161357" y="3124734"/>
                </a:cubicBezTo>
                <a:cubicBezTo>
                  <a:pt x="1152328" y="3112813"/>
                  <a:pt x="1122090" y="3119301"/>
                  <a:pt x="1134628" y="3086352"/>
                </a:cubicBezTo>
                <a:cubicBezTo>
                  <a:pt x="1147718" y="3088163"/>
                  <a:pt x="1163425" y="3090336"/>
                  <a:pt x="1180261" y="3093999"/>
                </a:cubicBezTo>
                <a:cubicBezTo>
                  <a:pt x="1187299" y="3081633"/>
                  <a:pt x="1196186" y="3065520"/>
                  <a:pt x="1205074" y="3049408"/>
                </a:cubicBezTo>
                <a:cubicBezTo>
                  <a:pt x="1203177" y="3043810"/>
                  <a:pt x="1200151" y="3036721"/>
                  <a:pt x="1195635" y="3030760"/>
                </a:cubicBezTo>
                <a:cubicBezTo>
                  <a:pt x="1201545" y="3016904"/>
                  <a:pt x="1208583" y="3004537"/>
                  <a:pt x="1214492" y="2990681"/>
                </a:cubicBezTo>
                <a:cubicBezTo>
                  <a:pt x="1232048" y="2989108"/>
                  <a:pt x="1251095" y="2986407"/>
                  <a:pt x="1270141" y="2983706"/>
                </a:cubicBezTo>
                <a:cubicBezTo>
                  <a:pt x="1270861" y="2978470"/>
                  <a:pt x="1271582" y="2973233"/>
                  <a:pt x="1273024" y="2962761"/>
                </a:cubicBezTo>
                <a:cubicBezTo>
                  <a:pt x="1301317" y="2941329"/>
                  <a:pt x="1332590" y="2917642"/>
                  <a:pt x="1362373" y="2895082"/>
                </a:cubicBezTo>
                <a:cubicBezTo>
                  <a:pt x="1360068" y="2882757"/>
                  <a:pt x="1357402" y="2873051"/>
                  <a:pt x="1353248" y="2864472"/>
                </a:cubicBezTo>
                <a:cubicBezTo>
                  <a:pt x="1376761" y="2858386"/>
                  <a:pt x="1374645" y="2883440"/>
                  <a:pt x="1391122" y="2889722"/>
                </a:cubicBezTo>
                <a:cubicBezTo>
                  <a:pt x="1395228" y="2888956"/>
                  <a:pt x="1402314" y="2885933"/>
                  <a:pt x="1410889" y="2881784"/>
                </a:cubicBezTo>
                <a:cubicBezTo>
                  <a:pt x="1408223" y="2872077"/>
                  <a:pt x="1402940" y="2862009"/>
                  <a:pt x="1402892" y="2852664"/>
                </a:cubicBezTo>
                <a:cubicBezTo>
                  <a:pt x="1402123" y="2848556"/>
                  <a:pt x="1406591" y="2845172"/>
                  <a:pt x="1409930" y="2840298"/>
                </a:cubicBezTo>
                <a:cubicBezTo>
                  <a:pt x="1414445" y="2846258"/>
                  <a:pt x="1418959" y="2852218"/>
                  <a:pt x="1424604" y="2859670"/>
                </a:cubicBezTo>
                <a:cubicBezTo>
                  <a:pt x="1425732" y="2861159"/>
                  <a:pt x="1430969" y="2861884"/>
                  <a:pt x="1429840" y="2860394"/>
                </a:cubicBezTo>
                <a:cubicBezTo>
                  <a:pt x="1434307" y="2857011"/>
                  <a:pt x="1437645" y="2852136"/>
                  <a:pt x="1436517" y="2850646"/>
                </a:cubicBezTo>
                <a:cubicBezTo>
                  <a:pt x="1432362" y="2842067"/>
                  <a:pt x="1426358" y="2837234"/>
                  <a:pt x="1421843" y="2831273"/>
                </a:cubicBezTo>
                <a:cubicBezTo>
                  <a:pt x="1427439" y="2829380"/>
                  <a:pt x="1431907" y="2825996"/>
                  <a:pt x="1435653" y="2827848"/>
                </a:cubicBezTo>
                <a:cubicBezTo>
                  <a:pt x="1440889" y="2828572"/>
                  <a:pt x="1442787" y="2834171"/>
                  <a:pt x="1447661" y="2837514"/>
                </a:cubicBezTo>
                <a:cubicBezTo>
                  <a:pt x="1451409" y="2839366"/>
                  <a:pt x="1456644" y="2840091"/>
                  <a:pt x="1461880" y="2840814"/>
                </a:cubicBezTo>
                <a:cubicBezTo>
                  <a:pt x="1459215" y="2831109"/>
                  <a:pt x="1456548" y="2821401"/>
                  <a:pt x="1453884" y="2811695"/>
                </a:cubicBezTo>
                <a:cubicBezTo>
                  <a:pt x="1464165" y="2775765"/>
                  <a:pt x="1507275" y="2801739"/>
                  <a:pt x="1527981" y="2757914"/>
                </a:cubicBezTo>
                <a:cubicBezTo>
                  <a:pt x="1525410" y="2766896"/>
                  <a:pt x="1529108" y="2759404"/>
                  <a:pt x="1530191" y="2751549"/>
                </a:cubicBezTo>
                <a:cubicBezTo>
                  <a:pt x="1536915" y="2751146"/>
                  <a:pt x="1543641" y="2750742"/>
                  <a:pt x="1551494" y="2751829"/>
                </a:cubicBezTo>
                <a:cubicBezTo>
                  <a:pt x="1554785" y="2737610"/>
                  <a:pt x="1556948" y="2721901"/>
                  <a:pt x="1559110" y="2706192"/>
                </a:cubicBezTo>
                <a:cubicBezTo>
                  <a:pt x="1572968" y="2712111"/>
                  <a:pt x="1584521" y="2705706"/>
                  <a:pt x="1595713" y="2701918"/>
                </a:cubicBezTo>
                <a:cubicBezTo>
                  <a:pt x="1608033" y="2699621"/>
                  <a:pt x="1621892" y="2705540"/>
                  <a:pt x="1634981" y="2707351"/>
                </a:cubicBezTo>
                <a:cubicBezTo>
                  <a:pt x="1638946" y="2678551"/>
                  <a:pt x="1640292" y="2649390"/>
                  <a:pt x="1642767" y="2621718"/>
                </a:cubicBezTo>
                <a:cubicBezTo>
                  <a:pt x="1671516" y="2616358"/>
                  <a:pt x="1692507" y="2628600"/>
                  <a:pt x="1718279" y="2625495"/>
                </a:cubicBezTo>
                <a:cubicBezTo>
                  <a:pt x="1724235" y="2620983"/>
                  <a:pt x="1733170" y="2614215"/>
                  <a:pt x="1743593" y="2606320"/>
                </a:cubicBezTo>
                <a:cubicBezTo>
                  <a:pt x="1741697" y="2600721"/>
                  <a:pt x="1739800" y="2595122"/>
                  <a:pt x="1736774" y="2588034"/>
                </a:cubicBezTo>
                <a:cubicBezTo>
                  <a:pt x="1733748" y="2580945"/>
                  <a:pt x="1732211" y="2572728"/>
                  <a:pt x="1739657" y="2567089"/>
                </a:cubicBezTo>
                <a:cubicBezTo>
                  <a:pt x="1748279" y="2572284"/>
                  <a:pt x="1754691" y="2583842"/>
                  <a:pt x="1758343" y="2567005"/>
                </a:cubicBezTo>
                <a:cubicBezTo>
                  <a:pt x="1753107" y="2566281"/>
                  <a:pt x="1747870" y="2565557"/>
                  <a:pt x="1739657" y="2567089"/>
                </a:cubicBezTo>
                <a:cubicBezTo>
                  <a:pt x="1731756" y="2556658"/>
                  <a:pt x="1740691" y="2549889"/>
                  <a:pt x="1751474" y="2539376"/>
                </a:cubicBezTo>
                <a:cubicBezTo>
                  <a:pt x="1764204" y="2543805"/>
                  <a:pt x="1779551" y="2548595"/>
                  <a:pt x="1793770" y="2551896"/>
                </a:cubicBezTo>
                <a:cubicBezTo>
                  <a:pt x="1797781" y="2532442"/>
                  <a:pt x="1799944" y="2516733"/>
                  <a:pt x="1803595" y="2499896"/>
                </a:cubicBezTo>
                <a:cubicBezTo>
                  <a:pt x="1813346" y="2506582"/>
                  <a:pt x="1820479" y="2512905"/>
                  <a:pt x="1829101" y="2518099"/>
                </a:cubicBezTo>
                <a:cubicBezTo>
                  <a:pt x="1846658" y="2516526"/>
                  <a:pt x="1848460" y="2503435"/>
                  <a:pt x="1849854" y="2483619"/>
                </a:cubicBezTo>
                <a:cubicBezTo>
                  <a:pt x="1858476" y="2488813"/>
                  <a:pt x="1868587" y="2492880"/>
                  <a:pt x="1877209" y="2498075"/>
                </a:cubicBezTo>
                <a:cubicBezTo>
                  <a:pt x="1898513" y="2498355"/>
                  <a:pt x="1898295" y="2529006"/>
                  <a:pt x="1923345" y="2531138"/>
                </a:cubicBezTo>
                <a:cubicBezTo>
                  <a:pt x="1931056" y="2504191"/>
                  <a:pt x="1889170" y="2498395"/>
                  <a:pt x="1898370" y="2470321"/>
                </a:cubicBezTo>
                <a:cubicBezTo>
                  <a:pt x="1912179" y="2466894"/>
                  <a:pt x="1919816" y="2498633"/>
                  <a:pt x="1936918" y="2480990"/>
                </a:cubicBezTo>
                <a:cubicBezTo>
                  <a:pt x="1946933" y="2466367"/>
                  <a:pt x="1943860" y="2449934"/>
                  <a:pt x="1949001" y="2431968"/>
                </a:cubicBezTo>
                <a:cubicBezTo>
                  <a:pt x="1953876" y="2435312"/>
                  <a:pt x="1960241" y="2437526"/>
                  <a:pt x="1965116" y="2440868"/>
                </a:cubicBezTo>
                <a:cubicBezTo>
                  <a:pt x="1973378" y="2448682"/>
                  <a:pt x="1975683" y="2461006"/>
                  <a:pt x="1989133" y="2460199"/>
                </a:cubicBezTo>
                <a:cubicBezTo>
                  <a:pt x="1991703" y="2451217"/>
                  <a:pt x="1993145" y="2440744"/>
                  <a:pt x="1994587" y="2430272"/>
                </a:cubicBezTo>
                <a:cubicBezTo>
                  <a:pt x="1988222" y="2428057"/>
                  <a:pt x="1981857" y="2425843"/>
                  <a:pt x="1971385" y="2424394"/>
                </a:cubicBezTo>
                <a:cubicBezTo>
                  <a:pt x="1975085" y="2416902"/>
                  <a:pt x="1977295" y="2410538"/>
                  <a:pt x="1981762" y="2407154"/>
                </a:cubicBezTo>
                <a:cubicBezTo>
                  <a:pt x="1988079" y="2400023"/>
                  <a:pt x="1999272" y="2396237"/>
                  <a:pt x="2001074" y="2383145"/>
                </a:cubicBezTo>
                <a:cubicBezTo>
                  <a:pt x="2000666" y="2376419"/>
                  <a:pt x="2005494" y="2370417"/>
                  <a:pt x="2007702" y="2364052"/>
                </a:cubicBezTo>
                <a:cubicBezTo>
                  <a:pt x="2021153" y="2363245"/>
                  <a:pt x="2030496" y="2363203"/>
                  <a:pt x="2043945" y="2362397"/>
                </a:cubicBezTo>
                <a:cubicBezTo>
                  <a:pt x="2046516" y="2353414"/>
                  <a:pt x="2050576" y="2343304"/>
                  <a:pt x="2054635" y="2333194"/>
                </a:cubicBezTo>
                <a:cubicBezTo>
                  <a:pt x="2059870" y="2333918"/>
                  <a:pt x="2067725" y="2335004"/>
                  <a:pt x="2078196" y="2336453"/>
                </a:cubicBezTo>
                <a:cubicBezTo>
                  <a:pt x="2078870" y="2321872"/>
                  <a:pt x="2078414" y="2305801"/>
                  <a:pt x="2079448" y="2288602"/>
                </a:cubicBezTo>
                <a:cubicBezTo>
                  <a:pt x="2089151" y="2285943"/>
                  <a:pt x="2096235" y="2282921"/>
                  <a:pt x="2104450" y="2281389"/>
                </a:cubicBezTo>
                <a:cubicBezTo>
                  <a:pt x="2103009" y="2291862"/>
                  <a:pt x="2103416" y="2298588"/>
                  <a:pt x="2100846" y="2307571"/>
                </a:cubicBezTo>
                <a:cubicBezTo>
                  <a:pt x="2110550" y="2304911"/>
                  <a:pt x="2116146" y="2303018"/>
                  <a:pt x="2123231" y="2299996"/>
                </a:cubicBezTo>
                <a:cubicBezTo>
                  <a:pt x="2122007" y="2279816"/>
                  <a:pt x="2120783" y="2259636"/>
                  <a:pt x="2119198" y="2242075"/>
                </a:cubicBezTo>
                <a:cubicBezTo>
                  <a:pt x="2126644" y="2236436"/>
                  <a:pt x="2129623" y="2234180"/>
                  <a:pt x="2135580" y="2229668"/>
                </a:cubicBezTo>
                <a:cubicBezTo>
                  <a:pt x="2143073" y="2233373"/>
                  <a:pt x="2152824" y="2240057"/>
                  <a:pt x="2162575" y="2246742"/>
                </a:cubicBezTo>
                <a:cubicBezTo>
                  <a:pt x="2175977" y="2236591"/>
                  <a:pt x="2189379" y="2226439"/>
                  <a:pt x="2201292" y="2217416"/>
                </a:cubicBezTo>
                <a:cubicBezTo>
                  <a:pt x="2213252" y="2217736"/>
                  <a:pt x="2219618" y="2219950"/>
                  <a:pt x="2230450" y="2218781"/>
                </a:cubicBezTo>
                <a:cubicBezTo>
                  <a:pt x="2226295" y="2210203"/>
                  <a:pt x="2223268" y="2203114"/>
                  <a:pt x="2220243" y="2196024"/>
                </a:cubicBezTo>
                <a:cubicBezTo>
                  <a:pt x="2224663" y="2183297"/>
                  <a:pt x="2231701" y="2170931"/>
                  <a:pt x="2237610" y="2157073"/>
                </a:cubicBezTo>
                <a:cubicBezTo>
                  <a:pt x="2256296" y="2156991"/>
                  <a:pt x="2279401" y="2144179"/>
                  <a:pt x="2302242" y="2152675"/>
                </a:cubicBezTo>
                <a:cubicBezTo>
                  <a:pt x="2302650" y="2159402"/>
                  <a:pt x="2303058" y="2166128"/>
                  <a:pt x="2303465" y="2172854"/>
                </a:cubicBezTo>
                <a:cubicBezTo>
                  <a:pt x="2313215" y="2179539"/>
                  <a:pt x="2319533" y="2172409"/>
                  <a:pt x="2327700" y="2161534"/>
                </a:cubicBezTo>
                <a:cubicBezTo>
                  <a:pt x="2324314" y="2157063"/>
                  <a:pt x="2321288" y="2149975"/>
                  <a:pt x="2318622" y="2140268"/>
                </a:cubicBezTo>
                <a:cubicBezTo>
                  <a:pt x="2321553" y="2128667"/>
                  <a:pt x="2314732" y="2110382"/>
                  <a:pt x="2332242" y="2099463"/>
                </a:cubicBezTo>
                <a:cubicBezTo>
                  <a:pt x="2349847" y="2107235"/>
                  <a:pt x="2368940" y="2113879"/>
                  <a:pt x="2388034" y="2120522"/>
                </a:cubicBezTo>
                <a:cubicBezTo>
                  <a:pt x="2390604" y="2111540"/>
                  <a:pt x="2391685" y="2103686"/>
                  <a:pt x="2392767" y="2095832"/>
                </a:cubicBezTo>
                <a:cubicBezTo>
                  <a:pt x="2400620" y="2096918"/>
                  <a:pt x="2408474" y="2098004"/>
                  <a:pt x="2417817" y="2097962"/>
                </a:cubicBezTo>
                <a:cubicBezTo>
                  <a:pt x="2421156" y="2093088"/>
                  <a:pt x="2425983" y="2087086"/>
                  <a:pt x="2429682" y="2079595"/>
                </a:cubicBezTo>
                <a:cubicBezTo>
                  <a:pt x="2420700" y="2077017"/>
                  <a:pt x="2412846" y="2075931"/>
                  <a:pt x="2406482" y="2073717"/>
                </a:cubicBezTo>
                <a:cubicBezTo>
                  <a:pt x="2409004" y="2055390"/>
                  <a:pt x="2424304" y="2050836"/>
                  <a:pt x="2438475" y="2044793"/>
                </a:cubicBezTo>
                <a:cubicBezTo>
                  <a:pt x="2448994" y="2055586"/>
                  <a:pt x="2461002" y="2065251"/>
                  <a:pt x="2472650" y="2077535"/>
                </a:cubicBezTo>
                <a:cubicBezTo>
                  <a:pt x="2481129" y="2054696"/>
                  <a:pt x="2457929" y="2048818"/>
                  <a:pt x="2457834" y="2030129"/>
                </a:cubicBezTo>
                <a:cubicBezTo>
                  <a:pt x="2459683" y="2026382"/>
                  <a:pt x="2464511" y="2020381"/>
                  <a:pt x="2470828" y="2013251"/>
                </a:cubicBezTo>
                <a:cubicBezTo>
                  <a:pt x="2471188" y="2010632"/>
                  <a:pt x="2471909" y="2005396"/>
                  <a:pt x="2474119" y="1999033"/>
                </a:cubicBezTo>
                <a:cubicBezTo>
                  <a:pt x="2475608" y="1997905"/>
                  <a:pt x="2478586" y="1995648"/>
                  <a:pt x="2482693" y="1994882"/>
                </a:cubicBezTo>
                <a:cubicBezTo>
                  <a:pt x="2503228" y="1991054"/>
                  <a:pt x="2521146" y="1986861"/>
                  <a:pt x="2541681" y="1983034"/>
                </a:cubicBezTo>
                <a:cubicBezTo>
                  <a:pt x="2545788" y="1982267"/>
                  <a:pt x="2549127" y="1977394"/>
                  <a:pt x="2555084" y="1972882"/>
                </a:cubicBezTo>
                <a:cubicBezTo>
                  <a:pt x="2572280" y="1973926"/>
                  <a:pt x="2589477" y="1974972"/>
                  <a:pt x="2602565" y="1976782"/>
                </a:cubicBezTo>
                <a:cubicBezTo>
                  <a:pt x="2618586" y="1966993"/>
                  <a:pt x="2614792" y="1955796"/>
                  <a:pt x="2616234" y="1945323"/>
                </a:cubicBezTo>
                <a:cubicBezTo>
                  <a:pt x="2618444" y="1938959"/>
                  <a:pt x="2619525" y="1931105"/>
                  <a:pt x="2620606" y="1923251"/>
                </a:cubicBezTo>
                <a:cubicBezTo>
                  <a:pt x="2628460" y="1924337"/>
                  <a:pt x="2636313" y="1925423"/>
                  <a:pt x="2643038" y="1925020"/>
                </a:cubicBezTo>
                <a:cubicBezTo>
                  <a:pt x="2642630" y="1918294"/>
                  <a:pt x="2643351" y="1913057"/>
                  <a:pt x="2646282" y="1901456"/>
                </a:cubicBezTo>
                <a:cubicBezTo>
                  <a:pt x="2658650" y="1908504"/>
                  <a:pt x="2673636" y="1915913"/>
                  <a:pt x="2690881" y="1926303"/>
                </a:cubicBezTo>
                <a:cubicBezTo>
                  <a:pt x="2688073" y="1888563"/>
                  <a:pt x="2709689" y="1876878"/>
                  <a:pt x="2711444" y="1854444"/>
                </a:cubicBezTo>
                <a:cubicBezTo>
                  <a:pt x="2711036" y="1847718"/>
                  <a:pt x="2726335" y="1843164"/>
                  <a:pt x="2733781" y="1837523"/>
                </a:cubicBezTo>
                <a:cubicBezTo>
                  <a:pt x="2743124" y="1837482"/>
                  <a:pt x="2750977" y="1838569"/>
                  <a:pt x="2760320" y="1838527"/>
                </a:cubicBezTo>
                <a:cubicBezTo>
                  <a:pt x="2767718" y="1823544"/>
                  <a:pt x="2777735" y="1808921"/>
                  <a:pt x="2785493" y="1791319"/>
                </a:cubicBezTo>
                <a:cubicBezTo>
                  <a:pt x="2783596" y="1785719"/>
                  <a:pt x="2780570" y="1778631"/>
                  <a:pt x="2777544" y="1771542"/>
                </a:cubicBezTo>
                <a:cubicBezTo>
                  <a:pt x="2778170" y="1747617"/>
                  <a:pt x="2797264" y="1754260"/>
                  <a:pt x="2812971" y="1756434"/>
                </a:cubicBezTo>
                <a:cubicBezTo>
                  <a:pt x="2820417" y="1750794"/>
                  <a:pt x="2829351" y="1744026"/>
                  <a:pt x="2838287" y="1737258"/>
                </a:cubicBezTo>
                <a:cubicBezTo>
                  <a:pt x="2839368" y="1729404"/>
                  <a:pt x="2840449" y="1721550"/>
                  <a:pt x="2841530" y="1713694"/>
                </a:cubicBezTo>
                <a:cubicBezTo>
                  <a:pt x="2850152" y="1718889"/>
                  <a:pt x="2858774" y="1724085"/>
                  <a:pt x="2868525" y="1730769"/>
                </a:cubicBezTo>
                <a:cubicBezTo>
                  <a:pt x="2874121" y="1728877"/>
                  <a:pt x="2880078" y="1724363"/>
                  <a:pt x="2888652" y="1720214"/>
                </a:cubicBezTo>
                <a:cubicBezTo>
                  <a:pt x="2884858" y="1709017"/>
                  <a:pt x="2880703" y="1700438"/>
                  <a:pt x="2878038" y="1690731"/>
                </a:cubicBezTo>
                <a:cubicBezTo>
                  <a:pt x="2885388" y="1666402"/>
                  <a:pt x="2914281" y="1689076"/>
                  <a:pt x="2924657" y="1671835"/>
                </a:cubicBezTo>
                <a:cubicBezTo>
                  <a:pt x="2936522" y="1653467"/>
                  <a:pt x="2959410" y="1671307"/>
                  <a:pt x="2975023" y="1654792"/>
                </a:cubicBezTo>
                <a:cubicBezTo>
                  <a:pt x="2974615" y="1648064"/>
                  <a:pt x="2975696" y="1640210"/>
                  <a:pt x="2978266" y="1631228"/>
                </a:cubicBezTo>
                <a:cubicBezTo>
                  <a:pt x="2985712" y="1625588"/>
                  <a:pt x="2994647" y="1618820"/>
                  <a:pt x="3002093" y="1613180"/>
                </a:cubicBezTo>
                <a:cubicBezTo>
                  <a:pt x="3009946" y="1614267"/>
                  <a:pt x="3017799" y="1615353"/>
                  <a:pt x="3027143" y="1615312"/>
                </a:cubicBezTo>
                <a:cubicBezTo>
                  <a:pt x="3034588" y="1609672"/>
                  <a:pt x="3043523" y="1602903"/>
                  <a:pt x="3050970" y="1597264"/>
                </a:cubicBezTo>
                <a:cubicBezTo>
                  <a:pt x="3058823" y="1598351"/>
                  <a:pt x="3065548" y="1597947"/>
                  <a:pt x="3078637" y="1599758"/>
                </a:cubicBezTo>
                <a:cubicBezTo>
                  <a:pt x="3068839" y="1583729"/>
                  <a:pt x="3061298" y="1570680"/>
                  <a:pt x="3052989" y="1553521"/>
                </a:cubicBezTo>
                <a:cubicBezTo>
                  <a:pt x="3063052" y="1548244"/>
                  <a:pt x="3070138" y="1545222"/>
                  <a:pt x="3078711" y="1541072"/>
                </a:cubicBezTo>
                <a:cubicBezTo>
                  <a:pt x="3084356" y="1548522"/>
                  <a:pt x="3087741" y="1552993"/>
                  <a:pt x="3092257" y="1558954"/>
                </a:cubicBezTo>
                <a:cubicBezTo>
                  <a:pt x="3104938" y="1554039"/>
                  <a:pt x="3117981" y="1546506"/>
                  <a:pt x="3132151" y="1540462"/>
                </a:cubicBezTo>
                <a:cubicBezTo>
                  <a:pt x="3137386" y="1541186"/>
                  <a:pt x="3142623" y="1541910"/>
                  <a:pt x="3147859" y="1542635"/>
                </a:cubicBezTo>
                <a:cubicBezTo>
                  <a:pt x="3159772" y="1533611"/>
                  <a:pt x="3173174" y="1523459"/>
                  <a:pt x="3186576" y="1513308"/>
                </a:cubicBezTo>
                <a:cubicBezTo>
                  <a:pt x="3185400" y="1502473"/>
                  <a:pt x="3183095" y="1490147"/>
                  <a:pt x="3179301" y="1478951"/>
                </a:cubicBezTo>
                <a:cubicBezTo>
                  <a:pt x="3183768" y="1475567"/>
                  <a:pt x="3188236" y="1472183"/>
                  <a:pt x="3194192" y="1467671"/>
                </a:cubicBezTo>
                <a:cubicBezTo>
                  <a:pt x="3203943" y="1474357"/>
                  <a:pt x="3215183" y="1479913"/>
                  <a:pt x="3230170" y="1487322"/>
                </a:cubicBezTo>
                <a:cubicBezTo>
                  <a:pt x="3230075" y="1468633"/>
                  <a:pt x="3229619" y="1452562"/>
                  <a:pt x="3229932" y="1440599"/>
                </a:cubicBezTo>
                <a:cubicBezTo>
                  <a:pt x="3241845" y="1431575"/>
                  <a:pt x="3250780" y="1424808"/>
                  <a:pt x="3261299" y="1435601"/>
                </a:cubicBezTo>
                <a:cubicBezTo>
                  <a:pt x="3254622" y="1445349"/>
                  <a:pt x="3244558" y="1450627"/>
                  <a:pt x="3262523" y="1455780"/>
                </a:cubicBezTo>
                <a:cubicBezTo>
                  <a:pt x="3262115" y="1449053"/>
                  <a:pt x="3262836" y="1443818"/>
                  <a:pt x="3261299" y="1435601"/>
                </a:cubicBezTo>
                <a:cubicBezTo>
                  <a:pt x="3266896" y="1433707"/>
                  <a:pt x="3272853" y="1429195"/>
                  <a:pt x="3280299" y="1423555"/>
                </a:cubicBezTo>
                <a:cubicBezTo>
                  <a:pt x="3277632" y="1413849"/>
                  <a:pt x="3274967" y="1404142"/>
                  <a:pt x="3270044" y="1391455"/>
                </a:cubicBezTo>
                <a:cubicBezTo>
                  <a:pt x="3279386" y="1391414"/>
                  <a:pt x="3289858" y="1392862"/>
                  <a:pt x="3296943" y="1389840"/>
                </a:cubicBezTo>
                <a:cubicBezTo>
                  <a:pt x="3305518" y="1385690"/>
                  <a:pt x="3313324" y="1377432"/>
                  <a:pt x="3322259" y="1370665"/>
                </a:cubicBezTo>
                <a:cubicBezTo>
                  <a:pt x="3332010" y="1377349"/>
                  <a:pt x="3340632" y="1382544"/>
                  <a:pt x="3347764" y="1388867"/>
                </a:cubicBezTo>
                <a:cubicBezTo>
                  <a:pt x="3358910" y="1375736"/>
                  <a:pt x="3354347" y="1360429"/>
                  <a:pt x="3357999" y="1343593"/>
                </a:cubicBezTo>
                <a:cubicBezTo>
                  <a:pt x="3365852" y="1344679"/>
                  <a:pt x="3373706" y="1345767"/>
                  <a:pt x="3381560" y="1346853"/>
                </a:cubicBezTo>
                <a:cubicBezTo>
                  <a:pt x="3389005" y="1341213"/>
                  <a:pt x="3397940" y="1334445"/>
                  <a:pt x="3405386" y="1328805"/>
                </a:cubicBezTo>
                <a:cubicBezTo>
                  <a:pt x="3413240" y="1329892"/>
                  <a:pt x="3422583" y="1329850"/>
                  <a:pt x="3427818" y="1330575"/>
                </a:cubicBezTo>
                <a:cubicBezTo>
                  <a:pt x="3445734" y="1326384"/>
                  <a:pt x="3438915" y="1308098"/>
                  <a:pt x="3444104" y="1299478"/>
                </a:cubicBezTo>
                <a:cubicBezTo>
                  <a:pt x="3458995" y="1288198"/>
                  <a:pt x="3470908" y="1279174"/>
                  <a:pt x="3482822" y="1270150"/>
                </a:cubicBezTo>
                <a:cubicBezTo>
                  <a:pt x="3490675" y="1271237"/>
                  <a:pt x="3498529" y="1272323"/>
                  <a:pt x="3505254" y="1271920"/>
                </a:cubicBezTo>
                <a:cubicBezTo>
                  <a:pt x="3506287" y="1254721"/>
                  <a:pt x="3491301" y="1247311"/>
                  <a:pt x="3484120" y="1231644"/>
                </a:cubicBezTo>
                <a:cubicBezTo>
                  <a:pt x="3490077" y="1227132"/>
                  <a:pt x="3496394" y="1220002"/>
                  <a:pt x="3501222" y="1214000"/>
                </a:cubicBezTo>
                <a:cubicBezTo>
                  <a:pt x="3513590" y="1221047"/>
                  <a:pt x="3522212" y="1226242"/>
                  <a:pt x="3533092" y="1234417"/>
                </a:cubicBezTo>
                <a:cubicBezTo>
                  <a:pt x="3529658" y="1220602"/>
                  <a:pt x="3527353" y="1208277"/>
                  <a:pt x="3526177" y="1197443"/>
                </a:cubicBezTo>
                <a:cubicBezTo>
                  <a:pt x="3535112" y="1190675"/>
                  <a:pt x="3542557" y="1185035"/>
                  <a:pt x="3551491" y="1178266"/>
                </a:cubicBezTo>
                <a:cubicBezTo>
                  <a:pt x="3552574" y="1170412"/>
                  <a:pt x="3553655" y="1162558"/>
                  <a:pt x="3554736" y="1154703"/>
                </a:cubicBezTo>
                <a:cubicBezTo>
                  <a:pt x="3559203" y="1151319"/>
                  <a:pt x="3563671" y="1147935"/>
                  <a:pt x="3569627" y="1143423"/>
                </a:cubicBezTo>
                <a:cubicBezTo>
                  <a:pt x="3575632" y="1148256"/>
                  <a:pt x="3580507" y="1151599"/>
                  <a:pt x="3590258" y="1158283"/>
                </a:cubicBezTo>
                <a:cubicBezTo>
                  <a:pt x="3601090" y="1157115"/>
                  <a:pt x="3614900" y="1153689"/>
                  <a:pt x="3636564" y="1151350"/>
                </a:cubicBezTo>
                <a:cubicBezTo>
                  <a:pt x="3648477" y="1142326"/>
                  <a:pt x="3667836" y="1127662"/>
                  <a:pt x="3687195" y="1112998"/>
                </a:cubicBezTo>
                <a:cubicBezTo>
                  <a:pt x="3684170" y="1105910"/>
                  <a:pt x="3681143" y="1098821"/>
                  <a:pt x="3676988" y="1090243"/>
                </a:cubicBezTo>
                <a:cubicBezTo>
                  <a:pt x="3678743" y="1067807"/>
                  <a:pt x="3695578" y="1071471"/>
                  <a:pt x="3712415" y="1075134"/>
                </a:cubicBezTo>
                <a:cubicBezTo>
                  <a:pt x="3719861" y="1069494"/>
                  <a:pt x="3735521" y="1062323"/>
                  <a:pt x="3736241" y="1057087"/>
                </a:cubicBezTo>
                <a:cubicBezTo>
                  <a:pt x="3735378" y="1034289"/>
                  <a:pt x="3763359" y="1024820"/>
                  <a:pt x="3754642" y="1000936"/>
                </a:cubicBezTo>
                <a:cubicBezTo>
                  <a:pt x="3782310" y="1003430"/>
                  <a:pt x="3782092" y="1034082"/>
                  <a:pt x="3802315" y="1042215"/>
                </a:cubicBezTo>
                <a:cubicBezTo>
                  <a:pt x="3804933" y="1042578"/>
                  <a:pt x="3809039" y="1041813"/>
                  <a:pt x="3809039" y="1041813"/>
                </a:cubicBezTo>
                <a:cubicBezTo>
                  <a:pt x="3811923" y="1020867"/>
                  <a:pt x="3813677" y="998431"/>
                  <a:pt x="3818050" y="976358"/>
                </a:cubicBezTo>
                <a:cubicBezTo>
                  <a:pt x="3828160" y="980426"/>
                  <a:pt x="3837911" y="987111"/>
                  <a:pt x="3849152" y="992668"/>
                </a:cubicBezTo>
                <a:cubicBezTo>
                  <a:pt x="3850232" y="984813"/>
                  <a:pt x="3851314" y="976958"/>
                  <a:pt x="3852395" y="969104"/>
                </a:cubicBezTo>
                <a:cubicBezTo>
                  <a:pt x="3860249" y="970190"/>
                  <a:pt x="3868101" y="971277"/>
                  <a:pt x="3874827" y="970873"/>
                </a:cubicBezTo>
                <a:cubicBezTo>
                  <a:pt x="3875908" y="963019"/>
                  <a:pt x="3876990" y="955165"/>
                  <a:pt x="3881049" y="945055"/>
                </a:cubicBezTo>
                <a:cubicBezTo>
                  <a:pt x="3889263" y="943522"/>
                  <a:pt x="3900095" y="942354"/>
                  <a:pt x="3915033" y="940418"/>
                </a:cubicBezTo>
                <a:cubicBezTo>
                  <a:pt x="3915347" y="928455"/>
                  <a:pt x="3913402" y="913512"/>
                  <a:pt x="3910689" y="894461"/>
                </a:cubicBezTo>
                <a:cubicBezTo>
                  <a:pt x="3929423" y="903723"/>
                  <a:pt x="3940662" y="909280"/>
                  <a:pt x="3954161" y="917817"/>
                </a:cubicBezTo>
                <a:cubicBezTo>
                  <a:pt x="3958580" y="905088"/>
                  <a:pt x="3964128" y="893850"/>
                  <a:pt x="3969677" y="882611"/>
                </a:cubicBezTo>
                <a:cubicBezTo>
                  <a:pt x="3981278" y="885551"/>
                  <a:pt x="3994007" y="889980"/>
                  <a:pt x="4001765" y="872377"/>
                </a:cubicBezTo>
                <a:cubicBezTo>
                  <a:pt x="4000228" y="864160"/>
                  <a:pt x="3997563" y="854453"/>
                  <a:pt x="3994897" y="844747"/>
                </a:cubicBezTo>
                <a:cubicBezTo>
                  <a:pt x="4008300" y="834595"/>
                  <a:pt x="4009884" y="852157"/>
                  <a:pt x="4027849" y="857310"/>
                </a:cubicBezTo>
                <a:cubicBezTo>
                  <a:pt x="4027849" y="857310"/>
                  <a:pt x="4038321" y="858759"/>
                  <a:pt x="4048792" y="860207"/>
                </a:cubicBezTo>
                <a:cubicBezTo>
                  <a:pt x="4053260" y="856823"/>
                  <a:pt x="4056238" y="854567"/>
                  <a:pt x="4062194" y="850056"/>
                </a:cubicBezTo>
                <a:cubicBezTo>
                  <a:pt x="4064717" y="831729"/>
                  <a:pt x="4045935" y="813122"/>
                  <a:pt x="4061908" y="793988"/>
                </a:cubicBezTo>
                <a:cubicBezTo>
                  <a:pt x="4064527" y="794350"/>
                  <a:pt x="4069763" y="795075"/>
                  <a:pt x="4074998" y="795799"/>
                </a:cubicBezTo>
                <a:cubicBezTo>
                  <a:pt x="4093276" y="788989"/>
                  <a:pt x="4108935" y="781818"/>
                  <a:pt x="4109562" y="757892"/>
                </a:cubicBezTo>
                <a:cubicBezTo>
                  <a:pt x="4112180" y="758255"/>
                  <a:pt x="4116286" y="757489"/>
                  <a:pt x="4120394" y="756724"/>
                </a:cubicBezTo>
                <a:cubicBezTo>
                  <a:pt x="4139800" y="751404"/>
                  <a:pt x="4150775" y="778268"/>
                  <a:pt x="4168692" y="774077"/>
                </a:cubicBezTo>
                <a:cubicBezTo>
                  <a:pt x="4184257" y="748217"/>
                  <a:pt x="4178877" y="719458"/>
                  <a:pt x="4187358" y="696620"/>
                </a:cubicBezTo>
                <a:cubicBezTo>
                  <a:pt x="4197374" y="681998"/>
                  <a:pt x="4212000" y="692024"/>
                  <a:pt x="4223193" y="688237"/>
                </a:cubicBezTo>
                <a:cubicBezTo>
                  <a:pt x="4233207" y="673615"/>
                  <a:pt x="4240607" y="658630"/>
                  <a:pt x="4249494" y="642518"/>
                </a:cubicBezTo>
                <a:cubicBezTo>
                  <a:pt x="4245339" y="633940"/>
                  <a:pt x="4242674" y="624233"/>
                  <a:pt x="4241137" y="616016"/>
                </a:cubicBezTo>
                <a:cubicBezTo>
                  <a:pt x="4244476" y="611142"/>
                  <a:pt x="4248943" y="607757"/>
                  <a:pt x="4251921" y="605501"/>
                </a:cubicBezTo>
                <a:cubicBezTo>
                  <a:pt x="4281031" y="597523"/>
                  <a:pt x="4299139" y="630710"/>
                  <a:pt x="4329377" y="624222"/>
                </a:cubicBezTo>
                <a:cubicBezTo>
                  <a:pt x="4331227" y="620476"/>
                  <a:pt x="4331948" y="615240"/>
                  <a:pt x="4334518" y="606257"/>
                </a:cubicBezTo>
                <a:cubicBezTo>
                  <a:pt x="4349410" y="594977"/>
                  <a:pt x="4365790" y="582570"/>
                  <a:pt x="4388127" y="565649"/>
                </a:cubicBezTo>
                <a:cubicBezTo>
                  <a:pt x="4388080" y="556305"/>
                  <a:pt x="4387264" y="542853"/>
                  <a:pt x="4387937" y="528271"/>
                </a:cubicBezTo>
                <a:cubicBezTo>
                  <a:pt x="4382293" y="520820"/>
                  <a:pt x="4376649" y="513370"/>
                  <a:pt x="4369877" y="504429"/>
                </a:cubicBezTo>
                <a:cubicBezTo>
                  <a:pt x="4371318" y="493956"/>
                  <a:pt x="4372760" y="483483"/>
                  <a:pt x="4374202" y="473011"/>
                </a:cubicBezTo>
                <a:cubicBezTo>
                  <a:pt x="4387651" y="472204"/>
                  <a:pt x="4391446" y="483401"/>
                  <a:pt x="4398577" y="489723"/>
                </a:cubicBezTo>
                <a:cubicBezTo>
                  <a:pt x="4403093" y="495684"/>
                  <a:pt x="4409458" y="497898"/>
                  <a:pt x="4420338" y="506075"/>
                </a:cubicBezTo>
                <a:cubicBezTo>
                  <a:pt x="4415775" y="490768"/>
                  <a:pt x="4411620" y="482190"/>
                  <a:pt x="4406698" y="469503"/>
                </a:cubicBezTo>
                <a:cubicBezTo>
                  <a:pt x="4418610" y="460479"/>
                  <a:pt x="4430524" y="451455"/>
                  <a:pt x="4446905" y="439047"/>
                </a:cubicBezTo>
                <a:cubicBezTo>
                  <a:pt x="4464462" y="437475"/>
                  <a:pt x="4484997" y="433646"/>
                  <a:pt x="4506661" y="431307"/>
                </a:cubicBezTo>
                <a:cubicBezTo>
                  <a:pt x="4502866" y="420109"/>
                  <a:pt x="4500201" y="410402"/>
                  <a:pt x="4496046" y="401824"/>
                </a:cubicBezTo>
                <a:cubicBezTo>
                  <a:pt x="4518070" y="396867"/>
                  <a:pt x="4534955" y="409875"/>
                  <a:pt x="4552559" y="417646"/>
                </a:cubicBezTo>
                <a:cubicBezTo>
                  <a:pt x="4553232" y="403065"/>
                  <a:pt x="4562119" y="386953"/>
                  <a:pt x="4546725" y="372817"/>
                </a:cubicBezTo>
                <a:cubicBezTo>
                  <a:pt x="4549248" y="354490"/>
                  <a:pt x="4553260" y="335035"/>
                  <a:pt x="4557272" y="315580"/>
                </a:cubicBezTo>
                <a:cubicBezTo>
                  <a:pt x="4564765" y="319285"/>
                  <a:pt x="4571898" y="325608"/>
                  <a:pt x="4581649" y="332293"/>
                </a:cubicBezTo>
                <a:cubicBezTo>
                  <a:pt x="4586116" y="328908"/>
                  <a:pt x="4593201" y="325887"/>
                  <a:pt x="4601776" y="321737"/>
                </a:cubicBezTo>
                <a:cubicBezTo>
                  <a:pt x="4597621" y="313158"/>
                  <a:pt x="4594955" y="303452"/>
                  <a:pt x="4590033" y="290765"/>
                </a:cubicBezTo>
                <a:cubicBezTo>
                  <a:pt x="4605645" y="274249"/>
                  <a:pt x="4625772" y="263693"/>
                  <a:pt x="4644002" y="247540"/>
                </a:cubicBezTo>
                <a:cubicBezTo>
                  <a:pt x="4644723" y="242303"/>
                  <a:pt x="4645444" y="237067"/>
                  <a:pt x="4646525" y="229212"/>
                </a:cubicBezTo>
                <a:cubicBezTo>
                  <a:pt x="4667060" y="225383"/>
                  <a:pt x="4691703" y="220789"/>
                  <a:pt x="4714856" y="217322"/>
                </a:cubicBezTo>
                <a:cubicBezTo>
                  <a:pt x="4716297" y="206849"/>
                  <a:pt x="4718507" y="200484"/>
                  <a:pt x="4719588" y="192630"/>
                </a:cubicBezTo>
                <a:cubicBezTo>
                  <a:pt x="4734167" y="193313"/>
                  <a:pt x="4749874" y="195487"/>
                  <a:pt x="4764453" y="196170"/>
                </a:cubicBezTo>
                <a:cubicBezTo>
                  <a:pt x="4788327" y="187467"/>
                  <a:pt x="4771804" y="171841"/>
                  <a:pt x="4768370" y="158026"/>
                </a:cubicBezTo>
                <a:cubicBezTo>
                  <a:pt x="4772476" y="157259"/>
                  <a:pt x="4779562" y="154238"/>
                  <a:pt x="4779562" y="154238"/>
                </a:cubicBezTo>
                <a:cubicBezTo>
                  <a:pt x="4787870" y="171395"/>
                  <a:pt x="4807638" y="163458"/>
                  <a:pt x="4815179" y="176507"/>
                </a:cubicBezTo>
                <a:cubicBezTo>
                  <a:pt x="4817531" y="198177"/>
                  <a:pt x="4822501" y="220208"/>
                  <a:pt x="4814383" y="240429"/>
                </a:cubicBezTo>
                <a:cubicBezTo>
                  <a:pt x="4783111" y="264117"/>
                  <a:pt x="4783111" y="264117"/>
                  <a:pt x="4782076" y="281316"/>
                </a:cubicBezTo>
                <a:cubicBezTo>
                  <a:pt x="4785056" y="279060"/>
                  <a:pt x="4788803" y="280913"/>
                  <a:pt x="4790292" y="279785"/>
                </a:cubicBezTo>
                <a:cubicBezTo>
                  <a:pt x="4811140" y="263993"/>
                  <a:pt x="4831988" y="248201"/>
                  <a:pt x="4851347" y="233537"/>
                </a:cubicBezTo>
                <a:cubicBezTo>
                  <a:pt x="4848273" y="217104"/>
                  <a:pt x="4846329" y="202161"/>
                  <a:pt x="4843255" y="185727"/>
                </a:cubicBezTo>
                <a:cubicBezTo>
                  <a:pt x="4835402" y="184642"/>
                  <a:pt x="4826419" y="182065"/>
                  <a:pt x="4815179" y="176507"/>
                </a:cubicBezTo>
                <a:cubicBezTo>
                  <a:pt x="4826732" y="170102"/>
                  <a:pt x="4835667" y="163334"/>
                  <a:pt x="4843112" y="157694"/>
                </a:cubicBezTo>
                <a:cubicBezTo>
                  <a:pt x="4851013" y="168125"/>
                  <a:pt x="4860044" y="180047"/>
                  <a:pt x="4867945" y="190477"/>
                </a:cubicBezTo>
                <a:cubicBezTo>
                  <a:pt x="4866864" y="198332"/>
                  <a:pt x="4867272" y="205058"/>
                  <a:pt x="4866190" y="212913"/>
                </a:cubicBezTo>
                <a:cubicBezTo>
                  <a:pt x="4869577" y="217383"/>
                  <a:pt x="4872963" y="221854"/>
                  <a:pt x="4877478" y="227814"/>
                </a:cubicBezTo>
                <a:cubicBezTo>
                  <a:pt x="4886053" y="223665"/>
                  <a:pt x="4895756" y="221005"/>
                  <a:pt x="4905459" y="218346"/>
                </a:cubicBezTo>
                <a:cubicBezTo>
                  <a:pt x="4914081" y="223541"/>
                  <a:pt x="4921214" y="229863"/>
                  <a:pt x="4929836" y="235058"/>
                </a:cubicBezTo>
                <a:cubicBezTo>
                  <a:pt x="4932406" y="226076"/>
                  <a:pt x="4933488" y="218221"/>
                  <a:pt x="4934569" y="210367"/>
                </a:cubicBezTo>
                <a:cubicBezTo>
                  <a:pt x="4951310" y="195341"/>
                  <a:pt x="4970451" y="211329"/>
                  <a:pt x="4987240" y="205648"/>
                </a:cubicBezTo>
                <a:cubicBezTo>
                  <a:pt x="5001050" y="202223"/>
                  <a:pt x="5019376" y="204758"/>
                  <a:pt x="5029799" y="196863"/>
                </a:cubicBezTo>
                <a:cubicBezTo>
                  <a:pt x="5044689" y="185582"/>
                  <a:pt x="5063376" y="185499"/>
                  <a:pt x="5078315" y="183565"/>
                </a:cubicBezTo>
                <a:cubicBezTo>
                  <a:pt x="5098082" y="175627"/>
                  <a:pt x="5076588" y="137969"/>
                  <a:pt x="5110260" y="145295"/>
                </a:cubicBezTo>
                <a:cubicBezTo>
                  <a:pt x="5112566" y="157621"/>
                  <a:pt x="5113742" y="168456"/>
                  <a:pt x="5117176" y="182271"/>
                </a:cubicBezTo>
                <a:cubicBezTo>
                  <a:pt x="5154859" y="170142"/>
                  <a:pt x="5194896" y="179683"/>
                  <a:pt x="5225399" y="151887"/>
                </a:cubicBezTo>
                <a:cubicBezTo>
                  <a:pt x="5245623" y="160020"/>
                  <a:pt x="5268273" y="131138"/>
                  <a:pt x="5287101" y="159090"/>
                </a:cubicBezTo>
                <a:cubicBezTo>
                  <a:pt x="5292745" y="166541"/>
                  <a:pt x="5307684" y="164605"/>
                  <a:pt x="5315538" y="165692"/>
                </a:cubicBezTo>
                <a:cubicBezTo>
                  <a:pt x="5324473" y="158924"/>
                  <a:pt x="5331918" y="153284"/>
                  <a:pt x="5337875" y="148772"/>
                </a:cubicBezTo>
                <a:cubicBezTo>
                  <a:pt x="5369242" y="143774"/>
                  <a:pt x="5400609" y="138776"/>
                  <a:pt x="5440190" y="132246"/>
                </a:cubicBezTo>
                <a:cubicBezTo>
                  <a:pt x="5455082" y="120966"/>
                  <a:pt x="5475930" y="105174"/>
                  <a:pt x="5496778" y="89382"/>
                </a:cubicBezTo>
                <a:cubicBezTo>
                  <a:pt x="5504631" y="90469"/>
                  <a:pt x="5512846" y="88937"/>
                  <a:pt x="5525936" y="90748"/>
                </a:cubicBezTo>
                <a:cubicBezTo>
                  <a:pt x="5540827" y="79468"/>
                  <a:pt x="5558697" y="65932"/>
                  <a:pt x="5578055" y="51269"/>
                </a:cubicBezTo>
                <a:cubicBezTo>
                  <a:pt x="5592464" y="91948"/>
                  <a:pt x="5559342" y="119382"/>
                  <a:pt x="5559893" y="154142"/>
                </a:cubicBezTo>
                <a:cubicBezTo>
                  <a:pt x="5563278" y="158613"/>
                  <a:pt x="5566666" y="163083"/>
                  <a:pt x="5570052" y="167554"/>
                </a:cubicBezTo>
                <a:cubicBezTo>
                  <a:pt x="5572670" y="167916"/>
                  <a:pt x="5576417" y="169769"/>
                  <a:pt x="5577905" y="168640"/>
                </a:cubicBezTo>
                <a:cubicBezTo>
                  <a:pt x="5599522" y="156957"/>
                  <a:pt x="5615134" y="140441"/>
                  <a:pt x="5631155" y="130651"/>
                </a:cubicBezTo>
                <a:cubicBezTo>
                  <a:pt x="5632596" y="120179"/>
                  <a:pt x="5633317" y="114943"/>
                  <a:pt x="5632909" y="108215"/>
                </a:cubicBezTo>
                <a:cubicBezTo>
                  <a:pt x="5640762" y="109303"/>
                  <a:pt x="5648616" y="110389"/>
                  <a:pt x="5656470" y="111476"/>
                </a:cubicBezTo>
                <a:cubicBezTo>
                  <a:pt x="5657551" y="103621"/>
                  <a:pt x="5658632" y="95767"/>
                  <a:pt x="5659713" y="87913"/>
                </a:cubicBezTo>
                <a:cubicBezTo>
                  <a:pt x="5675325" y="71396"/>
                  <a:pt x="5705707" y="92942"/>
                  <a:pt x="5720095" y="56246"/>
                </a:cubicBezTo>
                <a:cubicBezTo>
                  <a:pt x="5719735" y="58864"/>
                  <a:pt x="5720816" y="51010"/>
                  <a:pt x="5723386" y="42027"/>
                </a:cubicBezTo>
                <a:cubicBezTo>
                  <a:pt x="5743561" y="40817"/>
                  <a:pt x="5767170" y="53421"/>
                  <a:pt x="5788018" y="37629"/>
                </a:cubicBezTo>
                <a:cubicBezTo>
                  <a:pt x="5795919" y="48060"/>
                  <a:pt x="5786624" y="57446"/>
                  <a:pt x="5788161" y="65663"/>
                </a:cubicBezTo>
                <a:cubicBezTo>
                  <a:pt x="5781891" y="82138"/>
                  <a:pt x="5765102" y="87819"/>
                  <a:pt x="5754318" y="98333"/>
                </a:cubicBezTo>
                <a:cubicBezTo>
                  <a:pt x="5742404" y="107357"/>
                  <a:pt x="5727874" y="116019"/>
                  <a:pt x="5717089" y="126532"/>
                </a:cubicBezTo>
                <a:cubicBezTo>
                  <a:pt x="5704816" y="138175"/>
                  <a:pt x="5687259" y="139748"/>
                  <a:pt x="5684376" y="160693"/>
                </a:cubicBezTo>
                <a:cubicBezTo>
                  <a:pt x="5712404" y="160568"/>
                  <a:pt x="5725712" y="131727"/>
                  <a:pt x="5749225" y="125642"/>
                </a:cubicBezTo>
                <a:cubicBezTo>
                  <a:pt x="5754461" y="126367"/>
                  <a:pt x="5759697" y="127091"/>
                  <a:pt x="5764931" y="127815"/>
                </a:cubicBezTo>
                <a:cubicBezTo>
                  <a:pt x="5768992" y="117706"/>
                  <a:pt x="5772691" y="110213"/>
                  <a:pt x="5776751" y="100102"/>
                </a:cubicBezTo>
                <a:cubicBezTo>
                  <a:pt x="5787582" y="98932"/>
                  <a:pt x="5799904" y="96636"/>
                  <a:pt x="5814842" y="94701"/>
                </a:cubicBezTo>
                <a:cubicBezTo>
                  <a:pt x="5817412" y="85718"/>
                  <a:pt x="5819983" y="76735"/>
                  <a:pt x="5824043" y="66625"/>
                </a:cubicBezTo>
                <a:cubicBezTo>
                  <a:pt x="5827789" y="68477"/>
                  <a:pt x="5833025" y="69201"/>
                  <a:pt x="5839750" y="68798"/>
                </a:cubicBezTo>
                <a:cubicBezTo>
                  <a:pt x="5843856" y="68032"/>
                  <a:pt x="5849453" y="66139"/>
                  <a:pt x="5852432" y="63883"/>
                </a:cubicBezTo>
                <a:cubicBezTo>
                  <a:pt x="5868812" y="51475"/>
                  <a:pt x="5886682" y="37939"/>
                  <a:pt x="5903062" y="25531"/>
                </a:cubicBezTo>
                <a:cubicBezTo>
                  <a:pt x="5920619" y="23958"/>
                  <a:pt x="5937769" y="15659"/>
                  <a:pt x="5954604" y="19322"/>
                </a:cubicBezTo>
                <a:cubicBezTo>
                  <a:pt x="5970312" y="21495"/>
                  <a:pt x="5977306" y="5204"/>
                  <a:pt x="5988829" y="983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99464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5597695" y="873862"/>
            <a:ext cx="6704664" cy="8384438"/>
          </a:xfrm>
          <a:custGeom>
            <a:avLst/>
            <a:gdLst>
              <a:gd name="connsiteX0" fmla="*/ 4162285 w 6704664"/>
              <a:gd name="connsiteY0" fmla="*/ 6479473 h 8384438"/>
              <a:gd name="connsiteX1" fmla="*/ 4163078 w 6704664"/>
              <a:gd name="connsiteY1" fmla="*/ 6480232 h 8384438"/>
              <a:gd name="connsiteX2" fmla="*/ 4161762 w 6704664"/>
              <a:gd name="connsiteY2" fmla="*/ 6482950 h 8384438"/>
              <a:gd name="connsiteX3" fmla="*/ 4162510 w 6704664"/>
              <a:gd name="connsiteY3" fmla="*/ 6477977 h 8384438"/>
              <a:gd name="connsiteX4" fmla="*/ 4162285 w 6704664"/>
              <a:gd name="connsiteY4" fmla="*/ 6479473 h 8384438"/>
              <a:gd name="connsiteX5" fmla="*/ 4161762 w 6704664"/>
              <a:gd name="connsiteY5" fmla="*/ 6478971 h 8384438"/>
              <a:gd name="connsiteX6" fmla="*/ 4162510 w 6704664"/>
              <a:gd name="connsiteY6" fmla="*/ 6477977 h 8384438"/>
              <a:gd name="connsiteX7" fmla="*/ 1043027 w 6704664"/>
              <a:gd name="connsiteY7" fmla="*/ 1283919 h 8384438"/>
              <a:gd name="connsiteX8" fmla="*/ 1050045 w 6704664"/>
              <a:gd name="connsiteY8" fmla="*/ 1301939 h 8384438"/>
              <a:gd name="connsiteX9" fmla="*/ 1087682 w 6704664"/>
              <a:gd name="connsiteY9" fmla="*/ 1306658 h 8384438"/>
              <a:gd name="connsiteX10" fmla="*/ 1118232 w 6704664"/>
              <a:gd name="connsiteY10" fmla="*/ 1294713 h 8384438"/>
              <a:gd name="connsiteX11" fmla="*/ 1147123 w 6704664"/>
              <a:gd name="connsiteY11" fmla="*/ 1313897 h 8384438"/>
              <a:gd name="connsiteX12" fmla="*/ 1144671 w 6704664"/>
              <a:gd name="connsiteY12" fmla="*/ 1359916 h 8384438"/>
              <a:gd name="connsiteX13" fmla="*/ 1163763 w 6704664"/>
              <a:gd name="connsiteY13" fmla="*/ 1375864 h 8384438"/>
              <a:gd name="connsiteX14" fmla="*/ 1160734 w 6704664"/>
              <a:gd name="connsiteY14" fmla="*/ 1432711 h 8384438"/>
              <a:gd name="connsiteX15" fmla="*/ 1176137 w 6704664"/>
              <a:gd name="connsiteY15" fmla="*/ 1443033 h 8384438"/>
              <a:gd name="connsiteX16" fmla="*/ 1170368 w 6704664"/>
              <a:gd name="connsiteY16" fmla="*/ 1551311 h 8384438"/>
              <a:gd name="connsiteX17" fmla="*/ 1186607 w 6704664"/>
              <a:gd name="connsiteY17" fmla="*/ 1583396 h 8384438"/>
              <a:gd name="connsiteX18" fmla="*/ 1170049 w 6704664"/>
              <a:gd name="connsiteY18" fmla="*/ 1594730 h 8384438"/>
              <a:gd name="connsiteX19" fmla="*/ 1168246 w 6704664"/>
              <a:gd name="connsiteY19" fmla="*/ 1628568 h 8384438"/>
              <a:gd name="connsiteX20" fmla="*/ 1183505 w 6704664"/>
              <a:gd name="connsiteY20" fmla="*/ 1641597 h 8384438"/>
              <a:gd name="connsiteX21" fmla="*/ 1173048 w 6704664"/>
              <a:gd name="connsiteY21" fmla="*/ 1837853 h 8384438"/>
              <a:gd name="connsiteX22" fmla="*/ 1184547 w 6704664"/>
              <a:gd name="connsiteY22" fmla="*/ 1846609 h 8384438"/>
              <a:gd name="connsiteX23" fmla="*/ 1190296 w 6704664"/>
              <a:gd name="connsiteY23" fmla="*/ 1850988 h 8384438"/>
              <a:gd name="connsiteX24" fmla="*/ 1182435 w 6704664"/>
              <a:gd name="connsiteY24" fmla="*/ 1998518 h 8384438"/>
              <a:gd name="connsiteX25" fmla="*/ 1197622 w 6704664"/>
              <a:gd name="connsiteY25" fmla="*/ 2012901 h 8384438"/>
              <a:gd name="connsiteX26" fmla="*/ 1183197 w 6704664"/>
              <a:gd name="connsiteY26" fmla="*/ 2021634 h 8384438"/>
              <a:gd name="connsiteX27" fmla="*/ 1196468 w 6704664"/>
              <a:gd name="connsiteY27" fmla="*/ 2034557 h 8384438"/>
              <a:gd name="connsiteX28" fmla="*/ 1189905 w 6704664"/>
              <a:gd name="connsiteY28" fmla="*/ 2157726 h 8384438"/>
              <a:gd name="connsiteX29" fmla="*/ 1206360 w 6704664"/>
              <a:gd name="connsiteY29" fmla="*/ 2185748 h 8384438"/>
              <a:gd name="connsiteX30" fmla="*/ 1189875 w 6704664"/>
              <a:gd name="connsiteY30" fmla="*/ 2195729 h 8384438"/>
              <a:gd name="connsiteX31" fmla="*/ 1205062 w 6704664"/>
              <a:gd name="connsiteY31" fmla="*/ 2210111 h 8384438"/>
              <a:gd name="connsiteX32" fmla="*/ 1202496 w 6704664"/>
              <a:gd name="connsiteY32" fmla="*/ 2220832 h 8384438"/>
              <a:gd name="connsiteX33" fmla="*/ 1187928 w 6704664"/>
              <a:gd name="connsiteY33" fmla="*/ 2232273 h 8384438"/>
              <a:gd name="connsiteX34" fmla="*/ 1203259 w 6704664"/>
              <a:gd name="connsiteY34" fmla="*/ 2243948 h 8384438"/>
              <a:gd name="connsiteX35" fmla="*/ 1195903 w 6704664"/>
              <a:gd name="connsiteY35" fmla="*/ 2382005 h 8384438"/>
              <a:gd name="connsiteX36" fmla="*/ 1211235 w 6704664"/>
              <a:gd name="connsiteY36" fmla="*/ 2393680 h 8384438"/>
              <a:gd name="connsiteX37" fmla="*/ 1205177 w 6704664"/>
              <a:gd name="connsiteY37" fmla="*/ 2507373 h 8384438"/>
              <a:gd name="connsiteX38" fmla="*/ 1226257 w 6704664"/>
              <a:gd name="connsiteY38" fmla="*/ 2523427 h 8384438"/>
              <a:gd name="connsiteX39" fmla="*/ 1223011 w 6704664"/>
              <a:gd name="connsiteY39" fmla="*/ 2584335 h 8384438"/>
              <a:gd name="connsiteX40" fmla="*/ 1264771 w 6704664"/>
              <a:gd name="connsiteY40" fmla="*/ 2586560 h 8384438"/>
              <a:gd name="connsiteX41" fmla="*/ 1240362 w 6704664"/>
              <a:gd name="connsiteY41" fmla="*/ 2558112 h 8384438"/>
              <a:gd name="connsiteX42" fmla="*/ 1256992 w 6704664"/>
              <a:gd name="connsiteY42" fmla="*/ 2545425 h 8384438"/>
              <a:gd name="connsiteX43" fmla="*/ 1266800 w 6704664"/>
              <a:gd name="connsiteY43" fmla="*/ 2361350 h 8384438"/>
              <a:gd name="connsiteX44" fmla="*/ 1283213 w 6704664"/>
              <a:gd name="connsiteY44" fmla="*/ 2352723 h 8384438"/>
              <a:gd name="connsiteX45" fmla="*/ 1267954 w 6704664"/>
              <a:gd name="connsiteY45" fmla="*/ 2339694 h 8384438"/>
              <a:gd name="connsiteX46" fmla="*/ 1282451 w 6704664"/>
              <a:gd name="connsiteY46" fmla="*/ 2329609 h 8384438"/>
              <a:gd name="connsiteX47" fmla="*/ 1291013 w 6704664"/>
              <a:gd name="connsiteY47" fmla="*/ 2281200 h 8384438"/>
              <a:gd name="connsiteX48" fmla="*/ 1305510 w 6704664"/>
              <a:gd name="connsiteY48" fmla="*/ 2271114 h 8384438"/>
              <a:gd name="connsiteX49" fmla="*/ 1290179 w 6704664"/>
              <a:gd name="connsiteY49" fmla="*/ 2259438 h 8384438"/>
              <a:gd name="connsiteX50" fmla="*/ 1295660 w 6704664"/>
              <a:gd name="connsiteY50" fmla="*/ 2156573 h 8384438"/>
              <a:gd name="connsiteX51" fmla="*/ 1280328 w 6704664"/>
              <a:gd name="connsiteY51" fmla="*/ 2144898 h 8384438"/>
              <a:gd name="connsiteX52" fmla="*/ 1294897 w 6704664"/>
              <a:gd name="connsiteY52" fmla="*/ 2133458 h 8384438"/>
              <a:gd name="connsiteX53" fmla="*/ 1279638 w 6704664"/>
              <a:gd name="connsiteY53" fmla="*/ 2120429 h 8384438"/>
              <a:gd name="connsiteX54" fmla="*/ 1282090 w 6704664"/>
              <a:gd name="connsiteY54" fmla="*/ 2074410 h 8384438"/>
              <a:gd name="connsiteX55" fmla="*/ 1300636 w 6704664"/>
              <a:gd name="connsiteY55" fmla="*/ 2063182 h 8384438"/>
              <a:gd name="connsiteX56" fmla="*/ 1304891 w 6704664"/>
              <a:gd name="connsiteY56" fmla="*/ 1983326 h 8384438"/>
              <a:gd name="connsiteX57" fmla="*/ 1287643 w 6704664"/>
              <a:gd name="connsiteY57" fmla="*/ 1970192 h 8384438"/>
              <a:gd name="connsiteX58" fmla="*/ 1304057 w 6704664"/>
              <a:gd name="connsiteY58" fmla="*/ 1961564 h 8384438"/>
              <a:gd name="connsiteX59" fmla="*/ 1306942 w 6704664"/>
              <a:gd name="connsiteY59" fmla="*/ 1907425 h 8384438"/>
              <a:gd name="connsiteX60" fmla="*/ 1327981 w 6704664"/>
              <a:gd name="connsiteY60" fmla="*/ 1886828 h 8384438"/>
              <a:gd name="connsiteX61" fmla="*/ 1309394 w 6704664"/>
              <a:gd name="connsiteY61" fmla="*/ 1861407 h 8384438"/>
              <a:gd name="connsiteX62" fmla="*/ 1328228 w 6704664"/>
              <a:gd name="connsiteY62" fmla="*/ 1844763 h 8384438"/>
              <a:gd name="connsiteX63" fmla="*/ 1312896 w 6704664"/>
              <a:gd name="connsiteY63" fmla="*/ 1833089 h 8384438"/>
              <a:gd name="connsiteX64" fmla="*/ 1338274 w 6704664"/>
              <a:gd name="connsiteY64" fmla="*/ 1805937 h 8384438"/>
              <a:gd name="connsiteX65" fmla="*/ 1363693 w 6704664"/>
              <a:gd name="connsiteY65" fmla="*/ 1815435 h 8384438"/>
              <a:gd name="connsiteX66" fmla="*/ 1389874 w 6704664"/>
              <a:gd name="connsiteY66" fmla="*/ 1848049 h 8384438"/>
              <a:gd name="connsiteX67" fmla="*/ 1405163 w 6704664"/>
              <a:gd name="connsiteY67" fmla="*/ 1823074 h 8384438"/>
              <a:gd name="connsiteX68" fmla="*/ 1417528 w 6704664"/>
              <a:gd name="connsiteY68" fmla="*/ 1815589 h 8384438"/>
              <a:gd name="connsiteX69" fmla="*/ 1419331 w 6704664"/>
              <a:gd name="connsiteY69" fmla="*/ 1781752 h 8384438"/>
              <a:gd name="connsiteX70" fmla="*/ 1402082 w 6704664"/>
              <a:gd name="connsiteY70" fmla="*/ 1768617 h 8384438"/>
              <a:gd name="connsiteX71" fmla="*/ 1418568 w 6704664"/>
              <a:gd name="connsiteY71" fmla="*/ 1758637 h 8384438"/>
              <a:gd name="connsiteX72" fmla="*/ 1420732 w 6704664"/>
              <a:gd name="connsiteY72" fmla="*/ 1718031 h 8384438"/>
              <a:gd name="connsiteX73" fmla="*/ 1450446 w 6704664"/>
              <a:gd name="connsiteY73" fmla="*/ 1684325 h 8384438"/>
              <a:gd name="connsiteX74" fmla="*/ 1473444 w 6704664"/>
              <a:gd name="connsiteY74" fmla="*/ 1701838 h 8384438"/>
              <a:gd name="connsiteX75" fmla="*/ 1483861 w 6704664"/>
              <a:gd name="connsiteY75" fmla="*/ 1730897 h 8384438"/>
              <a:gd name="connsiteX76" fmla="*/ 1490043 w 6704664"/>
              <a:gd name="connsiteY76" fmla="*/ 1727155 h 8384438"/>
              <a:gd name="connsiteX77" fmla="*/ 1494947 w 6704664"/>
              <a:gd name="connsiteY77" fmla="*/ 1635117 h 8384438"/>
              <a:gd name="connsiteX78" fmla="*/ 1526506 w 6704664"/>
              <a:gd name="connsiteY78" fmla="*/ 1604223 h 8384438"/>
              <a:gd name="connsiteX79" fmla="*/ 1536553 w 6704664"/>
              <a:gd name="connsiteY79" fmla="*/ 1565395 h 8384438"/>
              <a:gd name="connsiteX80" fmla="*/ 1558643 w 6704664"/>
              <a:gd name="connsiteY80" fmla="*/ 1562500 h 8384438"/>
              <a:gd name="connsiteX81" fmla="*/ 1550514 w 6704664"/>
              <a:gd name="connsiteY81" fmla="*/ 1602787 h 8384438"/>
              <a:gd name="connsiteX82" fmla="*/ 1563784 w 6704664"/>
              <a:gd name="connsiteY82" fmla="*/ 1615710 h 8384438"/>
              <a:gd name="connsiteX83" fmla="*/ 1566031 w 6704664"/>
              <a:gd name="connsiteY83" fmla="*/ 1648405 h 8384438"/>
              <a:gd name="connsiteX84" fmla="*/ 1601639 w 6704664"/>
              <a:gd name="connsiteY84" fmla="*/ 1616370 h 8384438"/>
              <a:gd name="connsiteX85" fmla="*/ 1607120 w 6704664"/>
              <a:gd name="connsiteY85" fmla="*/ 1513505 h 8384438"/>
              <a:gd name="connsiteX86" fmla="*/ 1647252 w 6704664"/>
              <a:gd name="connsiteY86" fmla="*/ 1508856 h 8384438"/>
              <a:gd name="connsiteX87" fmla="*/ 1676112 w 6704664"/>
              <a:gd name="connsiteY87" fmla="*/ 1566044 h 8384438"/>
              <a:gd name="connsiteX88" fmla="*/ 1697378 w 6704664"/>
              <a:gd name="connsiteY88" fmla="*/ 1616042 h 8384438"/>
              <a:gd name="connsiteX89" fmla="*/ 1712195 w 6704664"/>
              <a:gd name="connsiteY89" fmla="*/ 1562538 h 8384438"/>
              <a:gd name="connsiteX90" fmla="*/ 1718377 w 6704664"/>
              <a:gd name="connsiteY90" fmla="*/ 1558796 h 8384438"/>
              <a:gd name="connsiteX91" fmla="*/ 1724920 w 6704664"/>
              <a:gd name="connsiteY91" fmla="*/ 1548285 h 8384438"/>
              <a:gd name="connsiteX92" fmla="*/ 1726867 w 6704664"/>
              <a:gd name="connsiteY92" fmla="*/ 1511741 h 8384438"/>
              <a:gd name="connsiteX93" fmla="*/ 1789552 w 6704664"/>
              <a:gd name="connsiteY93" fmla="*/ 1458073 h 8384438"/>
              <a:gd name="connsiteX94" fmla="*/ 1800443 w 6704664"/>
              <a:gd name="connsiteY94" fmla="*/ 1515661 h 8384438"/>
              <a:gd name="connsiteX95" fmla="*/ 1874340 w 6704664"/>
              <a:gd name="connsiteY95" fmla="*/ 1476164 h 8384438"/>
              <a:gd name="connsiteX96" fmla="*/ 1882984 w 6704664"/>
              <a:gd name="connsiteY96" fmla="*/ 1501057 h 8384438"/>
              <a:gd name="connsiteX97" fmla="*/ 1901644 w 6704664"/>
              <a:gd name="connsiteY97" fmla="*/ 1525126 h 8384438"/>
              <a:gd name="connsiteX98" fmla="*/ 1882954 w 6704664"/>
              <a:gd name="connsiteY98" fmla="*/ 1539062 h 8384438"/>
              <a:gd name="connsiteX99" fmla="*/ 1898213 w 6704664"/>
              <a:gd name="connsiteY99" fmla="*/ 1552090 h 8384438"/>
              <a:gd name="connsiteX100" fmla="*/ 1896987 w 6704664"/>
              <a:gd name="connsiteY100" fmla="*/ 1575099 h 8384438"/>
              <a:gd name="connsiteX101" fmla="*/ 1912247 w 6704664"/>
              <a:gd name="connsiteY101" fmla="*/ 1588128 h 8384438"/>
              <a:gd name="connsiteX102" fmla="*/ 1893855 w 6704664"/>
              <a:gd name="connsiteY102" fmla="*/ 1933269 h 8384438"/>
              <a:gd name="connsiteX103" fmla="*/ 1875238 w 6704664"/>
              <a:gd name="connsiteY103" fmla="*/ 1945850 h 8384438"/>
              <a:gd name="connsiteX104" fmla="*/ 1900801 w 6704664"/>
              <a:gd name="connsiteY104" fmla="*/ 1952642 h 8384438"/>
              <a:gd name="connsiteX105" fmla="*/ 1928455 w 6704664"/>
              <a:gd name="connsiteY105" fmla="*/ 1920183 h 8384438"/>
              <a:gd name="connsiteX106" fmla="*/ 1947939 w 6704664"/>
              <a:gd name="connsiteY106" fmla="*/ 1891358 h 8384438"/>
              <a:gd name="connsiteX107" fmla="*/ 1949598 w 6704664"/>
              <a:gd name="connsiteY107" fmla="*/ 1860228 h 8384438"/>
              <a:gd name="connsiteX108" fmla="*/ 1974758 w 6704664"/>
              <a:gd name="connsiteY108" fmla="*/ 1837137 h 8384438"/>
              <a:gd name="connsiteX109" fmla="*/ 1983042 w 6704664"/>
              <a:gd name="connsiteY109" fmla="*/ 1868797 h 8384438"/>
              <a:gd name="connsiteX110" fmla="*/ 1968473 w 6704664"/>
              <a:gd name="connsiteY110" fmla="*/ 1880237 h 8384438"/>
              <a:gd name="connsiteX111" fmla="*/ 1991470 w 6704664"/>
              <a:gd name="connsiteY111" fmla="*/ 1897750 h 8384438"/>
              <a:gd name="connsiteX112" fmla="*/ 2003505 w 6704664"/>
              <a:gd name="connsiteY112" fmla="*/ 1859029 h 8384438"/>
              <a:gd name="connsiteX113" fmla="*/ 2020063 w 6704664"/>
              <a:gd name="connsiteY113" fmla="*/ 1847695 h 8384438"/>
              <a:gd name="connsiteX114" fmla="*/ 2021794 w 6704664"/>
              <a:gd name="connsiteY114" fmla="*/ 1815211 h 8384438"/>
              <a:gd name="connsiteX115" fmla="*/ 2062574 w 6704664"/>
              <a:gd name="connsiteY115" fmla="*/ 1798381 h 8384438"/>
              <a:gd name="connsiteX116" fmla="*/ 2087055 w 6704664"/>
              <a:gd name="connsiteY116" fmla="*/ 1825475 h 8384438"/>
              <a:gd name="connsiteX117" fmla="*/ 2093279 w 6704664"/>
              <a:gd name="connsiteY117" fmla="*/ 1858384 h 8384438"/>
              <a:gd name="connsiteX118" fmla="*/ 2141756 w 6704664"/>
              <a:gd name="connsiteY118" fmla="*/ 1809387 h 8384438"/>
              <a:gd name="connsiteX119" fmla="*/ 2170420 w 6704664"/>
              <a:gd name="connsiteY119" fmla="*/ 1757979 h 8384438"/>
              <a:gd name="connsiteX120" fmla="*/ 2196271 w 6704664"/>
              <a:gd name="connsiteY120" fmla="*/ 1759356 h 8384438"/>
              <a:gd name="connsiteX121" fmla="*/ 2196674 w 6704664"/>
              <a:gd name="connsiteY121" fmla="*/ 1789239 h 8384438"/>
              <a:gd name="connsiteX122" fmla="*/ 2220247 w 6704664"/>
              <a:gd name="connsiteY122" fmla="*/ 1795925 h 8384438"/>
              <a:gd name="connsiteX123" fmla="*/ 2239442 w 6704664"/>
              <a:gd name="connsiteY123" fmla="*/ 1772515 h 8384438"/>
              <a:gd name="connsiteX124" fmla="*/ 2257340 w 6704664"/>
              <a:gd name="connsiteY124" fmla="*/ 1773470 h 8384438"/>
              <a:gd name="connsiteX125" fmla="*/ 2265192 w 6704664"/>
              <a:gd name="connsiteY125" fmla="*/ 1813250 h 8384438"/>
              <a:gd name="connsiteX126" fmla="*/ 2278463 w 6704664"/>
              <a:gd name="connsiteY126" fmla="*/ 1826173 h 8384438"/>
              <a:gd name="connsiteX127" fmla="*/ 2263894 w 6704664"/>
              <a:gd name="connsiteY127" fmla="*/ 1837613 h 8384438"/>
              <a:gd name="connsiteX128" fmla="*/ 2295824 w 6704664"/>
              <a:gd name="connsiteY128" fmla="*/ 1874604 h 8384438"/>
              <a:gd name="connsiteX129" fmla="*/ 2289694 w 6704664"/>
              <a:gd name="connsiteY129" fmla="*/ 1989651 h 8384438"/>
              <a:gd name="connsiteX130" fmla="*/ 2273208 w 6704664"/>
              <a:gd name="connsiteY130" fmla="*/ 1999632 h 8384438"/>
              <a:gd name="connsiteX131" fmla="*/ 2267077 w 6704664"/>
              <a:gd name="connsiteY131" fmla="*/ 2114679 h 8384438"/>
              <a:gd name="connsiteX132" fmla="*/ 2246543 w 6704664"/>
              <a:gd name="connsiteY132" fmla="*/ 2125801 h 8384438"/>
              <a:gd name="connsiteX133" fmla="*/ 2240412 w 6704664"/>
              <a:gd name="connsiteY133" fmla="*/ 2240848 h 8384438"/>
              <a:gd name="connsiteX134" fmla="*/ 2223927 w 6704664"/>
              <a:gd name="connsiteY134" fmla="*/ 2250828 h 8384438"/>
              <a:gd name="connsiteX135" fmla="*/ 2218447 w 6704664"/>
              <a:gd name="connsiteY135" fmla="*/ 2353692 h 8384438"/>
              <a:gd name="connsiteX136" fmla="*/ 2201889 w 6704664"/>
              <a:gd name="connsiteY136" fmla="*/ 2365027 h 8384438"/>
              <a:gd name="connsiteX137" fmla="*/ 2197664 w 6704664"/>
              <a:gd name="connsiteY137" fmla="*/ 2406879 h 8384438"/>
              <a:gd name="connsiteX138" fmla="*/ 2243546 w 6704664"/>
              <a:gd name="connsiteY138" fmla="*/ 2406609 h 8384438"/>
              <a:gd name="connsiteX139" fmla="*/ 2250016 w 6704664"/>
              <a:gd name="connsiteY139" fmla="*/ 2397453 h 8384438"/>
              <a:gd name="connsiteX140" fmla="*/ 2263720 w 6704664"/>
              <a:gd name="connsiteY140" fmla="*/ 2402255 h 8384438"/>
              <a:gd name="connsiteX141" fmla="*/ 2267120 w 6704664"/>
              <a:gd name="connsiteY141" fmla="*/ 2413295 h 8384438"/>
              <a:gd name="connsiteX142" fmla="*/ 2265173 w 6704664"/>
              <a:gd name="connsiteY142" fmla="*/ 2449839 h 8384438"/>
              <a:gd name="connsiteX143" fmla="*/ 2244566 w 6704664"/>
              <a:gd name="connsiteY143" fmla="*/ 2462315 h 8384438"/>
              <a:gd name="connsiteX144" fmla="*/ 2279422 w 6704664"/>
              <a:gd name="connsiteY144" fmla="*/ 2481816 h 8384438"/>
              <a:gd name="connsiteX145" fmla="*/ 2277979 w 6704664"/>
              <a:gd name="connsiteY145" fmla="*/ 2508887 h 8384438"/>
              <a:gd name="connsiteX146" fmla="*/ 2295300 w 6704664"/>
              <a:gd name="connsiteY146" fmla="*/ 2520669 h 8384438"/>
              <a:gd name="connsiteX147" fmla="*/ 2279361 w 6704664"/>
              <a:gd name="connsiteY147" fmla="*/ 2557825 h 8384438"/>
              <a:gd name="connsiteX148" fmla="*/ 2303008 w 6704664"/>
              <a:gd name="connsiteY148" fmla="*/ 2563157 h 8384438"/>
              <a:gd name="connsiteX149" fmla="*/ 2314073 w 6704664"/>
              <a:gd name="connsiteY149" fmla="*/ 2580035 h 8384438"/>
              <a:gd name="connsiteX150" fmla="*/ 2275353 w 6704664"/>
              <a:gd name="connsiteY150" fmla="*/ 2595616 h 8384438"/>
              <a:gd name="connsiteX151" fmla="*/ 2273261 w 6704664"/>
              <a:gd name="connsiteY151" fmla="*/ 2634867 h 8384438"/>
              <a:gd name="connsiteX152" fmla="*/ 2306490 w 6704664"/>
              <a:gd name="connsiteY152" fmla="*/ 2647496 h 8384438"/>
              <a:gd name="connsiteX153" fmla="*/ 2305192 w 6704664"/>
              <a:gd name="connsiteY153" fmla="*/ 2671859 h 8384438"/>
              <a:gd name="connsiteX154" fmla="*/ 2268820 w 6704664"/>
              <a:gd name="connsiteY154" fmla="*/ 2680780 h 8384438"/>
              <a:gd name="connsiteX155" fmla="*/ 2315609 w 6704664"/>
              <a:gd name="connsiteY155" fmla="*/ 2700919 h 8384438"/>
              <a:gd name="connsiteX156" fmla="*/ 2301586 w 6704664"/>
              <a:gd name="connsiteY156" fmla="*/ 2739534 h 8384438"/>
              <a:gd name="connsiteX157" fmla="*/ 2316845 w 6704664"/>
              <a:gd name="connsiteY157" fmla="*/ 2752562 h 8384438"/>
              <a:gd name="connsiteX158" fmla="*/ 2262793 w 6704664"/>
              <a:gd name="connsiteY158" fmla="*/ 2756469 h 8384438"/>
              <a:gd name="connsiteX159" fmla="*/ 2254768 w 6704664"/>
              <a:gd name="connsiteY159" fmla="*/ 2757399 h 8384438"/>
              <a:gd name="connsiteX160" fmla="*/ 2195224 w 6704664"/>
              <a:gd name="connsiteY160" fmla="*/ 2789517 h 8384438"/>
              <a:gd name="connsiteX161" fmla="*/ 2212038 w 6704664"/>
              <a:gd name="connsiteY161" fmla="*/ 2810773 h 8384438"/>
              <a:gd name="connsiteX162" fmla="*/ 2218004 w 6704664"/>
              <a:gd name="connsiteY162" fmla="*/ 2811091 h 8384438"/>
              <a:gd name="connsiteX163" fmla="*/ 2256941 w 6704664"/>
              <a:gd name="connsiteY163" fmla="*/ 2791449 h 8384438"/>
              <a:gd name="connsiteX164" fmla="*/ 2279145 w 6704664"/>
              <a:gd name="connsiteY164" fmla="*/ 2823850 h 8384438"/>
              <a:gd name="connsiteX165" fmla="*/ 2278280 w 6704664"/>
              <a:gd name="connsiteY165" fmla="*/ 2840093 h 8384438"/>
              <a:gd name="connsiteX166" fmla="*/ 2252758 w 6704664"/>
              <a:gd name="connsiteY166" fmla="*/ 2869951 h 8384438"/>
              <a:gd name="connsiteX167" fmla="*/ 2222671 w 6704664"/>
              <a:gd name="connsiteY167" fmla="*/ 2835772 h 8384438"/>
              <a:gd name="connsiteX168" fmla="*/ 2176070 w 6704664"/>
              <a:gd name="connsiteY168" fmla="*/ 2849577 h 8384438"/>
              <a:gd name="connsiteX169" fmla="*/ 2174267 w 6704664"/>
              <a:gd name="connsiteY169" fmla="*/ 2883414 h 8384438"/>
              <a:gd name="connsiteX170" fmla="*/ 2224455 w 6704664"/>
              <a:gd name="connsiteY170" fmla="*/ 2914592 h 8384438"/>
              <a:gd name="connsiteX171" fmla="*/ 2211874 w 6704664"/>
              <a:gd name="connsiteY171" fmla="*/ 2926138 h 8384438"/>
              <a:gd name="connsiteX172" fmla="*/ 2224455 w 6704664"/>
              <a:gd name="connsiteY172" fmla="*/ 2914592 h 8384438"/>
              <a:gd name="connsiteX173" fmla="*/ 2266142 w 6704664"/>
              <a:gd name="connsiteY173" fmla="*/ 2918170 h 8384438"/>
              <a:gd name="connsiteX174" fmla="*/ 2323636 w 6704664"/>
              <a:gd name="connsiteY174" fmla="*/ 2961955 h 8384438"/>
              <a:gd name="connsiteX175" fmla="*/ 2320854 w 6704664"/>
              <a:gd name="connsiteY175" fmla="*/ 2976737 h 8384438"/>
              <a:gd name="connsiteX176" fmla="*/ 2276889 w 6704664"/>
              <a:gd name="connsiteY176" fmla="*/ 2978467 h 8384438"/>
              <a:gd name="connsiteX177" fmla="*/ 2275879 w 6704664"/>
              <a:gd name="connsiteY177" fmla="*/ 2997416 h 8384438"/>
              <a:gd name="connsiteX178" fmla="*/ 2321874 w 6704664"/>
              <a:gd name="connsiteY178" fmla="*/ 3032443 h 8384438"/>
              <a:gd name="connsiteX179" fmla="*/ 2302319 w 6704664"/>
              <a:gd name="connsiteY179" fmla="*/ 3062620 h 8384438"/>
              <a:gd name="connsiteX180" fmla="*/ 2283123 w 6704664"/>
              <a:gd name="connsiteY180" fmla="*/ 3086028 h 8384438"/>
              <a:gd name="connsiteX181" fmla="*/ 2303988 w 6704664"/>
              <a:gd name="connsiteY181" fmla="*/ 3106142 h 8384438"/>
              <a:gd name="connsiteX182" fmla="*/ 2262630 w 6704664"/>
              <a:gd name="connsiteY182" fmla="*/ 3133800 h 8384438"/>
              <a:gd name="connsiteX183" fmla="*/ 2287038 w 6704664"/>
              <a:gd name="connsiteY183" fmla="*/ 3162248 h 8384438"/>
              <a:gd name="connsiteX184" fmla="*/ 2326593 w 6704664"/>
              <a:gd name="connsiteY184" fmla="*/ 3168427 h 8384438"/>
              <a:gd name="connsiteX185" fmla="*/ 2296115 w 6704664"/>
              <a:gd name="connsiteY185" fmla="*/ 3179019 h 8384438"/>
              <a:gd name="connsiteX186" fmla="*/ 2277570 w 6704664"/>
              <a:gd name="connsiteY186" fmla="*/ 3190247 h 8384438"/>
              <a:gd name="connsiteX187" fmla="*/ 2275767 w 6704664"/>
              <a:gd name="connsiteY187" fmla="*/ 3224084 h 8384438"/>
              <a:gd name="connsiteX188" fmla="*/ 2257221 w 6704664"/>
              <a:gd name="connsiteY188" fmla="*/ 3235312 h 8384438"/>
              <a:gd name="connsiteX189" fmla="*/ 2256283 w 6704664"/>
              <a:gd name="connsiteY189" fmla="*/ 3252908 h 8384438"/>
              <a:gd name="connsiteX190" fmla="*/ 2230432 w 6704664"/>
              <a:gd name="connsiteY190" fmla="*/ 3251529 h 8384438"/>
              <a:gd name="connsiteX191" fmla="*/ 2220386 w 6704664"/>
              <a:gd name="connsiteY191" fmla="*/ 3290357 h 8384438"/>
              <a:gd name="connsiteX192" fmla="*/ 2201768 w 6704664"/>
              <a:gd name="connsiteY192" fmla="*/ 3302938 h 8384438"/>
              <a:gd name="connsiteX193" fmla="*/ 2223538 w 6704664"/>
              <a:gd name="connsiteY193" fmla="*/ 3343462 h 8384438"/>
              <a:gd name="connsiteX194" fmla="*/ 2242012 w 6704664"/>
              <a:gd name="connsiteY194" fmla="*/ 3333587 h 8384438"/>
              <a:gd name="connsiteX195" fmla="*/ 2279795 w 6704664"/>
              <a:gd name="connsiteY195" fmla="*/ 3335601 h 8384438"/>
              <a:gd name="connsiteX196" fmla="*/ 2268411 w 6704664"/>
              <a:gd name="connsiteY196" fmla="*/ 3362140 h 8384438"/>
              <a:gd name="connsiteX197" fmla="*/ 2260406 w 6704664"/>
              <a:gd name="connsiteY197" fmla="*/ 3512378 h 8384438"/>
              <a:gd name="connsiteX198" fmla="*/ 2214956 w 6704664"/>
              <a:gd name="connsiteY198" fmla="*/ 3504527 h 8384438"/>
              <a:gd name="connsiteX199" fmla="*/ 2208672 w 6704664"/>
              <a:gd name="connsiteY199" fmla="*/ 3547626 h 8384438"/>
              <a:gd name="connsiteX200" fmla="*/ 2225445 w 6704664"/>
              <a:gd name="connsiteY200" fmla="*/ 3532232 h 8384438"/>
              <a:gd name="connsiteX201" fmla="*/ 2255563 w 6704664"/>
              <a:gd name="connsiteY201" fmla="*/ 3528408 h 8384438"/>
              <a:gd name="connsiteX202" fmla="*/ 2292953 w 6704664"/>
              <a:gd name="connsiteY202" fmla="*/ 3575192 h 8384438"/>
              <a:gd name="connsiteX203" fmla="*/ 2284206 w 6704664"/>
              <a:gd name="connsiteY203" fmla="*/ 3589657 h 8384438"/>
              <a:gd name="connsiteX204" fmla="*/ 2264321 w 6704664"/>
              <a:gd name="connsiteY204" fmla="*/ 3588598 h 8384438"/>
              <a:gd name="connsiteX205" fmla="*/ 2256696 w 6704664"/>
              <a:gd name="connsiteY205" fmla="*/ 3619410 h 8384438"/>
              <a:gd name="connsiteX206" fmla="*/ 2237068 w 6704664"/>
              <a:gd name="connsiteY206" fmla="*/ 3650939 h 8384438"/>
              <a:gd name="connsiteX207" fmla="*/ 2268308 w 6704664"/>
              <a:gd name="connsiteY207" fmla="*/ 3663463 h 8384438"/>
              <a:gd name="connsiteX208" fmla="*/ 2267731 w 6704664"/>
              <a:gd name="connsiteY208" fmla="*/ 3674291 h 8384438"/>
              <a:gd name="connsiteX209" fmla="*/ 2251174 w 6704664"/>
              <a:gd name="connsiteY209" fmla="*/ 3685625 h 8384438"/>
              <a:gd name="connsiteX210" fmla="*/ 2247496 w 6704664"/>
              <a:gd name="connsiteY210" fmla="*/ 3754653 h 8384438"/>
              <a:gd name="connsiteX211" fmla="*/ 2235131 w 6704664"/>
              <a:gd name="connsiteY211" fmla="*/ 3762138 h 8384438"/>
              <a:gd name="connsiteX212" fmla="*/ 2225157 w 6704664"/>
              <a:gd name="connsiteY212" fmla="*/ 3799612 h 8384438"/>
              <a:gd name="connsiteX213" fmla="*/ 2234812 w 6704664"/>
              <a:gd name="connsiteY213" fmla="*/ 3805555 h 8384438"/>
              <a:gd name="connsiteX214" fmla="*/ 2259582 w 6704664"/>
              <a:gd name="connsiteY214" fmla="*/ 3827235 h 8384438"/>
              <a:gd name="connsiteX215" fmla="*/ 2227044 w 6704664"/>
              <a:gd name="connsiteY215" fmla="*/ 3839075 h 8384438"/>
              <a:gd name="connsiteX216" fmla="*/ 2224736 w 6704664"/>
              <a:gd name="connsiteY216" fmla="*/ 3882387 h 8384438"/>
              <a:gd name="connsiteX217" fmla="*/ 2255687 w 6704664"/>
              <a:gd name="connsiteY217" fmla="*/ 3900325 h 8384438"/>
              <a:gd name="connsiteX218" fmla="*/ 2254173 w 6704664"/>
              <a:gd name="connsiteY218" fmla="*/ 3928747 h 8384438"/>
              <a:gd name="connsiteX219" fmla="*/ 2235554 w 6704664"/>
              <a:gd name="connsiteY219" fmla="*/ 3941329 h 8384438"/>
              <a:gd name="connsiteX220" fmla="*/ 2284980 w 6704664"/>
              <a:gd name="connsiteY220" fmla="*/ 3949392 h 8384438"/>
              <a:gd name="connsiteX221" fmla="*/ 2237873 w 6704664"/>
              <a:gd name="connsiteY221" fmla="*/ 3972671 h 8384438"/>
              <a:gd name="connsiteX222" fmla="*/ 2235236 w 6704664"/>
              <a:gd name="connsiteY222" fmla="*/ 3984747 h 8384438"/>
              <a:gd name="connsiteX223" fmla="*/ 2268464 w 6704664"/>
              <a:gd name="connsiteY223" fmla="*/ 3997376 h 8384438"/>
              <a:gd name="connsiteX224" fmla="*/ 2251906 w 6704664"/>
              <a:gd name="connsiteY224" fmla="*/ 4008709 h 8384438"/>
              <a:gd name="connsiteX225" fmla="*/ 2267165 w 6704664"/>
              <a:gd name="connsiteY225" fmla="*/ 4021738 h 8384438"/>
              <a:gd name="connsiteX226" fmla="*/ 2222552 w 6704664"/>
              <a:gd name="connsiteY226" fmla="*/ 4035649 h 8384438"/>
              <a:gd name="connsiteX227" fmla="*/ 2205231 w 6704664"/>
              <a:gd name="connsiteY227" fmla="*/ 4023868 h 8384438"/>
              <a:gd name="connsiteX228" fmla="*/ 2171426 w 6704664"/>
              <a:gd name="connsiteY228" fmla="*/ 4022066 h 8384438"/>
              <a:gd name="connsiteX229" fmla="*/ 2144637 w 6704664"/>
              <a:gd name="connsiteY229" fmla="*/ 4038285 h 8384438"/>
              <a:gd name="connsiteX230" fmla="*/ 2177433 w 6704664"/>
              <a:gd name="connsiteY230" fmla="*/ 4059035 h 8384438"/>
              <a:gd name="connsiteX231" fmla="*/ 2214927 w 6704664"/>
              <a:gd name="connsiteY231" fmla="*/ 4066462 h 8384438"/>
              <a:gd name="connsiteX232" fmla="*/ 2262220 w 6704664"/>
              <a:gd name="connsiteY232" fmla="*/ 4077126 h 8384438"/>
              <a:gd name="connsiteX233" fmla="*/ 2242520 w 6704664"/>
              <a:gd name="connsiteY233" fmla="*/ 4110010 h 8384438"/>
              <a:gd name="connsiteX234" fmla="*/ 2226652 w 6704664"/>
              <a:gd name="connsiteY234" fmla="*/ 4145812 h 8384438"/>
              <a:gd name="connsiteX235" fmla="*/ 2241912 w 6704664"/>
              <a:gd name="connsiteY235" fmla="*/ 4158841 h 8384438"/>
              <a:gd name="connsiteX236" fmla="*/ 2240686 w 6704664"/>
              <a:gd name="connsiteY236" fmla="*/ 4181850 h 8384438"/>
              <a:gd name="connsiteX237" fmla="*/ 2228322 w 6704664"/>
              <a:gd name="connsiteY237" fmla="*/ 4189335 h 8384438"/>
              <a:gd name="connsiteX238" fmla="*/ 2222325 w 6704664"/>
              <a:gd name="connsiteY238" fmla="*/ 4227021 h 8384438"/>
              <a:gd name="connsiteX239" fmla="*/ 2228074 w 6704664"/>
              <a:gd name="connsiteY239" fmla="*/ 4231400 h 8384438"/>
              <a:gd name="connsiteX240" fmla="*/ 2267630 w 6704664"/>
              <a:gd name="connsiteY240" fmla="*/ 4237579 h 8384438"/>
              <a:gd name="connsiteX241" fmla="*/ 2266548 w 6704664"/>
              <a:gd name="connsiteY241" fmla="*/ 4257882 h 8384438"/>
              <a:gd name="connsiteX242" fmla="*/ 2233391 w 6704664"/>
              <a:gd name="connsiteY242" fmla="*/ 4243899 h 8384438"/>
              <a:gd name="connsiteX243" fmla="*/ 2203532 w 6704664"/>
              <a:gd name="connsiteY243" fmla="*/ 4280313 h 8384438"/>
              <a:gd name="connsiteX244" fmla="*/ 2200143 w 6704664"/>
              <a:gd name="connsiteY244" fmla="*/ 4343927 h 8384438"/>
              <a:gd name="connsiteX245" fmla="*/ 2235504 w 6704664"/>
              <a:gd name="connsiteY245" fmla="*/ 4353956 h 8384438"/>
              <a:gd name="connsiteX246" fmla="*/ 2188252 w 6704664"/>
              <a:gd name="connsiteY246" fmla="*/ 4379942 h 8384438"/>
              <a:gd name="connsiteX247" fmla="*/ 2154189 w 6704664"/>
              <a:gd name="connsiteY247" fmla="*/ 4345551 h 8384438"/>
              <a:gd name="connsiteX248" fmla="*/ 2144793 w 6704664"/>
              <a:gd name="connsiteY248" fmla="*/ 4372197 h 8384438"/>
              <a:gd name="connsiteX249" fmla="*/ 2165801 w 6704664"/>
              <a:gd name="connsiteY249" fmla="*/ 4389604 h 8384438"/>
              <a:gd name="connsiteX250" fmla="*/ 2215155 w 6704664"/>
              <a:gd name="connsiteY250" fmla="*/ 4399020 h 8384438"/>
              <a:gd name="connsiteX251" fmla="*/ 2190427 w 6704664"/>
              <a:gd name="connsiteY251" fmla="*/ 4413991 h 8384438"/>
              <a:gd name="connsiteX252" fmla="*/ 2209158 w 6704664"/>
              <a:gd name="connsiteY252" fmla="*/ 4436706 h 8384438"/>
              <a:gd name="connsiteX253" fmla="*/ 2167760 w 6704664"/>
              <a:gd name="connsiteY253" fmla="*/ 4427714 h 8384438"/>
              <a:gd name="connsiteX254" fmla="*/ 2161979 w 6704664"/>
              <a:gd name="connsiteY254" fmla="*/ 4461340 h 8384438"/>
              <a:gd name="connsiteX255" fmla="*/ 2180381 w 6704664"/>
              <a:gd name="connsiteY255" fmla="*/ 4452818 h 8384438"/>
              <a:gd name="connsiteX256" fmla="*/ 2202327 w 6704664"/>
              <a:gd name="connsiteY256" fmla="*/ 4452630 h 8384438"/>
              <a:gd name="connsiteX257" fmla="*/ 2209992 w 6704664"/>
              <a:gd name="connsiteY257" fmla="*/ 4458469 h 8384438"/>
              <a:gd name="connsiteX258" fmla="*/ 2207613 w 6704664"/>
              <a:gd name="connsiteY258" fmla="*/ 4503134 h 8384438"/>
              <a:gd name="connsiteX259" fmla="*/ 2189067 w 6704664"/>
              <a:gd name="connsiteY259" fmla="*/ 4514361 h 8384438"/>
              <a:gd name="connsiteX260" fmla="*/ 2221718 w 6704664"/>
              <a:gd name="connsiteY260" fmla="*/ 4537819 h 8384438"/>
              <a:gd name="connsiteX261" fmla="*/ 2207149 w 6704664"/>
              <a:gd name="connsiteY261" fmla="*/ 4549258 h 8384438"/>
              <a:gd name="connsiteX262" fmla="*/ 2205130 w 6704664"/>
              <a:gd name="connsiteY262" fmla="*/ 4587157 h 8384438"/>
              <a:gd name="connsiteX263" fmla="*/ 2221471 w 6704664"/>
              <a:gd name="connsiteY263" fmla="*/ 4579883 h 8384438"/>
              <a:gd name="connsiteX264" fmla="*/ 2225953 w 6704664"/>
              <a:gd name="connsiteY264" fmla="*/ 4570620 h 8384438"/>
              <a:gd name="connsiteX265" fmla="*/ 2254917 w 6704664"/>
              <a:gd name="connsiteY265" fmla="*/ 4588452 h 8384438"/>
              <a:gd name="connsiteX266" fmla="*/ 2219307 w 6704664"/>
              <a:gd name="connsiteY266" fmla="*/ 4620488 h 8384438"/>
              <a:gd name="connsiteX267" fmla="*/ 2250619 w 6704664"/>
              <a:gd name="connsiteY267" fmla="*/ 4631658 h 8384438"/>
              <a:gd name="connsiteX268" fmla="*/ 2224336 w 6704664"/>
              <a:gd name="connsiteY268" fmla="*/ 4638401 h 8384438"/>
              <a:gd name="connsiteX269" fmla="*/ 2214939 w 6704664"/>
              <a:gd name="connsiteY269" fmla="*/ 4665047 h 8384438"/>
              <a:gd name="connsiteX270" fmla="*/ 2232187 w 6704664"/>
              <a:gd name="connsiteY270" fmla="*/ 4678182 h 8384438"/>
              <a:gd name="connsiteX271" fmla="*/ 2230961 w 6704664"/>
              <a:gd name="connsiteY271" fmla="*/ 4701191 h 8384438"/>
              <a:gd name="connsiteX272" fmla="*/ 2246220 w 6704664"/>
              <a:gd name="connsiteY272" fmla="*/ 4714221 h 8384438"/>
              <a:gd name="connsiteX273" fmla="*/ 2200339 w 6704664"/>
              <a:gd name="connsiteY273" fmla="*/ 4714490 h 8384438"/>
              <a:gd name="connsiteX274" fmla="*/ 2192199 w 6704664"/>
              <a:gd name="connsiteY274" fmla="*/ 4680123 h 8384438"/>
              <a:gd name="connsiteX275" fmla="*/ 2159228 w 6704664"/>
              <a:gd name="connsiteY275" fmla="*/ 4700084 h 8384438"/>
              <a:gd name="connsiteX276" fmla="*/ 2179660 w 6704664"/>
              <a:gd name="connsiteY276" fmla="*/ 4728320 h 8384438"/>
              <a:gd name="connsiteX277" fmla="*/ 2158837 w 6704664"/>
              <a:gd name="connsiteY277" fmla="*/ 4744855 h 8384438"/>
              <a:gd name="connsiteX278" fmla="*/ 2158188 w 6704664"/>
              <a:gd name="connsiteY278" fmla="*/ 4757036 h 8384438"/>
              <a:gd name="connsiteX279" fmla="*/ 2189645 w 6704664"/>
              <a:gd name="connsiteY279" fmla="*/ 4765499 h 8384438"/>
              <a:gd name="connsiteX280" fmla="*/ 2192756 w 6704664"/>
              <a:gd name="connsiteY280" fmla="*/ 4781953 h 8384438"/>
              <a:gd name="connsiteX281" fmla="*/ 2158518 w 6704664"/>
              <a:gd name="connsiteY281" fmla="*/ 4788273 h 8384438"/>
              <a:gd name="connsiteX282" fmla="*/ 2155922 w 6704664"/>
              <a:gd name="connsiteY282" fmla="*/ 4836999 h 8384438"/>
              <a:gd name="connsiteX283" fmla="*/ 2171254 w 6704664"/>
              <a:gd name="connsiteY283" fmla="*/ 4848674 h 8384438"/>
              <a:gd name="connsiteX284" fmla="*/ 2168080 w 6704664"/>
              <a:gd name="connsiteY284" fmla="*/ 4908228 h 8384438"/>
              <a:gd name="connsiteX285" fmla="*/ 2205429 w 6704664"/>
              <a:gd name="connsiteY285" fmla="*/ 4918362 h 8384438"/>
              <a:gd name="connsiteX286" fmla="*/ 2134028 w 6704664"/>
              <a:gd name="connsiteY286" fmla="*/ 4948491 h 8384438"/>
              <a:gd name="connsiteX287" fmla="*/ 2193436 w 6704664"/>
              <a:gd name="connsiteY287" fmla="*/ 4993733 h 8384438"/>
              <a:gd name="connsiteX288" fmla="*/ 2215095 w 6704664"/>
              <a:gd name="connsiteY288" fmla="*/ 4998960 h 8384438"/>
              <a:gd name="connsiteX289" fmla="*/ 2168852 w 6704664"/>
              <a:gd name="connsiteY289" fmla="*/ 5005997 h 8384438"/>
              <a:gd name="connsiteX290" fmla="*/ 2143187 w 6704664"/>
              <a:gd name="connsiteY290" fmla="*/ 5038563 h 8384438"/>
              <a:gd name="connsiteX291" fmla="*/ 2173634 w 6704664"/>
              <a:gd name="connsiteY291" fmla="*/ 5065974 h 8384438"/>
              <a:gd name="connsiteX292" fmla="*/ 2159755 w 6704664"/>
              <a:gd name="connsiteY292" fmla="*/ 5101883 h 8384438"/>
              <a:gd name="connsiteX293" fmla="*/ 2156149 w 6704664"/>
              <a:gd name="connsiteY293" fmla="*/ 5169558 h 8384438"/>
              <a:gd name="connsiteX294" fmla="*/ 2137531 w 6704664"/>
              <a:gd name="connsiteY294" fmla="*/ 5182139 h 8384438"/>
              <a:gd name="connsiteX295" fmla="*/ 2170759 w 6704664"/>
              <a:gd name="connsiteY295" fmla="*/ 5194768 h 8384438"/>
              <a:gd name="connsiteX296" fmla="*/ 2158395 w 6704664"/>
              <a:gd name="connsiteY296" fmla="*/ 5202254 h 8384438"/>
              <a:gd name="connsiteX297" fmla="*/ 2148421 w 6704664"/>
              <a:gd name="connsiteY297" fmla="*/ 5239728 h 8384438"/>
              <a:gd name="connsiteX298" fmla="*/ 2165742 w 6704664"/>
              <a:gd name="connsiteY298" fmla="*/ 5251509 h 8384438"/>
              <a:gd name="connsiteX299" fmla="*/ 2163867 w 6704664"/>
              <a:gd name="connsiteY299" fmla="*/ 5286699 h 8384438"/>
              <a:gd name="connsiteX300" fmla="*/ 2149298 w 6704664"/>
              <a:gd name="connsiteY300" fmla="*/ 5298139 h 8384438"/>
              <a:gd name="connsiteX301" fmla="*/ 2148000 w 6704664"/>
              <a:gd name="connsiteY301" fmla="*/ 5322502 h 8384438"/>
              <a:gd name="connsiteX302" fmla="*/ 2161415 w 6704664"/>
              <a:gd name="connsiteY302" fmla="*/ 5332719 h 8384438"/>
              <a:gd name="connsiteX303" fmla="*/ 2146846 w 6704664"/>
              <a:gd name="connsiteY303" fmla="*/ 5344158 h 8384438"/>
              <a:gd name="connsiteX304" fmla="*/ 2162105 w 6704664"/>
              <a:gd name="connsiteY304" fmla="*/ 5357187 h 8384438"/>
              <a:gd name="connsiteX305" fmla="*/ 2158499 w 6704664"/>
              <a:gd name="connsiteY305" fmla="*/ 5424862 h 8384438"/>
              <a:gd name="connsiteX306" fmla="*/ 2173758 w 6704664"/>
              <a:gd name="connsiteY306" fmla="*/ 5437891 h 8384438"/>
              <a:gd name="connsiteX307" fmla="*/ 2172532 w 6704664"/>
              <a:gd name="connsiteY307" fmla="*/ 5460901 h 8384438"/>
              <a:gd name="connsiteX308" fmla="*/ 2158036 w 6704664"/>
              <a:gd name="connsiteY308" fmla="*/ 5470987 h 8384438"/>
              <a:gd name="connsiteX309" fmla="*/ 2154863 w 6704664"/>
              <a:gd name="connsiteY309" fmla="*/ 5530540 h 8384438"/>
              <a:gd name="connsiteX310" fmla="*/ 2168277 w 6704664"/>
              <a:gd name="connsiteY310" fmla="*/ 5540756 h 8384438"/>
              <a:gd name="connsiteX311" fmla="*/ 2165320 w 6704664"/>
              <a:gd name="connsiteY311" fmla="*/ 5596249 h 8384438"/>
              <a:gd name="connsiteX312" fmla="*/ 2180435 w 6704664"/>
              <a:gd name="connsiteY312" fmla="*/ 5611986 h 8384438"/>
              <a:gd name="connsiteX313" fmla="*/ 2165939 w 6704664"/>
              <a:gd name="connsiteY313" fmla="*/ 5622072 h 8384438"/>
              <a:gd name="connsiteX314" fmla="*/ 2161612 w 6704664"/>
              <a:gd name="connsiteY314" fmla="*/ 5703282 h 8384438"/>
              <a:gd name="connsiteX315" fmla="*/ 2176942 w 6704664"/>
              <a:gd name="connsiteY315" fmla="*/ 5714957 h 8384438"/>
              <a:gd name="connsiteX316" fmla="*/ 2160385 w 6704664"/>
              <a:gd name="connsiteY316" fmla="*/ 5726291 h 8384438"/>
              <a:gd name="connsiteX317" fmla="*/ 2159159 w 6704664"/>
              <a:gd name="connsiteY317" fmla="*/ 5749300 h 8384438"/>
              <a:gd name="connsiteX318" fmla="*/ 2178252 w 6704664"/>
              <a:gd name="connsiteY318" fmla="*/ 5765248 h 8384438"/>
              <a:gd name="connsiteX319" fmla="*/ 2155079 w 6704664"/>
              <a:gd name="connsiteY319" fmla="*/ 5788446 h 8384438"/>
              <a:gd name="connsiteX320" fmla="*/ 2153493 w 6704664"/>
              <a:gd name="connsiteY320" fmla="*/ 5818222 h 8384438"/>
              <a:gd name="connsiteX321" fmla="*/ 2134946 w 6704664"/>
              <a:gd name="connsiteY321" fmla="*/ 5829450 h 8384438"/>
              <a:gd name="connsiteX322" fmla="*/ 2154544 w 6704664"/>
              <a:gd name="connsiteY322" fmla="*/ 5835923 h 8384438"/>
              <a:gd name="connsiteX323" fmla="*/ 2170235 w 6704664"/>
              <a:gd name="connsiteY323" fmla="*/ 5840832 h 8384438"/>
              <a:gd name="connsiteX324" fmla="*/ 2151329 w 6704664"/>
              <a:gd name="connsiteY324" fmla="*/ 5858827 h 8384438"/>
              <a:gd name="connsiteX325" fmla="*/ 2135348 w 6704664"/>
              <a:gd name="connsiteY325" fmla="*/ 5859333 h 8384438"/>
              <a:gd name="connsiteX326" fmla="*/ 2119873 w 6704664"/>
              <a:gd name="connsiteY326" fmla="*/ 5850364 h 8384438"/>
              <a:gd name="connsiteX327" fmla="*/ 2135348 w 6704664"/>
              <a:gd name="connsiteY327" fmla="*/ 5859333 h 8384438"/>
              <a:gd name="connsiteX328" fmla="*/ 2132679 w 6704664"/>
              <a:gd name="connsiteY328" fmla="*/ 5909412 h 8384438"/>
              <a:gd name="connsiteX329" fmla="*/ 2144179 w 6704664"/>
              <a:gd name="connsiteY329" fmla="*/ 5918168 h 8384438"/>
              <a:gd name="connsiteX330" fmla="*/ 2147579 w 6704664"/>
              <a:gd name="connsiteY330" fmla="*/ 5929209 h 8384438"/>
              <a:gd name="connsiteX331" fmla="*/ 2144550 w 6704664"/>
              <a:gd name="connsiteY331" fmla="*/ 5986055 h 8384438"/>
              <a:gd name="connsiteX332" fmla="*/ 2099864 w 6704664"/>
              <a:gd name="connsiteY332" fmla="*/ 6001320 h 8384438"/>
              <a:gd name="connsiteX333" fmla="*/ 2139274 w 6704664"/>
              <a:gd name="connsiteY333" fmla="*/ 6010206 h 8384438"/>
              <a:gd name="connsiteX334" fmla="*/ 2145641 w 6704664"/>
              <a:gd name="connsiteY334" fmla="*/ 6040406 h 8384438"/>
              <a:gd name="connsiteX335" fmla="*/ 2175110 w 6704664"/>
              <a:gd name="connsiteY335" fmla="*/ 6048764 h 8384438"/>
              <a:gd name="connsiteX336" fmla="*/ 2144704 w 6704664"/>
              <a:gd name="connsiteY336" fmla="*/ 6058002 h 8384438"/>
              <a:gd name="connsiteX337" fmla="*/ 2138204 w 6704664"/>
              <a:gd name="connsiteY337" fmla="*/ 6105162 h 8384438"/>
              <a:gd name="connsiteX338" fmla="*/ 2155379 w 6704664"/>
              <a:gd name="connsiteY338" fmla="*/ 6119651 h 8384438"/>
              <a:gd name="connsiteX339" fmla="*/ 2138966 w 6704664"/>
              <a:gd name="connsiteY339" fmla="*/ 6128277 h 8384438"/>
              <a:gd name="connsiteX340" fmla="*/ 2136442 w 6704664"/>
              <a:gd name="connsiteY340" fmla="*/ 6175650 h 8384438"/>
              <a:gd name="connsiteX341" fmla="*/ 2101627 w 6704664"/>
              <a:gd name="connsiteY341" fmla="*/ 6192798 h 8384438"/>
              <a:gd name="connsiteX342" fmla="*/ 2084162 w 6704664"/>
              <a:gd name="connsiteY342" fmla="*/ 6183723 h 8384438"/>
              <a:gd name="connsiteX343" fmla="*/ 2101627 w 6704664"/>
              <a:gd name="connsiteY343" fmla="*/ 6192798 h 8384438"/>
              <a:gd name="connsiteX344" fmla="*/ 2097546 w 6704664"/>
              <a:gd name="connsiteY344" fmla="*/ 6231943 h 8384438"/>
              <a:gd name="connsiteX345" fmla="*/ 2134751 w 6704664"/>
              <a:gd name="connsiteY345" fmla="*/ 6244784 h 8384438"/>
              <a:gd name="connsiteX346" fmla="*/ 2100514 w 6704664"/>
              <a:gd name="connsiteY346" fmla="*/ 6251104 h 8384438"/>
              <a:gd name="connsiteX347" fmla="*/ 2107241 w 6704664"/>
              <a:gd name="connsiteY347" fmla="*/ 6274537 h 8384438"/>
              <a:gd name="connsiteX348" fmla="*/ 2112919 w 6704664"/>
              <a:gd name="connsiteY348" fmla="*/ 6280268 h 8384438"/>
              <a:gd name="connsiteX349" fmla="*/ 2106933 w 6704664"/>
              <a:gd name="connsiteY349" fmla="*/ 6392609 h 8384438"/>
              <a:gd name="connsiteX350" fmla="*/ 2122193 w 6704664"/>
              <a:gd name="connsiteY350" fmla="*/ 6405637 h 8384438"/>
              <a:gd name="connsiteX351" fmla="*/ 2107767 w 6704664"/>
              <a:gd name="connsiteY351" fmla="*/ 6414371 h 8384438"/>
              <a:gd name="connsiteX352" fmla="*/ 2118833 w 6704664"/>
              <a:gd name="connsiteY352" fmla="*/ 6431248 h 8384438"/>
              <a:gd name="connsiteX353" fmla="*/ 2086944 w 6704664"/>
              <a:gd name="connsiteY353" fmla="*/ 6430906 h 8384438"/>
              <a:gd name="connsiteX354" fmla="*/ 2086110 w 6704664"/>
              <a:gd name="connsiteY354" fmla="*/ 6409144 h 8384438"/>
              <a:gd name="connsiteX355" fmla="*/ 2048183 w 6704664"/>
              <a:gd name="connsiteY355" fmla="*/ 6409838 h 8384438"/>
              <a:gd name="connsiteX356" fmla="*/ 2060371 w 6704664"/>
              <a:gd name="connsiteY356" fmla="*/ 6443063 h 8384438"/>
              <a:gd name="connsiteX357" fmla="*/ 2086944 w 6704664"/>
              <a:gd name="connsiteY357" fmla="*/ 6430906 h 8384438"/>
              <a:gd name="connsiteX358" fmla="*/ 2085934 w 6704664"/>
              <a:gd name="connsiteY358" fmla="*/ 6449855 h 8384438"/>
              <a:gd name="connsiteX359" fmla="*/ 2103183 w 6704664"/>
              <a:gd name="connsiteY359" fmla="*/ 6462990 h 8384438"/>
              <a:gd name="connsiteX360" fmla="*/ 2101957 w 6704664"/>
              <a:gd name="connsiteY360" fmla="*/ 6485999 h 8384438"/>
              <a:gd name="connsiteX361" fmla="*/ 2048884 w 6704664"/>
              <a:gd name="connsiteY361" fmla="*/ 6508961 h 8384438"/>
              <a:gd name="connsiteX362" fmla="*/ 2076507 w 6704664"/>
              <a:gd name="connsiteY362" fmla="*/ 6514504 h 8384438"/>
              <a:gd name="connsiteX363" fmla="*/ 2083133 w 6704664"/>
              <a:gd name="connsiteY363" fmla="*/ 6577295 h 8384438"/>
              <a:gd name="connsiteX364" fmla="*/ 2044484 w 6704664"/>
              <a:gd name="connsiteY364" fmla="*/ 6591524 h 8384438"/>
              <a:gd name="connsiteX365" fmla="*/ 2034965 w 6704664"/>
              <a:gd name="connsiteY365" fmla="*/ 6770185 h 8384438"/>
              <a:gd name="connsiteX366" fmla="*/ 2016418 w 6704664"/>
              <a:gd name="connsiteY366" fmla="*/ 6781412 h 8384438"/>
              <a:gd name="connsiteX367" fmla="*/ 2007908 w 6704664"/>
              <a:gd name="connsiteY367" fmla="*/ 6941125 h 8384438"/>
              <a:gd name="connsiteX368" fmla="*/ 1931447 w 6704664"/>
              <a:gd name="connsiteY368" fmla="*/ 6991344 h 8384438"/>
              <a:gd name="connsiteX369" fmla="*/ 1909572 w 6704664"/>
              <a:gd name="connsiteY369" fmla="*/ 6990178 h 8384438"/>
              <a:gd name="connsiteX370" fmla="*/ 1832967 w 6704664"/>
              <a:gd name="connsiteY370" fmla="*/ 7043104 h 8384438"/>
              <a:gd name="connsiteX371" fmla="*/ 1803138 w 6704664"/>
              <a:gd name="connsiteY371" fmla="*/ 7041515 h 8384438"/>
              <a:gd name="connsiteX372" fmla="*/ 1788455 w 6704664"/>
              <a:gd name="connsiteY372" fmla="*/ 7017659 h 8384438"/>
              <a:gd name="connsiteX373" fmla="*/ 1754650 w 6704664"/>
              <a:gd name="connsiteY373" fmla="*/ 7015857 h 8384438"/>
              <a:gd name="connsiteX374" fmla="*/ 1706666 w 6704664"/>
              <a:gd name="connsiteY374" fmla="*/ 6980724 h 8384438"/>
              <a:gd name="connsiteX375" fmla="*/ 1729623 w 6704664"/>
              <a:gd name="connsiteY375" fmla="*/ 6961587 h 8384438"/>
              <a:gd name="connsiteX376" fmla="*/ 1700804 w 6704664"/>
              <a:gd name="connsiteY376" fmla="*/ 6941048 h 8384438"/>
              <a:gd name="connsiteX377" fmla="*/ 1690170 w 6704664"/>
              <a:gd name="connsiteY377" fmla="*/ 6916050 h 8384438"/>
              <a:gd name="connsiteX378" fmla="*/ 1673191 w 6704664"/>
              <a:gd name="connsiteY378" fmla="*/ 7010159 h 8384438"/>
              <a:gd name="connsiteX379" fmla="*/ 1639890 w 6704664"/>
              <a:gd name="connsiteY379" fmla="*/ 6998883 h 8384438"/>
              <a:gd name="connsiteX380" fmla="*/ 1606950 w 6704664"/>
              <a:gd name="connsiteY380" fmla="*/ 6980839 h 8384438"/>
              <a:gd name="connsiteX381" fmla="*/ 1625569 w 6704664"/>
              <a:gd name="connsiteY381" fmla="*/ 6968259 h 8384438"/>
              <a:gd name="connsiteX382" fmla="*/ 1614070 w 6704664"/>
              <a:gd name="connsiteY382" fmla="*/ 6959502 h 8384438"/>
              <a:gd name="connsiteX383" fmla="*/ 1604446 w 6704664"/>
              <a:gd name="connsiteY383" fmla="*/ 6915554 h 8384438"/>
              <a:gd name="connsiteX384" fmla="*/ 1598264 w 6704664"/>
              <a:gd name="connsiteY384" fmla="*/ 6919298 h 8384438"/>
              <a:gd name="connsiteX385" fmla="*/ 1587899 w 6704664"/>
              <a:gd name="connsiteY385" fmla="*/ 7001542 h 8384438"/>
              <a:gd name="connsiteX386" fmla="*/ 1571269 w 6704664"/>
              <a:gd name="connsiteY386" fmla="*/ 7014229 h 8384438"/>
              <a:gd name="connsiteX387" fmla="*/ 1568312 w 6704664"/>
              <a:gd name="connsiteY387" fmla="*/ 7069723 h 8384438"/>
              <a:gd name="connsiteX388" fmla="*/ 1551827 w 6704664"/>
              <a:gd name="connsiteY388" fmla="*/ 7079702 h 8384438"/>
              <a:gd name="connsiteX389" fmla="*/ 1549447 w 6704664"/>
              <a:gd name="connsiteY389" fmla="*/ 7124368 h 8384438"/>
              <a:gd name="connsiteX390" fmla="*/ 1523926 w 6704664"/>
              <a:gd name="connsiteY390" fmla="*/ 7154227 h 8384438"/>
              <a:gd name="connsiteX391" fmla="*/ 1468245 w 6704664"/>
              <a:gd name="connsiteY391" fmla="*/ 7151260 h 8384438"/>
              <a:gd name="connsiteX392" fmla="*/ 1415503 w 6704664"/>
              <a:gd name="connsiteY392" fmla="*/ 7205457 h 8384438"/>
              <a:gd name="connsiteX393" fmla="*/ 1377720 w 6704664"/>
              <a:gd name="connsiteY393" fmla="*/ 7203444 h 8384438"/>
              <a:gd name="connsiteX394" fmla="*/ 1368787 w 6704664"/>
              <a:gd name="connsiteY394" fmla="*/ 7183965 h 8384438"/>
              <a:gd name="connsiteX395" fmla="*/ 1325398 w 6704664"/>
              <a:gd name="connsiteY395" fmla="*/ 7174867 h 8384438"/>
              <a:gd name="connsiteX396" fmla="*/ 1302330 w 6704664"/>
              <a:gd name="connsiteY396" fmla="*/ 7158707 h 8384438"/>
              <a:gd name="connsiteX397" fmla="*/ 1304998 w 6704664"/>
              <a:gd name="connsiteY397" fmla="*/ 7108628 h 8384438"/>
              <a:gd name="connsiteX398" fmla="*/ 1289635 w 6704664"/>
              <a:gd name="connsiteY398" fmla="*/ 7134956 h 8384438"/>
              <a:gd name="connsiteX399" fmla="*/ 1271018 w 6704664"/>
              <a:gd name="connsiteY399" fmla="*/ 7147537 h 8384438"/>
              <a:gd name="connsiteX400" fmla="*/ 1269864 w 6704664"/>
              <a:gd name="connsiteY400" fmla="*/ 7169193 h 8384438"/>
              <a:gd name="connsiteX401" fmla="*/ 1250050 w 6704664"/>
              <a:gd name="connsiteY401" fmla="*/ 7166780 h 8384438"/>
              <a:gd name="connsiteX402" fmla="*/ 1218665 w 6704664"/>
              <a:gd name="connsiteY402" fmla="*/ 7156963 h 8384438"/>
              <a:gd name="connsiteX403" fmla="*/ 1228547 w 6704664"/>
              <a:gd name="connsiteY403" fmla="*/ 6971535 h 8384438"/>
              <a:gd name="connsiteX404" fmla="*/ 1184582 w 6704664"/>
              <a:gd name="connsiteY404" fmla="*/ 6973265 h 8384438"/>
              <a:gd name="connsiteX405" fmla="*/ 1150775 w 6704664"/>
              <a:gd name="connsiteY405" fmla="*/ 6971463 h 8384438"/>
              <a:gd name="connsiteX406" fmla="*/ 1099650 w 6704664"/>
              <a:gd name="connsiteY406" fmla="*/ 6957880 h 8384438"/>
              <a:gd name="connsiteX407" fmla="*/ 1086122 w 6704664"/>
              <a:gd name="connsiteY407" fmla="*/ 6912368 h 8384438"/>
              <a:gd name="connsiteX408" fmla="*/ 1044361 w 6704664"/>
              <a:gd name="connsiteY408" fmla="*/ 6910143 h 8384438"/>
              <a:gd name="connsiteX409" fmla="*/ 1041508 w 6704664"/>
              <a:gd name="connsiteY409" fmla="*/ 6926279 h 8384438"/>
              <a:gd name="connsiteX410" fmla="*/ 1076004 w 6704664"/>
              <a:gd name="connsiteY410" fmla="*/ 6952549 h 8384438"/>
              <a:gd name="connsiteX411" fmla="*/ 1067184 w 6704664"/>
              <a:gd name="connsiteY411" fmla="*/ 6968366 h 8384438"/>
              <a:gd name="connsiteX412" fmla="*/ 1007054 w 6704664"/>
              <a:gd name="connsiteY412" fmla="*/ 6936659 h 8384438"/>
              <a:gd name="connsiteX413" fmla="*/ 1008280 w 6704664"/>
              <a:gd name="connsiteY413" fmla="*/ 6913649 h 8384438"/>
              <a:gd name="connsiteX414" fmla="*/ 987198 w 6704664"/>
              <a:gd name="connsiteY414" fmla="*/ 6897595 h 8384438"/>
              <a:gd name="connsiteX415" fmla="*/ 1006249 w 6704664"/>
              <a:gd name="connsiteY415" fmla="*/ 6876893 h 8384438"/>
              <a:gd name="connsiteX416" fmla="*/ 979420 w 6704664"/>
              <a:gd name="connsiteY416" fmla="*/ 6856461 h 8384438"/>
              <a:gd name="connsiteX417" fmla="*/ 997131 w 6704664"/>
              <a:gd name="connsiteY417" fmla="*/ 6823471 h 8384438"/>
              <a:gd name="connsiteX418" fmla="*/ 978038 w 6704664"/>
              <a:gd name="connsiteY418" fmla="*/ 6807523 h 8384438"/>
              <a:gd name="connsiteX419" fmla="*/ 977564 w 6704664"/>
              <a:gd name="connsiteY419" fmla="*/ 6778993 h 8384438"/>
              <a:gd name="connsiteX420" fmla="*/ 951713 w 6704664"/>
              <a:gd name="connsiteY420" fmla="*/ 6777616 h 8384438"/>
              <a:gd name="connsiteX421" fmla="*/ 923410 w 6704664"/>
              <a:gd name="connsiteY421" fmla="*/ 6822258 h 8384438"/>
              <a:gd name="connsiteX422" fmla="*/ 903349 w 6704664"/>
              <a:gd name="connsiteY422" fmla="*/ 6861908 h 8384438"/>
              <a:gd name="connsiteX423" fmla="*/ 880681 w 6704664"/>
              <a:gd name="connsiteY423" fmla="*/ 6875631 h 8384438"/>
              <a:gd name="connsiteX424" fmla="*/ 854613 w 6704664"/>
              <a:gd name="connsiteY424" fmla="*/ 6878314 h 8384438"/>
              <a:gd name="connsiteX425" fmla="*/ 849122 w 6704664"/>
              <a:gd name="connsiteY425" fmla="*/ 6906526 h 8384438"/>
              <a:gd name="connsiteX426" fmla="*/ 791310 w 6704664"/>
              <a:gd name="connsiteY426" fmla="*/ 6906160 h 8384438"/>
              <a:gd name="connsiteX427" fmla="*/ 773917 w 6704664"/>
              <a:gd name="connsiteY427" fmla="*/ 6895732 h 8384438"/>
              <a:gd name="connsiteX428" fmla="*/ 757503 w 6704664"/>
              <a:gd name="connsiteY428" fmla="*/ 6904358 h 8384438"/>
              <a:gd name="connsiteX429" fmla="*/ 705801 w 6704664"/>
              <a:gd name="connsiteY429" fmla="*/ 6901603 h 8384438"/>
              <a:gd name="connsiteX430" fmla="*/ 647442 w 6704664"/>
              <a:gd name="connsiteY430" fmla="*/ 6874062 h 8384438"/>
              <a:gd name="connsiteX431" fmla="*/ 649534 w 6704664"/>
              <a:gd name="connsiteY431" fmla="*/ 6834811 h 8384438"/>
              <a:gd name="connsiteX432" fmla="*/ 665658 w 6704664"/>
              <a:gd name="connsiteY432" fmla="*/ 6831598 h 8384438"/>
              <a:gd name="connsiteX433" fmla="*/ 664793 w 6704664"/>
              <a:gd name="connsiteY433" fmla="*/ 6847840 h 8384438"/>
              <a:gd name="connsiteX434" fmla="*/ 720947 w 6704664"/>
              <a:gd name="connsiteY434" fmla="*/ 6879336 h 8384438"/>
              <a:gd name="connsiteX435" fmla="*/ 731106 w 6704664"/>
              <a:gd name="connsiteY435" fmla="*/ 6875806 h 8384438"/>
              <a:gd name="connsiteX436" fmla="*/ 732477 w 6704664"/>
              <a:gd name="connsiteY436" fmla="*/ 6850089 h 8384438"/>
              <a:gd name="connsiteX437" fmla="*/ 703080 w 6704664"/>
              <a:gd name="connsiteY437" fmla="*/ 6840379 h 8384438"/>
              <a:gd name="connsiteX438" fmla="*/ 665658 w 6704664"/>
              <a:gd name="connsiteY438" fmla="*/ 6831598 h 8384438"/>
              <a:gd name="connsiteX439" fmla="*/ 650904 w 6704664"/>
              <a:gd name="connsiteY439" fmla="*/ 6809094 h 8384438"/>
              <a:gd name="connsiteX440" fmla="*/ 653212 w 6704664"/>
              <a:gd name="connsiteY440" fmla="*/ 6765782 h 8384438"/>
              <a:gd name="connsiteX441" fmla="*/ 631627 w 6704664"/>
              <a:gd name="connsiteY441" fmla="*/ 6759203 h 8384438"/>
              <a:gd name="connsiteX442" fmla="*/ 559070 w 6704664"/>
              <a:gd name="connsiteY442" fmla="*/ 6810987 h 8384438"/>
              <a:gd name="connsiteX443" fmla="*/ 482164 w 6704664"/>
              <a:gd name="connsiteY443" fmla="*/ 6794675 h 8384438"/>
              <a:gd name="connsiteX444" fmla="*/ 453346 w 6704664"/>
              <a:gd name="connsiteY444" fmla="*/ 6774136 h 8384438"/>
              <a:gd name="connsiteX445" fmla="*/ 418273 w 6704664"/>
              <a:gd name="connsiteY445" fmla="*/ 6758693 h 8384438"/>
              <a:gd name="connsiteX446" fmla="*/ 377379 w 6704664"/>
              <a:gd name="connsiteY446" fmla="*/ 6740226 h 8384438"/>
              <a:gd name="connsiteX447" fmla="*/ 380985 w 6704664"/>
              <a:gd name="connsiteY447" fmla="*/ 6672552 h 8384438"/>
              <a:gd name="connsiteX448" fmla="*/ 348477 w 6704664"/>
              <a:gd name="connsiteY448" fmla="*/ 6646387 h 8384438"/>
              <a:gd name="connsiteX449" fmla="*/ 339977 w 6704664"/>
              <a:gd name="connsiteY449" fmla="*/ 6618788 h 8384438"/>
              <a:gd name="connsiteX450" fmla="*/ 331115 w 6704664"/>
              <a:gd name="connsiteY450" fmla="*/ 6597956 h 8384438"/>
              <a:gd name="connsiteX451" fmla="*/ 318494 w 6704664"/>
              <a:gd name="connsiteY451" fmla="*/ 6572851 h 8384438"/>
              <a:gd name="connsiteX452" fmla="*/ 332846 w 6704664"/>
              <a:gd name="connsiteY452" fmla="*/ 6565472 h 8384438"/>
              <a:gd name="connsiteX453" fmla="*/ 317587 w 6704664"/>
              <a:gd name="connsiteY453" fmla="*/ 6552443 h 8384438"/>
              <a:gd name="connsiteX454" fmla="*/ 318741 w 6704664"/>
              <a:gd name="connsiteY454" fmla="*/ 6530787 h 8384438"/>
              <a:gd name="connsiteX455" fmla="*/ 285007 w 6704664"/>
              <a:gd name="connsiteY455" fmla="*/ 6527633 h 8384438"/>
              <a:gd name="connsiteX456" fmla="*/ 300267 w 6704664"/>
              <a:gd name="connsiteY456" fmla="*/ 6540661 h 8384438"/>
              <a:gd name="connsiteX457" fmla="*/ 285915 w 6704664"/>
              <a:gd name="connsiteY457" fmla="*/ 6548040 h 8384438"/>
              <a:gd name="connsiteX458" fmla="*/ 295899 w 6704664"/>
              <a:gd name="connsiteY458" fmla="*/ 6585221 h 8384438"/>
              <a:gd name="connsiteX459" fmla="*/ 291788 w 6704664"/>
              <a:gd name="connsiteY459" fmla="*/ 6662369 h 8384438"/>
              <a:gd name="connsiteX460" fmla="*/ 310592 w 6704664"/>
              <a:gd name="connsiteY460" fmla="*/ 6683731 h 8384438"/>
              <a:gd name="connsiteX461" fmla="*/ 309438 w 6704664"/>
              <a:gd name="connsiteY461" fmla="*/ 6705388 h 8384438"/>
              <a:gd name="connsiteX462" fmla="*/ 339049 w 6704664"/>
              <a:gd name="connsiteY462" fmla="*/ 6711037 h 8384438"/>
              <a:gd name="connsiteX463" fmla="*/ 344150 w 6704664"/>
              <a:gd name="connsiteY463" fmla="*/ 6727597 h 8384438"/>
              <a:gd name="connsiteX464" fmla="*/ 359482 w 6704664"/>
              <a:gd name="connsiteY464" fmla="*/ 6739273 h 8384438"/>
              <a:gd name="connsiteX465" fmla="*/ 358256 w 6704664"/>
              <a:gd name="connsiteY465" fmla="*/ 6762282 h 8384438"/>
              <a:gd name="connsiteX466" fmla="*/ 352074 w 6704664"/>
              <a:gd name="connsiteY466" fmla="*/ 6766025 h 8384438"/>
              <a:gd name="connsiteX467" fmla="*/ 305285 w 6704664"/>
              <a:gd name="connsiteY467" fmla="*/ 6745886 h 8384438"/>
              <a:gd name="connsiteX468" fmla="*/ 257447 w 6704664"/>
              <a:gd name="connsiteY468" fmla="*/ 6708046 h 8384438"/>
              <a:gd name="connsiteX469" fmla="*/ 257880 w 6704664"/>
              <a:gd name="connsiteY469" fmla="*/ 6699925 h 8384438"/>
              <a:gd name="connsiteX470" fmla="*/ 240631 w 6704664"/>
              <a:gd name="connsiteY470" fmla="*/ 6686790 h 8384438"/>
              <a:gd name="connsiteX471" fmla="*/ 241857 w 6704664"/>
              <a:gd name="connsiteY471" fmla="*/ 6663781 h 8384438"/>
              <a:gd name="connsiteX472" fmla="*/ 226598 w 6704664"/>
              <a:gd name="connsiteY472" fmla="*/ 6650752 h 8384438"/>
              <a:gd name="connsiteX473" fmla="*/ 241022 w 6704664"/>
              <a:gd name="connsiteY473" fmla="*/ 6642019 h 8384438"/>
              <a:gd name="connsiteX474" fmla="*/ 207609 w 6704664"/>
              <a:gd name="connsiteY474" fmla="*/ 6595447 h 8384438"/>
              <a:gd name="connsiteX475" fmla="*/ 228215 w 6704664"/>
              <a:gd name="connsiteY475" fmla="*/ 6582971 h 8384438"/>
              <a:gd name="connsiteX476" fmla="*/ 209123 w 6704664"/>
              <a:gd name="connsiteY476" fmla="*/ 6567023 h 8384438"/>
              <a:gd name="connsiteX477" fmla="*/ 230163 w 6704664"/>
              <a:gd name="connsiteY477" fmla="*/ 6546427 h 8384438"/>
              <a:gd name="connsiteX478" fmla="*/ 199428 w 6704664"/>
              <a:gd name="connsiteY478" fmla="*/ 6524430 h 8384438"/>
              <a:gd name="connsiteX479" fmla="*/ 214068 w 6704664"/>
              <a:gd name="connsiteY479" fmla="*/ 6511636 h 8384438"/>
              <a:gd name="connsiteX480" fmla="*/ 219477 w 6704664"/>
              <a:gd name="connsiteY480" fmla="*/ 6410124 h 8384438"/>
              <a:gd name="connsiteX481" fmla="*/ 240156 w 6704664"/>
              <a:gd name="connsiteY481" fmla="*/ 6396295 h 8384438"/>
              <a:gd name="connsiteX482" fmla="*/ 210617 w 6704664"/>
              <a:gd name="connsiteY482" fmla="*/ 6389292 h 8384438"/>
              <a:gd name="connsiteX483" fmla="*/ 205228 w 6704664"/>
              <a:gd name="connsiteY483" fmla="*/ 6378146 h 8384438"/>
              <a:gd name="connsiteX484" fmla="*/ 209844 w 6704664"/>
              <a:gd name="connsiteY484" fmla="*/ 6291523 h 8384438"/>
              <a:gd name="connsiteX485" fmla="*/ 186342 w 6704664"/>
              <a:gd name="connsiteY485" fmla="*/ 6283484 h 8384438"/>
              <a:gd name="connsiteX486" fmla="*/ 167074 w 6704664"/>
              <a:gd name="connsiteY486" fmla="*/ 6308247 h 8384438"/>
              <a:gd name="connsiteX487" fmla="*/ 148559 w 6704664"/>
              <a:gd name="connsiteY487" fmla="*/ 6281470 h 8384438"/>
              <a:gd name="connsiteX488" fmla="*/ 106078 w 6704664"/>
              <a:gd name="connsiteY488" fmla="*/ 6292781 h 8384438"/>
              <a:gd name="connsiteX489" fmla="*/ 73209 w 6704664"/>
              <a:gd name="connsiteY489" fmla="*/ 6273383 h 8384438"/>
              <a:gd name="connsiteX490" fmla="*/ 75012 w 6704664"/>
              <a:gd name="connsiteY490" fmla="*/ 6239547 h 8384438"/>
              <a:gd name="connsiteX491" fmla="*/ 91570 w 6704664"/>
              <a:gd name="connsiteY491" fmla="*/ 6228212 h 8384438"/>
              <a:gd name="connsiteX492" fmla="*/ 78228 w 6704664"/>
              <a:gd name="connsiteY492" fmla="*/ 6216643 h 8384438"/>
              <a:gd name="connsiteX493" fmla="*/ 80680 w 6704664"/>
              <a:gd name="connsiteY493" fmla="*/ 6170624 h 8384438"/>
              <a:gd name="connsiteX494" fmla="*/ 62453 w 6704664"/>
              <a:gd name="connsiteY494" fmla="*/ 6138435 h 8384438"/>
              <a:gd name="connsiteX495" fmla="*/ 43720 w 6704664"/>
              <a:gd name="connsiteY495" fmla="*/ 6115719 h 8384438"/>
              <a:gd name="connsiteX496" fmla="*/ 68810 w 6704664"/>
              <a:gd name="connsiteY496" fmla="*/ 6093981 h 8384438"/>
              <a:gd name="connsiteX497" fmla="*/ 49862 w 6704664"/>
              <a:gd name="connsiteY497" fmla="*/ 6075326 h 8384438"/>
              <a:gd name="connsiteX498" fmla="*/ 66347 w 6704664"/>
              <a:gd name="connsiteY498" fmla="*/ 6065346 h 8384438"/>
              <a:gd name="connsiteX499" fmla="*/ 67574 w 6704664"/>
              <a:gd name="connsiteY499" fmla="*/ 6042336 h 8384438"/>
              <a:gd name="connsiteX500" fmla="*/ 48480 w 6704664"/>
              <a:gd name="connsiteY500" fmla="*/ 6026388 h 8384438"/>
              <a:gd name="connsiteX501" fmla="*/ 67531 w 6704664"/>
              <a:gd name="connsiteY501" fmla="*/ 6005686 h 8384438"/>
              <a:gd name="connsiteX502" fmla="*/ 50211 w 6704664"/>
              <a:gd name="connsiteY502" fmla="*/ 5993905 h 8384438"/>
              <a:gd name="connsiteX503" fmla="*/ 88859 w 6704664"/>
              <a:gd name="connsiteY503" fmla="*/ 5979676 h 8384438"/>
              <a:gd name="connsiteX504" fmla="*/ 90374 w 6704664"/>
              <a:gd name="connsiteY504" fmla="*/ 5951253 h 8384438"/>
              <a:gd name="connsiteX505" fmla="*/ 135637 w 6704664"/>
              <a:gd name="connsiteY505" fmla="*/ 5925160 h 8384438"/>
              <a:gd name="connsiteX506" fmla="*/ 170205 w 6704664"/>
              <a:gd name="connsiteY506" fmla="*/ 5950077 h 8384438"/>
              <a:gd name="connsiteX507" fmla="*/ 194285 w 6704664"/>
              <a:gd name="connsiteY507" fmla="*/ 5947288 h 8384438"/>
              <a:gd name="connsiteX508" fmla="*/ 177109 w 6704664"/>
              <a:gd name="connsiteY508" fmla="*/ 5932799 h 8384438"/>
              <a:gd name="connsiteX509" fmla="*/ 181003 w 6704664"/>
              <a:gd name="connsiteY509" fmla="*/ 5859711 h 8384438"/>
              <a:gd name="connsiteX510" fmla="*/ 162241 w 6704664"/>
              <a:gd name="connsiteY510" fmla="*/ 5874999 h 8384438"/>
              <a:gd name="connsiteX511" fmla="*/ 113649 w 6704664"/>
              <a:gd name="connsiteY511" fmla="*/ 5888698 h 8384438"/>
              <a:gd name="connsiteX512" fmla="*/ 85810 w 6704664"/>
              <a:gd name="connsiteY512" fmla="*/ 5887214 h 8384438"/>
              <a:gd name="connsiteX513" fmla="*/ 67335 w 6704664"/>
              <a:gd name="connsiteY513" fmla="*/ 5897089 h 8384438"/>
              <a:gd name="connsiteX514" fmla="*/ 25101 w 6704664"/>
              <a:gd name="connsiteY514" fmla="*/ 5866334 h 8384438"/>
              <a:gd name="connsiteX515" fmla="*/ 28130 w 6704664"/>
              <a:gd name="connsiteY515" fmla="*/ 5809488 h 8384438"/>
              <a:gd name="connsiteX516" fmla="*/ 12872 w 6704664"/>
              <a:gd name="connsiteY516" fmla="*/ 5796458 h 8384438"/>
              <a:gd name="connsiteX517" fmla="*/ 63595 w 6704664"/>
              <a:gd name="connsiteY517" fmla="*/ 5780159 h 8384438"/>
              <a:gd name="connsiteX518" fmla="*/ 66954 w 6704664"/>
              <a:gd name="connsiteY518" fmla="*/ 5754549 h 8384438"/>
              <a:gd name="connsiteX519" fmla="*/ 85645 w 6704664"/>
              <a:gd name="connsiteY519" fmla="*/ 5740613 h 8384438"/>
              <a:gd name="connsiteX520" fmla="*/ 153760 w 6704664"/>
              <a:gd name="connsiteY520" fmla="*/ 5734742 h 8384438"/>
              <a:gd name="connsiteX521" fmla="*/ 120531 w 6704664"/>
              <a:gd name="connsiteY521" fmla="*/ 5722112 h 8384438"/>
              <a:gd name="connsiteX522" fmla="*/ 121181 w 6704664"/>
              <a:gd name="connsiteY522" fmla="*/ 5709931 h 8384438"/>
              <a:gd name="connsiteX523" fmla="*/ 75805 w 6704664"/>
              <a:gd name="connsiteY523" fmla="*/ 5700726 h 8384438"/>
              <a:gd name="connsiteX524" fmla="*/ 58989 w 6704664"/>
              <a:gd name="connsiteY524" fmla="*/ 5679470 h 8384438"/>
              <a:gd name="connsiteX525" fmla="*/ 62276 w 6704664"/>
              <a:gd name="connsiteY525" fmla="*/ 5655213 h 8384438"/>
              <a:gd name="connsiteX526" fmla="*/ 43802 w 6704664"/>
              <a:gd name="connsiteY526" fmla="*/ 5665088 h 8384438"/>
              <a:gd name="connsiteX527" fmla="*/ 38053 w 6704664"/>
              <a:gd name="connsiteY527" fmla="*/ 5660709 h 8384438"/>
              <a:gd name="connsiteX528" fmla="*/ 40577 w 6704664"/>
              <a:gd name="connsiteY528" fmla="*/ 5613337 h 8384438"/>
              <a:gd name="connsiteX529" fmla="*/ 57134 w 6704664"/>
              <a:gd name="connsiteY529" fmla="*/ 5602004 h 8384438"/>
              <a:gd name="connsiteX530" fmla="*/ 39814 w 6704664"/>
              <a:gd name="connsiteY530" fmla="*/ 5590222 h 8384438"/>
              <a:gd name="connsiteX531" fmla="*/ 90898 w 6704664"/>
              <a:gd name="connsiteY531" fmla="*/ 5567155 h 8384438"/>
              <a:gd name="connsiteX532" fmla="*/ 79400 w 6704664"/>
              <a:gd name="connsiteY532" fmla="*/ 5558398 h 8384438"/>
              <a:gd name="connsiteX533" fmla="*/ 90785 w 6704664"/>
              <a:gd name="connsiteY533" fmla="*/ 5531858 h 8384438"/>
              <a:gd name="connsiteX534" fmla="*/ 41143 w 6704664"/>
              <a:gd name="connsiteY534" fmla="*/ 5527855 h 8384438"/>
              <a:gd name="connsiteX535" fmla="*/ 78164 w 6704664"/>
              <a:gd name="connsiteY535" fmla="*/ 5506754 h 8384438"/>
              <a:gd name="connsiteX536" fmla="*/ 58092 w 6704664"/>
              <a:gd name="connsiteY536" fmla="*/ 5471751 h 8384438"/>
              <a:gd name="connsiteX537" fmla="*/ 36362 w 6704664"/>
              <a:gd name="connsiteY537" fmla="*/ 5467878 h 8384438"/>
              <a:gd name="connsiteX538" fmla="*/ 16003 w 6704664"/>
              <a:gd name="connsiteY538" fmla="*/ 5438289 h 8384438"/>
              <a:gd name="connsiteX539" fmla="*/ 47706 w 6704664"/>
              <a:gd name="connsiteY539" fmla="*/ 5404688 h 8384438"/>
              <a:gd name="connsiteX540" fmla="*/ 32375 w 6704664"/>
              <a:gd name="connsiteY540" fmla="*/ 5393012 h 8384438"/>
              <a:gd name="connsiteX541" fmla="*/ 36702 w 6704664"/>
              <a:gd name="connsiteY541" fmla="*/ 5311802 h 8384438"/>
              <a:gd name="connsiteX542" fmla="*/ 5318 w 6704664"/>
              <a:gd name="connsiteY542" fmla="*/ 5301986 h 8384438"/>
              <a:gd name="connsiteX543" fmla="*/ 51632 w 6704664"/>
              <a:gd name="connsiteY543" fmla="*/ 5293596 h 8384438"/>
              <a:gd name="connsiteX544" fmla="*/ 58391 w 6704664"/>
              <a:gd name="connsiteY544" fmla="*/ 5279025 h 8384438"/>
              <a:gd name="connsiteX545" fmla="*/ 28994 w 6704664"/>
              <a:gd name="connsiteY545" fmla="*/ 5269315 h 8384438"/>
              <a:gd name="connsiteX546" fmla="*/ 23534 w 6704664"/>
              <a:gd name="connsiteY546" fmla="*/ 5259523 h 8384438"/>
              <a:gd name="connsiteX547" fmla="*/ 49385 w 6704664"/>
              <a:gd name="connsiteY547" fmla="*/ 5260900 h 8384438"/>
              <a:gd name="connsiteX548" fmla="*/ 53507 w 6704664"/>
              <a:gd name="connsiteY548" fmla="*/ 5258405 h 8384438"/>
              <a:gd name="connsiteX549" fmla="*/ 49962 w 6704664"/>
              <a:gd name="connsiteY549" fmla="*/ 5250072 h 8384438"/>
              <a:gd name="connsiteX550" fmla="*/ 24111 w 6704664"/>
              <a:gd name="connsiteY550" fmla="*/ 5248695 h 8384438"/>
              <a:gd name="connsiteX551" fmla="*/ 30581 w 6704664"/>
              <a:gd name="connsiteY551" fmla="*/ 5239537 h 8384438"/>
              <a:gd name="connsiteX552" fmla="*/ 46634 w 6704664"/>
              <a:gd name="connsiteY552" fmla="*/ 5237678 h 8384438"/>
              <a:gd name="connsiteX553" fmla="*/ 58927 w 6704664"/>
              <a:gd name="connsiteY553" fmla="*/ 5231546 h 8384438"/>
              <a:gd name="connsiteX554" fmla="*/ 29531 w 6704664"/>
              <a:gd name="connsiteY554" fmla="*/ 5221836 h 8384438"/>
              <a:gd name="connsiteX555" fmla="*/ 35053 w 6704664"/>
              <a:gd name="connsiteY555" fmla="*/ 5155621 h 8384438"/>
              <a:gd name="connsiteX556" fmla="*/ 31293 w 6704664"/>
              <a:gd name="connsiteY556" fmla="*/ 5151349 h 8384438"/>
              <a:gd name="connsiteX557" fmla="*/ 45861 w 6704664"/>
              <a:gd name="connsiteY557" fmla="*/ 5139909 h 8384438"/>
              <a:gd name="connsiteX558" fmla="*/ 13353 w 6704664"/>
              <a:gd name="connsiteY558" fmla="*/ 5113744 h 8384438"/>
              <a:gd name="connsiteX559" fmla="*/ 34466 w 6704664"/>
              <a:gd name="connsiteY559" fmla="*/ 5091795 h 8384438"/>
              <a:gd name="connsiteX560" fmla="*/ 65375 w 6704664"/>
              <a:gd name="connsiteY560" fmla="*/ 5073083 h 8384438"/>
              <a:gd name="connsiteX561" fmla="*/ 0 w 6704664"/>
              <a:gd name="connsiteY561" fmla="*/ 5027522 h 8384438"/>
              <a:gd name="connsiteX562" fmla="*/ 53939 w 6704664"/>
              <a:gd name="connsiteY562" fmla="*/ 4988318 h 8384438"/>
              <a:gd name="connsiteX563" fmla="*/ 55165 w 6704664"/>
              <a:gd name="connsiteY563" fmla="*/ 4965309 h 8384438"/>
              <a:gd name="connsiteX564" fmla="*/ 35496 w 6704664"/>
              <a:gd name="connsiteY564" fmla="*/ 4960188 h 8384438"/>
              <a:gd name="connsiteX565" fmla="*/ 20164 w 6704664"/>
              <a:gd name="connsiteY565" fmla="*/ 4948513 h 8384438"/>
              <a:gd name="connsiteX566" fmla="*/ 32672 w 6704664"/>
              <a:gd name="connsiteY566" fmla="*/ 4938320 h 8384438"/>
              <a:gd name="connsiteX567" fmla="*/ 20164 w 6704664"/>
              <a:gd name="connsiteY567" fmla="*/ 4948513 h 8384438"/>
              <a:gd name="connsiteX568" fmla="*/ 5265 w 6704664"/>
              <a:gd name="connsiteY568" fmla="*/ 4928717 h 8384438"/>
              <a:gd name="connsiteX569" fmla="*/ 44058 w 6704664"/>
              <a:gd name="connsiteY569" fmla="*/ 4911781 h 8384438"/>
              <a:gd name="connsiteX570" fmla="*/ 7789 w 6704664"/>
              <a:gd name="connsiteY570" fmla="*/ 4881345 h 8384438"/>
              <a:gd name="connsiteX571" fmla="*/ 39967 w 6704664"/>
              <a:gd name="connsiteY571" fmla="*/ 4876273 h 8384438"/>
              <a:gd name="connsiteX572" fmla="*/ 25500 w 6704664"/>
              <a:gd name="connsiteY572" fmla="*/ 4848354 h 8384438"/>
              <a:gd name="connsiteX573" fmla="*/ 55834 w 6704664"/>
              <a:gd name="connsiteY573" fmla="*/ 4840470 h 8384438"/>
              <a:gd name="connsiteX574" fmla="*/ 114152 w 6704664"/>
              <a:gd name="connsiteY574" fmla="*/ 4831361 h 8384438"/>
              <a:gd name="connsiteX575" fmla="*/ 47189 w 6704664"/>
              <a:gd name="connsiteY575" fmla="*/ 4815577 h 8384438"/>
              <a:gd name="connsiteX576" fmla="*/ 81933 w 6704664"/>
              <a:gd name="connsiteY576" fmla="*/ 4799783 h 8384438"/>
              <a:gd name="connsiteX577" fmla="*/ 49641 w 6704664"/>
              <a:gd name="connsiteY577" fmla="*/ 4769558 h 8384438"/>
              <a:gd name="connsiteX578" fmla="*/ 67827 w 6704664"/>
              <a:gd name="connsiteY578" fmla="*/ 4765098 h 8384438"/>
              <a:gd name="connsiteX579" fmla="*/ 99933 w 6704664"/>
              <a:gd name="connsiteY579" fmla="*/ 4761379 h 8384438"/>
              <a:gd name="connsiteX580" fmla="*/ 78924 w 6704664"/>
              <a:gd name="connsiteY580" fmla="*/ 4743972 h 8384438"/>
              <a:gd name="connsiteX581" fmla="*/ 58462 w 6704664"/>
              <a:gd name="connsiteY581" fmla="*/ 4753741 h 8384438"/>
              <a:gd name="connsiteX582" fmla="*/ 51228 w 6704664"/>
              <a:gd name="connsiteY582" fmla="*/ 4739782 h 8384438"/>
              <a:gd name="connsiteX583" fmla="*/ 44428 w 6704664"/>
              <a:gd name="connsiteY583" fmla="*/ 4717701 h 8384438"/>
              <a:gd name="connsiteX584" fmla="*/ 33145 w 6704664"/>
              <a:gd name="connsiteY584" fmla="*/ 4704884 h 8384438"/>
              <a:gd name="connsiteX585" fmla="*/ 56174 w 6704664"/>
              <a:gd name="connsiteY585" fmla="*/ 4684394 h 8384438"/>
              <a:gd name="connsiteX586" fmla="*/ 39286 w 6704664"/>
              <a:gd name="connsiteY586" fmla="*/ 4664492 h 8384438"/>
              <a:gd name="connsiteX587" fmla="*/ 57833 w 6704664"/>
              <a:gd name="connsiteY587" fmla="*/ 4653264 h 8384438"/>
              <a:gd name="connsiteX588" fmla="*/ 19215 w 6704664"/>
              <a:gd name="connsiteY588" fmla="*/ 4629488 h 8384438"/>
              <a:gd name="connsiteX589" fmla="*/ 30096 w 6704664"/>
              <a:gd name="connsiteY589" fmla="*/ 4612423 h 8384438"/>
              <a:gd name="connsiteX590" fmla="*/ 49260 w 6704664"/>
              <a:gd name="connsiteY590" fmla="*/ 4627017 h 8384438"/>
              <a:gd name="connsiteX591" fmla="*/ 58079 w 6704664"/>
              <a:gd name="connsiteY591" fmla="*/ 4611200 h 8384438"/>
              <a:gd name="connsiteX592" fmla="*/ 7603 w 6704664"/>
              <a:gd name="connsiteY592" fmla="*/ 4585435 h 8384438"/>
              <a:gd name="connsiteX593" fmla="*/ 8396 w 6704664"/>
              <a:gd name="connsiteY593" fmla="*/ 4570547 h 8384438"/>
              <a:gd name="connsiteX594" fmla="*/ 40646 w 6704664"/>
              <a:gd name="connsiteY594" fmla="*/ 4564121 h 8384438"/>
              <a:gd name="connsiteX595" fmla="*/ 42521 w 6704664"/>
              <a:gd name="connsiteY595" fmla="*/ 4528931 h 8384438"/>
              <a:gd name="connsiteX596" fmla="*/ 63272 w 6704664"/>
              <a:gd name="connsiteY596" fmla="*/ 4513749 h 8384438"/>
              <a:gd name="connsiteX597" fmla="*/ 37637 w 6704664"/>
              <a:gd name="connsiteY597" fmla="*/ 4508310 h 8384438"/>
              <a:gd name="connsiteX598" fmla="*/ 17206 w 6704664"/>
              <a:gd name="connsiteY598" fmla="*/ 4480075 h 8384438"/>
              <a:gd name="connsiteX599" fmla="*/ 57080 w 6704664"/>
              <a:gd name="connsiteY599" fmla="*/ 4442837 h 8384438"/>
              <a:gd name="connsiteX600" fmla="*/ 74545 w 6704664"/>
              <a:gd name="connsiteY600" fmla="*/ 4451911 h 8384438"/>
              <a:gd name="connsiteX601" fmla="*/ 81520 w 6704664"/>
              <a:gd name="connsiteY601" fmla="*/ 4433280 h 8384438"/>
              <a:gd name="connsiteX602" fmla="*/ 57873 w 6704664"/>
              <a:gd name="connsiteY602" fmla="*/ 4427948 h 8384438"/>
              <a:gd name="connsiteX603" fmla="*/ 33392 w 6704664"/>
              <a:gd name="connsiteY603" fmla="*/ 4400855 h 8384438"/>
              <a:gd name="connsiteX604" fmla="*/ 88309 w 6704664"/>
              <a:gd name="connsiteY604" fmla="*/ 4380706 h 8384438"/>
              <a:gd name="connsiteX605" fmla="*/ 71133 w 6704664"/>
              <a:gd name="connsiteY605" fmla="*/ 4366217 h 8384438"/>
              <a:gd name="connsiteX606" fmla="*/ 89751 w 6704664"/>
              <a:gd name="connsiteY606" fmla="*/ 4353637 h 8384438"/>
              <a:gd name="connsiteX607" fmla="*/ 82591 w 6704664"/>
              <a:gd name="connsiteY607" fmla="*/ 4338324 h 8384438"/>
              <a:gd name="connsiteX608" fmla="*/ 62128 w 6704664"/>
              <a:gd name="connsiteY608" fmla="*/ 4348092 h 8384438"/>
              <a:gd name="connsiteX609" fmla="*/ 59809 w 6704664"/>
              <a:gd name="connsiteY609" fmla="*/ 4316750 h 8384438"/>
              <a:gd name="connsiteX610" fmla="*/ 109812 w 6704664"/>
              <a:gd name="connsiteY610" fmla="*/ 4313985 h 8384438"/>
              <a:gd name="connsiteX611" fmla="*/ 60747 w 6704664"/>
              <a:gd name="connsiteY611" fmla="*/ 4299155 h 8384438"/>
              <a:gd name="connsiteX612" fmla="*/ 55575 w 6704664"/>
              <a:gd name="connsiteY612" fmla="*/ 4283949 h 8384438"/>
              <a:gd name="connsiteX613" fmla="*/ 46065 w 6704664"/>
              <a:gd name="connsiteY613" fmla="*/ 4275298 h 8384438"/>
              <a:gd name="connsiteX614" fmla="*/ 48414 w 6704664"/>
              <a:gd name="connsiteY614" fmla="*/ 4268636 h 8384438"/>
              <a:gd name="connsiteX615" fmla="*/ 78345 w 6704664"/>
              <a:gd name="connsiteY615" fmla="*/ 4230868 h 8384438"/>
              <a:gd name="connsiteX616" fmla="*/ 78994 w 6704664"/>
              <a:gd name="connsiteY616" fmla="*/ 4218687 h 8384438"/>
              <a:gd name="connsiteX617" fmla="*/ 114170 w 6704664"/>
              <a:gd name="connsiteY617" fmla="*/ 4194772 h 8384438"/>
              <a:gd name="connsiteX618" fmla="*/ 97427 w 6704664"/>
              <a:gd name="connsiteY618" fmla="*/ 4172162 h 8384438"/>
              <a:gd name="connsiteX619" fmla="*/ 82167 w 6704664"/>
              <a:gd name="connsiteY619" fmla="*/ 4159134 h 8384438"/>
              <a:gd name="connsiteX620" fmla="*/ 98726 w 6704664"/>
              <a:gd name="connsiteY620" fmla="*/ 4147800 h 8384438"/>
              <a:gd name="connsiteX621" fmla="*/ 81478 w 6704664"/>
              <a:gd name="connsiteY621" fmla="*/ 4134664 h 8384438"/>
              <a:gd name="connsiteX622" fmla="*/ 131985 w 6704664"/>
              <a:gd name="connsiteY622" fmla="*/ 4122425 h 8384438"/>
              <a:gd name="connsiteX623" fmla="*/ 86567 w 6704664"/>
              <a:gd name="connsiteY623" fmla="*/ 4076571 h 8384438"/>
              <a:gd name="connsiteX624" fmla="*/ 87649 w 6704664"/>
              <a:gd name="connsiteY624" fmla="*/ 4056268 h 8384438"/>
              <a:gd name="connsiteX625" fmla="*/ 106339 w 6704664"/>
              <a:gd name="connsiteY625" fmla="*/ 4042334 h 8384438"/>
              <a:gd name="connsiteX626" fmla="*/ 84352 w 6704664"/>
              <a:gd name="connsiteY626" fmla="*/ 4005871 h 8384438"/>
              <a:gd name="connsiteX627" fmla="*/ 62694 w 6704664"/>
              <a:gd name="connsiteY627" fmla="*/ 4000645 h 8384438"/>
              <a:gd name="connsiteX628" fmla="*/ 74079 w 6704664"/>
              <a:gd name="connsiteY628" fmla="*/ 3974105 h 8384438"/>
              <a:gd name="connsiteX629" fmla="*/ 75305 w 6704664"/>
              <a:gd name="connsiteY629" fmla="*/ 3951096 h 8384438"/>
              <a:gd name="connsiteX630" fmla="*/ 58057 w 6704664"/>
              <a:gd name="connsiteY630" fmla="*/ 3937961 h 8384438"/>
              <a:gd name="connsiteX631" fmla="*/ 90307 w 6704664"/>
              <a:gd name="connsiteY631" fmla="*/ 3931535 h 8384438"/>
              <a:gd name="connsiteX632" fmla="*/ 95150 w 6704664"/>
              <a:gd name="connsiteY632" fmla="*/ 3915505 h 8384438"/>
              <a:gd name="connsiteX633" fmla="*/ 63694 w 6704664"/>
              <a:gd name="connsiteY633" fmla="*/ 3907042 h 8384438"/>
              <a:gd name="connsiteX634" fmla="*/ 79488 w 6704664"/>
              <a:gd name="connsiteY634" fmla="*/ 3872593 h 8384438"/>
              <a:gd name="connsiteX635" fmla="*/ 99333 w 6704664"/>
              <a:gd name="connsiteY635" fmla="*/ 3837002 h 8384438"/>
              <a:gd name="connsiteX636" fmla="*/ 82085 w 6704664"/>
              <a:gd name="connsiteY636" fmla="*/ 3823867 h 8384438"/>
              <a:gd name="connsiteX637" fmla="*/ 83238 w 6704664"/>
              <a:gd name="connsiteY637" fmla="*/ 3802212 h 8384438"/>
              <a:gd name="connsiteX638" fmla="*/ 101857 w 6704664"/>
              <a:gd name="connsiteY638" fmla="*/ 3789630 h 8384438"/>
              <a:gd name="connsiteX639" fmla="*/ 103010 w 6704664"/>
              <a:gd name="connsiteY639" fmla="*/ 3767974 h 8384438"/>
              <a:gd name="connsiteX640" fmla="*/ 123690 w 6704664"/>
              <a:gd name="connsiteY640" fmla="*/ 3754145 h 8384438"/>
              <a:gd name="connsiteX641" fmla="*/ 68298 w 6704664"/>
              <a:gd name="connsiteY641" fmla="*/ 3745765 h 8384438"/>
              <a:gd name="connsiteX642" fmla="*/ 75346 w 6704664"/>
              <a:gd name="connsiteY642" fmla="*/ 3725780 h 8384438"/>
              <a:gd name="connsiteX643" fmla="*/ 99209 w 6704664"/>
              <a:gd name="connsiteY643" fmla="*/ 3727052 h 8384438"/>
              <a:gd name="connsiteX644" fmla="*/ 110810 w 6704664"/>
              <a:gd name="connsiteY644" fmla="*/ 3696451 h 8384438"/>
              <a:gd name="connsiteX645" fmla="*/ 123174 w 6704664"/>
              <a:gd name="connsiteY645" fmla="*/ 3688966 h 8384438"/>
              <a:gd name="connsiteX646" fmla="*/ 125049 w 6704664"/>
              <a:gd name="connsiteY646" fmla="*/ 3653775 h 8384438"/>
              <a:gd name="connsiteX647" fmla="*/ 91821 w 6704664"/>
              <a:gd name="connsiteY647" fmla="*/ 3641146 h 8384438"/>
              <a:gd name="connsiteX648" fmla="*/ 92542 w 6704664"/>
              <a:gd name="connsiteY648" fmla="*/ 3627611 h 8384438"/>
              <a:gd name="connsiteX649" fmla="*/ 132962 w 6704664"/>
              <a:gd name="connsiteY649" fmla="*/ 3617549 h 8384438"/>
              <a:gd name="connsiteX650" fmla="*/ 94273 w 6704664"/>
              <a:gd name="connsiteY650" fmla="*/ 3595127 h 8384438"/>
              <a:gd name="connsiteX651" fmla="*/ 111263 w 6704664"/>
              <a:gd name="connsiteY651" fmla="*/ 3575673 h 8384438"/>
              <a:gd name="connsiteX652" fmla="*/ 128728 w 6704664"/>
              <a:gd name="connsiteY652" fmla="*/ 3584747 h 8384438"/>
              <a:gd name="connsiteX653" fmla="*/ 111263 w 6704664"/>
              <a:gd name="connsiteY653" fmla="*/ 3575673 h 8384438"/>
              <a:gd name="connsiteX654" fmla="*/ 114118 w 6704664"/>
              <a:gd name="connsiteY654" fmla="*/ 3559536 h 8384438"/>
              <a:gd name="connsiteX655" fmla="*/ 80744 w 6704664"/>
              <a:gd name="connsiteY655" fmla="*/ 3549615 h 8384438"/>
              <a:gd name="connsiteX656" fmla="*/ 97518 w 6704664"/>
              <a:gd name="connsiteY656" fmla="*/ 3534220 h 8384438"/>
              <a:gd name="connsiteX657" fmla="*/ 98744 w 6704664"/>
              <a:gd name="connsiteY657" fmla="*/ 3511210 h 8384438"/>
              <a:gd name="connsiteX658" fmla="*/ 130922 w 6704664"/>
              <a:gd name="connsiteY658" fmla="*/ 3506138 h 8384438"/>
              <a:gd name="connsiteX659" fmla="*/ 100475 w 6704664"/>
              <a:gd name="connsiteY659" fmla="*/ 3478727 h 8384438"/>
              <a:gd name="connsiteX660" fmla="*/ 119022 w 6704664"/>
              <a:gd name="connsiteY660" fmla="*/ 3467499 h 8384438"/>
              <a:gd name="connsiteX661" fmla="*/ 120176 w 6704664"/>
              <a:gd name="connsiteY661" fmla="*/ 3445843 h 8384438"/>
              <a:gd name="connsiteX662" fmla="*/ 136733 w 6704664"/>
              <a:gd name="connsiteY662" fmla="*/ 3434510 h 8384438"/>
              <a:gd name="connsiteX663" fmla="*/ 122051 w 6704664"/>
              <a:gd name="connsiteY663" fmla="*/ 3410652 h 8384438"/>
              <a:gd name="connsiteX664" fmla="*/ 123926 w 6704664"/>
              <a:gd name="connsiteY664" fmla="*/ 3375461 h 8384438"/>
              <a:gd name="connsiteX665" fmla="*/ 140483 w 6704664"/>
              <a:gd name="connsiteY665" fmla="*/ 3364128 h 8384438"/>
              <a:gd name="connsiteX666" fmla="*/ 93047 w 6704664"/>
              <a:gd name="connsiteY666" fmla="*/ 3356171 h 8384438"/>
              <a:gd name="connsiteX667" fmla="*/ 90007 w 6704664"/>
              <a:gd name="connsiteY667" fmla="*/ 3338364 h 8384438"/>
              <a:gd name="connsiteX668" fmla="*/ 128294 w 6704664"/>
              <a:gd name="connsiteY668" fmla="*/ 3330902 h 8384438"/>
              <a:gd name="connsiteX669" fmla="*/ 93149 w 6704664"/>
              <a:gd name="connsiteY669" fmla="*/ 3316814 h 8384438"/>
              <a:gd name="connsiteX670" fmla="*/ 94375 w 6704664"/>
              <a:gd name="connsiteY670" fmla="*/ 3293805 h 8384438"/>
              <a:gd name="connsiteX671" fmla="*/ 77128 w 6704664"/>
              <a:gd name="connsiteY671" fmla="*/ 3280670 h 8384438"/>
              <a:gd name="connsiteX672" fmla="*/ 77849 w 6704664"/>
              <a:gd name="connsiteY672" fmla="*/ 3267135 h 8384438"/>
              <a:gd name="connsiteX673" fmla="*/ 103989 w 6704664"/>
              <a:gd name="connsiteY673" fmla="*/ 3263097 h 8384438"/>
              <a:gd name="connsiteX674" fmla="*/ 129437 w 6704664"/>
              <a:gd name="connsiteY674" fmla="*/ 3234593 h 8384438"/>
              <a:gd name="connsiteX675" fmla="*/ 131889 w 6704664"/>
              <a:gd name="connsiteY675" fmla="*/ 3188574 h 8384438"/>
              <a:gd name="connsiteX676" fmla="*/ 106254 w 6704664"/>
              <a:gd name="connsiteY676" fmla="*/ 3183136 h 8384438"/>
              <a:gd name="connsiteX677" fmla="*/ 117640 w 6704664"/>
              <a:gd name="connsiteY677" fmla="*/ 3156596 h 8384438"/>
              <a:gd name="connsiteX678" fmla="*/ 118794 w 6704664"/>
              <a:gd name="connsiteY678" fmla="*/ 3134940 h 8384438"/>
              <a:gd name="connsiteX679" fmla="*/ 84874 w 6704664"/>
              <a:gd name="connsiteY679" fmla="*/ 3097842 h 8384438"/>
              <a:gd name="connsiteX680" fmla="*/ 151003 w 6704664"/>
              <a:gd name="connsiteY680" fmla="*/ 3091864 h 8384438"/>
              <a:gd name="connsiteX681" fmla="*/ 155195 w 6704664"/>
              <a:gd name="connsiteY681" fmla="*/ 3088016 h 8384438"/>
              <a:gd name="connsiteX682" fmla="*/ 107284 w 6704664"/>
              <a:gd name="connsiteY682" fmla="*/ 3051529 h 8384438"/>
              <a:gd name="connsiteX683" fmla="*/ 141667 w 6704664"/>
              <a:gd name="connsiteY683" fmla="*/ 3042503 h 8384438"/>
              <a:gd name="connsiteX684" fmla="*/ 124419 w 6704664"/>
              <a:gd name="connsiteY684" fmla="*/ 3029367 h 8384438"/>
              <a:gd name="connsiteX685" fmla="*/ 140976 w 6704664"/>
              <a:gd name="connsiteY685" fmla="*/ 3018034 h 8384438"/>
              <a:gd name="connsiteX686" fmla="*/ 123874 w 6704664"/>
              <a:gd name="connsiteY686" fmla="*/ 3002192 h 8384438"/>
              <a:gd name="connsiteX687" fmla="*/ 142924 w 6704664"/>
              <a:gd name="connsiteY687" fmla="*/ 2981489 h 8384438"/>
              <a:gd name="connsiteX688" fmla="*/ 102102 w 6704664"/>
              <a:gd name="connsiteY688" fmla="*/ 2961669 h 8384438"/>
              <a:gd name="connsiteX689" fmla="*/ 150620 w 6704664"/>
              <a:gd name="connsiteY689" fmla="*/ 2949324 h 8384438"/>
              <a:gd name="connsiteX690" fmla="*/ 132033 w 6704664"/>
              <a:gd name="connsiteY690" fmla="*/ 2923901 h 8384438"/>
              <a:gd name="connsiteX691" fmla="*/ 145191 w 6704664"/>
              <a:gd name="connsiteY691" fmla="*/ 2901528 h 8384438"/>
              <a:gd name="connsiteX692" fmla="*/ 117783 w 6704664"/>
              <a:gd name="connsiteY692" fmla="*/ 2891923 h 8384438"/>
              <a:gd name="connsiteX693" fmla="*/ 150322 w 6704664"/>
              <a:gd name="connsiteY693" fmla="*/ 2880084 h 8384438"/>
              <a:gd name="connsiteX694" fmla="*/ 166807 w 6704664"/>
              <a:gd name="connsiteY694" fmla="*/ 2870103 h 8384438"/>
              <a:gd name="connsiteX695" fmla="*/ 167456 w 6704664"/>
              <a:gd name="connsiteY695" fmla="*/ 2857923 h 8384438"/>
              <a:gd name="connsiteX696" fmla="*/ 121029 w 6704664"/>
              <a:gd name="connsiteY696" fmla="*/ 2831017 h 8384438"/>
              <a:gd name="connsiteX697" fmla="*/ 131332 w 6704664"/>
              <a:gd name="connsiteY697" fmla="*/ 2824779 h 8384438"/>
              <a:gd name="connsiteX698" fmla="*/ 123337 w 6704664"/>
              <a:gd name="connsiteY698" fmla="*/ 2787705 h 8384438"/>
              <a:gd name="connsiteX699" fmla="*/ 129663 w 6704664"/>
              <a:gd name="connsiteY699" fmla="*/ 2781255 h 8384438"/>
              <a:gd name="connsiteX700" fmla="*/ 176482 w 6704664"/>
              <a:gd name="connsiteY700" fmla="*/ 2763390 h 8384438"/>
              <a:gd name="connsiteX701" fmla="*/ 125170 w 6704664"/>
              <a:gd name="connsiteY701" fmla="*/ 2715864 h 8384438"/>
              <a:gd name="connsiteX702" fmla="*/ 142377 w 6704664"/>
              <a:gd name="connsiteY702" fmla="*/ 2692349 h 8384438"/>
              <a:gd name="connsiteX703" fmla="*/ 122379 w 6704664"/>
              <a:gd name="connsiteY703" fmla="*/ 2655992 h 8384438"/>
              <a:gd name="connsiteX704" fmla="*/ 94899 w 6704664"/>
              <a:gd name="connsiteY704" fmla="*/ 2647740 h 8384438"/>
              <a:gd name="connsiteX705" fmla="*/ 93487 w 6704664"/>
              <a:gd name="connsiteY705" fmla="*/ 2636807 h 8384438"/>
              <a:gd name="connsiteX706" fmla="*/ 161057 w 6704664"/>
              <a:gd name="connsiteY706" fmla="*/ 2603760 h 8384438"/>
              <a:gd name="connsiteX707" fmla="*/ 149702 w 6704664"/>
              <a:gd name="connsiteY707" fmla="*/ 2592296 h 8384438"/>
              <a:gd name="connsiteX708" fmla="*/ 152298 w 6704664"/>
              <a:gd name="connsiteY708" fmla="*/ 2543570 h 8384438"/>
              <a:gd name="connsiteX709" fmla="*/ 121347 w 6704664"/>
              <a:gd name="connsiteY709" fmla="*/ 2525632 h 8384438"/>
              <a:gd name="connsiteX710" fmla="*/ 89530 w 6704664"/>
              <a:gd name="connsiteY710" fmla="*/ 2523937 h 8384438"/>
              <a:gd name="connsiteX711" fmla="*/ 66534 w 6704664"/>
              <a:gd name="connsiteY711" fmla="*/ 2506424 h 8384438"/>
              <a:gd name="connsiteX712" fmla="*/ 96722 w 6704664"/>
              <a:gd name="connsiteY712" fmla="*/ 2501246 h 8384438"/>
              <a:gd name="connsiteX713" fmla="*/ 124851 w 6704664"/>
              <a:gd name="connsiteY713" fmla="*/ 2497316 h 8384438"/>
              <a:gd name="connsiteX714" fmla="*/ 85511 w 6704664"/>
              <a:gd name="connsiteY714" fmla="*/ 2487075 h 8384438"/>
              <a:gd name="connsiteX715" fmla="*/ 87459 w 6704664"/>
              <a:gd name="connsiteY715" fmla="*/ 2450531 h 8384438"/>
              <a:gd name="connsiteX716" fmla="*/ 121295 w 6704664"/>
              <a:gd name="connsiteY716" fmla="*/ 2414328 h 8384438"/>
              <a:gd name="connsiteX717" fmla="*/ 89839 w 6704664"/>
              <a:gd name="connsiteY717" fmla="*/ 2405866 h 8384438"/>
              <a:gd name="connsiteX718" fmla="*/ 140923 w 6704664"/>
              <a:gd name="connsiteY718" fmla="*/ 2382799 h 8384438"/>
              <a:gd name="connsiteX719" fmla="*/ 100030 w 6704664"/>
              <a:gd name="connsiteY719" fmla="*/ 2364331 h 8384438"/>
              <a:gd name="connsiteX720" fmla="*/ 59928 w 6704664"/>
              <a:gd name="connsiteY720" fmla="*/ 2330976 h 8384438"/>
              <a:gd name="connsiteX721" fmla="*/ 90117 w 6704664"/>
              <a:gd name="connsiteY721" fmla="*/ 2325798 h 8384438"/>
              <a:gd name="connsiteX722" fmla="*/ 94959 w 6704664"/>
              <a:gd name="connsiteY722" fmla="*/ 2309768 h 8384438"/>
              <a:gd name="connsiteX723" fmla="*/ 61515 w 6704664"/>
              <a:gd name="connsiteY723" fmla="*/ 2301198 h 8384438"/>
              <a:gd name="connsiteX724" fmla="*/ 62195 w 6704664"/>
              <a:gd name="connsiteY724" fmla="*/ 2251014 h 8384438"/>
              <a:gd name="connsiteX725" fmla="*/ 48780 w 6704664"/>
              <a:gd name="connsiteY725" fmla="*/ 2240798 h 8384438"/>
              <a:gd name="connsiteX726" fmla="*/ 84965 w 6704664"/>
              <a:gd name="connsiteY726" fmla="*/ 2197934 h 8384438"/>
              <a:gd name="connsiteX727" fmla="*/ 67789 w 6704664"/>
              <a:gd name="connsiteY727" fmla="*/ 2183445 h 8384438"/>
              <a:gd name="connsiteX728" fmla="*/ 100904 w 6704664"/>
              <a:gd name="connsiteY728" fmla="*/ 2160778 h 8384438"/>
              <a:gd name="connsiteX729" fmla="*/ 72085 w 6704664"/>
              <a:gd name="connsiteY729" fmla="*/ 2140240 h 8384438"/>
              <a:gd name="connsiteX730" fmla="*/ 76495 w 6704664"/>
              <a:gd name="connsiteY730" fmla="*/ 2132330 h 8384438"/>
              <a:gd name="connsiteX731" fmla="*/ 118833 w 6704664"/>
              <a:gd name="connsiteY731" fmla="*/ 2123727 h 8384438"/>
              <a:gd name="connsiteX732" fmla="*/ 171009 w 6704664"/>
              <a:gd name="connsiteY732" fmla="*/ 2155012 h 8384438"/>
              <a:gd name="connsiteX733" fmla="*/ 182981 w 6704664"/>
              <a:gd name="connsiteY733" fmla="*/ 2192298 h 8384438"/>
              <a:gd name="connsiteX734" fmla="*/ 187247 w 6704664"/>
              <a:gd name="connsiteY734" fmla="*/ 2187096 h 8384438"/>
              <a:gd name="connsiteX735" fmla="*/ 190204 w 6704664"/>
              <a:gd name="connsiteY735" fmla="*/ 2131602 h 8384438"/>
              <a:gd name="connsiteX736" fmla="*/ 145333 w 6704664"/>
              <a:gd name="connsiteY736" fmla="*/ 2112924 h 8384438"/>
              <a:gd name="connsiteX737" fmla="*/ 118833 w 6704664"/>
              <a:gd name="connsiteY737" fmla="*/ 2123727 h 8384438"/>
              <a:gd name="connsiteX738" fmla="*/ 122119 w 6704664"/>
              <a:gd name="connsiteY738" fmla="*/ 2099470 h 8384438"/>
              <a:gd name="connsiteX739" fmla="*/ 165867 w 6704664"/>
              <a:gd name="connsiteY739" fmla="*/ 2101802 h 8384438"/>
              <a:gd name="connsiteX740" fmla="*/ 183188 w 6704664"/>
              <a:gd name="connsiteY740" fmla="*/ 2113583 h 8384438"/>
              <a:gd name="connsiteX741" fmla="*/ 203073 w 6704664"/>
              <a:gd name="connsiteY741" fmla="*/ 2114643 h 8384438"/>
              <a:gd name="connsiteX742" fmla="*/ 214097 w 6704664"/>
              <a:gd name="connsiteY742" fmla="*/ 2094871 h 8384438"/>
              <a:gd name="connsiteX743" fmla="*/ 244287 w 6704664"/>
              <a:gd name="connsiteY743" fmla="*/ 2089692 h 8384438"/>
              <a:gd name="connsiteX744" fmla="*/ 227110 w 6704664"/>
              <a:gd name="connsiteY744" fmla="*/ 2075205 h 8384438"/>
              <a:gd name="connsiteX745" fmla="*/ 258670 w 6704664"/>
              <a:gd name="connsiteY745" fmla="*/ 2044310 h 8384438"/>
              <a:gd name="connsiteX746" fmla="*/ 280070 w 6704664"/>
              <a:gd name="connsiteY746" fmla="*/ 2016946 h 8384438"/>
              <a:gd name="connsiteX747" fmla="*/ 301759 w 6704664"/>
              <a:gd name="connsiteY747" fmla="*/ 1984168 h 8384438"/>
              <a:gd name="connsiteX748" fmla="*/ 291702 w 6704664"/>
              <a:gd name="connsiteY748" fmla="*/ 1948342 h 8384438"/>
              <a:gd name="connsiteX749" fmla="*/ 326848 w 6704664"/>
              <a:gd name="connsiteY749" fmla="*/ 1962431 h 8384438"/>
              <a:gd name="connsiteX750" fmla="*/ 374635 w 6704664"/>
              <a:gd name="connsiteY750" fmla="*/ 1888966 h 8384438"/>
              <a:gd name="connsiteX751" fmla="*/ 422103 w 6704664"/>
              <a:gd name="connsiteY751" fmla="*/ 1858919 h 8384438"/>
              <a:gd name="connsiteX752" fmla="*/ 446687 w 6704664"/>
              <a:gd name="connsiteY752" fmla="*/ 1846656 h 8384438"/>
              <a:gd name="connsiteX753" fmla="*/ 447769 w 6704664"/>
              <a:gd name="connsiteY753" fmla="*/ 1826353 h 8384438"/>
              <a:gd name="connsiteX754" fmla="*/ 503005 w 6704664"/>
              <a:gd name="connsiteY754" fmla="*/ 1762787 h 8384438"/>
              <a:gd name="connsiteX755" fmla="*/ 505746 w 6704664"/>
              <a:gd name="connsiteY755" fmla="*/ 1711354 h 8384438"/>
              <a:gd name="connsiteX756" fmla="*/ 526497 w 6704664"/>
              <a:gd name="connsiteY756" fmla="*/ 1696172 h 8384438"/>
              <a:gd name="connsiteX757" fmla="*/ 529021 w 6704664"/>
              <a:gd name="connsiteY757" fmla="*/ 1648800 h 8384438"/>
              <a:gd name="connsiteX758" fmla="*/ 601629 w 6704664"/>
              <a:gd name="connsiteY758" fmla="*/ 1708320 h 8384438"/>
              <a:gd name="connsiteX759" fmla="*/ 619527 w 6704664"/>
              <a:gd name="connsiteY759" fmla="*/ 1709273 h 8384438"/>
              <a:gd name="connsiteX760" fmla="*/ 625708 w 6704664"/>
              <a:gd name="connsiteY760" fmla="*/ 1705530 h 8384438"/>
              <a:gd name="connsiteX761" fmla="*/ 630221 w 6704664"/>
              <a:gd name="connsiteY761" fmla="*/ 1658264 h 8384438"/>
              <a:gd name="connsiteX762" fmla="*/ 612901 w 6704664"/>
              <a:gd name="connsiteY762" fmla="*/ 1646483 h 8384438"/>
              <a:gd name="connsiteX763" fmla="*/ 631447 w 6704664"/>
              <a:gd name="connsiteY763" fmla="*/ 1635255 h 8384438"/>
              <a:gd name="connsiteX764" fmla="*/ 614199 w 6704664"/>
              <a:gd name="connsiteY764" fmla="*/ 1622119 h 8384438"/>
              <a:gd name="connsiteX765" fmla="*/ 628727 w 6704664"/>
              <a:gd name="connsiteY765" fmla="*/ 1574030 h 8384438"/>
              <a:gd name="connsiteX766" fmla="*/ 619217 w 6704664"/>
              <a:gd name="connsiteY766" fmla="*/ 1565379 h 8384438"/>
              <a:gd name="connsiteX767" fmla="*/ 659091 w 6704664"/>
              <a:gd name="connsiteY767" fmla="*/ 1528141 h 8384438"/>
              <a:gd name="connsiteX768" fmla="*/ 682305 w 6704664"/>
              <a:gd name="connsiteY768" fmla="*/ 1541594 h 8384438"/>
              <a:gd name="connsiteX769" fmla="*/ 686468 w 6704664"/>
              <a:gd name="connsiteY769" fmla="*/ 1575750 h 8384438"/>
              <a:gd name="connsiteX770" fmla="*/ 684665 w 6704664"/>
              <a:gd name="connsiteY770" fmla="*/ 1609586 h 8384438"/>
              <a:gd name="connsiteX771" fmla="*/ 690816 w 6704664"/>
              <a:gd name="connsiteY771" fmla="*/ 1643848 h 8384438"/>
              <a:gd name="connsiteX772" fmla="*/ 705560 w 6704664"/>
              <a:gd name="connsiteY772" fmla="*/ 1591697 h 8384438"/>
              <a:gd name="connsiteX773" fmla="*/ 717924 w 6704664"/>
              <a:gd name="connsiteY773" fmla="*/ 1584212 h 8384438"/>
              <a:gd name="connsiteX774" fmla="*/ 703025 w 6704664"/>
              <a:gd name="connsiteY774" fmla="*/ 1564415 h 8384438"/>
              <a:gd name="connsiteX775" fmla="*/ 724208 w 6704664"/>
              <a:gd name="connsiteY775" fmla="*/ 1541113 h 8384438"/>
              <a:gd name="connsiteX776" fmla="*/ 707249 w 6704664"/>
              <a:gd name="connsiteY776" fmla="*/ 1522564 h 8384438"/>
              <a:gd name="connsiteX777" fmla="*/ 719614 w 6704664"/>
              <a:gd name="connsiteY777" fmla="*/ 1515078 h 8384438"/>
              <a:gd name="connsiteX778" fmla="*/ 724095 w 6704664"/>
              <a:gd name="connsiteY778" fmla="*/ 1505816 h 8384438"/>
              <a:gd name="connsiteX779" fmla="*/ 726547 w 6704664"/>
              <a:gd name="connsiteY779" fmla="*/ 1459797 h 8384438"/>
              <a:gd name="connsiteX780" fmla="*/ 756119 w 6704664"/>
              <a:gd name="connsiteY780" fmla="*/ 1428796 h 8384438"/>
              <a:gd name="connsiteX781" fmla="*/ 773902 w 6704664"/>
              <a:gd name="connsiteY781" fmla="*/ 1394454 h 8384438"/>
              <a:gd name="connsiteX782" fmla="*/ 779651 w 6704664"/>
              <a:gd name="connsiteY782" fmla="*/ 1398831 h 8384438"/>
              <a:gd name="connsiteX783" fmla="*/ 777271 w 6704664"/>
              <a:gd name="connsiteY783" fmla="*/ 1443496 h 8384438"/>
              <a:gd name="connsiteX784" fmla="*/ 801536 w 6704664"/>
              <a:gd name="connsiteY784" fmla="*/ 1474652 h 8384438"/>
              <a:gd name="connsiteX785" fmla="*/ 807502 w 6704664"/>
              <a:gd name="connsiteY785" fmla="*/ 1474970 h 8384438"/>
              <a:gd name="connsiteX786" fmla="*/ 816177 w 6704664"/>
              <a:gd name="connsiteY786" fmla="*/ 1461858 h 8384438"/>
              <a:gd name="connsiteX787" fmla="*/ 832116 w 6704664"/>
              <a:gd name="connsiteY787" fmla="*/ 1424701 h 8384438"/>
              <a:gd name="connsiteX788" fmla="*/ 833270 w 6704664"/>
              <a:gd name="connsiteY788" fmla="*/ 1403046 h 8384438"/>
              <a:gd name="connsiteX789" fmla="*/ 817939 w 6704664"/>
              <a:gd name="connsiteY789" fmla="*/ 1391370 h 8384438"/>
              <a:gd name="connsiteX790" fmla="*/ 834496 w 6704664"/>
              <a:gd name="connsiteY790" fmla="*/ 1380037 h 8384438"/>
              <a:gd name="connsiteX791" fmla="*/ 836227 w 6704664"/>
              <a:gd name="connsiteY791" fmla="*/ 1347553 h 8384438"/>
              <a:gd name="connsiteX792" fmla="*/ 859039 w 6704664"/>
              <a:gd name="connsiteY792" fmla="*/ 1331123 h 8384438"/>
              <a:gd name="connsiteX793" fmla="*/ 905394 w 6704664"/>
              <a:gd name="connsiteY793" fmla="*/ 1359383 h 8384438"/>
              <a:gd name="connsiteX794" fmla="*/ 923807 w 6704664"/>
              <a:gd name="connsiteY794" fmla="*/ 1425516 h 8384438"/>
              <a:gd name="connsiteX795" fmla="*/ 956375 w 6704664"/>
              <a:gd name="connsiteY795" fmla="*/ 1375672 h 8384438"/>
              <a:gd name="connsiteX796" fmla="*/ 974921 w 6704664"/>
              <a:gd name="connsiteY796" fmla="*/ 1364444 h 8384438"/>
              <a:gd name="connsiteX797" fmla="*/ 976652 w 6704664"/>
              <a:gd name="connsiteY797" fmla="*/ 1331961 h 8384438"/>
              <a:gd name="connsiteX798" fmla="*/ 1043027 w 6704664"/>
              <a:gd name="connsiteY798" fmla="*/ 1283919 h 8384438"/>
              <a:gd name="connsiteX799" fmla="*/ 5074457 w 6704664"/>
              <a:gd name="connsiteY799" fmla="*/ 773099 h 8384438"/>
              <a:gd name="connsiteX800" fmla="*/ 5083948 w 6704664"/>
              <a:gd name="connsiteY800" fmla="*/ 794784 h 8384438"/>
              <a:gd name="connsiteX801" fmla="*/ 5121002 w 6704664"/>
              <a:gd name="connsiteY801" fmla="*/ 800757 h 8384438"/>
              <a:gd name="connsiteX802" fmla="*/ 5141900 w 6704664"/>
              <a:gd name="connsiteY802" fmla="*/ 817087 h 8384438"/>
              <a:gd name="connsiteX803" fmla="*/ 5144976 w 6704664"/>
              <a:gd name="connsiteY803" fmla="*/ 875552 h 8384438"/>
              <a:gd name="connsiteX804" fmla="*/ 5154971 w 6704664"/>
              <a:gd name="connsiteY804" fmla="*/ 843337 h 8384438"/>
              <a:gd name="connsiteX805" fmla="*/ 5169128 w 6704664"/>
              <a:gd name="connsiteY805" fmla="*/ 826746 h 8384438"/>
              <a:gd name="connsiteX806" fmla="*/ 5167798 w 6704664"/>
              <a:gd name="connsiteY806" fmla="*/ 801464 h 8384438"/>
              <a:gd name="connsiteX807" fmla="*/ 5184536 w 6704664"/>
              <a:gd name="connsiteY807" fmla="*/ 802169 h 8384438"/>
              <a:gd name="connsiteX808" fmla="*/ 5211680 w 6704664"/>
              <a:gd name="connsiteY808" fmla="*/ 810247 h 8384438"/>
              <a:gd name="connsiteX809" fmla="*/ 5223068 w 6704664"/>
              <a:gd name="connsiteY809" fmla="*/ 1026727 h 8384438"/>
              <a:gd name="connsiteX810" fmla="*/ 5259457 w 6704664"/>
              <a:gd name="connsiteY810" fmla="*/ 1020059 h 8384438"/>
              <a:gd name="connsiteX811" fmla="*/ 5287769 w 6704664"/>
              <a:gd name="connsiteY811" fmla="*/ 1018570 h 8384438"/>
              <a:gd name="connsiteX812" fmla="*/ 5331734 w 6704664"/>
              <a:gd name="connsiteY812" fmla="*/ 1028934 h 8384438"/>
              <a:gd name="connsiteX813" fmla="*/ 5347799 w 6704664"/>
              <a:gd name="connsiteY813" fmla="*/ 1080378 h 8384438"/>
              <a:gd name="connsiteX814" fmla="*/ 5382773 w 6704664"/>
              <a:gd name="connsiteY814" fmla="*/ 1078538 h 8384438"/>
              <a:gd name="connsiteX815" fmla="*/ 5383440 w 6704664"/>
              <a:gd name="connsiteY815" fmla="*/ 1059489 h 8384438"/>
              <a:gd name="connsiteX816" fmla="*/ 5351968 w 6704664"/>
              <a:gd name="connsiteY816" fmla="*/ 1032623 h 8384438"/>
              <a:gd name="connsiteX817" fmla="*/ 5357632 w 6704664"/>
              <a:gd name="connsiteY817" fmla="*/ 1013311 h 8384438"/>
              <a:gd name="connsiteX818" fmla="*/ 5411004 w 6704664"/>
              <a:gd name="connsiteY818" fmla="*/ 1043778 h 8384438"/>
              <a:gd name="connsiteX819" fmla="*/ 5412417 w 6704664"/>
              <a:gd name="connsiteY819" fmla="*/ 1070641 h 8384438"/>
              <a:gd name="connsiteX820" fmla="*/ 5431651 w 6704664"/>
              <a:gd name="connsiteY820" fmla="*/ 1087058 h 8384438"/>
              <a:gd name="connsiteX821" fmla="*/ 5417992 w 6704664"/>
              <a:gd name="connsiteY821" fmla="*/ 1113129 h 8384438"/>
              <a:gd name="connsiteX822" fmla="*/ 5442470 w 6704664"/>
              <a:gd name="connsiteY822" fmla="*/ 1134025 h 8384438"/>
              <a:gd name="connsiteX823" fmla="*/ 5431226 w 6704664"/>
              <a:gd name="connsiteY823" fmla="*/ 1174229 h 8384438"/>
              <a:gd name="connsiteX824" fmla="*/ 5448795 w 6704664"/>
              <a:gd name="connsiteY824" fmla="*/ 1190735 h 8384438"/>
              <a:gd name="connsiteX825" fmla="*/ 5452205 w 6704664"/>
              <a:gd name="connsiteY825" fmla="*/ 1223830 h 8384438"/>
              <a:gd name="connsiteX826" fmla="*/ 5473854 w 6704664"/>
              <a:gd name="connsiteY826" fmla="*/ 1222691 h 8384438"/>
              <a:gd name="connsiteX827" fmla="*/ 5492678 w 6704664"/>
              <a:gd name="connsiteY827" fmla="*/ 1167828 h 8384438"/>
              <a:gd name="connsiteX828" fmla="*/ 5505174 w 6704664"/>
              <a:gd name="connsiteY828" fmla="*/ 1119635 h 8384438"/>
              <a:gd name="connsiteX829" fmla="*/ 5522578 w 6704664"/>
              <a:gd name="connsiteY829" fmla="*/ 1101289 h 8384438"/>
              <a:gd name="connsiteX830" fmla="*/ 5543980 w 6704664"/>
              <a:gd name="connsiteY830" fmla="*/ 1095410 h 8384438"/>
              <a:gd name="connsiteX831" fmla="*/ 5545565 w 6704664"/>
              <a:gd name="connsiteY831" fmla="*/ 1062052 h 8384438"/>
              <a:gd name="connsiteX832" fmla="*/ 5593695 w 6704664"/>
              <a:gd name="connsiteY832" fmla="*/ 1056352 h 8384438"/>
              <a:gd name="connsiteX833" fmla="*/ 5609265 w 6704664"/>
              <a:gd name="connsiteY833" fmla="*/ 1066624 h 8384438"/>
              <a:gd name="connsiteX834" fmla="*/ 5622006 w 6704664"/>
              <a:gd name="connsiteY834" fmla="*/ 1054861 h 8384438"/>
              <a:gd name="connsiteX835" fmla="*/ 5665306 w 6704664"/>
              <a:gd name="connsiteY835" fmla="*/ 1052585 h 8384438"/>
              <a:gd name="connsiteX836" fmla="*/ 5716764 w 6704664"/>
              <a:gd name="connsiteY836" fmla="*/ 1078398 h 8384438"/>
              <a:gd name="connsiteX837" fmla="*/ 5719174 w 6704664"/>
              <a:gd name="connsiteY837" fmla="*/ 1124223 h 8384438"/>
              <a:gd name="connsiteX838" fmla="*/ 5706101 w 6704664"/>
              <a:gd name="connsiteY838" fmla="*/ 1129664 h 8384438"/>
              <a:gd name="connsiteX839" fmla="*/ 5705103 w 6704664"/>
              <a:gd name="connsiteY839" fmla="*/ 1110702 h 8384438"/>
              <a:gd name="connsiteX840" fmla="*/ 5655062 w 6704664"/>
              <a:gd name="connsiteY840" fmla="*/ 1080060 h 8384438"/>
              <a:gd name="connsiteX841" fmla="*/ 5646984 w 6704664"/>
              <a:gd name="connsiteY841" fmla="*/ 1085238 h 8384438"/>
              <a:gd name="connsiteX842" fmla="*/ 5648563 w 6704664"/>
              <a:gd name="connsiteY842" fmla="*/ 1115261 h 8384438"/>
              <a:gd name="connsiteX843" fmla="*/ 5674042 w 6704664"/>
              <a:gd name="connsiteY843" fmla="*/ 1123427 h 8384438"/>
              <a:gd name="connsiteX844" fmla="*/ 5706101 w 6704664"/>
              <a:gd name="connsiteY844" fmla="*/ 1129664 h 8384438"/>
              <a:gd name="connsiteX845" fmla="*/ 5720754 w 6704664"/>
              <a:gd name="connsiteY845" fmla="*/ 1154245 h 8384438"/>
              <a:gd name="connsiteX846" fmla="*/ 5723413 w 6704664"/>
              <a:gd name="connsiteY846" fmla="*/ 1204810 h 8384438"/>
              <a:gd name="connsiteX847" fmla="*/ 5742065 w 6704664"/>
              <a:gd name="connsiteY847" fmla="*/ 1210167 h 8384438"/>
              <a:gd name="connsiteX848" fmla="*/ 5796946 w 6704664"/>
              <a:gd name="connsiteY848" fmla="*/ 1142315 h 8384438"/>
              <a:gd name="connsiteX849" fmla="*/ 5862643 w 6704664"/>
              <a:gd name="connsiteY849" fmla="*/ 1153119 h 8384438"/>
              <a:gd name="connsiteX850" fmla="*/ 5888787 w 6704664"/>
              <a:gd name="connsiteY850" fmla="*/ 1173928 h 8384438"/>
              <a:gd name="connsiteX851" fmla="*/ 5919595 w 6704664"/>
              <a:gd name="connsiteY851" fmla="*/ 1188152 h 8384438"/>
              <a:gd name="connsiteX852" fmla="*/ 5955566 w 6704664"/>
              <a:gd name="connsiteY852" fmla="*/ 1205274 h 8384438"/>
              <a:gd name="connsiteX853" fmla="*/ 5959722 w 6704664"/>
              <a:gd name="connsiteY853" fmla="*/ 1284282 h 8384438"/>
              <a:gd name="connsiteX854" fmla="*/ 5989530 w 6704664"/>
              <a:gd name="connsiteY854" fmla="*/ 1311235 h 8384438"/>
              <a:gd name="connsiteX855" fmla="*/ 5999519 w 6704664"/>
              <a:gd name="connsiteY855" fmla="*/ 1342400 h 8384438"/>
              <a:gd name="connsiteX856" fmla="*/ 6009094 w 6704664"/>
              <a:gd name="connsiteY856" fmla="*/ 1365664 h 8384438"/>
              <a:gd name="connsiteX857" fmla="*/ 6022248 w 6704664"/>
              <a:gd name="connsiteY857" fmla="*/ 1393493 h 8384438"/>
              <a:gd name="connsiteX858" fmla="*/ 6011088 w 6704664"/>
              <a:gd name="connsiteY858" fmla="*/ 1403587 h 8384438"/>
              <a:gd name="connsiteX859" fmla="*/ 6025160 w 6704664"/>
              <a:gd name="connsiteY859" fmla="*/ 1417108 h 8384438"/>
              <a:gd name="connsiteX860" fmla="*/ 6026490 w 6704664"/>
              <a:gd name="connsiteY860" fmla="*/ 1442390 h 8384438"/>
              <a:gd name="connsiteX861" fmla="*/ 6054884 w 6704664"/>
              <a:gd name="connsiteY861" fmla="*/ 1442480 h 8384438"/>
              <a:gd name="connsiteX862" fmla="*/ 6040812 w 6704664"/>
              <a:gd name="connsiteY862" fmla="*/ 1428961 h 8384438"/>
              <a:gd name="connsiteX863" fmla="*/ 6051972 w 6704664"/>
              <a:gd name="connsiteY863" fmla="*/ 1418867 h 8384438"/>
              <a:gd name="connsiteX864" fmla="*/ 6039736 w 6704664"/>
              <a:gd name="connsiteY864" fmla="*/ 1376728 h 8384438"/>
              <a:gd name="connsiteX865" fmla="*/ 6034997 w 6704664"/>
              <a:gd name="connsiteY865" fmla="*/ 1286660 h 8384438"/>
              <a:gd name="connsiteX866" fmla="*/ 6017096 w 6704664"/>
              <a:gd name="connsiteY866" fmla="*/ 1263834 h 8384438"/>
              <a:gd name="connsiteX867" fmla="*/ 6015767 w 6704664"/>
              <a:gd name="connsiteY867" fmla="*/ 1238551 h 8384438"/>
              <a:gd name="connsiteX868" fmla="*/ 5990537 w 6704664"/>
              <a:gd name="connsiteY868" fmla="*/ 1235125 h 8384438"/>
              <a:gd name="connsiteX869" fmla="*/ 5984542 w 6704664"/>
              <a:gd name="connsiteY869" fmla="*/ 1216426 h 8384438"/>
              <a:gd name="connsiteX870" fmla="*/ 5970555 w 6704664"/>
              <a:gd name="connsiteY870" fmla="*/ 1204485 h 8384438"/>
              <a:gd name="connsiteX871" fmla="*/ 5969142 w 6704664"/>
              <a:gd name="connsiteY871" fmla="*/ 1177624 h 8384438"/>
              <a:gd name="connsiteX872" fmla="*/ 5973888 w 6704664"/>
              <a:gd name="connsiteY872" fmla="*/ 1172620 h 8384438"/>
              <a:gd name="connsiteX873" fmla="*/ 6014939 w 6704664"/>
              <a:gd name="connsiteY873" fmla="*/ 1191059 h 8384438"/>
              <a:gd name="connsiteX874" fmla="*/ 6058734 w 6704664"/>
              <a:gd name="connsiteY874" fmla="*/ 1229952 h 8384438"/>
              <a:gd name="connsiteX875" fmla="*/ 6059233 w 6704664"/>
              <a:gd name="connsiteY875" fmla="*/ 1239433 h 8384438"/>
              <a:gd name="connsiteX876" fmla="*/ 6074969 w 6704664"/>
              <a:gd name="connsiteY876" fmla="*/ 1252868 h 8384438"/>
              <a:gd name="connsiteX877" fmla="*/ 6076382 w 6704664"/>
              <a:gd name="connsiteY877" fmla="*/ 1279729 h 8384438"/>
              <a:gd name="connsiteX878" fmla="*/ 6090454 w 6704664"/>
              <a:gd name="connsiteY878" fmla="*/ 1293250 h 8384438"/>
              <a:gd name="connsiteX879" fmla="*/ 6079378 w 6704664"/>
              <a:gd name="connsiteY879" fmla="*/ 1304924 h 8384438"/>
              <a:gd name="connsiteX880" fmla="*/ 6112097 w 6704664"/>
              <a:gd name="connsiteY880" fmla="*/ 1355492 h 8384438"/>
              <a:gd name="connsiteX881" fmla="*/ 6096276 w 6704664"/>
              <a:gd name="connsiteY881" fmla="*/ 1372169 h 8384438"/>
              <a:gd name="connsiteX882" fmla="*/ 6113844 w 6704664"/>
              <a:gd name="connsiteY882" fmla="*/ 1388675 h 8384438"/>
              <a:gd name="connsiteX883" fmla="*/ 6098520 w 6704664"/>
              <a:gd name="connsiteY883" fmla="*/ 1414833 h 8384438"/>
              <a:gd name="connsiteX884" fmla="*/ 6126413 w 6704664"/>
              <a:gd name="connsiteY884" fmla="*/ 1437133 h 8384438"/>
              <a:gd name="connsiteX885" fmla="*/ 6115585 w 6704664"/>
              <a:gd name="connsiteY885" fmla="*/ 1453548 h 8384438"/>
              <a:gd name="connsiteX886" fmla="*/ 6121819 w 6704664"/>
              <a:gd name="connsiteY886" fmla="*/ 1572059 h 8384438"/>
              <a:gd name="connsiteX887" fmla="*/ 6106081 w 6704664"/>
              <a:gd name="connsiteY887" fmla="*/ 1590317 h 8384438"/>
              <a:gd name="connsiteX888" fmla="*/ 6131393 w 6704664"/>
              <a:gd name="connsiteY888" fmla="*/ 1595323 h 8384438"/>
              <a:gd name="connsiteX889" fmla="*/ 6137055 w 6704664"/>
              <a:gd name="connsiteY889" fmla="*/ 1607702 h 8384438"/>
              <a:gd name="connsiteX890" fmla="*/ 6142374 w 6704664"/>
              <a:gd name="connsiteY890" fmla="*/ 1708830 h 8384438"/>
              <a:gd name="connsiteX891" fmla="*/ 6162774 w 6704664"/>
              <a:gd name="connsiteY891" fmla="*/ 1715680 h 8384438"/>
              <a:gd name="connsiteX892" fmla="*/ 6176183 w 6704664"/>
              <a:gd name="connsiteY892" fmla="*/ 1684869 h 8384438"/>
              <a:gd name="connsiteX893" fmla="*/ 6194416 w 6704664"/>
              <a:gd name="connsiteY893" fmla="*/ 1714016 h 8384438"/>
              <a:gd name="connsiteX894" fmla="*/ 6228559 w 6704664"/>
              <a:gd name="connsiteY894" fmla="*/ 1696375 h 8384438"/>
              <a:gd name="connsiteX895" fmla="*/ 6257950 w 6704664"/>
              <a:gd name="connsiteY895" fmla="*/ 1715427 h 8384438"/>
              <a:gd name="connsiteX896" fmla="*/ 6260028 w 6704664"/>
              <a:gd name="connsiteY896" fmla="*/ 1754931 h 8384438"/>
              <a:gd name="connsiteX897" fmla="*/ 6247454 w 6704664"/>
              <a:gd name="connsiteY897" fmla="*/ 1769853 h 8384438"/>
              <a:gd name="connsiteX898" fmla="*/ 6259777 w 6704664"/>
              <a:gd name="connsiteY898" fmla="*/ 1781881 h 8384438"/>
              <a:gd name="connsiteX899" fmla="*/ 6262603 w 6704664"/>
              <a:gd name="connsiteY899" fmla="*/ 1835607 h 8384438"/>
              <a:gd name="connsiteX900" fmla="*/ 6281168 w 6704664"/>
              <a:gd name="connsiteY900" fmla="*/ 1871072 h 8384438"/>
              <a:gd name="connsiteX901" fmla="*/ 6299151 w 6704664"/>
              <a:gd name="connsiteY901" fmla="*/ 1895479 h 8384438"/>
              <a:gd name="connsiteX902" fmla="*/ 6280581 w 6704664"/>
              <a:gd name="connsiteY902" fmla="*/ 1923392 h 8384438"/>
              <a:gd name="connsiteX903" fmla="*/ 6298315 w 6704664"/>
              <a:gd name="connsiteY903" fmla="*/ 1943059 h 8384438"/>
              <a:gd name="connsiteX904" fmla="*/ 6285657 w 6704664"/>
              <a:gd name="connsiteY904" fmla="*/ 1956401 h 8384438"/>
              <a:gd name="connsiteX905" fmla="*/ 6287070 w 6704664"/>
              <a:gd name="connsiteY905" fmla="*/ 1983263 h 8384438"/>
              <a:gd name="connsiteX906" fmla="*/ 6304637 w 6704664"/>
              <a:gd name="connsiteY906" fmla="*/ 1999768 h 8384438"/>
              <a:gd name="connsiteX907" fmla="*/ 6290980 w 6704664"/>
              <a:gd name="connsiteY907" fmla="*/ 2025840 h 8384438"/>
              <a:gd name="connsiteX908" fmla="*/ 6306632 w 6704664"/>
              <a:gd name="connsiteY908" fmla="*/ 2037692 h 8384438"/>
              <a:gd name="connsiteX909" fmla="*/ 6275987 w 6704664"/>
              <a:gd name="connsiteY909" fmla="*/ 2058318 h 8384438"/>
              <a:gd name="connsiteX910" fmla="*/ 6277734 w 6704664"/>
              <a:gd name="connsiteY910" fmla="*/ 2091501 h 8384438"/>
              <a:gd name="connsiteX911" fmla="*/ 6242841 w 6704664"/>
              <a:gd name="connsiteY911" fmla="*/ 2126612 h 8384438"/>
              <a:gd name="connsiteX912" fmla="*/ 6211451 w 6704664"/>
              <a:gd name="connsiteY912" fmla="*/ 2101327 h 8384438"/>
              <a:gd name="connsiteX913" fmla="*/ 6191715 w 6704664"/>
              <a:gd name="connsiteY913" fmla="*/ 2107117 h 8384438"/>
              <a:gd name="connsiteX914" fmla="*/ 6207535 w 6704664"/>
              <a:gd name="connsiteY914" fmla="*/ 2122131 h 8384438"/>
              <a:gd name="connsiteX915" fmla="*/ 6212023 w 6704664"/>
              <a:gd name="connsiteY915" fmla="*/ 2207458 h 8384438"/>
              <a:gd name="connsiteX916" fmla="*/ 6226014 w 6704664"/>
              <a:gd name="connsiteY916" fmla="*/ 2187708 h 8384438"/>
              <a:gd name="connsiteX917" fmla="*/ 6264987 w 6704664"/>
              <a:gd name="connsiteY917" fmla="*/ 2166644 h 8384438"/>
              <a:gd name="connsiteX918" fmla="*/ 6288301 w 6704664"/>
              <a:gd name="connsiteY918" fmla="*/ 2165418 h 8384438"/>
              <a:gd name="connsiteX919" fmla="*/ 6302626 w 6704664"/>
              <a:gd name="connsiteY919" fmla="*/ 2151988 h 8384438"/>
              <a:gd name="connsiteX920" fmla="*/ 6341009 w 6704664"/>
              <a:gd name="connsiteY920" fmla="*/ 2183244 h 8384438"/>
              <a:gd name="connsiteX921" fmla="*/ 6344501 w 6704664"/>
              <a:gd name="connsiteY921" fmla="*/ 2249610 h 8384438"/>
              <a:gd name="connsiteX922" fmla="*/ 6358571 w 6704664"/>
              <a:gd name="connsiteY922" fmla="*/ 2263131 h 8384438"/>
              <a:gd name="connsiteX923" fmla="*/ 6318100 w 6704664"/>
              <a:gd name="connsiteY923" fmla="*/ 2287442 h 8384438"/>
              <a:gd name="connsiteX924" fmla="*/ 6318015 w 6704664"/>
              <a:gd name="connsiteY924" fmla="*/ 2317552 h 8384438"/>
              <a:gd name="connsiteX925" fmla="*/ 6303941 w 6704664"/>
              <a:gd name="connsiteY925" fmla="*/ 2335723 h 8384438"/>
              <a:gd name="connsiteX926" fmla="*/ 6247898 w 6704664"/>
              <a:gd name="connsiteY926" fmla="*/ 2349762 h 8384438"/>
              <a:gd name="connsiteX927" fmla="*/ 6276876 w 6704664"/>
              <a:gd name="connsiteY927" fmla="*/ 2360914 h 8384438"/>
              <a:gd name="connsiteX928" fmla="*/ 6277624 w 6704664"/>
              <a:gd name="connsiteY928" fmla="*/ 2375136 h 8384438"/>
              <a:gd name="connsiteX929" fmla="*/ 6316343 w 6704664"/>
              <a:gd name="connsiteY929" fmla="*/ 2381021 h 8384438"/>
              <a:gd name="connsiteX930" fmla="*/ 6332579 w 6704664"/>
              <a:gd name="connsiteY930" fmla="*/ 2403934 h 8384438"/>
              <a:gd name="connsiteX931" fmla="*/ 6332408 w 6704664"/>
              <a:gd name="connsiteY931" fmla="*/ 2432465 h 8384438"/>
              <a:gd name="connsiteX932" fmla="*/ 6346733 w 6704664"/>
              <a:gd name="connsiteY932" fmla="*/ 2419036 h 8384438"/>
              <a:gd name="connsiteX933" fmla="*/ 6351978 w 6704664"/>
              <a:gd name="connsiteY933" fmla="*/ 2423513 h 8384438"/>
              <a:gd name="connsiteX934" fmla="*/ 6354887 w 6704664"/>
              <a:gd name="connsiteY934" fmla="*/ 2478818 h 8384438"/>
              <a:gd name="connsiteX935" fmla="*/ 6342313 w 6704664"/>
              <a:gd name="connsiteY935" fmla="*/ 2493740 h 8384438"/>
              <a:gd name="connsiteX936" fmla="*/ 6357966 w 6704664"/>
              <a:gd name="connsiteY936" fmla="*/ 2505593 h 8384438"/>
              <a:gd name="connsiteX937" fmla="*/ 6317911 w 6704664"/>
              <a:gd name="connsiteY937" fmla="*/ 2537806 h 8384438"/>
              <a:gd name="connsiteX938" fmla="*/ 6328402 w 6704664"/>
              <a:gd name="connsiteY938" fmla="*/ 2546761 h 8384438"/>
              <a:gd name="connsiteX939" fmla="*/ 6321737 w 6704664"/>
              <a:gd name="connsiteY939" fmla="*/ 2578802 h 8384438"/>
              <a:gd name="connsiteX940" fmla="*/ 6363454 w 6704664"/>
              <a:gd name="connsiteY940" fmla="*/ 2578192 h 8384438"/>
              <a:gd name="connsiteX941" fmla="*/ 6334891 w 6704664"/>
              <a:gd name="connsiteY941" fmla="*/ 2606632 h 8384438"/>
              <a:gd name="connsiteX942" fmla="*/ 6355287 w 6704664"/>
              <a:gd name="connsiteY942" fmla="*/ 2645171 h 8384438"/>
              <a:gd name="connsiteX943" fmla="*/ 6373773 w 6704664"/>
              <a:gd name="connsiteY943" fmla="*/ 2647367 h 8384438"/>
              <a:gd name="connsiteX944" fmla="*/ 6393838 w 6704664"/>
              <a:gd name="connsiteY944" fmla="*/ 2679587 h 8384438"/>
              <a:gd name="connsiteX945" fmla="*/ 6371018 w 6704664"/>
              <a:gd name="connsiteY945" fmla="*/ 2721985 h 8384438"/>
              <a:gd name="connsiteX946" fmla="*/ 6385007 w 6704664"/>
              <a:gd name="connsiteY946" fmla="*/ 2733925 h 8384438"/>
              <a:gd name="connsiteX947" fmla="*/ 6389994 w 6704664"/>
              <a:gd name="connsiteY947" fmla="*/ 2828734 h 8384438"/>
              <a:gd name="connsiteX948" fmla="*/ 6417139 w 6704664"/>
              <a:gd name="connsiteY948" fmla="*/ 2836813 h 8384438"/>
              <a:gd name="connsiteX949" fmla="*/ 6379500 w 6704664"/>
              <a:gd name="connsiteY949" fmla="*/ 2851470 h 8384438"/>
              <a:gd name="connsiteX950" fmla="*/ 6375418 w 6704664"/>
              <a:gd name="connsiteY950" fmla="*/ 2869113 h 8384438"/>
              <a:gd name="connsiteX951" fmla="*/ 6400897 w 6704664"/>
              <a:gd name="connsiteY951" fmla="*/ 2877281 h 8384438"/>
              <a:gd name="connsiteX952" fmla="*/ 6406476 w 6704664"/>
              <a:gd name="connsiteY952" fmla="*/ 2888079 h 8384438"/>
              <a:gd name="connsiteX953" fmla="*/ 6384826 w 6704664"/>
              <a:gd name="connsiteY953" fmla="*/ 2889217 h 8384438"/>
              <a:gd name="connsiteX954" fmla="*/ 6381661 w 6704664"/>
              <a:gd name="connsiteY954" fmla="*/ 2892554 h 8384438"/>
              <a:gd name="connsiteX955" fmla="*/ 6385491 w 6704664"/>
              <a:gd name="connsiteY955" fmla="*/ 2901859 h 8384438"/>
              <a:gd name="connsiteX956" fmla="*/ 6407141 w 6704664"/>
              <a:gd name="connsiteY956" fmla="*/ 2900720 h 8384438"/>
              <a:gd name="connsiteX957" fmla="*/ 6402726 w 6704664"/>
              <a:gd name="connsiteY957" fmla="*/ 2912043 h 8384438"/>
              <a:gd name="connsiteX958" fmla="*/ 6389569 w 6704664"/>
              <a:gd name="connsiteY958" fmla="*/ 2915905 h 8384438"/>
              <a:gd name="connsiteX959" fmla="*/ 6379993 w 6704664"/>
              <a:gd name="connsiteY959" fmla="*/ 2924331 h 8384438"/>
              <a:gd name="connsiteX960" fmla="*/ 6405472 w 6704664"/>
              <a:gd name="connsiteY960" fmla="*/ 2932498 h 8384438"/>
              <a:gd name="connsiteX961" fmla="*/ 6407879 w 6704664"/>
              <a:gd name="connsiteY961" fmla="*/ 3010013 h 8384438"/>
              <a:gd name="connsiteX962" fmla="*/ 6411460 w 6704664"/>
              <a:gd name="connsiteY962" fmla="*/ 3014578 h 8384438"/>
              <a:gd name="connsiteX963" fmla="*/ 6400549 w 6704664"/>
              <a:gd name="connsiteY963" fmla="*/ 3029412 h 8384438"/>
              <a:gd name="connsiteX964" fmla="*/ 6430357 w 6704664"/>
              <a:gd name="connsiteY964" fmla="*/ 3056366 h 8384438"/>
              <a:gd name="connsiteX965" fmla="*/ 6415116 w 6704664"/>
              <a:gd name="connsiteY965" fmla="*/ 3084104 h 8384438"/>
              <a:gd name="connsiteX966" fmla="*/ 6391383 w 6704664"/>
              <a:gd name="connsiteY966" fmla="*/ 3109120 h 8384438"/>
              <a:gd name="connsiteX967" fmla="*/ 6450583 w 6704664"/>
              <a:gd name="connsiteY967" fmla="*/ 3155127 h 8384438"/>
              <a:gd name="connsiteX968" fmla="*/ 6409860 w 6704664"/>
              <a:gd name="connsiteY968" fmla="*/ 3206389 h 8384438"/>
              <a:gd name="connsiteX969" fmla="*/ 6411273 w 6704664"/>
              <a:gd name="connsiteY969" fmla="*/ 3233250 h 8384438"/>
              <a:gd name="connsiteX970" fmla="*/ 6428176 w 6704664"/>
              <a:gd name="connsiteY970" fmla="*/ 3237115 h 8384438"/>
              <a:gd name="connsiteX971" fmla="*/ 6442164 w 6704664"/>
              <a:gd name="connsiteY971" fmla="*/ 3249056 h 8384438"/>
              <a:gd name="connsiteX972" fmla="*/ 6432836 w 6704664"/>
              <a:gd name="connsiteY972" fmla="*/ 3262222 h 8384438"/>
              <a:gd name="connsiteX973" fmla="*/ 6442164 w 6704664"/>
              <a:gd name="connsiteY973" fmla="*/ 3249056 h 8384438"/>
              <a:gd name="connsiteX974" fmla="*/ 6456651 w 6704664"/>
              <a:gd name="connsiteY974" fmla="*/ 3270477 h 8384438"/>
              <a:gd name="connsiteX975" fmla="*/ 6426171 w 6704664"/>
              <a:gd name="connsiteY975" fmla="*/ 3294263 h 8384438"/>
              <a:gd name="connsiteX976" fmla="*/ 6459560 w 6704664"/>
              <a:gd name="connsiteY976" fmla="*/ 3325782 h 8384438"/>
              <a:gd name="connsiteX977" fmla="*/ 6433329 w 6704664"/>
              <a:gd name="connsiteY977" fmla="*/ 3335084 h 8384438"/>
              <a:gd name="connsiteX978" fmla="*/ 6448314 w 6704664"/>
              <a:gd name="connsiteY978" fmla="*/ 3365986 h 8384438"/>
              <a:gd name="connsiteX979" fmla="*/ 6423916 w 6704664"/>
              <a:gd name="connsiteY979" fmla="*/ 3378361 h 8384438"/>
              <a:gd name="connsiteX980" fmla="*/ 6376368 w 6704664"/>
              <a:gd name="connsiteY980" fmla="*/ 3395123 h 8384438"/>
              <a:gd name="connsiteX981" fmla="*/ 6433738 w 6704664"/>
              <a:gd name="connsiteY981" fmla="*/ 3406365 h 8384438"/>
              <a:gd name="connsiteX982" fmla="*/ 6406507 w 6704664"/>
              <a:gd name="connsiteY982" fmla="*/ 3428396 h 8384438"/>
              <a:gd name="connsiteX983" fmla="*/ 6436565 w 6704664"/>
              <a:gd name="connsiteY983" fmla="*/ 3460090 h 8384438"/>
              <a:gd name="connsiteX984" fmla="*/ 6421909 w 6704664"/>
              <a:gd name="connsiteY984" fmla="*/ 3467200 h 8384438"/>
              <a:gd name="connsiteX985" fmla="*/ 6395596 w 6704664"/>
              <a:gd name="connsiteY985" fmla="*/ 3474922 h 8384438"/>
              <a:gd name="connsiteX986" fmla="*/ 6414911 w 6704664"/>
              <a:gd name="connsiteY986" fmla="*/ 3492919 h 8384438"/>
              <a:gd name="connsiteX987" fmla="*/ 6430900 w 6704664"/>
              <a:gd name="connsiteY987" fmla="*/ 3479402 h 8384438"/>
              <a:gd name="connsiteX988" fmla="*/ 6438393 w 6704664"/>
              <a:gd name="connsiteY988" fmla="*/ 3494853 h 8384438"/>
              <a:gd name="connsiteX989" fmla="*/ 6446385 w 6704664"/>
              <a:gd name="connsiteY989" fmla="*/ 3519786 h 8384438"/>
              <a:gd name="connsiteX990" fmla="*/ 6457125 w 6704664"/>
              <a:gd name="connsiteY990" fmla="*/ 3533481 h 8384438"/>
              <a:gd name="connsiteX991" fmla="*/ 6440135 w 6704664"/>
              <a:gd name="connsiteY991" fmla="*/ 3559727 h 8384438"/>
              <a:gd name="connsiteX992" fmla="*/ 6456288 w 6704664"/>
              <a:gd name="connsiteY992" fmla="*/ 3581060 h 8384438"/>
              <a:gd name="connsiteX993" fmla="*/ 6442047 w 6704664"/>
              <a:gd name="connsiteY993" fmla="*/ 3596071 h 8384438"/>
              <a:gd name="connsiteX994" fmla="*/ 6476686 w 6704664"/>
              <a:gd name="connsiteY994" fmla="*/ 3619601 h 8384438"/>
              <a:gd name="connsiteX995" fmla="*/ 6469438 w 6704664"/>
              <a:gd name="connsiteY995" fmla="*/ 3640580 h 8384438"/>
              <a:gd name="connsiteX996" fmla="*/ 6451954 w 6704664"/>
              <a:gd name="connsiteY996" fmla="*/ 3625655 h 8384438"/>
              <a:gd name="connsiteX997" fmla="*/ 6446290 w 6704664"/>
              <a:gd name="connsiteY997" fmla="*/ 3644967 h 8384438"/>
              <a:gd name="connsiteX998" fmla="*/ 6491003 w 6704664"/>
              <a:gd name="connsiteY998" fmla="*/ 3669552 h 8384438"/>
              <a:gd name="connsiteX999" fmla="*/ 6491918 w 6704664"/>
              <a:gd name="connsiteY999" fmla="*/ 3686934 h 8384438"/>
              <a:gd name="connsiteX1000" fmla="*/ 6465770 w 6704664"/>
              <a:gd name="connsiteY1000" fmla="*/ 3697816 h 8384438"/>
              <a:gd name="connsiteX1001" fmla="*/ 6467931 w 6704664"/>
              <a:gd name="connsiteY1001" fmla="*/ 3738899 h 8384438"/>
              <a:gd name="connsiteX1002" fmla="*/ 6452274 w 6704664"/>
              <a:gd name="connsiteY1002" fmla="*/ 3758737 h 8384438"/>
              <a:gd name="connsiteX1003" fmla="*/ 6474174 w 6704664"/>
              <a:gd name="connsiteY1003" fmla="*/ 3762339 h 8384438"/>
              <a:gd name="connsiteX1004" fmla="*/ 6494156 w 6704664"/>
              <a:gd name="connsiteY1004" fmla="*/ 3792977 h 8384438"/>
              <a:gd name="connsiteX1005" fmla="*/ 6464924 w 6704664"/>
              <a:gd name="connsiteY1005" fmla="*/ 3840467 h 8384438"/>
              <a:gd name="connsiteX1006" fmla="*/ 6449437 w 6704664"/>
              <a:gd name="connsiteY1006" fmla="*/ 3831774 h 8384438"/>
              <a:gd name="connsiteX1007" fmla="*/ 6445604 w 6704664"/>
              <a:gd name="connsiteY1007" fmla="*/ 3854159 h 8384438"/>
              <a:gd name="connsiteX1008" fmla="*/ 6465837 w 6704664"/>
              <a:gd name="connsiteY1008" fmla="*/ 3857849 h 8384438"/>
              <a:gd name="connsiteX1009" fmla="*/ 6489068 w 6704664"/>
              <a:gd name="connsiteY1009" fmla="*/ 3886732 h 8384438"/>
              <a:gd name="connsiteX1010" fmla="*/ 6445515 w 6704664"/>
              <a:gd name="connsiteY1010" fmla="*/ 3915959 h 8384438"/>
              <a:gd name="connsiteX1011" fmla="*/ 6461334 w 6704664"/>
              <a:gd name="connsiteY1011" fmla="*/ 3930973 h 8384438"/>
              <a:gd name="connsiteX1012" fmla="*/ 6447177 w 6704664"/>
              <a:gd name="connsiteY1012" fmla="*/ 3947563 h 8384438"/>
              <a:gd name="connsiteX1013" fmla="*/ 6454753 w 6704664"/>
              <a:gd name="connsiteY1013" fmla="*/ 3964594 h 8384438"/>
              <a:gd name="connsiteX1014" fmla="*/ 6470742 w 6704664"/>
              <a:gd name="connsiteY1014" fmla="*/ 3951077 h 8384438"/>
              <a:gd name="connsiteX1015" fmla="*/ 6475985 w 6704664"/>
              <a:gd name="connsiteY1015" fmla="*/ 3987245 h 8384438"/>
              <a:gd name="connsiteX1016" fmla="*/ 6434683 w 6704664"/>
              <a:gd name="connsiteY1016" fmla="*/ 3995756 h 8384438"/>
              <a:gd name="connsiteX1017" fmla="*/ 6477065 w 6704664"/>
              <a:gd name="connsiteY1017" fmla="*/ 4007787 h 8384438"/>
              <a:gd name="connsiteX1018" fmla="*/ 6482976 w 6704664"/>
              <a:gd name="connsiteY1018" fmla="*/ 4024905 h 8384438"/>
              <a:gd name="connsiteX1019" fmla="*/ 6491802 w 6704664"/>
              <a:gd name="connsiteY1019" fmla="*/ 4033949 h 8384438"/>
              <a:gd name="connsiteX1020" fmla="*/ 6490552 w 6704664"/>
              <a:gd name="connsiteY1020" fmla="*/ 4041937 h 8384438"/>
              <a:gd name="connsiteX1021" fmla="*/ 6469646 w 6704664"/>
              <a:gd name="connsiteY1021" fmla="*/ 4088988 h 8384438"/>
              <a:gd name="connsiteX1022" fmla="*/ 6470394 w 6704664"/>
              <a:gd name="connsiteY1022" fmla="*/ 4103208 h 8384438"/>
              <a:gd name="connsiteX1023" fmla="*/ 6443663 w 6704664"/>
              <a:gd name="connsiteY1023" fmla="*/ 4134721 h 8384438"/>
              <a:gd name="connsiteX1024" fmla="*/ 6459981 w 6704664"/>
              <a:gd name="connsiteY1024" fmla="*/ 4159214 h 8384438"/>
              <a:gd name="connsiteX1025" fmla="*/ 6474052 w 6704664"/>
              <a:gd name="connsiteY1025" fmla="*/ 4172735 h 8384438"/>
              <a:gd name="connsiteX1026" fmla="*/ 6461476 w 6704664"/>
              <a:gd name="connsiteY1026" fmla="*/ 4187657 h 8384438"/>
              <a:gd name="connsiteX1027" fmla="*/ 6477214 w 6704664"/>
              <a:gd name="connsiteY1027" fmla="*/ 4201090 h 8384438"/>
              <a:gd name="connsiteX1028" fmla="*/ 6436493 w 6704664"/>
              <a:gd name="connsiteY1028" fmla="*/ 4220661 h 8384438"/>
              <a:gd name="connsiteX1029" fmla="*/ 6479123 w 6704664"/>
              <a:gd name="connsiteY1029" fmla="*/ 4269124 h 8384438"/>
              <a:gd name="connsiteX1030" fmla="*/ 6480370 w 6704664"/>
              <a:gd name="connsiteY1030" fmla="*/ 4292826 h 8384438"/>
              <a:gd name="connsiteX1031" fmla="*/ 6466295 w 6704664"/>
              <a:gd name="connsiteY1031" fmla="*/ 4310996 h 8384438"/>
              <a:gd name="connsiteX1032" fmla="*/ 6488440 w 6704664"/>
              <a:gd name="connsiteY1032" fmla="*/ 4351028 h 8384438"/>
              <a:gd name="connsiteX1033" fmla="*/ 6507009 w 6704664"/>
              <a:gd name="connsiteY1033" fmla="*/ 4354805 h 8384438"/>
              <a:gd name="connsiteX1034" fmla="*/ 6500344 w 6704664"/>
              <a:gd name="connsiteY1034" fmla="*/ 4386846 h 8384438"/>
              <a:gd name="connsiteX1035" fmla="*/ 6501757 w 6704664"/>
              <a:gd name="connsiteY1035" fmla="*/ 4413708 h 8384438"/>
              <a:gd name="connsiteX1036" fmla="*/ 6517495 w 6704664"/>
              <a:gd name="connsiteY1036" fmla="*/ 4427141 h 8384438"/>
              <a:gd name="connsiteX1037" fmla="*/ 6491346 w 6704664"/>
              <a:gd name="connsiteY1037" fmla="*/ 4438024 h 8384438"/>
              <a:gd name="connsiteX1038" fmla="*/ 6489013 w 6704664"/>
              <a:gd name="connsiteY1038" fmla="*/ 4457161 h 8384438"/>
              <a:gd name="connsiteX1039" fmla="*/ 6516076 w 6704664"/>
              <a:gd name="connsiteY1039" fmla="*/ 4463659 h 8384438"/>
              <a:gd name="connsiteX1040" fmla="*/ 6506578 w 6704664"/>
              <a:gd name="connsiteY1040" fmla="*/ 4505356 h 8384438"/>
              <a:gd name="connsiteX1041" fmla="*/ 6493834 w 6704664"/>
              <a:gd name="connsiteY1041" fmla="*/ 4548809 h 8384438"/>
              <a:gd name="connsiteX1042" fmla="*/ 6509572 w 6704664"/>
              <a:gd name="connsiteY1042" fmla="*/ 4562242 h 8384438"/>
              <a:gd name="connsiteX1043" fmla="*/ 6510901 w 6704664"/>
              <a:gd name="connsiteY1043" fmla="*/ 4587525 h 8384438"/>
              <a:gd name="connsiteX1044" fmla="*/ 6496744 w 6704664"/>
              <a:gd name="connsiteY1044" fmla="*/ 4604113 h 8384438"/>
              <a:gd name="connsiteX1045" fmla="*/ 6498074 w 6704664"/>
              <a:gd name="connsiteY1045" fmla="*/ 4629397 h 8384438"/>
              <a:gd name="connsiteX1046" fmla="*/ 6482335 w 6704664"/>
              <a:gd name="connsiteY1046" fmla="*/ 4647653 h 8384438"/>
              <a:gd name="connsiteX1047" fmla="*/ 6529298 w 6704664"/>
              <a:gd name="connsiteY1047" fmla="*/ 4651522 h 8384438"/>
              <a:gd name="connsiteX1048" fmla="*/ 6525549 w 6704664"/>
              <a:gd name="connsiteY1048" fmla="*/ 4675487 h 8384438"/>
              <a:gd name="connsiteX1049" fmla="*/ 6505563 w 6704664"/>
              <a:gd name="connsiteY1049" fmla="*/ 4676538 h 8384438"/>
              <a:gd name="connsiteX1050" fmla="*/ 6499148 w 6704664"/>
              <a:gd name="connsiteY1050" fmla="*/ 4713319 h 8384438"/>
              <a:gd name="connsiteX1051" fmla="*/ 6489655 w 6704664"/>
              <a:gd name="connsiteY1051" fmla="*/ 4723325 h 8384438"/>
              <a:gd name="connsiteX1052" fmla="*/ 6491816 w 6704664"/>
              <a:gd name="connsiteY1052" fmla="*/ 4764410 h 8384438"/>
              <a:gd name="connsiteX1053" fmla="*/ 6520793 w 6704664"/>
              <a:gd name="connsiteY1053" fmla="*/ 4775562 h 8384438"/>
              <a:gd name="connsiteX1054" fmla="*/ 6521624 w 6704664"/>
              <a:gd name="connsiteY1054" fmla="*/ 4791362 h 8384438"/>
              <a:gd name="connsiteX1055" fmla="*/ 6489063 w 6704664"/>
              <a:gd name="connsiteY1055" fmla="*/ 4807335 h 8384438"/>
              <a:gd name="connsiteX1056" fmla="*/ 6523619 w 6704664"/>
              <a:gd name="connsiteY1056" fmla="*/ 4829286 h 8384438"/>
              <a:gd name="connsiteX1057" fmla="*/ 6511542 w 6704664"/>
              <a:gd name="connsiteY1057" fmla="*/ 4853689 h 8384438"/>
              <a:gd name="connsiteX1058" fmla="*/ 6496054 w 6704664"/>
              <a:gd name="connsiteY1058" fmla="*/ 4844996 h 8384438"/>
              <a:gd name="connsiteX1059" fmla="*/ 6511542 w 6704664"/>
              <a:gd name="connsiteY1059" fmla="*/ 4853689 h 8384438"/>
              <a:gd name="connsiteX1060" fmla="*/ 6510875 w 6704664"/>
              <a:gd name="connsiteY1060" fmla="*/ 4872738 h 8384438"/>
              <a:gd name="connsiteX1061" fmla="*/ 6539685 w 6704664"/>
              <a:gd name="connsiteY1061" fmla="*/ 4880730 h 8384438"/>
              <a:gd name="connsiteX1062" fmla="*/ 6527358 w 6704664"/>
              <a:gd name="connsiteY1062" fmla="*/ 4900392 h 8384438"/>
              <a:gd name="connsiteX1063" fmla="*/ 6528771 w 6704664"/>
              <a:gd name="connsiteY1063" fmla="*/ 4927255 h 8384438"/>
              <a:gd name="connsiteX1064" fmla="*/ 6502542 w 6704664"/>
              <a:gd name="connsiteY1064" fmla="*/ 4936558 h 8384438"/>
              <a:gd name="connsiteX1065" fmla="*/ 6530766 w 6704664"/>
              <a:gd name="connsiteY1065" fmla="*/ 4965179 h 8384438"/>
              <a:gd name="connsiteX1066" fmla="*/ 6516527 w 6704664"/>
              <a:gd name="connsiteY1066" fmla="*/ 4980188 h 8384438"/>
              <a:gd name="connsiteX1067" fmla="*/ 6517857 w 6704664"/>
              <a:gd name="connsiteY1067" fmla="*/ 5005470 h 8384438"/>
              <a:gd name="connsiteX1068" fmla="*/ 6505282 w 6704664"/>
              <a:gd name="connsiteY1068" fmla="*/ 5020393 h 8384438"/>
              <a:gd name="connsiteX1069" fmla="*/ 6520017 w 6704664"/>
              <a:gd name="connsiteY1069" fmla="*/ 5046555 h 8384438"/>
              <a:gd name="connsiteX1070" fmla="*/ 6522178 w 6704664"/>
              <a:gd name="connsiteY1070" fmla="*/ 5087638 h 8384438"/>
              <a:gd name="connsiteX1071" fmla="*/ 6509604 w 6704664"/>
              <a:gd name="connsiteY1071" fmla="*/ 5102560 h 8384438"/>
              <a:gd name="connsiteX1072" fmla="*/ 6549906 w 6704664"/>
              <a:gd name="connsiteY1072" fmla="*/ 5106778 h 8384438"/>
              <a:gd name="connsiteX1073" fmla="*/ 6554317 w 6704664"/>
              <a:gd name="connsiteY1073" fmla="*/ 5127145 h 8384438"/>
              <a:gd name="connsiteX1074" fmla="*/ 6523257 w 6704664"/>
              <a:gd name="connsiteY1074" fmla="*/ 5139870 h 8384438"/>
              <a:gd name="connsiteX1075" fmla="*/ 6553981 w 6704664"/>
              <a:gd name="connsiteY1075" fmla="*/ 5152515 h 8384438"/>
              <a:gd name="connsiteX1076" fmla="*/ 6555394 w 6704664"/>
              <a:gd name="connsiteY1076" fmla="*/ 5179377 h 8384438"/>
              <a:gd name="connsiteX1077" fmla="*/ 6571131 w 6704664"/>
              <a:gd name="connsiteY1077" fmla="*/ 5192810 h 8384438"/>
              <a:gd name="connsiteX1078" fmla="*/ 6571962 w 6704664"/>
              <a:gd name="connsiteY1078" fmla="*/ 5208612 h 8384438"/>
              <a:gd name="connsiteX1079" fmla="*/ 6550644 w 6704664"/>
              <a:gd name="connsiteY1079" fmla="*/ 5216071 h 8384438"/>
              <a:gd name="connsiteX1080" fmla="*/ 6532489 w 6704664"/>
              <a:gd name="connsiteY1080" fmla="*/ 5251885 h 8384438"/>
              <a:gd name="connsiteX1081" fmla="*/ 6535315 w 6704664"/>
              <a:gd name="connsiteY1081" fmla="*/ 5305610 h 8384438"/>
              <a:gd name="connsiteX1082" fmla="*/ 6557214 w 6704664"/>
              <a:gd name="connsiteY1082" fmla="*/ 5309211 h 8384438"/>
              <a:gd name="connsiteX1083" fmla="*/ 6550550 w 6704664"/>
              <a:gd name="connsiteY1083" fmla="*/ 5341253 h 8384438"/>
              <a:gd name="connsiteX1084" fmla="*/ 6551880 w 6704664"/>
              <a:gd name="connsiteY1084" fmla="*/ 5366535 h 8384438"/>
              <a:gd name="connsiteX1085" fmla="*/ 6584018 w 6704664"/>
              <a:gd name="connsiteY1085" fmla="*/ 5406042 h 8384438"/>
              <a:gd name="connsiteX1086" fmla="*/ 6529641 w 6704664"/>
              <a:gd name="connsiteY1086" fmla="*/ 5419994 h 8384438"/>
              <a:gd name="connsiteX1087" fmla="*/ 6526559 w 6704664"/>
              <a:gd name="connsiteY1087" fmla="*/ 5424909 h 8384438"/>
              <a:gd name="connsiteX1088" fmla="*/ 6570273 w 6704664"/>
              <a:gd name="connsiteY1088" fmla="*/ 5462223 h 8384438"/>
              <a:gd name="connsiteX1089" fmla="*/ 6542627 w 6704664"/>
              <a:gd name="connsiteY1089" fmla="*/ 5476353 h 8384438"/>
              <a:gd name="connsiteX1090" fmla="*/ 6558362 w 6704664"/>
              <a:gd name="connsiteY1090" fmla="*/ 5489786 h 8384438"/>
              <a:gd name="connsiteX1091" fmla="*/ 6545788 w 6704664"/>
              <a:gd name="connsiteY1091" fmla="*/ 5504709 h 8384438"/>
              <a:gd name="connsiteX1092" fmla="*/ 6561690 w 6704664"/>
              <a:gd name="connsiteY1092" fmla="*/ 5521301 h 8384438"/>
              <a:gd name="connsiteX1093" fmla="*/ 6548032 w 6704664"/>
              <a:gd name="connsiteY1093" fmla="*/ 5547372 h 8384438"/>
              <a:gd name="connsiteX1094" fmla="*/ 6584085 w 6704664"/>
              <a:gd name="connsiteY1094" fmla="*/ 5566075 h 8384438"/>
              <a:gd name="connsiteX1095" fmla="*/ 6545031 w 6704664"/>
              <a:gd name="connsiteY1095" fmla="*/ 5585558 h 8384438"/>
              <a:gd name="connsiteX1096" fmla="*/ 6563181 w 6704664"/>
              <a:gd name="connsiteY1096" fmla="*/ 5613125 h 8384438"/>
              <a:gd name="connsiteX1097" fmla="*/ 6554602 w 6704664"/>
              <a:gd name="connsiteY1097" fmla="*/ 5640513 h 8384438"/>
              <a:gd name="connsiteX1098" fmla="*/ 6578415 w 6704664"/>
              <a:gd name="connsiteY1098" fmla="*/ 5648768 h 8384438"/>
              <a:gd name="connsiteX1099" fmla="*/ 6552600 w 6704664"/>
              <a:gd name="connsiteY1099" fmla="*/ 5665970 h 8384438"/>
              <a:gd name="connsiteX1100" fmla="*/ 6539943 w 6704664"/>
              <a:gd name="connsiteY1100" fmla="*/ 5679313 h 8384438"/>
              <a:gd name="connsiteX1101" fmla="*/ 6540691 w 6704664"/>
              <a:gd name="connsiteY1101" fmla="*/ 5693534 h 8384438"/>
              <a:gd name="connsiteX1102" fmla="*/ 6582156 w 6704664"/>
              <a:gd name="connsiteY1102" fmla="*/ 5719874 h 8384438"/>
              <a:gd name="connsiteX1103" fmla="*/ 6574245 w 6704664"/>
              <a:gd name="connsiteY1103" fmla="*/ 5728212 h 8384438"/>
              <a:gd name="connsiteX1104" fmla="*/ 6584816 w 6704664"/>
              <a:gd name="connsiteY1104" fmla="*/ 5770438 h 8384438"/>
              <a:gd name="connsiteX1105" fmla="*/ 6580236 w 6704664"/>
              <a:gd name="connsiteY1105" fmla="*/ 5778602 h 8384438"/>
              <a:gd name="connsiteX1106" fmla="*/ 6543179 w 6704664"/>
              <a:gd name="connsiteY1106" fmla="*/ 5804319 h 8384438"/>
              <a:gd name="connsiteX1107" fmla="*/ 6590887 w 6704664"/>
              <a:gd name="connsiteY1107" fmla="*/ 5854098 h 8384438"/>
              <a:gd name="connsiteX1108" fmla="*/ 6579059 w 6704664"/>
              <a:gd name="connsiteY1108" fmla="*/ 5883241 h 8384438"/>
              <a:gd name="connsiteX1109" fmla="*/ 6599540 w 6704664"/>
              <a:gd name="connsiteY1109" fmla="*/ 5923362 h 8384438"/>
              <a:gd name="connsiteX1110" fmla="*/ 6623270 w 6704664"/>
              <a:gd name="connsiteY1110" fmla="*/ 5930037 h 8384438"/>
              <a:gd name="connsiteX1111" fmla="*/ 6625602 w 6704664"/>
              <a:gd name="connsiteY1111" fmla="*/ 5942589 h 8384438"/>
              <a:gd name="connsiteX1112" fmla="*/ 6572887 w 6704664"/>
              <a:gd name="connsiteY1112" fmla="*/ 5988144 h 8384438"/>
              <a:gd name="connsiteX1113" fmla="*/ 6583545 w 6704664"/>
              <a:gd name="connsiteY1113" fmla="*/ 6000260 h 8384438"/>
              <a:gd name="connsiteX1114" fmla="*/ 6586538 w 6704664"/>
              <a:gd name="connsiteY1114" fmla="*/ 6057145 h 8384438"/>
              <a:gd name="connsiteX1115" fmla="*/ 6614180 w 6704664"/>
              <a:gd name="connsiteY1115" fmla="*/ 6074705 h 8384438"/>
              <a:gd name="connsiteX1116" fmla="*/ 6640827 w 6704664"/>
              <a:gd name="connsiteY1116" fmla="*/ 6073303 h 8384438"/>
              <a:gd name="connsiteX1117" fmla="*/ 6661809 w 6704664"/>
              <a:gd name="connsiteY1117" fmla="*/ 6091214 h 8384438"/>
              <a:gd name="connsiteX1118" fmla="*/ 6637243 w 6704664"/>
              <a:gd name="connsiteY1118" fmla="*/ 6100429 h 8384438"/>
              <a:gd name="connsiteX1119" fmla="*/ 6614262 w 6704664"/>
              <a:gd name="connsiteY1119" fmla="*/ 6107977 h 8384438"/>
              <a:gd name="connsiteX1120" fmla="*/ 6648068 w 6704664"/>
              <a:gd name="connsiteY1120" fmla="*/ 6115704 h 8384438"/>
              <a:gd name="connsiteX1121" fmla="*/ 6650312 w 6704664"/>
              <a:gd name="connsiteY1121" fmla="*/ 6158368 h 8384438"/>
              <a:gd name="connsiteX1122" fmla="*/ 6625992 w 6704664"/>
              <a:gd name="connsiteY1122" fmla="*/ 6204014 h 8384438"/>
              <a:gd name="connsiteX1123" fmla="*/ 6653055 w 6704664"/>
              <a:gd name="connsiteY1123" fmla="*/ 6210513 h 8384438"/>
              <a:gd name="connsiteX1124" fmla="*/ 6613000 w 6704664"/>
              <a:gd name="connsiteY1124" fmla="*/ 6242726 h 8384438"/>
              <a:gd name="connsiteX1125" fmla="*/ 6648970 w 6704664"/>
              <a:gd name="connsiteY1125" fmla="*/ 6259848 h 8384438"/>
              <a:gd name="connsiteX1126" fmla="*/ 6685854 w 6704664"/>
              <a:gd name="connsiteY1126" fmla="*/ 6294352 h 8384438"/>
              <a:gd name="connsiteX1127" fmla="*/ 6661289 w 6704664"/>
              <a:gd name="connsiteY1127" fmla="*/ 6303566 h 8384438"/>
              <a:gd name="connsiteX1128" fmla="*/ 6658957 w 6704664"/>
              <a:gd name="connsiteY1128" fmla="*/ 6322703 h 8384438"/>
              <a:gd name="connsiteX1129" fmla="*/ 6687684 w 6704664"/>
              <a:gd name="connsiteY1129" fmla="*/ 6329115 h 8384438"/>
              <a:gd name="connsiteX1130" fmla="*/ 6692425 w 6704664"/>
              <a:gd name="connsiteY1130" fmla="*/ 6387493 h 8384438"/>
              <a:gd name="connsiteX1131" fmla="*/ 6704664 w 6704664"/>
              <a:gd name="connsiteY1131" fmla="*/ 6397940 h 8384438"/>
              <a:gd name="connsiteX1132" fmla="*/ 6679096 w 6704664"/>
              <a:gd name="connsiteY1132" fmla="*/ 6451574 h 8384438"/>
              <a:gd name="connsiteX1133" fmla="*/ 6694914 w 6704664"/>
              <a:gd name="connsiteY1133" fmla="*/ 6466587 h 8384438"/>
              <a:gd name="connsiteX1134" fmla="*/ 6669764 w 6704664"/>
              <a:gd name="connsiteY1134" fmla="*/ 6496431 h 8384438"/>
              <a:gd name="connsiteX1135" fmla="*/ 6695910 w 6704664"/>
              <a:gd name="connsiteY1135" fmla="*/ 6517240 h 8384438"/>
              <a:gd name="connsiteX1136" fmla="*/ 6693078 w 6704664"/>
              <a:gd name="connsiteY1136" fmla="*/ 6526896 h 8384438"/>
              <a:gd name="connsiteX1137" fmla="*/ 6658769 w 6704664"/>
              <a:gd name="connsiteY1137" fmla="*/ 6541376 h 8384438"/>
              <a:gd name="connsiteX1138" fmla="*/ 6612059 w 6704664"/>
              <a:gd name="connsiteY1138" fmla="*/ 6510559 h 8384438"/>
              <a:gd name="connsiteX1139" fmla="*/ 6598157 w 6704664"/>
              <a:gd name="connsiteY1139" fmla="*/ 6468508 h 8384438"/>
              <a:gd name="connsiteX1140" fmla="*/ 6595158 w 6704664"/>
              <a:gd name="connsiteY1140" fmla="*/ 6475004 h 8384438"/>
              <a:gd name="connsiteX1141" fmla="*/ 6598566 w 6704664"/>
              <a:gd name="connsiteY1141" fmla="*/ 6539789 h 8384438"/>
              <a:gd name="connsiteX1142" fmla="*/ 6637867 w 6704664"/>
              <a:gd name="connsiteY1142" fmla="*/ 6556736 h 8384438"/>
              <a:gd name="connsiteX1143" fmla="*/ 6658769 w 6704664"/>
              <a:gd name="connsiteY1143" fmla="*/ 6541376 h 8384438"/>
              <a:gd name="connsiteX1144" fmla="*/ 6658600 w 6704664"/>
              <a:gd name="connsiteY1144" fmla="*/ 6569906 h 8384438"/>
              <a:gd name="connsiteX1145" fmla="*/ 6621961 w 6704664"/>
              <a:gd name="connsiteY1145" fmla="*/ 6571833 h 8384438"/>
              <a:gd name="connsiteX1146" fmla="*/ 6606309 w 6704664"/>
              <a:gd name="connsiteY1146" fmla="*/ 6559981 h 8384438"/>
              <a:gd name="connsiteX1147" fmla="*/ 6589655 w 6704664"/>
              <a:gd name="connsiteY1147" fmla="*/ 6560857 h 8384438"/>
              <a:gd name="connsiteX1148" fmla="*/ 6582574 w 6704664"/>
              <a:gd name="connsiteY1148" fmla="*/ 6584998 h 8384438"/>
              <a:gd name="connsiteX1149" fmla="*/ 6558009 w 6704664"/>
              <a:gd name="connsiteY1149" fmla="*/ 6594212 h 8384438"/>
              <a:gd name="connsiteX1150" fmla="*/ 6573829 w 6704664"/>
              <a:gd name="connsiteY1150" fmla="*/ 6609226 h 8384438"/>
              <a:gd name="connsiteX1151" fmla="*/ 6550842 w 6704664"/>
              <a:gd name="connsiteY1151" fmla="*/ 6648462 h 8384438"/>
              <a:gd name="connsiteX1152" fmla="*/ 6535935 w 6704664"/>
              <a:gd name="connsiteY1152" fmla="*/ 6682521 h 8384438"/>
              <a:gd name="connsiteX1153" fmla="*/ 6521359 w 6704664"/>
              <a:gd name="connsiteY1153" fmla="*/ 6722902 h 8384438"/>
              <a:gd name="connsiteX1154" fmla="*/ 6533511 w 6704664"/>
              <a:gd name="connsiteY1154" fmla="*/ 6763459 h 8384438"/>
              <a:gd name="connsiteX1155" fmla="*/ 6502787 w 6704664"/>
              <a:gd name="connsiteY1155" fmla="*/ 6750815 h 8384438"/>
              <a:gd name="connsiteX1156" fmla="*/ 6470804 w 6704664"/>
              <a:gd name="connsiteY1156" fmla="*/ 6841230 h 8384438"/>
              <a:gd name="connsiteX1157" fmla="*/ 6434495 w 6704664"/>
              <a:gd name="connsiteY1157" fmla="*/ 6881168 h 8384438"/>
              <a:gd name="connsiteX1158" fmla="*/ 6415341 w 6704664"/>
              <a:gd name="connsiteY1158" fmla="*/ 6898022 h 8384438"/>
              <a:gd name="connsiteX1159" fmla="*/ 6416588 w 6704664"/>
              <a:gd name="connsiteY1159" fmla="*/ 6921724 h 8384438"/>
              <a:gd name="connsiteX1160" fmla="*/ 6377360 w 6704664"/>
              <a:gd name="connsiteY1160" fmla="*/ 7001429 h 8384438"/>
              <a:gd name="connsiteX1161" fmla="*/ 6380520 w 6704664"/>
              <a:gd name="connsiteY1161" fmla="*/ 7061475 h 8384438"/>
              <a:gd name="connsiteX1162" fmla="*/ 6364862 w 6704664"/>
              <a:gd name="connsiteY1162" fmla="*/ 7081311 h 8384438"/>
              <a:gd name="connsiteX1163" fmla="*/ 6367772 w 6704664"/>
              <a:gd name="connsiteY1163" fmla="*/ 7136616 h 8384438"/>
              <a:gd name="connsiteX1164" fmla="*/ 6301079 w 6704664"/>
              <a:gd name="connsiteY1164" fmla="*/ 7075159 h 8384438"/>
              <a:gd name="connsiteX1165" fmla="*/ 6286091 w 6704664"/>
              <a:gd name="connsiteY1165" fmla="*/ 7075948 h 8384438"/>
              <a:gd name="connsiteX1166" fmla="*/ 6281344 w 6704664"/>
              <a:gd name="connsiteY1166" fmla="*/ 7080951 h 8384438"/>
              <a:gd name="connsiteX1167" fmla="*/ 6282588 w 6704664"/>
              <a:gd name="connsiteY1167" fmla="*/ 7136343 h 8384438"/>
              <a:gd name="connsiteX1168" fmla="*/ 6298242 w 6704664"/>
              <a:gd name="connsiteY1168" fmla="*/ 7148196 h 8384438"/>
              <a:gd name="connsiteX1169" fmla="*/ 6284002 w 6704664"/>
              <a:gd name="connsiteY1169" fmla="*/ 7163206 h 8384438"/>
              <a:gd name="connsiteX1170" fmla="*/ 6299738 w 6704664"/>
              <a:gd name="connsiteY1170" fmla="*/ 7176639 h 8384438"/>
              <a:gd name="connsiteX1171" fmla="*/ 6292737 w 6704664"/>
              <a:gd name="connsiteY1171" fmla="*/ 7234050 h 8384438"/>
              <a:gd name="connsiteX1172" fmla="*/ 6301563 w 6704664"/>
              <a:gd name="connsiteY1172" fmla="*/ 7243093 h 8384438"/>
              <a:gd name="connsiteX1173" fmla="*/ 6272332 w 6704664"/>
              <a:gd name="connsiteY1173" fmla="*/ 7290581 h 8384438"/>
              <a:gd name="connsiteX1174" fmla="*/ 6251598 w 6704664"/>
              <a:gd name="connsiteY1174" fmla="*/ 7277411 h 8384438"/>
              <a:gd name="connsiteX1175" fmla="*/ 6244525 w 6704664"/>
              <a:gd name="connsiteY1175" fmla="*/ 7238170 h 8384438"/>
              <a:gd name="connsiteX1176" fmla="*/ 6242447 w 6704664"/>
              <a:gd name="connsiteY1176" fmla="*/ 7198667 h 8384438"/>
              <a:gd name="connsiteX1177" fmla="*/ 6233707 w 6704664"/>
              <a:gd name="connsiteY1177" fmla="*/ 7159514 h 8384438"/>
              <a:gd name="connsiteX1178" fmla="*/ 6226957 w 6704664"/>
              <a:gd name="connsiteY1178" fmla="*/ 7221665 h 8384438"/>
              <a:gd name="connsiteX1179" fmla="*/ 6217462 w 6704664"/>
              <a:gd name="connsiteY1179" fmla="*/ 7231672 h 8384438"/>
              <a:gd name="connsiteX1180" fmla="*/ 6231950 w 6704664"/>
              <a:gd name="connsiteY1180" fmla="*/ 7253093 h 8384438"/>
              <a:gd name="connsiteX1181" fmla="*/ 6216792 w 6704664"/>
              <a:gd name="connsiteY1181" fmla="*/ 7282411 h 8384438"/>
              <a:gd name="connsiteX1182" fmla="*/ 6232861 w 6704664"/>
              <a:gd name="connsiteY1182" fmla="*/ 7302164 h 8384438"/>
              <a:gd name="connsiteX1183" fmla="*/ 6223367 w 6704664"/>
              <a:gd name="connsiteY1183" fmla="*/ 7312171 h 8384438"/>
              <a:gd name="connsiteX1184" fmla="*/ 6220619 w 6704664"/>
              <a:gd name="connsiteY1184" fmla="*/ 7323408 h 8384438"/>
              <a:gd name="connsiteX1185" fmla="*/ 6223445 w 6704664"/>
              <a:gd name="connsiteY1185" fmla="*/ 7377133 h 8384438"/>
              <a:gd name="connsiteX1186" fmla="*/ 6202125 w 6704664"/>
              <a:gd name="connsiteY1186" fmla="*/ 7416283 h 8384438"/>
              <a:gd name="connsiteX1187" fmla="*/ 6190962 w 6704664"/>
              <a:gd name="connsiteY1187" fmla="*/ 7458067 h 8384438"/>
              <a:gd name="connsiteX1188" fmla="*/ 6185717 w 6704664"/>
              <a:gd name="connsiteY1188" fmla="*/ 7453589 h 8384438"/>
              <a:gd name="connsiteX1189" fmla="*/ 6182974 w 6704664"/>
              <a:gd name="connsiteY1189" fmla="*/ 7401444 h 8384438"/>
              <a:gd name="connsiteX1190" fmla="*/ 6159494 w 6704664"/>
              <a:gd name="connsiteY1190" fmla="*/ 7367820 h 8384438"/>
              <a:gd name="connsiteX1191" fmla="*/ 6154498 w 6704664"/>
              <a:gd name="connsiteY1191" fmla="*/ 7368083 h 8384438"/>
              <a:gd name="connsiteX1192" fmla="*/ 6148669 w 6704664"/>
              <a:gd name="connsiteY1192" fmla="*/ 7384234 h 8384438"/>
              <a:gd name="connsiteX1193" fmla="*/ 6139339 w 6704664"/>
              <a:gd name="connsiteY1193" fmla="*/ 7429092 h 8384438"/>
              <a:gd name="connsiteX1194" fmla="*/ 6140669 w 6704664"/>
              <a:gd name="connsiteY1194" fmla="*/ 7454374 h 8384438"/>
              <a:gd name="connsiteX1195" fmla="*/ 6154656 w 6704664"/>
              <a:gd name="connsiteY1195" fmla="*/ 7466314 h 8384438"/>
              <a:gd name="connsiteX1196" fmla="*/ 6142082 w 6704664"/>
              <a:gd name="connsiteY1196" fmla="*/ 7481236 h 8384438"/>
              <a:gd name="connsiteX1197" fmla="*/ 6144076 w 6704664"/>
              <a:gd name="connsiteY1197" fmla="*/ 7519160 h 8384438"/>
              <a:gd name="connsiteX1198" fmla="*/ 6126838 w 6704664"/>
              <a:gd name="connsiteY1198" fmla="*/ 7540665 h 8384438"/>
              <a:gd name="connsiteX1199" fmla="*/ 6085289 w 6704664"/>
              <a:gd name="connsiteY1199" fmla="*/ 7512745 h 8384438"/>
              <a:gd name="connsiteX1200" fmla="*/ 6062979 w 6704664"/>
              <a:gd name="connsiteY1200" fmla="*/ 7437863 h 8384438"/>
              <a:gd name="connsiteX1201" fmla="*/ 6041157 w 6704664"/>
              <a:gd name="connsiteY1201" fmla="*/ 7499222 h 8384438"/>
              <a:gd name="connsiteX1202" fmla="*/ 6026917 w 6704664"/>
              <a:gd name="connsiteY1202" fmla="*/ 7514231 h 8384438"/>
              <a:gd name="connsiteX1203" fmla="*/ 6028913 w 6704664"/>
              <a:gd name="connsiteY1203" fmla="*/ 7552155 h 8384438"/>
              <a:gd name="connsiteX1204" fmla="*/ 5978778 w 6704664"/>
              <a:gd name="connsiteY1204" fmla="*/ 7615004 h 8384438"/>
              <a:gd name="connsiteX1205" fmla="*/ 5971037 w 6704664"/>
              <a:gd name="connsiteY1205" fmla="*/ 7594812 h 8384438"/>
              <a:gd name="connsiteX1206" fmla="*/ 5939227 w 6704664"/>
              <a:gd name="connsiteY1206" fmla="*/ 7593316 h 8384438"/>
              <a:gd name="connsiteX1207" fmla="*/ 5915078 w 6704664"/>
              <a:gd name="connsiteY1207" fmla="*/ 7610432 h 8384438"/>
              <a:gd name="connsiteX1208" fmla="*/ 5889016 w 6704664"/>
              <a:gd name="connsiteY1208" fmla="*/ 7591203 h 8384438"/>
              <a:gd name="connsiteX1209" fmla="*/ 5886191 w 6704664"/>
              <a:gd name="connsiteY1209" fmla="*/ 7537479 h 8384438"/>
              <a:gd name="connsiteX1210" fmla="*/ 5868623 w 6704664"/>
              <a:gd name="connsiteY1210" fmla="*/ 7520974 h 8384438"/>
              <a:gd name="connsiteX1211" fmla="*/ 5865132 w 6704664"/>
              <a:gd name="connsiteY1211" fmla="*/ 7454608 h 8384438"/>
              <a:gd name="connsiteX1212" fmla="*/ 5851226 w 6704664"/>
              <a:gd name="connsiteY1212" fmla="*/ 7444248 h 8384438"/>
              <a:gd name="connsiteX1213" fmla="*/ 5844578 w 6704664"/>
              <a:gd name="connsiteY1213" fmla="*/ 7317836 h 8384438"/>
              <a:gd name="connsiteX1214" fmla="*/ 5827677 w 6704664"/>
              <a:gd name="connsiteY1214" fmla="*/ 7282281 h 8384438"/>
              <a:gd name="connsiteX1215" fmla="*/ 5840251 w 6704664"/>
              <a:gd name="connsiteY1215" fmla="*/ 7267359 h 8384438"/>
              <a:gd name="connsiteX1216" fmla="*/ 5838173 w 6704664"/>
              <a:gd name="connsiteY1216" fmla="*/ 7227856 h 8384438"/>
              <a:gd name="connsiteX1217" fmla="*/ 5824103 w 6704664"/>
              <a:gd name="connsiteY1217" fmla="*/ 7214335 h 8384438"/>
              <a:gd name="connsiteX1218" fmla="*/ 5812050 w 6704664"/>
              <a:gd name="connsiteY1218" fmla="*/ 6985214 h 8384438"/>
              <a:gd name="connsiteX1219" fmla="*/ 5801559 w 6704664"/>
              <a:gd name="connsiteY1219" fmla="*/ 6976259 h 8384438"/>
              <a:gd name="connsiteX1220" fmla="*/ 5796314 w 6704664"/>
              <a:gd name="connsiteY1220" fmla="*/ 6971781 h 8384438"/>
              <a:gd name="connsiteX1221" fmla="*/ 5787254 w 6704664"/>
              <a:gd name="connsiteY1221" fmla="*/ 6799545 h 8384438"/>
              <a:gd name="connsiteX1222" fmla="*/ 5773100 w 6704664"/>
              <a:gd name="connsiteY1222" fmla="*/ 6784445 h 8384438"/>
              <a:gd name="connsiteX1223" fmla="*/ 5784176 w 6704664"/>
              <a:gd name="connsiteY1223" fmla="*/ 6772771 h 8384438"/>
              <a:gd name="connsiteX1224" fmla="*/ 5771770 w 6704664"/>
              <a:gd name="connsiteY1224" fmla="*/ 6759163 h 8384438"/>
              <a:gd name="connsiteX1225" fmla="*/ 5764206 w 6704664"/>
              <a:gd name="connsiteY1225" fmla="*/ 6615370 h 8384438"/>
              <a:gd name="connsiteX1226" fmla="*/ 5747554 w 6704664"/>
              <a:gd name="connsiteY1226" fmla="*/ 6584555 h 8384438"/>
              <a:gd name="connsiteX1227" fmla="*/ 5760213 w 6704664"/>
              <a:gd name="connsiteY1227" fmla="*/ 6571214 h 8384438"/>
              <a:gd name="connsiteX1228" fmla="*/ 5746058 w 6704664"/>
              <a:gd name="connsiteY1228" fmla="*/ 6556113 h 8384438"/>
              <a:gd name="connsiteX1229" fmla="*/ 5747059 w 6704664"/>
              <a:gd name="connsiteY1229" fmla="*/ 6543384 h 8384438"/>
              <a:gd name="connsiteX1230" fmla="*/ 5757969 w 6704664"/>
              <a:gd name="connsiteY1230" fmla="*/ 6528550 h 8384438"/>
              <a:gd name="connsiteX1231" fmla="*/ 5743980 w 6704664"/>
              <a:gd name="connsiteY1231" fmla="*/ 6516609 h 8384438"/>
              <a:gd name="connsiteX1232" fmla="*/ 5735503 w 6704664"/>
              <a:gd name="connsiteY1232" fmla="*/ 6355435 h 8384438"/>
              <a:gd name="connsiteX1233" fmla="*/ 5721514 w 6704664"/>
              <a:gd name="connsiteY1233" fmla="*/ 6343494 h 8384438"/>
              <a:gd name="connsiteX1234" fmla="*/ 5714532 w 6704664"/>
              <a:gd name="connsiteY1234" fmla="*/ 6210762 h 8384438"/>
              <a:gd name="connsiteX1235" fmla="*/ 5695298 w 6704664"/>
              <a:gd name="connsiteY1235" fmla="*/ 6194344 h 8384438"/>
              <a:gd name="connsiteX1236" fmla="*/ 5691559 w 6704664"/>
              <a:gd name="connsiteY1236" fmla="*/ 6123237 h 8384438"/>
              <a:gd name="connsiteX1237" fmla="*/ 5656585 w 6704664"/>
              <a:gd name="connsiteY1237" fmla="*/ 6125077 h 8384438"/>
              <a:gd name="connsiteX1238" fmla="*/ 5679898 w 6704664"/>
              <a:gd name="connsiteY1238" fmla="*/ 6155542 h 8384438"/>
              <a:gd name="connsiteX1239" fmla="*/ 5667405 w 6704664"/>
              <a:gd name="connsiteY1239" fmla="*/ 6172044 h 8384438"/>
              <a:gd name="connsiteX1240" fmla="*/ 5678710 w 6704664"/>
              <a:gd name="connsiteY1240" fmla="*/ 6386944 h 8384438"/>
              <a:gd name="connsiteX1241" fmla="*/ 5665969 w 6704664"/>
              <a:gd name="connsiteY1241" fmla="*/ 6398705 h 8384438"/>
              <a:gd name="connsiteX1242" fmla="*/ 5680040 w 6704664"/>
              <a:gd name="connsiteY1242" fmla="*/ 6412226 h 8384438"/>
              <a:gd name="connsiteX1243" fmla="*/ 5669048 w 6704664"/>
              <a:gd name="connsiteY1243" fmla="*/ 6425480 h 8384438"/>
              <a:gd name="connsiteX1244" fmla="*/ 5667044 w 6704664"/>
              <a:gd name="connsiteY1244" fmla="*/ 6482627 h 8384438"/>
              <a:gd name="connsiteX1245" fmla="*/ 5656051 w 6704664"/>
              <a:gd name="connsiteY1245" fmla="*/ 6495882 h 8384438"/>
              <a:gd name="connsiteX1246" fmla="*/ 5670039 w 6704664"/>
              <a:gd name="connsiteY1246" fmla="*/ 6507823 h 8384438"/>
              <a:gd name="connsiteX1247" fmla="*/ 5676356 w 6704664"/>
              <a:gd name="connsiteY1247" fmla="*/ 6627914 h 8384438"/>
              <a:gd name="connsiteX1248" fmla="*/ 5690343 w 6704664"/>
              <a:gd name="connsiteY1248" fmla="*/ 6639854 h 8384438"/>
              <a:gd name="connsiteX1249" fmla="*/ 5679434 w 6704664"/>
              <a:gd name="connsiteY1249" fmla="*/ 6654688 h 8384438"/>
              <a:gd name="connsiteX1250" fmla="*/ 5693506 w 6704664"/>
              <a:gd name="connsiteY1250" fmla="*/ 6668209 h 8384438"/>
              <a:gd name="connsiteX1251" fmla="*/ 5696331 w 6704664"/>
              <a:gd name="connsiteY1251" fmla="*/ 6721933 h 8384438"/>
              <a:gd name="connsiteX1252" fmla="*/ 5682092 w 6704664"/>
              <a:gd name="connsiteY1252" fmla="*/ 6736943 h 8384438"/>
              <a:gd name="connsiteX1253" fmla="*/ 5686996 w 6704664"/>
              <a:gd name="connsiteY1253" fmla="*/ 6830172 h 8384438"/>
              <a:gd name="connsiteX1254" fmla="*/ 5702731 w 6704664"/>
              <a:gd name="connsiteY1254" fmla="*/ 6843605 h 8384438"/>
              <a:gd name="connsiteX1255" fmla="*/ 5689991 w 6704664"/>
              <a:gd name="connsiteY1255" fmla="*/ 6855367 h 8384438"/>
              <a:gd name="connsiteX1256" fmla="*/ 5693315 w 6704664"/>
              <a:gd name="connsiteY1256" fmla="*/ 6918572 h 8384438"/>
              <a:gd name="connsiteX1257" fmla="*/ 5677991 w 6704664"/>
              <a:gd name="connsiteY1257" fmla="*/ 6944730 h 8384438"/>
              <a:gd name="connsiteX1258" fmla="*/ 5696142 w 6704664"/>
              <a:gd name="connsiteY1258" fmla="*/ 6972297 h 8384438"/>
              <a:gd name="connsiteX1259" fmla="*/ 5682234 w 6704664"/>
              <a:gd name="connsiteY1259" fmla="*/ 6993627 h 8384438"/>
              <a:gd name="connsiteX1260" fmla="*/ 5696221 w 6704664"/>
              <a:gd name="connsiteY1260" fmla="*/ 7005568 h 8384438"/>
              <a:gd name="connsiteX1261" fmla="*/ 5677983 w 6704664"/>
              <a:gd name="connsiteY1261" fmla="*/ 7039802 h 8384438"/>
              <a:gd name="connsiteX1262" fmla="*/ 5655834 w 6704664"/>
              <a:gd name="connsiteY1262" fmla="*/ 7031460 h 8384438"/>
              <a:gd name="connsiteX1263" fmla="*/ 5630606 w 6704664"/>
              <a:gd name="connsiteY1263" fmla="*/ 6996343 h 8384438"/>
              <a:gd name="connsiteX1264" fmla="*/ 5620529 w 6704664"/>
              <a:gd name="connsiteY1264" fmla="*/ 7026979 h 8384438"/>
              <a:gd name="connsiteX1265" fmla="*/ 5611034 w 6704664"/>
              <a:gd name="connsiteY1265" fmla="*/ 7036986 h 8384438"/>
              <a:gd name="connsiteX1266" fmla="*/ 5613112 w 6704664"/>
              <a:gd name="connsiteY1266" fmla="*/ 7076489 h 8384438"/>
              <a:gd name="connsiteX1267" fmla="*/ 5628850 w 6704664"/>
              <a:gd name="connsiteY1267" fmla="*/ 7089922 h 8384438"/>
              <a:gd name="connsiteX1268" fmla="*/ 5616191 w 6704664"/>
              <a:gd name="connsiteY1268" fmla="*/ 7103264 h 8384438"/>
              <a:gd name="connsiteX1269" fmla="*/ 5618684 w 6704664"/>
              <a:gd name="connsiteY1269" fmla="*/ 7150668 h 8384438"/>
              <a:gd name="connsiteX1270" fmla="*/ 5597531 w 6704664"/>
              <a:gd name="connsiteY1270" fmla="*/ 7192979 h 8384438"/>
              <a:gd name="connsiteX1271" fmla="*/ 5576549 w 6704664"/>
              <a:gd name="connsiteY1271" fmla="*/ 7175068 h 8384438"/>
              <a:gd name="connsiteX1272" fmla="*/ 5564810 w 6704664"/>
              <a:gd name="connsiteY1272" fmla="*/ 7142411 h 8384438"/>
              <a:gd name="connsiteX1273" fmla="*/ 5560064 w 6704664"/>
              <a:gd name="connsiteY1273" fmla="*/ 7147414 h 8384438"/>
              <a:gd name="connsiteX1274" fmla="*/ 5565716 w 6704664"/>
              <a:gd name="connsiteY1274" fmla="*/ 7254863 h 8384438"/>
              <a:gd name="connsiteX1275" fmla="*/ 5542729 w 6704664"/>
              <a:gd name="connsiteY1275" fmla="*/ 7294101 h 8384438"/>
              <a:gd name="connsiteX1276" fmla="*/ 5538479 w 6704664"/>
              <a:gd name="connsiteY1276" fmla="*/ 7340276 h 8384438"/>
              <a:gd name="connsiteX1277" fmla="*/ 5520410 w 6704664"/>
              <a:gd name="connsiteY1277" fmla="*/ 7345980 h 8384438"/>
              <a:gd name="connsiteX1278" fmla="*/ 5522912 w 6704664"/>
              <a:gd name="connsiteY1278" fmla="*/ 7298313 h 8384438"/>
              <a:gd name="connsiteX1279" fmla="*/ 5510505 w 6704664"/>
              <a:gd name="connsiteY1279" fmla="*/ 7284705 h 8384438"/>
              <a:gd name="connsiteX1280" fmla="*/ 5505181 w 6704664"/>
              <a:gd name="connsiteY1280" fmla="*/ 7246956 h 8384438"/>
              <a:gd name="connsiteX1281" fmla="*/ 5478947 w 6704664"/>
              <a:gd name="connsiteY1281" fmla="*/ 7287949 h 8384438"/>
              <a:gd name="connsiteX1282" fmla="*/ 5485263 w 6704664"/>
              <a:gd name="connsiteY1282" fmla="*/ 7408040 h 8384438"/>
              <a:gd name="connsiteX1283" fmla="*/ 5452372 w 6704664"/>
              <a:gd name="connsiteY1283" fmla="*/ 7417693 h 8384438"/>
              <a:gd name="connsiteX1284" fmla="*/ 5422318 w 6704664"/>
              <a:gd name="connsiteY1284" fmla="*/ 7354308 h 8384438"/>
              <a:gd name="connsiteX1285" fmla="*/ 5399341 w 6704664"/>
              <a:gd name="connsiteY1285" fmla="*/ 7298474 h 8384438"/>
              <a:gd name="connsiteX1286" fmla="*/ 5392674 w 6704664"/>
              <a:gd name="connsiteY1286" fmla="*/ 7362207 h 8384438"/>
              <a:gd name="connsiteX1287" fmla="*/ 5387927 w 6704664"/>
              <a:gd name="connsiteY1287" fmla="*/ 7367210 h 8384438"/>
              <a:gd name="connsiteX1288" fmla="*/ 5383596 w 6704664"/>
              <a:gd name="connsiteY1288" fmla="*/ 7380113 h 8384438"/>
              <a:gd name="connsiteX1289" fmla="*/ 5385840 w 6704664"/>
              <a:gd name="connsiteY1289" fmla="*/ 7422777 h 8384438"/>
              <a:gd name="connsiteX1290" fmla="*/ 5339368 w 6704664"/>
              <a:gd name="connsiteY1290" fmla="*/ 7491772 h 8384438"/>
              <a:gd name="connsiteX1291" fmla="*/ 5324220 w 6704664"/>
              <a:gd name="connsiteY1291" fmla="*/ 7426019 h 8384438"/>
              <a:gd name="connsiteX1292" fmla="*/ 5266927 w 6704664"/>
              <a:gd name="connsiteY1292" fmla="*/ 7479737 h 8384438"/>
              <a:gd name="connsiteX1293" fmla="*/ 5257103 w 6704664"/>
              <a:gd name="connsiteY1293" fmla="*/ 7451733 h 8384438"/>
              <a:gd name="connsiteX1294" fmla="*/ 5239036 w 6704664"/>
              <a:gd name="connsiteY1294" fmla="*/ 7425746 h 8384438"/>
              <a:gd name="connsiteX1295" fmla="*/ 5253110 w 6704664"/>
              <a:gd name="connsiteY1295" fmla="*/ 7407576 h 8384438"/>
              <a:gd name="connsiteX1296" fmla="*/ 5239040 w 6704664"/>
              <a:gd name="connsiteY1296" fmla="*/ 7394055 h 8384438"/>
              <a:gd name="connsiteX1297" fmla="*/ 5237627 w 6704664"/>
              <a:gd name="connsiteY1297" fmla="*/ 7367193 h 8384438"/>
              <a:gd name="connsiteX1298" fmla="*/ 5223556 w 6704664"/>
              <a:gd name="connsiteY1298" fmla="*/ 7353673 h 8384438"/>
              <a:gd name="connsiteX1299" fmla="*/ 5202359 w 6704664"/>
              <a:gd name="connsiteY1299" fmla="*/ 6950736 h 8384438"/>
              <a:gd name="connsiteX1300" fmla="*/ 5216516 w 6704664"/>
              <a:gd name="connsiteY1300" fmla="*/ 6934146 h 8384438"/>
              <a:gd name="connsiteX1301" fmla="*/ 5194535 w 6704664"/>
              <a:gd name="connsiteY1301" fmla="*/ 6928965 h 8384438"/>
              <a:gd name="connsiteX1302" fmla="*/ 5174963 w 6704664"/>
              <a:gd name="connsiteY1302" fmla="*/ 6969607 h 8384438"/>
              <a:gd name="connsiteX1303" fmla="*/ 5161803 w 6704664"/>
              <a:gd name="connsiteY1303" fmla="*/ 7005158 h 8384438"/>
              <a:gd name="connsiteX1304" fmla="*/ 5163715 w 6704664"/>
              <a:gd name="connsiteY1304" fmla="*/ 7041502 h 8384438"/>
              <a:gd name="connsiteX1305" fmla="*/ 5145226 w 6704664"/>
              <a:gd name="connsiteY1305" fmla="*/ 7070995 h 8384438"/>
              <a:gd name="connsiteX1306" fmla="*/ 5134987 w 6704664"/>
              <a:gd name="connsiteY1306" fmla="*/ 7035090 h 8384438"/>
              <a:gd name="connsiteX1307" fmla="*/ 5145896 w 6704664"/>
              <a:gd name="connsiteY1307" fmla="*/ 7020256 h 8384438"/>
              <a:gd name="connsiteX1308" fmla="*/ 5124914 w 6704664"/>
              <a:gd name="connsiteY1308" fmla="*/ 7002345 h 8384438"/>
              <a:gd name="connsiteX1309" fmla="*/ 5118998 w 6704664"/>
              <a:gd name="connsiteY1309" fmla="*/ 7048608 h 8384438"/>
              <a:gd name="connsiteX1310" fmla="*/ 5106424 w 6704664"/>
              <a:gd name="connsiteY1310" fmla="*/ 7063530 h 8384438"/>
              <a:gd name="connsiteX1311" fmla="*/ 5108419 w 6704664"/>
              <a:gd name="connsiteY1311" fmla="*/ 7101453 h 8384438"/>
              <a:gd name="connsiteX1312" fmla="*/ 5076274 w 6704664"/>
              <a:gd name="connsiteY1312" fmla="*/ 7125327 h 8384438"/>
              <a:gd name="connsiteX1313" fmla="*/ 5053045 w 6704664"/>
              <a:gd name="connsiteY1313" fmla="*/ 7096443 h 8384438"/>
              <a:gd name="connsiteX1314" fmla="*/ 5044388 w 6704664"/>
              <a:gd name="connsiteY1314" fmla="*/ 7058870 h 8384438"/>
              <a:gd name="connsiteX1315" fmla="*/ 5009244 w 6704664"/>
              <a:gd name="connsiteY1315" fmla="*/ 7120930 h 8384438"/>
              <a:gd name="connsiteX1316" fmla="*/ 4990835 w 6704664"/>
              <a:gd name="connsiteY1316" fmla="*/ 7183695 h 8384438"/>
              <a:gd name="connsiteX1317" fmla="*/ 4969184 w 6704664"/>
              <a:gd name="connsiteY1317" fmla="*/ 7184834 h 8384438"/>
              <a:gd name="connsiteX1318" fmla="*/ 4965690 w 6704664"/>
              <a:gd name="connsiteY1318" fmla="*/ 7150158 h 8384438"/>
              <a:gd name="connsiteX1319" fmla="*/ 4945373 w 6704664"/>
              <a:gd name="connsiteY1319" fmla="*/ 7144889 h 8384438"/>
              <a:gd name="connsiteX1320" fmla="*/ 4931881 w 6704664"/>
              <a:gd name="connsiteY1320" fmla="*/ 7174120 h 8384438"/>
              <a:gd name="connsiteX1321" fmla="*/ 4916893 w 6704664"/>
              <a:gd name="connsiteY1321" fmla="*/ 7174909 h 8384438"/>
              <a:gd name="connsiteX1322" fmla="*/ 4906156 w 6704664"/>
              <a:gd name="connsiteY1322" fmla="*/ 7129522 h 8384438"/>
              <a:gd name="connsiteX1323" fmla="*/ 4893750 w 6704664"/>
              <a:gd name="connsiteY1323" fmla="*/ 7115914 h 8384438"/>
              <a:gd name="connsiteX1324" fmla="*/ 4904660 w 6704664"/>
              <a:gd name="connsiteY1324" fmla="*/ 7101080 h 8384438"/>
              <a:gd name="connsiteX1325" fmla="*/ 4874187 w 6704664"/>
              <a:gd name="connsiteY1325" fmla="*/ 7061486 h 8384438"/>
              <a:gd name="connsiteX1326" fmla="*/ 4867122 w 6704664"/>
              <a:gd name="connsiteY1326" fmla="*/ 6927173 h 8384438"/>
              <a:gd name="connsiteX1327" fmla="*/ 4879779 w 6704664"/>
              <a:gd name="connsiteY1327" fmla="*/ 6913831 h 8384438"/>
              <a:gd name="connsiteX1328" fmla="*/ 4872715 w 6704664"/>
              <a:gd name="connsiteY1328" fmla="*/ 6779519 h 8384438"/>
              <a:gd name="connsiteX1329" fmla="*/ 4888621 w 6704664"/>
              <a:gd name="connsiteY1329" fmla="*/ 6764421 h 8384438"/>
              <a:gd name="connsiteX1330" fmla="*/ 4881555 w 6704664"/>
              <a:gd name="connsiteY1330" fmla="*/ 6630109 h 8384438"/>
              <a:gd name="connsiteX1331" fmla="*/ 4894212 w 6704664"/>
              <a:gd name="connsiteY1331" fmla="*/ 6616768 h 8384438"/>
              <a:gd name="connsiteX1332" fmla="*/ 4887895 w 6704664"/>
              <a:gd name="connsiteY1332" fmla="*/ 6496677 h 8384438"/>
              <a:gd name="connsiteX1333" fmla="*/ 4900471 w 6704664"/>
              <a:gd name="connsiteY1333" fmla="*/ 6481754 h 8384438"/>
              <a:gd name="connsiteX1334" fmla="*/ 4899560 w 6704664"/>
              <a:gd name="connsiteY1334" fmla="*/ 6432683 h 8384438"/>
              <a:gd name="connsiteX1335" fmla="*/ 4861423 w 6704664"/>
              <a:gd name="connsiteY1335" fmla="*/ 6437857 h 8384438"/>
              <a:gd name="connsiteX1336" fmla="*/ 4857008 w 6704664"/>
              <a:gd name="connsiteY1336" fmla="*/ 6449182 h 8384438"/>
              <a:gd name="connsiteX1337" fmla="*/ 4845100 w 6704664"/>
              <a:gd name="connsiteY1337" fmla="*/ 6445054 h 8384438"/>
              <a:gd name="connsiteX1338" fmla="*/ 4841105 w 6704664"/>
              <a:gd name="connsiteY1338" fmla="*/ 6432588 h 8384438"/>
              <a:gd name="connsiteX1339" fmla="*/ 4838861 w 6704664"/>
              <a:gd name="connsiteY1339" fmla="*/ 6389924 h 8384438"/>
              <a:gd name="connsiteX1340" fmla="*/ 4854683 w 6704664"/>
              <a:gd name="connsiteY1340" fmla="*/ 6373247 h 8384438"/>
              <a:gd name="connsiteX1341" fmla="*/ 4823625 w 6704664"/>
              <a:gd name="connsiteY1341" fmla="*/ 6354282 h 8384438"/>
              <a:gd name="connsiteX1342" fmla="*/ 4821964 w 6704664"/>
              <a:gd name="connsiteY1342" fmla="*/ 6322679 h 8384438"/>
              <a:gd name="connsiteX1343" fmla="*/ 4806310 w 6704664"/>
              <a:gd name="connsiteY1343" fmla="*/ 6310827 h 8384438"/>
              <a:gd name="connsiteX1344" fmla="*/ 4815640 w 6704664"/>
              <a:gd name="connsiteY1344" fmla="*/ 6265969 h 8384438"/>
              <a:gd name="connsiteX1345" fmla="*/ 4795407 w 6704664"/>
              <a:gd name="connsiteY1345" fmla="*/ 6262280 h 8384438"/>
              <a:gd name="connsiteX1346" fmla="*/ 4784417 w 6704664"/>
              <a:gd name="connsiteY1346" fmla="*/ 6243843 h 8384438"/>
              <a:gd name="connsiteX1347" fmla="*/ 4814979 w 6704664"/>
              <a:gd name="connsiteY1347" fmla="*/ 6221637 h 8384438"/>
              <a:gd name="connsiteX1348" fmla="*/ 4812567 w 6704664"/>
              <a:gd name="connsiteY1348" fmla="*/ 6175814 h 8384438"/>
              <a:gd name="connsiteX1349" fmla="*/ 4783591 w 6704664"/>
              <a:gd name="connsiteY1349" fmla="*/ 6164661 h 8384438"/>
              <a:gd name="connsiteX1350" fmla="*/ 4782095 w 6704664"/>
              <a:gd name="connsiteY1350" fmla="*/ 6136219 h 8384438"/>
              <a:gd name="connsiteX1351" fmla="*/ 4811408 w 6704664"/>
              <a:gd name="connsiteY1351" fmla="*/ 6122001 h 8384438"/>
              <a:gd name="connsiteX1352" fmla="*/ 4770357 w 6704664"/>
              <a:gd name="connsiteY1352" fmla="*/ 6103561 h 8384438"/>
              <a:gd name="connsiteX1353" fmla="*/ 4777939 w 6704664"/>
              <a:gd name="connsiteY1353" fmla="*/ 6057212 h 8384438"/>
              <a:gd name="connsiteX1354" fmla="*/ 4763868 w 6704664"/>
              <a:gd name="connsiteY1354" fmla="*/ 6043691 h 8384438"/>
              <a:gd name="connsiteX1355" fmla="*/ 4808418 w 6704664"/>
              <a:gd name="connsiteY1355" fmla="*/ 6033425 h 8384438"/>
              <a:gd name="connsiteX1356" fmla="*/ 4814996 w 6704664"/>
              <a:gd name="connsiteY1356" fmla="*/ 6031495 h 8384438"/>
              <a:gd name="connsiteX1357" fmla="*/ 4861131 w 6704664"/>
              <a:gd name="connsiteY1357" fmla="*/ 5987870 h 8384438"/>
              <a:gd name="connsiteX1358" fmla="*/ 4844895 w 6704664"/>
              <a:gd name="connsiteY1358" fmla="*/ 5964956 h 8384438"/>
              <a:gd name="connsiteX1359" fmla="*/ 4839899 w 6704664"/>
              <a:gd name="connsiteY1359" fmla="*/ 5965219 h 8384438"/>
              <a:gd name="connsiteX1360" fmla="*/ 4809588 w 6704664"/>
              <a:gd name="connsiteY1360" fmla="*/ 5992167 h 8384438"/>
              <a:gd name="connsiteX1361" fmla="*/ 4787692 w 6704664"/>
              <a:gd name="connsiteY1361" fmla="*/ 5956874 h 8384438"/>
              <a:gd name="connsiteX1362" fmla="*/ 4786693 w 6704664"/>
              <a:gd name="connsiteY1362" fmla="*/ 5937912 h 8384438"/>
              <a:gd name="connsiteX1363" fmla="*/ 4804767 w 6704664"/>
              <a:gd name="connsiteY1363" fmla="*/ 5900518 h 8384438"/>
              <a:gd name="connsiteX1364" fmla="*/ 4833408 w 6704664"/>
              <a:gd name="connsiteY1364" fmla="*/ 5937039 h 8384438"/>
              <a:gd name="connsiteX1365" fmla="*/ 4870714 w 6704664"/>
              <a:gd name="connsiteY1365" fmla="*/ 5916064 h 8384438"/>
              <a:gd name="connsiteX1366" fmla="*/ 4868636 w 6704664"/>
              <a:gd name="connsiteY1366" fmla="*/ 5876559 h 8384438"/>
              <a:gd name="connsiteX1367" fmla="*/ 4823591 w 6704664"/>
              <a:gd name="connsiteY1367" fmla="*/ 5845654 h 8384438"/>
              <a:gd name="connsiteX1368" fmla="*/ 4832835 w 6704664"/>
              <a:gd name="connsiteY1368" fmla="*/ 5830907 h 8384438"/>
              <a:gd name="connsiteX1369" fmla="*/ 4823591 w 6704664"/>
              <a:gd name="connsiteY1369" fmla="*/ 5845654 h 8384438"/>
              <a:gd name="connsiteX1370" fmla="*/ 4788534 w 6704664"/>
              <a:gd name="connsiteY1370" fmla="*/ 5845914 h 8384438"/>
              <a:gd name="connsiteX1371" fmla="*/ 4736080 w 6704664"/>
              <a:gd name="connsiteY1371" fmla="*/ 5801137 h 8384438"/>
              <a:gd name="connsiteX1372" fmla="*/ 4736831 w 6704664"/>
              <a:gd name="connsiteY1372" fmla="*/ 5783669 h 8384438"/>
              <a:gd name="connsiteX1373" fmla="*/ 4773220 w 6704664"/>
              <a:gd name="connsiteY1373" fmla="*/ 5777001 h 8384438"/>
              <a:gd name="connsiteX1374" fmla="*/ 4772055 w 6704664"/>
              <a:gd name="connsiteY1374" fmla="*/ 5754879 h 8384438"/>
              <a:gd name="connsiteX1375" fmla="*/ 4730092 w 6704664"/>
              <a:gd name="connsiteY1375" fmla="*/ 5719058 h 8384438"/>
              <a:gd name="connsiteX1376" fmla="*/ 4743168 w 6704664"/>
              <a:gd name="connsiteY1376" fmla="*/ 5681926 h 8384438"/>
              <a:gd name="connsiteX1377" fmla="*/ 4756660 w 6704664"/>
              <a:gd name="connsiteY1377" fmla="*/ 5652695 h 8384438"/>
              <a:gd name="connsiteX1378" fmla="*/ 4737178 w 6704664"/>
              <a:gd name="connsiteY1378" fmla="*/ 5631536 h 8384438"/>
              <a:gd name="connsiteX1379" fmla="*/ 4768656 w 6704664"/>
              <a:gd name="connsiteY1379" fmla="*/ 5595021 h 8384438"/>
              <a:gd name="connsiteX1380" fmla="*/ 4745345 w 6704664"/>
              <a:gd name="connsiteY1380" fmla="*/ 5564557 h 8384438"/>
              <a:gd name="connsiteX1381" fmla="*/ 4711788 w 6704664"/>
              <a:gd name="connsiteY1381" fmla="*/ 5561569 h 8384438"/>
              <a:gd name="connsiteX1382" fmla="*/ 4736020 w 6704664"/>
              <a:gd name="connsiteY1382" fmla="*/ 5546033 h 8384438"/>
              <a:gd name="connsiteX1383" fmla="*/ 4750260 w 6704664"/>
              <a:gd name="connsiteY1383" fmla="*/ 5531024 h 8384438"/>
              <a:gd name="connsiteX1384" fmla="*/ 4748182 w 6704664"/>
              <a:gd name="connsiteY1384" fmla="*/ 5491520 h 8384438"/>
              <a:gd name="connsiteX1385" fmla="*/ 4762422 w 6704664"/>
              <a:gd name="connsiteY1385" fmla="*/ 5476510 h 8384438"/>
              <a:gd name="connsiteX1386" fmla="*/ 4761342 w 6704664"/>
              <a:gd name="connsiteY1386" fmla="*/ 5455969 h 8384438"/>
              <a:gd name="connsiteX1387" fmla="*/ 4782993 w 6704664"/>
              <a:gd name="connsiteY1387" fmla="*/ 5454830 h 8384438"/>
              <a:gd name="connsiteX1388" fmla="*/ 4787243 w 6704664"/>
              <a:gd name="connsiteY1388" fmla="*/ 5408656 h 8384438"/>
              <a:gd name="connsiteX1389" fmla="*/ 4801400 w 6704664"/>
              <a:gd name="connsiteY1389" fmla="*/ 5392065 h 8384438"/>
              <a:gd name="connsiteX1390" fmla="*/ 4779005 w 6704664"/>
              <a:gd name="connsiteY1390" fmla="*/ 5347293 h 8384438"/>
              <a:gd name="connsiteX1391" fmla="*/ 4764682 w 6704664"/>
              <a:gd name="connsiteY1391" fmla="*/ 5360722 h 8384438"/>
              <a:gd name="connsiteX1392" fmla="*/ 4733040 w 6704664"/>
              <a:gd name="connsiteY1392" fmla="*/ 5362386 h 8384438"/>
              <a:gd name="connsiteX1393" fmla="*/ 4739704 w 6704664"/>
              <a:gd name="connsiteY1393" fmla="*/ 5330346 h 8384438"/>
              <a:gd name="connsiteX1394" fmla="*/ 4730477 w 6704664"/>
              <a:gd name="connsiteY1394" fmla="*/ 5154949 h 8384438"/>
              <a:gd name="connsiteX1395" fmla="*/ 4769114 w 6704664"/>
              <a:gd name="connsiteY1395" fmla="*/ 5159256 h 8384438"/>
              <a:gd name="connsiteX1396" fmla="*/ 4769785 w 6704664"/>
              <a:gd name="connsiteY1396" fmla="*/ 5108516 h 8384438"/>
              <a:gd name="connsiteX1397" fmla="*/ 4757459 w 6704664"/>
              <a:gd name="connsiteY1397" fmla="*/ 5128178 h 8384438"/>
              <a:gd name="connsiteX1398" fmla="*/ 4732810 w 6704664"/>
              <a:gd name="connsiteY1398" fmla="*/ 5135813 h 8384438"/>
              <a:gd name="connsiteX1399" fmla="*/ 4696761 w 6704664"/>
              <a:gd name="connsiteY1399" fmla="*/ 5085421 h 8384438"/>
              <a:gd name="connsiteX1400" fmla="*/ 4702508 w 6704664"/>
              <a:gd name="connsiteY1400" fmla="*/ 5067688 h 8384438"/>
              <a:gd name="connsiteX1401" fmla="*/ 4719162 w 6704664"/>
              <a:gd name="connsiteY1401" fmla="*/ 5066812 h 8384438"/>
              <a:gd name="connsiteX1402" fmla="*/ 4722245 w 6704664"/>
              <a:gd name="connsiteY1402" fmla="*/ 5030207 h 8384438"/>
              <a:gd name="connsiteX1403" fmla="*/ 4735240 w 6704664"/>
              <a:gd name="connsiteY1403" fmla="*/ 4991495 h 8384438"/>
              <a:gd name="connsiteX1404" fmla="*/ 4707929 w 6704664"/>
              <a:gd name="connsiteY1404" fmla="*/ 4980255 h 8384438"/>
              <a:gd name="connsiteX1405" fmla="*/ 4707264 w 6704664"/>
              <a:gd name="connsiteY1405" fmla="*/ 4967613 h 8384438"/>
              <a:gd name="connsiteX1406" fmla="*/ 4719838 w 6704664"/>
              <a:gd name="connsiteY1406" fmla="*/ 4952691 h 8384438"/>
              <a:gd name="connsiteX1407" fmla="*/ 4715600 w 6704664"/>
              <a:gd name="connsiteY1407" fmla="*/ 4872103 h 8384438"/>
              <a:gd name="connsiteX1408" fmla="*/ 4725092 w 6704664"/>
              <a:gd name="connsiteY1408" fmla="*/ 4862097 h 8384438"/>
              <a:gd name="connsiteX1409" fmla="*/ 4729427 w 6704664"/>
              <a:gd name="connsiteY1409" fmla="*/ 4817503 h 8384438"/>
              <a:gd name="connsiteX1410" fmla="*/ 4720768 w 6704664"/>
              <a:gd name="connsiteY1410" fmla="*/ 4811620 h 8384438"/>
              <a:gd name="connsiteX1411" fmla="*/ 4697871 w 6704664"/>
              <a:gd name="connsiteY1411" fmla="*/ 4789057 h 8384438"/>
              <a:gd name="connsiteX1412" fmla="*/ 4723686 w 6704664"/>
              <a:gd name="connsiteY1412" fmla="*/ 4771854 h 8384438"/>
              <a:gd name="connsiteX1413" fmla="*/ 4721025 w 6704664"/>
              <a:gd name="connsiteY1413" fmla="*/ 4721289 h 8384438"/>
              <a:gd name="connsiteX1414" fmla="*/ 4693383 w 6704664"/>
              <a:gd name="connsiteY1414" fmla="*/ 4703730 h 8384438"/>
              <a:gd name="connsiteX1415" fmla="*/ 4691637 w 6704664"/>
              <a:gd name="connsiteY1415" fmla="*/ 4670546 h 8384438"/>
              <a:gd name="connsiteX1416" fmla="*/ 4705793 w 6704664"/>
              <a:gd name="connsiteY1416" fmla="*/ 4653957 h 8384438"/>
              <a:gd name="connsiteX1417" fmla="*/ 4663826 w 6704664"/>
              <a:gd name="connsiteY1417" fmla="*/ 4649826 h 8384438"/>
              <a:gd name="connsiteX1418" fmla="*/ 4700552 w 6704664"/>
              <a:gd name="connsiteY1418" fmla="*/ 4617789 h 8384438"/>
              <a:gd name="connsiteX1419" fmla="*/ 4701469 w 6704664"/>
              <a:gd name="connsiteY1419" fmla="*/ 4603480 h 8384438"/>
              <a:gd name="connsiteX1420" fmla="*/ 4672493 w 6704664"/>
              <a:gd name="connsiteY1420" fmla="*/ 4592328 h 8384438"/>
              <a:gd name="connsiteX1421" fmla="*/ 4685067 w 6704664"/>
              <a:gd name="connsiteY1421" fmla="*/ 4577405 h 8384438"/>
              <a:gd name="connsiteX1422" fmla="*/ 4670996 w 6704664"/>
              <a:gd name="connsiteY1422" fmla="*/ 4563885 h 8384438"/>
              <a:gd name="connsiteX1423" fmla="*/ 4706636 w 6704664"/>
              <a:gd name="connsiteY1423" fmla="*/ 4542996 h 8384438"/>
              <a:gd name="connsiteX1424" fmla="*/ 4722291 w 6704664"/>
              <a:gd name="connsiteY1424" fmla="*/ 4554849 h 8384438"/>
              <a:gd name="connsiteX1425" fmla="*/ 4750602 w 6704664"/>
              <a:gd name="connsiteY1425" fmla="*/ 4553360 h 8384438"/>
              <a:gd name="connsiteX1426" fmla="*/ 4771172 w 6704664"/>
              <a:gd name="connsiteY1426" fmla="*/ 4531679 h 8384438"/>
              <a:gd name="connsiteX1427" fmla="*/ 4741697 w 6704664"/>
              <a:gd name="connsiteY1427" fmla="*/ 4511046 h 8384438"/>
              <a:gd name="connsiteX1428" fmla="*/ 4709722 w 6704664"/>
              <a:gd name="connsiteY1428" fmla="*/ 4506390 h 8384438"/>
              <a:gd name="connsiteX1429" fmla="*/ 4669253 w 6704664"/>
              <a:gd name="connsiteY1429" fmla="*/ 4499012 h 8384438"/>
              <a:gd name="connsiteX1430" fmla="*/ 4682164 w 6704664"/>
              <a:gd name="connsiteY1430" fmla="*/ 4458720 h 8384438"/>
              <a:gd name="connsiteX1431" fmla="*/ 4691577 w 6704664"/>
              <a:gd name="connsiteY1431" fmla="*/ 4415443 h 8384438"/>
              <a:gd name="connsiteX1432" fmla="*/ 4677507 w 6704664"/>
              <a:gd name="connsiteY1432" fmla="*/ 4401922 h 8384438"/>
              <a:gd name="connsiteX1433" fmla="*/ 4676094 w 6704664"/>
              <a:gd name="connsiteY1433" fmla="*/ 4375059 h 8384438"/>
              <a:gd name="connsiteX1434" fmla="*/ 4685587 w 6704664"/>
              <a:gd name="connsiteY1434" fmla="*/ 4365053 h 8384438"/>
              <a:gd name="connsiteX1435" fmla="*/ 4686591 w 6704664"/>
              <a:gd name="connsiteY1435" fmla="*/ 4320634 h 8384438"/>
              <a:gd name="connsiteX1436" fmla="*/ 4681345 w 6704664"/>
              <a:gd name="connsiteY1436" fmla="*/ 4316156 h 8384438"/>
              <a:gd name="connsiteX1437" fmla="*/ 4647787 w 6704664"/>
              <a:gd name="connsiteY1437" fmla="*/ 4313168 h 8384438"/>
              <a:gd name="connsiteX1438" fmla="*/ 4646540 w 6704664"/>
              <a:gd name="connsiteY1438" fmla="*/ 4289466 h 8384438"/>
              <a:gd name="connsiteX1439" fmla="*/ 4675600 w 6704664"/>
              <a:gd name="connsiteY1439" fmla="*/ 4302198 h 8384438"/>
              <a:gd name="connsiteX1440" fmla="*/ 4696589 w 6704664"/>
              <a:gd name="connsiteY1440" fmla="*/ 4256727 h 8384438"/>
              <a:gd name="connsiteX1441" fmla="*/ 4692681 w 6704664"/>
              <a:gd name="connsiteY1441" fmla="*/ 4182461 h 8384438"/>
              <a:gd name="connsiteX1442" fmla="*/ 4662207 w 6704664"/>
              <a:gd name="connsiteY1442" fmla="*/ 4174557 h 8384438"/>
              <a:gd name="connsiteX1443" fmla="*/ 4698764 w 6704664"/>
              <a:gd name="connsiteY1443" fmla="*/ 4139359 h 8384438"/>
              <a:gd name="connsiteX1444" fmla="*/ 4730737 w 6704664"/>
              <a:gd name="connsiteY1444" fmla="*/ 4175706 h 8384438"/>
              <a:gd name="connsiteX1445" fmla="*/ 4735735 w 6704664"/>
              <a:gd name="connsiteY1445" fmla="*/ 4143752 h 8384438"/>
              <a:gd name="connsiteX1446" fmla="*/ 4716418 w 6704664"/>
              <a:gd name="connsiteY1446" fmla="*/ 4125754 h 8384438"/>
              <a:gd name="connsiteX1447" fmla="*/ 4674368 w 6704664"/>
              <a:gd name="connsiteY1447" fmla="*/ 4120043 h 8384438"/>
              <a:gd name="connsiteX1448" fmla="*/ 4693356 w 6704664"/>
              <a:gd name="connsiteY1448" fmla="*/ 4100030 h 8384438"/>
              <a:gd name="connsiteX1449" fmla="*/ 4675371 w 6704664"/>
              <a:gd name="connsiteY1449" fmla="*/ 4075624 h 8384438"/>
              <a:gd name="connsiteX1450" fmla="*/ 4710760 w 6704664"/>
              <a:gd name="connsiteY1450" fmla="*/ 4081685 h 8384438"/>
              <a:gd name="connsiteX1451" fmla="*/ 4712014 w 6704664"/>
              <a:gd name="connsiteY1451" fmla="*/ 4042007 h 8384438"/>
              <a:gd name="connsiteX1452" fmla="*/ 4697606 w 6704664"/>
              <a:gd name="connsiteY1452" fmla="*/ 4053856 h 8384438"/>
              <a:gd name="connsiteX1453" fmla="*/ 4679371 w 6704664"/>
              <a:gd name="connsiteY1453" fmla="*/ 4056400 h 8384438"/>
              <a:gd name="connsiteX1454" fmla="*/ 4672377 w 6704664"/>
              <a:gd name="connsiteY1454" fmla="*/ 4050430 h 8384438"/>
              <a:gd name="connsiteX1455" fmla="*/ 4669634 w 6704664"/>
              <a:gd name="connsiteY1455" fmla="*/ 3998285 h 8384438"/>
              <a:gd name="connsiteX1456" fmla="*/ 4683874 w 6704664"/>
              <a:gd name="connsiteY1456" fmla="*/ 3983276 h 8384438"/>
              <a:gd name="connsiteX1457" fmla="*/ 4654233 w 6704664"/>
              <a:gd name="connsiteY1457" fmla="*/ 3959482 h 8384438"/>
              <a:gd name="connsiteX1458" fmla="*/ 4665143 w 6704664"/>
              <a:gd name="connsiteY1458" fmla="*/ 3944647 h 8384438"/>
              <a:gd name="connsiteX1459" fmla="*/ 4662814 w 6704664"/>
              <a:gd name="connsiteY1459" fmla="*/ 3900404 h 8384438"/>
              <a:gd name="connsiteX1460" fmla="*/ 4649991 w 6704664"/>
              <a:gd name="connsiteY1460" fmla="*/ 3910585 h 8384438"/>
              <a:gd name="connsiteX1461" fmla="*/ 4647242 w 6704664"/>
              <a:gd name="connsiteY1461" fmla="*/ 3921821 h 8384438"/>
              <a:gd name="connsiteX1462" fmla="*/ 4621264 w 6704664"/>
              <a:gd name="connsiteY1462" fmla="*/ 3904174 h 8384438"/>
              <a:gd name="connsiteX1463" fmla="*/ 4647497 w 6704664"/>
              <a:gd name="connsiteY1463" fmla="*/ 3863181 h 8384438"/>
              <a:gd name="connsiteX1464" fmla="*/ 4620269 w 6704664"/>
              <a:gd name="connsiteY1464" fmla="*/ 3853522 h 8384438"/>
              <a:gd name="connsiteX1465" fmla="*/ 4641420 w 6704664"/>
              <a:gd name="connsiteY1465" fmla="*/ 3842902 h 8384438"/>
              <a:gd name="connsiteX1466" fmla="*/ 4646420 w 6704664"/>
              <a:gd name="connsiteY1466" fmla="*/ 3810948 h 8384438"/>
              <a:gd name="connsiteX1467" fmla="*/ 4630682 w 6704664"/>
              <a:gd name="connsiteY1467" fmla="*/ 3797516 h 8384438"/>
              <a:gd name="connsiteX1468" fmla="*/ 4629269 w 6704664"/>
              <a:gd name="connsiteY1468" fmla="*/ 3770654 h 8384438"/>
              <a:gd name="connsiteX1469" fmla="*/ 4615199 w 6704664"/>
              <a:gd name="connsiteY1469" fmla="*/ 3757133 h 8384438"/>
              <a:gd name="connsiteX1470" fmla="*/ 4653336 w 6704664"/>
              <a:gd name="connsiteY1470" fmla="*/ 3751958 h 8384438"/>
              <a:gd name="connsiteX1471" fmla="*/ 4663741 w 6704664"/>
              <a:gd name="connsiteY1471" fmla="*/ 3791023 h 8384438"/>
              <a:gd name="connsiteX1472" fmla="*/ 4689057 w 6704664"/>
              <a:gd name="connsiteY1472" fmla="*/ 3764339 h 8384438"/>
              <a:gd name="connsiteX1473" fmla="*/ 4669076 w 6704664"/>
              <a:gd name="connsiteY1473" fmla="*/ 3733701 h 8384438"/>
              <a:gd name="connsiteX1474" fmla="*/ 4684648 w 6704664"/>
              <a:gd name="connsiteY1474" fmla="*/ 3712282 h 8384438"/>
              <a:gd name="connsiteX1475" fmla="*/ 4683900 w 6704664"/>
              <a:gd name="connsiteY1475" fmla="*/ 3698061 h 8384438"/>
              <a:gd name="connsiteX1476" fmla="*/ 4656840 w 6704664"/>
              <a:gd name="connsiteY1476" fmla="*/ 3691562 h 8384438"/>
              <a:gd name="connsiteX1477" fmla="*/ 4652511 w 6704664"/>
              <a:gd name="connsiteY1477" fmla="*/ 3672776 h 8384438"/>
              <a:gd name="connsiteX1478" fmla="*/ 4680324 w 6704664"/>
              <a:gd name="connsiteY1478" fmla="*/ 3661804 h 8384438"/>
              <a:gd name="connsiteX1479" fmla="*/ 4677332 w 6704664"/>
              <a:gd name="connsiteY1479" fmla="*/ 3604920 h 8384438"/>
              <a:gd name="connsiteX1480" fmla="*/ 4663344 w 6704664"/>
              <a:gd name="connsiteY1480" fmla="*/ 3592979 h 8384438"/>
              <a:gd name="connsiteX1481" fmla="*/ 4659687 w 6704664"/>
              <a:gd name="connsiteY1481" fmla="*/ 3523454 h 8384438"/>
              <a:gd name="connsiteX1482" fmla="*/ 4627546 w 6704664"/>
              <a:gd name="connsiteY1482" fmla="*/ 3515637 h 8384438"/>
              <a:gd name="connsiteX1483" fmla="*/ 4683755 w 6704664"/>
              <a:gd name="connsiteY1483" fmla="*/ 3473068 h 8384438"/>
              <a:gd name="connsiteX1484" fmla="*/ 4629552 w 6704664"/>
              <a:gd name="connsiteY1484" fmla="*/ 3426799 h 8384438"/>
              <a:gd name="connsiteX1485" fmla="*/ 4610984 w 6704664"/>
              <a:gd name="connsiteY1485" fmla="*/ 3423022 h 8384438"/>
              <a:gd name="connsiteX1486" fmla="*/ 4648706 w 6704664"/>
              <a:gd name="connsiteY1486" fmla="*/ 3409946 h 8384438"/>
              <a:gd name="connsiteX1487" fmla="*/ 4666611 w 6704664"/>
              <a:gd name="connsiteY1487" fmla="*/ 3369391 h 8384438"/>
              <a:gd name="connsiteX1488" fmla="*/ 4638387 w 6704664"/>
              <a:gd name="connsiteY1488" fmla="*/ 3340770 h 8384438"/>
              <a:gd name="connsiteX1489" fmla="*/ 4646135 w 6704664"/>
              <a:gd name="connsiteY1489" fmla="*/ 3297580 h 8384438"/>
              <a:gd name="connsiteX1490" fmla="*/ 4641979 w 6704664"/>
              <a:gd name="connsiteY1490" fmla="*/ 3218574 h 8384438"/>
              <a:gd name="connsiteX1491" fmla="*/ 4656136 w 6704664"/>
              <a:gd name="connsiteY1491" fmla="*/ 3201983 h 8384438"/>
              <a:gd name="connsiteX1492" fmla="*/ 4627159 w 6704664"/>
              <a:gd name="connsiteY1492" fmla="*/ 3190832 h 8384438"/>
              <a:gd name="connsiteX1493" fmla="*/ 4636653 w 6704664"/>
              <a:gd name="connsiteY1493" fmla="*/ 3180826 h 8384438"/>
              <a:gd name="connsiteX1494" fmla="*/ 4640988 w 6704664"/>
              <a:gd name="connsiteY1494" fmla="*/ 3136231 h 8384438"/>
              <a:gd name="connsiteX1495" fmla="*/ 4625334 w 6704664"/>
              <a:gd name="connsiteY1495" fmla="*/ 3124378 h 8384438"/>
              <a:gd name="connsiteX1496" fmla="*/ 4623173 w 6704664"/>
              <a:gd name="connsiteY1496" fmla="*/ 3083295 h 8384438"/>
              <a:gd name="connsiteX1497" fmla="*/ 4634083 w 6704664"/>
              <a:gd name="connsiteY1497" fmla="*/ 3068460 h 8384438"/>
              <a:gd name="connsiteX1498" fmla="*/ 4632585 w 6704664"/>
              <a:gd name="connsiteY1498" fmla="*/ 3040018 h 8384438"/>
              <a:gd name="connsiteX1499" fmla="*/ 4620347 w 6704664"/>
              <a:gd name="connsiteY1499" fmla="*/ 3029569 h 8384438"/>
              <a:gd name="connsiteX1500" fmla="*/ 4631255 w 6704664"/>
              <a:gd name="connsiteY1500" fmla="*/ 3014736 h 8384438"/>
              <a:gd name="connsiteX1501" fmla="*/ 4617185 w 6704664"/>
              <a:gd name="connsiteY1501" fmla="*/ 3001214 h 8384438"/>
              <a:gd name="connsiteX1502" fmla="*/ 4613029 w 6704664"/>
              <a:gd name="connsiteY1502" fmla="*/ 2922207 h 8384438"/>
              <a:gd name="connsiteX1503" fmla="*/ 4598958 w 6704664"/>
              <a:gd name="connsiteY1503" fmla="*/ 2908687 h 8384438"/>
              <a:gd name="connsiteX1504" fmla="*/ 4597545 w 6704664"/>
              <a:gd name="connsiteY1504" fmla="*/ 2881825 h 8384438"/>
              <a:gd name="connsiteX1505" fmla="*/ 4608538 w 6704664"/>
              <a:gd name="connsiteY1505" fmla="*/ 2868570 h 8384438"/>
              <a:gd name="connsiteX1506" fmla="*/ 4604881 w 6704664"/>
              <a:gd name="connsiteY1506" fmla="*/ 2799043 h 8384438"/>
              <a:gd name="connsiteX1507" fmla="*/ 4592641 w 6704664"/>
              <a:gd name="connsiteY1507" fmla="*/ 2788596 h 8384438"/>
              <a:gd name="connsiteX1508" fmla="*/ 4589233 w 6704664"/>
              <a:gd name="connsiteY1508" fmla="*/ 2723810 h 8384438"/>
              <a:gd name="connsiteX1509" fmla="*/ 4574995 w 6704664"/>
              <a:gd name="connsiteY1509" fmla="*/ 2707129 h 8384438"/>
              <a:gd name="connsiteX1510" fmla="*/ 4585988 w 6704664"/>
              <a:gd name="connsiteY1510" fmla="*/ 2693875 h 8384438"/>
              <a:gd name="connsiteX1511" fmla="*/ 4581001 w 6704664"/>
              <a:gd name="connsiteY1511" fmla="*/ 2599067 h 8384438"/>
              <a:gd name="connsiteX1512" fmla="*/ 4567012 w 6704664"/>
              <a:gd name="connsiteY1512" fmla="*/ 2587126 h 8384438"/>
              <a:gd name="connsiteX1513" fmla="*/ 4579588 w 6704664"/>
              <a:gd name="connsiteY1513" fmla="*/ 2572204 h 8384438"/>
              <a:gd name="connsiteX1514" fmla="*/ 4578175 w 6704664"/>
              <a:gd name="connsiteY1514" fmla="*/ 2545342 h 8384438"/>
              <a:gd name="connsiteX1515" fmla="*/ 4560606 w 6704664"/>
              <a:gd name="connsiteY1515" fmla="*/ 2528836 h 8384438"/>
              <a:gd name="connsiteX1516" fmla="*/ 4577430 w 6704664"/>
              <a:gd name="connsiteY1516" fmla="*/ 2499430 h 8384438"/>
              <a:gd name="connsiteX1517" fmla="*/ 4575600 w 6704664"/>
              <a:gd name="connsiteY1517" fmla="*/ 2464667 h 8384438"/>
              <a:gd name="connsiteX1518" fmla="*/ 4589842 w 6704664"/>
              <a:gd name="connsiteY1518" fmla="*/ 2449657 h 8384438"/>
              <a:gd name="connsiteX1519" fmla="*/ 4572855 w 6704664"/>
              <a:gd name="connsiteY1519" fmla="*/ 2444212 h 8384438"/>
              <a:gd name="connsiteX1520" fmla="*/ 4559282 w 6704664"/>
              <a:gd name="connsiteY1520" fmla="*/ 2440173 h 8384438"/>
              <a:gd name="connsiteX1521" fmla="*/ 4573108 w 6704664"/>
              <a:gd name="connsiteY1521" fmla="*/ 2417263 h 8384438"/>
              <a:gd name="connsiteX1522" fmla="*/ 4586347 w 6704664"/>
              <a:gd name="connsiteY1522" fmla="*/ 2414982 h 8384438"/>
              <a:gd name="connsiteX1523" fmla="*/ 4600169 w 6704664"/>
              <a:gd name="connsiteY1523" fmla="*/ 2423762 h 8384438"/>
              <a:gd name="connsiteX1524" fmla="*/ 4586347 w 6704664"/>
              <a:gd name="connsiteY1524" fmla="*/ 2414982 h 8384438"/>
              <a:gd name="connsiteX1525" fmla="*/ 4583272 w 6704664"/>
              <a:gd name="connsiteY1525" fmla="*/ 2356516 h 8384438"/>
              <a:gd name="connsiteX1526" fmla="*/ 4572781 w 6704664"/>
              <a:gd name="connsiteY1526" fmla="*/ 2347561 h 8384438"/>
              <a:gd name="connsiteX1527" fmla="*/ 4568785 w 6704664"/>
              <a:gd name="connsiteY1527" fmla="*/ 2335095 h 8384438"/>
              <a:gd name="connsiteX1528" fmla="*/ 4565293 w 6704664"/>
              <a:gd name="connsiteY1528" fmla="*/ 2268729 h 8384438"/>
              <a:gd name="connsiteX1529" fmla="*/ 4600851 w 6704664"/>
              <a:gd name="connsiteY1529" fmla="*/ 2246260 h 8384438"/>
              <a:gd name="connsiteX1530" fmla="*/ 4567129 w 6704664"/>
              <a:gd name="connsiteY1530" fmla="*/ 2240111 h 8384438"/>
              <a:gd name="connsiteX1531" fmla="*/ 4558638 w 6704664"/>
              <a:gd name="connsiteY1531" fmla="*/ 2205698 h 8384438"/>
              <a:gd name="connsiteX1532" fmla="*/ 4533241 w 6704664"/>
              <a:gd name="connsiteY1532" fmla="*/ 2199112 h 8384438"/>
              <a:gd name="connsiteX1533" fmla="*/ 4557558 w 6704664"/>
              <a:gd name="connsiteY1533" fmla="*/ 2185157 h 8384438"/>
              <a:gd name="connsiteX1534" fmla="*/ 4557980 w 6704664"/>
              <a:gd name="connsiteY1534" fmla="*/ 2129676 h 8384438"/>
              <a:gd name="connsiteX1535" fmla="*/ 4542159 w 6704664"/>
              <a:gd name="connsiteY1535" fmla="*/ 2114663 h 8384438"/>
              <a:gd name="connsiteX1536" fmla="*/ 4554900 w 6704664"/>
              <a:gd name="connsiteY1536" fmla="*/ 2102902 h 8384438"/>
              <a:gd name="connsiteX1537" fmla="*/ 4551992 w 6704664"/>
              <a:gd name="connsiteY1537" fmla="*/ 2047596 h 8384438"/>
              <a:gd name="connsiteX1538" fmla="*/ 4579140 w 6704664"/>
              <a:gd name="connsiteY1538" fmla="*/ 2023986 h 8384438"/>
              <a:gd name="connsiteX1539" fmla="*/ 4594627 w 6704664"/>
              <a:gd name="connsiteY1539" fmla="*/ 2032677 h 8384438"/>
              <a:gd name="connsiteX1540" fmla="*/ 4579140 w 6704664"/>
              <a:gd name="connsiteY1540" fmla="*/ 2023986 h 8384438"/>
              <a:gd name="connsiteX1541" fmla="*/ 4578394 w 6704664"/>
              <a:gd name="connsiteY1541" fmla="*/ 1978074 h 8384438"/>
              <a:gd name="connsiteX1542" fmla="*/ 4546088 w 6704664"/>
              <a:gd name="connsiteY1542" fmla="*/ 1967096 h 8384438"/>
              <a:gd name="connsiteX1543" fmla="*/ 4573900 w 6704664"/>
              <a:gd name="connsiteY1543" fmla="*/ 1956127 h 8384438"/>
              <a:gd name="connsiteX1544" fmla="*/ 4565825 w 6704664"/>
              <a:gd name="connsiteY1544" fmla="*/ 1929615 h 8384438"/>
              <a:gd name="connsiteX1545" fmla="*/ 4560497 w 6704664"/>
              <a:gd name="connsiteY1545" fmla="*/ 1923557 h 8384438"/>
              <a:gd name="connsiteX1546" fmla="*/ 4553598 w 6704664"/>
              <a:gd name="connsiteY1546" fmla="*/ 1792406 h 8384438"/>
              <a:gd name="connsiteX1547" fmla="*/ 4539526 w 6704664"/>
              <a:gd name="connsiteY1547" fmla="*/ 1778884 h 8384438"/>
              <a:gd name="connsiteX1548" fmla="*/ 4550602 w 6704664"/>
              <a:gd name="connsiteY1548" fmla="*/ 1767210 h 8384438"/>
              <a:gd name="connsiteX1549" fmla="*/ 4539613 w 6704664"/>
              <a:gd name="connsiteY1549" fmla="*/ 1748774 h 8384438"/>
              <a:gd name="connsiteX1550" fmla="*/ 4566176 w 6704664"/>
              <a:gd name="connsiteY1550" fmla="*/ 1745792 h 8384438"/>
              <a:gd name="connsiteX1551" fmla="*/ 4569171 w 6704664"/>
              <a:gd name="connsiteY1551" fmla="*/ 1770987 h 8384438"/>
              <a:gd name="connsiteX1552" fmla="*/ 4600647 w 6704664"/>
              <a:gd name="connsiteY1552" fmla="*/ 1766163 h 8384438"/>
              <a:gd name="connsiteX1553" fmla="*/ 4586994 w 6704664"/>
              <a:gd name="connsiteY1553" fmla="*/ 1728851 h 8384438"/>
              <a:gd name="connsiteX1554" fmla="*/ 4566176 w 6704664"/>
              <a:gd name="connsiteY1554" fmla="*/ 1745792 h 8384438"/>
              <a:gd name="connsiteX1555" fmla="*/ 4565013 w 6704664"/>
              <a:gd name="connsiteY1555" fmla="*/ 1723670 h 8384438"/>
              <a:gd name="connsiteX1556" fmla="*/ 4549276 w 6704664"/>
              <a:gd name="connsiteY1556" fmla="*/ 1710238 h 8384438"/>
              <a:gd name="connsiteX1557" fmla="*/ 4547863 w 6704664"/>
              <a:gd name="connsiteY1557" fmla="*/ 1683375 h 8384438"/>
              <a:gd name="connsiteX1558" fmla="*/ 4589583 w 6704664"/>
              <a:gd name="connsiteY1558" fmla="*/ 1651074 h 8384438"/>
              <a:gd name="connsiteX1559" fmla="*/ 4566018 w 6704664"/>
              <a:gd name="connsiteY1559" fmla="*/ 1647561 h 8384438"/>
              <a:gd name="connsiteX1560" fmla="*/ 4553868 w 6704664"/>
              <a:gd name="connsiteY1560" fmla="*/ 1575313 h 8384438"/>
              <a:gd name="connsiteX1561" fmla="*/ 4584514 w 6704664"/>
              <a:gd name="connsiteY1561" fmla="*/ 1554686 h 8384438"/>
              <a:gd name="connsiteX1562" fmla="*/ 4573541 w 6704664"/>
              <a:gd name="connsiteY1562" fmla="*/ 1346106 h 8384438"/>
              <a:gd name="connsiteX1563" fmla="*/ 4587781 w 6704664"/>
              <a:gd name="connsiteY1563" fmla="*/ 1331097 h 8384438"/>
              <a:gd name="connsiteX1564" fmla="*/ 4577973 w 6704664"/>
              <a:gd name="connsiteY1564" fmla="*/ 1144641 h 8384438"/>
              <a:gd name="connsiteX1565" fmla="*/ 4636267 w 6704664"/>
              <a:gd name="connsiteY1565" fmla="*/ 1078194 h 8384438"/>
              <a:gd name="connsiteX1566" fmla="*/ 4654587 w 6704664"/>
              <a:gd name="connsiteY1566" fmla="*/ 1077230 h 8384438"/>
              <a:gd name="connsiteX1567" fmla="*/ 4712716 w 6704664"/>
              <a:gd name="connsiteY1567" fmla="*/ 1007622 h 8384438"/>
              <a:gd name="connsiteX1568" fmla="*/ 4737695 w 6704664"/>
              <a:gd name="connsiteY1568" fmla="*/ 1006308 h 8384438"/>
              <a:gd name="connsiteX1569" fmla="*/ 4752432 w 6704664"/>
              <a:gd name="connsiteY1569" fmla="*/ 1032469 h 8384438"/>
              <a:gd name="connsiteX1570" fmla="*/ 4780744 w 6704664"/>
              <a:gd name="connsiteY1570" fmla="*/ 1030980 h 8384438"/>
              <a:gd name="connsiteX1571" fmla="*/ 4824373 w 6704664"/>
              <a:gd name="connsiteY1571" fmla="*/ 1066714 h 8384438"/>
              <a:gd name="connsiteX1572" fmla="*/ 4807301 w 6704664"/>
              <a:gd name="connsiteY1572" fmla="*/ 1091380 h 8384438"/>
              <a:gd name="connsiteX1573" fmla="*/ 4833445 w 6704664"/>
              <a:gd name="connsiteY1573" fmla="*/ 1112188 h 8384438"/>
              <a:gd name="connsiteX1574" fmla="*/ 4844934 w 6704664"/>
              <a:gd name="connsiteY1574" fmla="*/ 1140105 h 8384438"/>
              <a:gd name="connsiteX1575" fmla="*/ 4849107 w 6704664"/>
              <a:gd name="connsiteY1575" fmla="*/ 1028969 h 8384438"/>
              <a:gd name="connsiteX1576" fmla="*/ 4878001 w 6704664"/>
              <a:gd name="connsiteY1576" fmla="*/ 1038541 h 8384438"/>
              <a:gd name="connsiteX1577" fmla="*/ 4907309 w 6704664"/>
              <a:gd name="connsiteY1577" fmla="*/ 1056013 h 8384438"/>
              <a:gd name="connsiteX1578" fmla="*/ 4893152 w 6704664"/>
              <a:gd name="connsiteY1578" fmla="*/ 1072603 h 8384438"/>
              <a:gd name="connsiteX1579" fmla="*/ 4903643 w 6704664"/>
              <a:gd name="connsiteY1579" fmla="*/ 1081558 h 8384438"/>
              <a:gd name="connsiteX1580" fmla="*/ 4916295 w 6704664"/>
              <a:gd name="connsiteY1580" fmla="*/ 1131597 h 8384438"/>
              <a:gd name="connsiteX1581" fmla="*/ 4921043 w 6704664"/>
              <a:gd name="connsiteY1581" fmla="*/ 1126594 h 8384438"/>
              <a:gd name="connsiteX1582" fmla="*/ 4920969 w 6704664"/>
              <a:gd name="connsiteY1582" fmla="*/ 1029943 h 8384438"/>
              <a:gd name="connsiteX1583" fmla="*/ 4933461 w 6704664"/>
              <a:gd name="connsiteY1583" fmla="*/ 1013441 h 8384438"/>
              <a:gd name="connsiteX1584" fmla="*/ 4930052 w 6704664"/>
              <a:gd name="connsiteY1584" fmla="*/ 948654 h 8384438"/>
              <a:gd name="connsiteX1585" fmla="*/ 4942711 w 6704664"/>
              <a:gd name="connsiteY1585" fmla="*/ 935312 h 8384438"/>
              <a:gd name="connsiteX1586" fmla="*/ 4939968 w 6704664"/>
              <a:gd name="connsiteY1586" fmla="*/ 883168 h 8384438"/>
              <a:gd name="connsiteX1587" fmla="*/ 4958040 w 6704664"/>
              <a:gd name="connsiteY1587" fmla="*/ 845773 h 8384438"/>
              <a:gd name="connsiteX1588" fmla="*/ 5004671 w 6704664"/>
              <a:gd name="connsiteY1588" fmla="*/ 843320 h 8384438"/>
              <a:gd name="connsiteX1589" fmla="*/ 5042814 w 6704664"/>
              <a:gd name="connsiteY1589" fmla="*/ 774764 h 8384438"/>
              <a:gd name="connsiteX1590" fmla="*/ 5074457 w 6704664"/>
              <a:gd name="connsiteY1590" fmla="*/ 773099 h 8384438"/>
              <a:gd name="connsiteX1591" fmla="*/ 3734788 w 6704664"/>
              <a:gd name="connsiteY1591" fmla="*/ 784 h 8384438"/>
              <a:gd name="connsiteX1592" fmla="*/ 3770701 w 6704664"/>
              <a:gd name="connsiteY1592" fmla="*/ 32608 h 8384438"/>
              <a:gd name="connsiteX1593" fmla="*/ 3808611 w 6704664"/>
              <a:gd name="connsiteY1593" fmla="*/ 784 h 8384438"/>
              <a:gd name="connsiteX1594" fmla="*/ 3828563 w 6704664"/>
              <a:gd name="connsiteY1594" fmla="*/ 26642 h 8384438"/>
              <a:gd name="connsiteX1595" fmla="*/ 3818587 w 6704664"/>
              <a:gd name="connsiteY1595" fmla="*/ 38575 h 8384438"/>
              <a:gd name="connsiteX1596" fmla="*/ 3832552 w 6704664"/>
              <a:gd name="connsiteY1596" fmla="*/ 92278 h 8384438"/>
              <a:gd name="connsiteX1597" fmla="*/ 3832552 w 6704664"/>
              <a:gd name="connsiteY1597" fmla="*/ 130070 h 8384438"/>
              <a:gd name="connsiteX1598" fmla="*/ 3862480 w 6704664"/>
              <a:gd name="connsiteY1598" fmla="*/ 157916 h 8384438"/>
              <a:gd name="connsiteX1599" fmla="*/ 3892409 w 6704664"/>
              <a:gd name="connsiteY1599" fmla="*/ 112169 h 8384438"/>
              <a:gd name="connsiteX1600" fmla="*/ 3928323 w 6704664"/>
              <a:gd name="connsiteY1600" fmla="*/ 134048 h 8384438"/>
              <a:gd name="connsiteX1601" fmla="*/ 3968227 w 6704664"/>
              <a:gd name="connsiteY1601" fmla="*/ 130070 h 8384438"/>
              <a:gd name="connsiteX1602" fmla="*/ 3970222 w 6704664"/>
              <a:gd name="connsiteY1602" fmla="*/ 82333 h 8384438"/>
              <a:gd name="connsiteX1603" fmla="*/ 3996159 w 6704664"/>
              <a:gd name="connsiteY1603" fmla="*/ 34598 h 8384438"/>
              <a:gd name="connsiteX1604" fmla="*/ 4044045 w 6704664"/>
              <a:gd name="connsiteY1604" fmla="*/ 16697 h 8384438"/>
              <a:gd name="connsiteX1605" fmla="*/ 4071977 w 6704664"/>
              <a:gd name="connsiteY1605" fmla="*/ 40564 h 8384438"/>
              <a:gd name="connsiteX1606" fmla="*/ 4077963 w 6704664"/>
              <a:gd name="connsiteY1606" fmla="*/ 68410 h 8384438"/>
              <a:gd name="connsiteX1607" fmla="*/ 4099910 w 6704664"/>
              <a:gd name="connsiteY1607" fmla="*/ 50510 h 8384438"/>
              <a:gd name="connsiteX1608" fmla="*/ 4217628 w 6704664"/>
              <a:gd name="connsiteY1608" fmla="*/ 50509 h 8384438"/>
              <a:gd name="connsiteX1609" fmla="*/ 4225608 w 6704664"/>
              <a:gd name="connsiteY1609" fmla="*/ 56476 h 8384438"/>
              <a:gd name="connsiteX1610" fmla="*/ 4209647 w 6704664"/>
              <a:gd name="connsiteY1610" fmla="*/ 88300 h 8384438"/>
              <a:gd name="connsiteX1611" fmla="*/ 4227604 w 6704664"/>
              <a:gd name="connsiteY1611" fmla="*/ 110179 h 8384438"/>
              <a:gd name="connsiteX1612" fmla="*/ 4227604 w 6704664"/>
              <a:gd name="connsiteY1612" fmla="*/ 142004 h 8384438"/>
              <a:gd name="connsiteX1613" fmla="*/ 4245560 w 6704664"/>
              <a:gd name="connsiteY1613" fmla="*/ 161894 h 8384438"/>
              <a:gd name="connsiteX1614" fmla="*/ 4245560 w 6704664"/>
              <a:gd name="connsiteY1614" fmla="*/ 193717 h 8384438"/>
              <a:gd name="connsiteX1615" fmla="*/ 4219623 w 6704664"/>
              <a:gd name="connsiteY1615" fmla="*/ 221563 h 8384438"/>
              <a:gd name="connsiteX1616" fmla="*/ 4265513 w 6704664"/>
              <a:gd name="connsiteY1616" fmla="*/ 243443 h 8384438"/>
              <a:gd name="connsiteX1617" fmla="*/ 4247556 w 6704664"/>
              <a:gd name="connsiteY1617" fmla="*/ 259355 h 8384438"/>
              <a:gd name="connsiteX1618" fmla="*/ 4265512 w 6704664"/>
              <a:gd name="connsiteY1618" fmla="*/ 291179 h 8384438"/>
              <a:gd name="connsiteX1619" fmla="*/ 4247556 w 6704664"/>
              <a:gd name="connsiteY1619" fmla="*/ 313057 h 8384438"/>
              <a:gd name="connsiteX1620" fmla="*/ 4263517 w 6704664"/>
              <a:gd name="connsiteY1620" fmla="*/ 330959 h 8384438"/>
              <a:gd name="connsiteX1621" fmla="*/ 4263517 w 6704664"/>
              <a:gd name="connsiteY1621" fmla="*/ 515936 h 8384438"/>
              <a:gd name="connsiteX1622" fmla="*/ 4277483 w 6704664"/>
              <a:gd name="connsiteY1622" fmla="*/ 531848 h 8384438"/>
              <a:gd name="connsiteX1623" fmla="*/ 4261523 w 6704664"/>
              <a:gd name="connsiteY1623" fmla="*/ 559694 h 8384438"/>
              <a:gd name="connsiteX1624" fmla="*/ 4281474 w 6704664"/>
              <a:gd name="connsiteY1624" fmla="*/ 591519 h 8384438"/>
              <a:gd name="connsiteX1625" fmla="*/ 4281474 w 6704664"/>
              <a:gd name="connsiteY1625" fmla="*/ 772518 h 8384438"/>
              <a:gd name="connsiteX1626" fmla="*/ 4297436 w 6704664"/>
              <a:gd name="connsiteY1626" fmla="*/ 788430 h 8384438"/>
              <a:gd name="connsiteX1627" fmla="*/ 4297437 w 6704664"/>
              <a:gd name="connsiteY1627" fmla="*/ 955506 h 8384438"/>
              <a:gd name="connsiteX1628" fmla="*/ 4303421 w 6704664"/>
              <a:gd name="connsiteY1628" fmla="*/ 961473 h 8384438"/>
              <a:gd name="connsiteX1629" fmla="*/ 4315393 w 6704664"/>
              <a:gd name="connsiteY1629" fmla="*/ 973408 h 8384438"/>
              <a:gd name="connsiteX1630" fmla="*/ 4303422 w 6704664"/>
              <a:gd name="connsiteY1630" fmla="*/ 987331 h 8384438"/>
              <a:gd name="connsiteX1631" fmla="*/ 4313398 w 6704664"/>
              <a:gd name="connsiteY1631" fmla="*/ 1025122 h 8384438"/>
              <a:gd name="connsiteX1632" fmla="*/ 4313398 w 6704664"/>
              <a:gd name="connsiteY1632" fmla="*/ 1058935 h 8384438"/>
              <a:gd name="connsiteX1633" fmla="*/ 4297437 w 6704664"/>
              <a:gd name="connsiteY1633" fmla="*/ 1078824 h 8384438"/>
              <a:gd name="connsiteX1634" fmla="*/ 4301426 w 6704664"/>
              <a:gd name="connsiteY1634" fmla="*/ 1162363 h 8384438"/>
              <a:gd name="connsiteX1635" fmla="*/ 4319384 w 6704664"/>
              <a:gd name="connsiteY1635" fmla="*/ 1214077 h 8384438"/>
              <a:gd name="connsiteX1636" fmla="*/ 4331355 w 6704664"/>
              <a:gd name="connsiteY1636" fmla="*/ 1228000 h 8384438"/>
              <a:gd name="connsiteX1637" fmla="*/ 4331355 w 6704664"/>
              <a:gd name="connsiteY1637" fmla="*/ 1277725 h 8384438"/>
              <a:gd name="connsiteX1638" fmla="*/ 4317388 w 6704664"/>
              <a:gd name="connsiteY1638" fmla="*/ 1293638 h 8384438"/>
              <a:gd name="connsiteX1639" fmla="*/ 4351307 w 6704664"/>
              <a:gd name="connsiteY1639" fmla="*/ 1355296 h 8384438"/>
              <a:gd name="connsiteX1640" fmla="*/ 4335345 w 6704664"/>
              <a:gd name="connsiteY1640" fmla="*/ 1383142 h 8384438"/>
              <a:gd name="connsiteX1641" fmla="*/ 4347316 w 6704664"/>
              <a:gd name="connsiteY1641" fmla="*/ 1395077 h 8384438"/>
              <a:gd name="connsiteX1642" fmla="*/ 4347316 w 6704664"/>
              <a:gd name="connsiteY1642" fmla="*/ 1568120 h 8384438"/>
              <a:gd name="connsiteX1643" fmla="*/ 4333349 w 6704664"/>
              <a:gd name="connsiteY1643" fmla="*/ 1582043 h 8384438"/>
              <a:gd name="connsiteX1644" fmla="*/ 4365273 w 6704664"/>
              <a:gd name="connsiteY1644" fmla="*/ 1617845 h 8384438"/>
              <a:gd name="connsiteX1645" fmla="*/ 4355297 w 6704664"/>
              <a:gd name="connsiteY1645" fmla="*/ 1629779 h 8384438"/>
              <a:gd name="connsiteX1646" fmla="*/ 4365274 w 6704664"/>
              <a:gd name="connsiteY1646" fmla="*/ 1661602 h 8384438"/>
              <a:gd name="connsiteX1647" fmla="*/ 4365273 w 6704664"/>
              <a:gd name="connsiteY1647" fmla="*/ 1713317 h 8384438"/>
              <a:gd name="connsiteX1648" fmla="*/ 4347317 w 6704664"/>
              <a:gd name="connsiteY1648" fmla="*/ 1747131 h 8384438"/>
              <a:gd name="connsiteX1649" fmla="*/ 4369263 w 6704664"/>
              <a:gd name="connsiteY1649" fmla="*/ 1772988 h 8384438"/>
              <a:gd name="connsiteX1650" fmla="*/ 4369264 w 6704664"/>
              <a:gd name="connsiteY1650" fmla="*/ 1840613 h 8384438"/>
              <a:gd name="connsiteX1651" fmla="*/ 4385225 w 6704664"/>
              <a:gd name="connsiteY1651" fmla="*/ 1854536 h 8384438"/>
              <a:gd name="connsiteX1652" fmla="*/ 4385225 w 6704664"/>
              <a:gd name="connsiteY1652" fmla="*/ 1904261 h 8384438"/>
              <a:gd name="connsiteX1653" fmla="*/ 4369264 w 6704664"/>
              <a:gd name="connsiteY1653" fmla="*/ 1922163 h 8384438"/>
              <a:gd name="connsiteX1654" fmla="*/ 4387221 w 6704664"/>
              <a:gd name="connsiteY1654" fmla="*/ 1948019 h 8384438"/>
              <a:gd name="connsiteX1655" fmla="*/ 4365273 w 6704664"/>
              <a:gd name="connsiteY1655" fmla="*/ 1979844 h 8384438"/>
              <a:gd name="connsiteX1656" fmla="*/ 4385225 w 6704664"/>
              <a:gd name="connsiteY1656" fmla="*/ 2011668 h 8384438"/>
              <a:gd name="connsiteX1657" fmla="*/ 4385226 w 6704664"/>
              <a:gd name="connsiteY1657" fmla="*/ 2039514 h 8384438"/>
              <a:gd name="connsiteX1658" fmla="*/ 4401186 w 6704664"/>
              <a:gd name="connsiteY1658" fmla="*/ 2057416 h 8384438"/>
              <a:gd name="connsiteX1659" fmla="*/ 4381235 w 6704664"/>
              <a:gd name="connsiteY1659" fmla="*/ 2081283 h 8384438"/>
              <a:gd name="connsiteX1660" fmla="*/ 4403183 w 6704664"/>
              <a:gd name="connsiteY1660" fmla="*/ 2117085 h 8384438"/>
              <a:gd name="connsiteX1661" fmla="*/ 4383230 w 6704664"/>
              <a:gd name="connsiteY1661" fmla="*/ 2152887 h 8384438"/>
              <a:gd name="connsiteX1662" fmla="*/ 4399191 w 6704664"/>
              <a:gd name="connsiteY1662" fmla="*/ 2178744 h 8384438"/>
              <a:gd name="connsiteX1663" fmla="*/ 4399192 w 6704664"/>
              <a:gd name="connsiteY1663" fmla="*/ 2280183 h 8384438"/>
              <a:gd name="connsiteX1664" fmla="*/ 4385226 w 6704664"/>
              <a:gd name="connsiteY1664" fmla="*/ 2294107 h 8384438"/>
              <a:gd name="connsiteX1665" fmla="*/ 4401186 w 6704664"/>
              <a:gd name="connsiteY1665" fmla="*/ 2312007 h 8384438"/>
              <a:gd name="connsiteX1666" fmla="*/ 4385225 w 6704664"/>
              <a:gd name="connsiteY1666" fmla="*/ 2327920 h 8384438"/>
              <a:gd name="connsiteX1667" fmla="*/ 4403183 w 6704664"/>
              <a:gd name="connsiteY1667" fmla="*/ 2347810 h 8384438"/>
              <a:gd name="connsiteX1668" fmla="*/ 4403182 w 6704664"/>
              <a:gd name="connsiteY1668" fmla="*/ 2395546 h 8384438"/>
              <a:gd name="connsiteX1669" fmla="*/ 4417149 w 6704664"/>
              <a:gd name="connsiteY1669" fmla="*/ 2413447 h 8384438"/>
              <a:gd name="connsiteX1670" fmla="*/ 4417149 w 6704664"/>
              <a:gd name="connsiteY1670" fmla="*/ 2465161 h 8384438"/>
              <a:gd name="connsiteX1671" fmla="*/ 4403183 w 6704664"/>
              <a:gd name="connsiteY1671" fmla="*/ 2479084 h 8384438"/>
              <a:gd name="connsiteX1672" fmla="*/ 4401187 w 6704664"/>
              <a:gd name="connsiteY1672" fmla="*/ 2502952 h 8384438"/>
              <a:gd name="connsiteX1673" fmla="*/ 4435105 w 6704664"/>
              <a:gd name="connsiteY1673" fmla="*/ 2572567 h 8384438"/>
              <a:gd name="connsiteX1674" fmla="*/ 4435106 w 6704664"/>
              <a:gd name="connsiteY1674" fmla="*/ 2717764 h 8384438"/>
              <a:gd name="connsiteX1675" fmla="*/ 4419144 w 6704664"/>
              <a:gd name="connsiteY1675" fmla="*/ 2735666 h 8384438"/>
              <a:gd name="connsiteX1676" fmla="*/ 4419144 w 6704664"/>
              <a:gd name="connsiteY1676" fmla="*/ 2775445 h 8384438"/>
              <a:gd name="connsiteX1677" fmla="*/ 4451068 w 6704664"/>
              <a:gd name="connsiteY1677" fmla="*/ 2797325 h 8384438"/>
              <a:gd name="connsiteX1678" fmla="*/ 4439096 w 6704664"/>
              <a:gd name="connsiteY1678" fmla="*/ 2856994 h 8384438"/>
              <a:gd name="connsiteX1679" fmla="*/ 4453062 w 6704664"/>
              <a:gd name="connsiteY1679" fmla="*/ 2868929 h 8384438"/>
              <a:gd name="connsiteX1680" fmla="*/ 4453062 w 6704664"/>
              <a:gd name="connsiteY1680" fmla="*/ 2988269 h 8384438"/>
              <a:gd name="connsiteX1681" fmla="*/ 4431115 w 6704664"/>
              <a:gd name="connsiteY1681" fmla="*/ 3014126 h 8384438"/>
              <a:gd name="connsiteX1682" fmla="*/ 4453063 w 6704664"/>
              <a:gd name="connsiteY1682" fmla="*/ 3039983 h 8384438"/>
              <a:gd name="connsiteX1683" fmla="*/ 4453062 w 6704664"/>
              <a:gd name="connsiteY1683" fmla="*/ 3141422 h 8384438"/>
              <a:gd name="connsiteX1684" fmla="*/ 4441091 w 6704664"/>
              <a:gd name="connsiteY1684" fmla="*/ 3153356 h 8384438"/>
              <a:gd name="connsiteX1685" fmla="*/ 4455057 w 6704664"/>
              <a:gd name="connsiteY1685" fmla="*/ 3205070 h 8384438"/>
              <a:gd name="connsiteX1686" fmla="*/ 4455058 w 6704664"/>
              <a:gd name="connsiteY1686" fmla="*/ 3457674 h 8384438"/>
              <a:gd name="connsiteX1687" fmla="*/ 4473015 w 6704664"/>
              <a:gd name="connsiteY1687" fmla="*/ 3491487 h 8384438"/>
              <a:gd name="connsiteX1688" fmla="*/ 4455057 w 6704664"/>
              <a:gd name="connsiteY1688" fmla="*/ 3513366 h 8384438"/>
              <a:gd name="connsiteX1689" fmla="*/ 4471020 w 6704664"/>
              <a:gd name="connsiteY1689" fmla="*/ 3531267 h 8384438"/>
              <a:gd name="connsiteX1690" fmla="*/ 4471020 w 6704664"/>
              <a:gd name="connsiteY1690" fmla="*/ 3869398 h 8384438"/>
              <a:gd name="connsiteX1691" fmla="*/ 4486980 w 6704664"/>
              <a:gd name="connsiteY1691" fmla="*/ 3887299 h 8384438"/>
              <a:gd name="connsiteX1692" fmla="*/ 4486980 w 6704664"/>
              <a:gd name="connsiteY1692" fmla="*/ 3937024 h 8384438"/>
              <a:gd name="connsiteX1693" fmla="*/ 4473014 w 6704664"/>
              <a:gd name="connsiteY1693" fmla="*/ 3954925 h 8384438"/>
              <a:gd name="connsiteX1694" fmla="*/ 4488976 w 6704664"/>
              <a:gd name="connsiteY1694" fmla="*/ 3974815 h 8384438"/>
              <a:gd name="connsiteX1695" fmla="*/ 4488977 w 6704664"/>
              <a:gd name="connsiteY1695" fmla="*/ 4175705 h 8384438"/>
              <a:gd name="connsiteX1696" fmla="*/ 4502943 w 6704664"/>
              <a:gd name="connsiteY1696" fmla="*/ 4189627 h 8384438"/>
              <a:gd name="connsiteX1697" fmla="*/ 4502943 w 6704664"/>
              <a:gd name="connsiteY1697" fmla="*/ 4261232 h 8384438"/>
              <a:gd name="connsiteX1698" fmla="*/ 4488976 w 6704664"/>
              <a:gd name="connsiteY1698" fmla="*/ 4275155 h 8384438"/>
              <a:gd name="connsiteX1699" fmla="*/ 4504938 w 6704664"/>
              <a:gd name="connsiteY1699" fmla="*/ 4293056 h 8384438"/>
              <a:gd name="connsiteX1700" fmla="*/ 4504937 w 6704664"/>
              <a:gd name="connsiteY1700" fmla="*/ 4394495 h 8384438"/>
              <a:gd name="connsiteX1701" fmla="*/ 4520900 w 6704664"/>
              <a:gd name="connsiteY1701" fmla="*/ 4410407 h 8384438"/>
              <a:gd name="connsiteX1702" fmla="*/ 4506932 w 6704664"/>
              <a:gd name="connsiteY1702" fmla="*/ 4428308 h 8384438"/>
              <a:gd name="connsiteX1703" fmla="*/ 4506932 w 6704664"/>
              <a:gd name="connsiteY1703" fmla="*/ 4462121 h 8384438"/>
              <a:gd name="connsiteX1704" fmla="*/ 4524889 w 6704664"/>
              <a:gd name="connsiteY1704" fmla="*/ 4484000 h 8384438"/>
              <a:gd name="connsiteX1705" fmla="*/ 4524889 w 6704664"/>
              <a:gd name="connsiteY1705" fmla="*/ 4615274 h 8384438"/>
              <a:gd name="connsiteX1706" fmla="*/ 4538857 w 6704664"/>
              <a:gd name="connsiteY1706" fmla="*/ 4633175 h 8384438"/>
              <a:gd name="connsiteX1707" fmla="*/ 4522894 w 6704664"/>
              <a:gd name="connsiteY1707" fmla="*/ 4647099 h 8384438"/>
              <a:gd name="connsiteX1708" fmla="*/ 4540851 w 6704664"/>
              <a:gd name="connsiteY1708" fmla="*/ 4664999 h 8384438"/>
              <a:gd name="connsiteX1709" fmla="*/ 4540852 w 6704664"/>
              <a:gd name="connsiteY1709" fmla="*/ 4748537 h 8384438"/>
              <a:gd name="connsiteX1710" fmla="*/ 4522894 w 6704664"/>
              <a:gd name="connsiteY1710" fmla="*/ 4766438 h 8384438"/>
              <a:gd name="connsiteX1711" fmla="*/ 4538856 w 6704664"/>
              <a:gd name="connsiteY1711" fmla="*/ 4782351 h 8384438"/>
              <a:gd name="connsiteX1712" fmla="*/ 4538856 w 6704664"/>
              <a:gd name="connsiteY1712" fmla="*/ 4963350 h 8384438"/>
              <a:gd name="connsiteX1713" fmla="*/ 4560804 w 6704664"/>
              <a:gd name="connsiteY1713" fmla="*/ 4997163 h 8384438"/>
              <a:gd name="connsiteX1714" fmla="*/ 4538857 w 6704664"/>
              <a:gd name="connsiteY1714" fmla="*/ 5023020 h 8384438"/>
              <a:gd name="connsiteX1715" fmla="*/ 4540852 w 6704664"/>
              <a:gd name="connsiteY1715" fmla="*/ 5124459 h 8384438"/>
              <a:gd name="connsiteX1716" fmla="*/ 4556813 w 6704664"/>
              <a:gd name="connsiteY1716" fmla="*/ 5138382 h 8384438"/>
              <a:gd name="connsiteX1717" fmla="*/ 4556814 w 6704664"/>
              <a:gd name="connsiteY1717" fmla="*/ 5156284 h 8384438"/>
              <a:gd name="connsiteX1718" fmla="*/ 4540852 w 6704664"/>
              <a:gd name="connsiteY1718" fmla="*/ 5172195 h 8384438"/>
              <a:gd name="connsiteX1719" fmla="*/ 4558808 w 6704664"/>
              <a:gd name="connsiteY1719" fmla="*/ 5192086 h 8384438"/>
              <a:gd name="connsiteX1720" fmla="*/ 4558809 w 6704664"/>
              <a:gd name="connsiteY1720" fmla="*/ 5375074 h 8384438"/>
              <a:gd name="connsiteX1721" fmla="*/ 4570780 w 6704664"/>
              <a:gd name="connsiteY1721" fmla="*/ 5392975 h 8384438"/>
              <a:gd name="connsiteX1722" fmla="*/ 4556814 w 6704664"/>
              <a:gd name="connsiteY1722" fmla="*/ 5418832 h 8384438"/>
              <a:gd name="connsiteX1723" fmla="*/ 4574769 w 6704664"/>
              <a:gd name="connsiteY1723" fmla="*/ 5460601 h 8384438"/>
              <a:gd name="connsiteX1724" fmla="*/ 4556814 w 6704664"/>
              <a:gd name="connsiteY1724" fmla="*/ 5478502 h 8384438"/>
              <a:gd name="connsiteX1725" fmla="*/ 4556814 w 6704664"/>
              <a:gd name="connsiteY1725" fmla="*/ 5587898 h 8384438"/>
              <a:gd name="connsiteX1726" fmla="*/ 4562798 w 6704664"/>
              <a:gd name="connsiteY1726" fmla="*/ 5601821 h 8384438"/>
              <a:gd name="connsiteX1727" fmla="*/ 4572774 w 6704664"/>
              <a:gd name="connsiteY1727" fmla="*/ 5611765 h 8384438"/>
              <a:gd name="connsiteX1728" fmla="*/ 4554818 w 6704664"/>
              <a:gd name="connsiteY1728" fmla="*/ 5637622 h 8384438"/>
              <a:gd name="connsiteX1729" fmla="*/ 4570780 w 6704664"/>
              <a:gd name="connsiteY1729" fmla="*/ 5665469 h 8384438"/>
              <a:gd name="connsiteX1730" fmla="*/ 4558808 w 6704664"/>
              <a:gd name="connsiteY1730" fmla="*/ 5681381 h 8384438"/>
              <a:gd name="connsiteX1731" fmla="*/ 4558809 w 6704664"/>
              <a:gd name="connsiteY1731" fmla="*/ 5725140 h 8384438"/>
              <a:gd name="connsiteX1732" fmla="*/ 4576765 w 6704664"/>
              <a:gd name="connsiteY1732" fmla="*/ 5760941 h 8384438"/>
              <a:gd name="connsiteX1733" fmla="*/ 4558809 w 6704664"/>
              <a:gd name="connsiteY1733" fmla="*/ 5782820 h 8384438"/>
              <a:gd name="connsiteX1734" fmla="*/ 4574770 w 6704664"/>
              <a:gd name="connsiteY1734" fmla="*/ 5800721 h 8384438"/>
              <a:gd name="connsiteX1735" fmla="*/ 4574769 w 6704664"/>
              <a:gd name="connsiteY1735" fmla="*/ 6154764 h 8384438"/>
              <a:gd name="connsiteX1736" fmla="*/ 4590731 w 6704664"/>
              <a:gd name="connsiteY1736" fmla="*/ 6172665 h 8384438"/>
              <a:gd name="connsiteX1737" fmla="*/ 4590732 w 6704664"/>
              <a:gd name="connsiteY1737" fmla="*/ 6202500 h 8384438"/>
              <a:gd name="connsiteX1738" fmla="*/ 4572775 w 6704664"/>
              <a:gd name="connsiteY1738" fmla="*/ 6230346 h 8384438"/>
              <a:gd name="connsiteX1739" fmla="*/ 4590732 w 6704664"/>
              <a:gd name="connsiteY1739" fmla="*/ 6272115 h 8384438"/>
              <a:gd name="connsiteX1740" fmla="*/ 4574769 w 6704664"/>
              <a:gd name="connsiteY1740" fmla="*/ 6292005 h 8384438"/>
              <a:gd name="connsiteX1741" fmla="*/ 4574769 w 6704664"/>
              <a:gd name="connsiteY1741" fmla="*/ 6365598 h 8384438"/>
              <a:gd name="connsiteX1742" fmla="*/ 4578760 w 6704664"/>
              <a:gd name="connsiteY1742" fmla="*/ 6379521 h 8384438"/>
              <a:gd name="connsiteX1743" fmla="*/ 4592726 w 6704664"/>
              <a:gd name="connsiteY1743" fmla="*/ 6391455 h 8384438"/>
              <a:gd name="connsiteX1744" fmla="*/ 4592727 w 6704664"/>
              <a:gd name="connsiteY1744" fmla="*/ 6443169 h 8384438"/>
              <a:gd name="connsiteX1745" fmla="*/ 4574769 w 6704664"/>
              <a:gd name="connsiteY1745" fmla="*/ 6461070 h 8384438"/>
              <a:gd name="connsiteX1746" fmla="*/ 4574769 w 6704664"/>
              <a:gd name="connsiteY1746" fmla="*/ 6596323 h 8384438"/>
              <a:gd name="connsiteX1747" fmla="*/ 4590732 w 6704664"/>
              <a:gd name="connsiteY1747" fmla="*/ 6610246 h 8384438"/>
              <a:gd name="connsiteX1748" fmla="*/ 4590731 w 6704664"/>
              <a:gd name="connsiteY1748" fmla="*/ 6715663 h 8384438"/>
              <a:gd name="connsiteX1749" fmla="*/ 4574769 w 6704664"/>
              <a:gd name="connsiteY1749" fmla="*/ 6731575 h 8384438"/>
              <a:gd name="connsiteX1750" fmla="*/ 4574770 w 6704664"/>
              <a:gd name="connsiteY1750" fmla="*/ 6797212 h 8384438"/>
              <a:gd name="connsiteX1751" fmla="*/ 4558809 w 6704664"/>
              <a:gd name="connsiteY1751" fmla="*/ 6817102 h 8384438"/>
              <a:gd name="connsiteX1752" fmla="*/ 4572774 w 6704664"/>
              <a:gd name="connsiteY1752" fmla="*/ 6831025 h 8384438"/>
              <a:gd name="connsiteX1753" fmla="*/ 4576765 w 6704664"/>
              <a:gd name="connsiteY1753" fmla="*/ 6934454 h 8384438"/>
              <a:gd name="connsiteX1754" fmla="*/ 4590731 w 6704664"/>
              <a:gd name="connsiteY1754" fmla="*/ 6950365 h 8384438"/>
              <a:gd name="connsiteX1755" fmla="*/ 4570780 w 6704664"/>
              <a:gd name="connsiteY1755" fmla="*/ 6976223 h 8384438"/>
              <a:gd name="connsiteX1756" fmla="*/ 4588737 w 6704664"/>
              <a:gd name="connsiteY1756" fmla="*/ 7004068 h 8384438"/>
              <a:gd name="connsiteX1757" fmla="*/ 4576766 w 6704664"/>
              <a:gd name="connsiteY1757" fmla="*/ 7019981 h 8384438"/>
              <a:gd name="connsiteX1758" fmla="*/ 4576766 w 6704664"/>
              <a:gd name="connsiteY1758" fmla="*/ 7085618 h 8384438"/>
              <a:gd name="connsiteX1759" fmla="*/ 4586742 w 6704664"/>
              <a:gd name="connsiteY1759" fmla="*/ 7101531 h 8384438"/>
              <a:gd name="connsiteX1760" fmla="*/ 4572775 w 6704664"/>
              <a:gd name="connsiteY1760" fmla="*/ 7133354 h 8384438"/>
              <a:gd name="connsiteX1761" fmla="*/ 4592727 w 6704664"/>
              <a:gd name="connsiteY1761" fmla="*/ 7155233 h 8384438"/>
              <a:gd name="connsiteX1762" fmla="*/ 4592726 w 6704664"/>
              <a:gd name="connsiteY1762" fmla="*/ 7306397 h 8384438"/>
              <a:gd name="connsiteX1763" fmla="*/ 4574770 w 6704664"/>
              <a:gd name="connsiteY1763" fmla="*/ 7324298 h 8384438"/>
              <a:gd name="connsiteX1764" fmla="*/ 4590731 w 6704664"/>
              <a:gd name="connsiteY1764" fmla="*/ 7342199 h 8384438"/>
              <a:gd name="connsiteX1765" fmla="*/ 4576766 w 6704664"/>
              <a:gd name="connsiteY1765" fmla="*/ 7356122 h 8384438"/>
              <a:gd name="connsiteX1766" fmla="*/ 4576766 w 6704664"/>
              <a:gd name="connsiteY1766" fmla="*/ 7409825 h 8384438"/>
              <a:gd name="connsiteX1767" fmla="*/ 4590731 w 6704664"/>
              <a:gd name="connsiteY1767" fmla="*/ 7423749 h 8384438"/>
              <a:gd name="connsiteX1768" fmla="*/ 4590732 w 6704664"/>
              <a:gd name="connsiteY1768" fmla="*/ 7529166 h 8384438"/>
              <a:gd name="connsiteX1769" fmla="*/ 4574769 w 6704664"/>
              <a:gd name="connsiteY1769" fmla="*/ 7543089 h 8384438"/>
              <a:gd name="connsiteX1770" fmla="*/ 4592726 w 6704664"/>
              <a:gd name="connsiteY1770" fmla="*/ 7560990 h 8384438"/>
              <a:gd name="connsiteX1771" fmla="*/ 4592726 w 6704664"/>
              <a:gd name="connsiteY1771" fmla="*/ 7730055 h 8384438"/>
              <a:gd name="connsiteX1772" fmla="*/ 4610684 w 6704664"/>
              <a:gd name="connsiteY1772" fmla="*/ 7747956 h 8384438"/>
              <a:gd name="connsiteX1773" fmla="*/ 4610683 w 6704664"/>
              <a:gd name="connsiteY1773" fmla="*/ 7779780 h 8384438"/>
              <a:gd name="connsiteX1774" fmla="*/ 4626645 w 6704664"/>
              <a:gd name="connsiteY1774" fmla="*/ 7799670 h 8384438"/>
              <a:gd name="connsiteX1775" fmla="*/ 4616670 w 6704664"/>
              <a:gd name="connsiteY1775" fmla="*/ 7839450 h 8384438"/>
              <a:gd name="connsiteX1776" fmla="*/ 4600708 w 6704664"/>
              <a:gd name="connsiteY1776" fmla="*/ 7805637 h 8384438"/>
              <a:gd name="connsiteX1777" fmla="*/ 4574769 w 6704664"/>
              <a:gd name="connsiteY1777" fmla="*/ 7831494 h 8384438"/>
              <a:gd name="connsiteX1778" fmla="*/ 4590732 w 6704664"/>
              <a:gd name="connsiteY1778" fmla="*/ 7849395 h 8384438"/>
              <a:gd name="connsiteX1779" fmla="*/ 4566789 w 6704664"/>
              <a:gd name="connsiteY1779" fmla="*/ 7873263 h 8384438"/>
              <a:gd name="connsiteX1780" fmla="*/ 4548833 w 6704664"/>
              <a:gd name="connsiteY1780" fmla="*/ 7857351 h 8384438"/>
              <a:gd name="connsiteX1781" fmla="*/ 4522895 w 6704664"/>
              <a:gd name="connsiteY1781" fmla="*/ 7899119 h 8384438"/>
              <a:gd name="connsiteX1782" fmla="*/ 4568785 w 6704664"/>
              <a:gd name="connsiteY1782" fmla="*/ 7921000 h 8384438"/>
              <a:gd name="connsiteX1783" fmla="*/ 4606693 w 6704664"/>
              <a:gd name="connsiteY1783" fmla="*/ 7917022 h 8384438"/>
              <a:gd name="connsiteX1784" fmla="*/ 4592726 w 6704664"/>
              <a:gd name="connsiteY1784" fmla="*/ 7934923 h 8384438"/>
              <a:gd name="connsiteX1785" fmla="*/ 4604698 w 6704664"/>
              <a:gd name="connsiteY1785" fmla="*/ 7970725 h 8384438"/>
              <a:gd name="connsiteX1786" fmla="*/ 4574769 w 6704664"/>
              <a:gd name="connsiteY1786" fmla="*/ 7980670 h 8384438"/>
              <a:gd name="connsiteX1787" fmla="*/ 4560803 w 6704664"/>
              <a:gd name="connsiteY1787" fmla="*/ 8010505 h 8384438"/>
              <a:gd name="connsiteX1788" fmla="*/ 4490971 w 6704664"/>
              <a:gd name="connsiteY1788" fmla="*/ 7990615 h 8384438"/>
              <a:gd name="connsiteX1789" fmla="*/ 4427124 w 6704664"/>
              <a:gd name="connsiteY1789" fmla="*/ 7924978 h 8384438"/>
              <a:gd name="connsiteX1790" fmla="*/ 4409168 w 6704664"/>
              <a:gd name="connsiteY1790" fmla="*/ 7922987 h 8384438"/>
              <a:gd name="connsiteX1791" fmla="*/ 4385226 w 6704664"/>
              <a:gd name="connsiteY1791" fmla="*/ 7873262 h 8384438"/>
              <a:gd name="connsiteX1792" fmla="*/ 4367269 w 6704664"/>
              <a:gd name="connsiteY1792" fmla="*/ 7807626 h 8384438"/>
              <a:gd name="connsiteX1793" fmla="*/ 4333349 w 6704664"/>
              <a:gd name="connsiteY1793" fmla="*/ 7783758 h 8384438"/>
              <a:gd name="connsiteX1794" fmla="*/ 4331354 w 6704664"/>
              <a:gd name="connsiteY1794" fmla="*/ 7745967 h 8384438"/>
              <a:gd name="connsiteX1795" fmla="*/ 4295440 w 6704664"/>
              <a:gd name="connsiteY1795" fmla="*/ 7710165 h 8384438"/>
              <a:gd name="connsiteX1796" fmla="*/ 4295441 w 6704664"/>
              <a:gd name="connsiteY1796" fmla="*/ 7642538 h 8384438"/>
              <a:gd name="connsiteX1797" fmla="*/ 4281475 w 6704664"/>
              <a:gd name="connsiteY1797" fmla="*/ 7628616 h 8384438"/>
              <a:gd name="connsiteX1798" fmla="*/ 4281474 w 6704664"/>
              <a:gd name="connsiteY1798" fmla="*/ 7576901 h 8384438"/>
              <a:gd name="connsiteX1799" fmla="*/ 4263517 w 6704664"/>
              <a:gd name="connsiteY1799" fmla="*/ 7559001 h 8384438"/>
              <a:gd name="connsiteX1800" fmla="*/ 4263517 w 6704664"/>
              <a:gd name="connsiteY1800" fmla="*/ 7493364 h 8384438"/>
              <a:gd name="connsiteX1801" fmla="*/ 4247556 w 6704664"/>
              <a:gd name="connsiteY1801" fmla="*/ 7475462 h 8384438"/>
              <a:gd name="connsiteX1802" fmla="*/ 4261523 w 6704664"/>
              <a:gd name="connsiteY1802" fmla="*/ 7457562 h 8384438"/>
              <a:gd name="connsiteX1803" fmla="*/ 4245561 w 6704664"/>
              <a:gd name="connsiteY1803" fmla="*/ 7441649 h 8384438"/>
              <a:gd name="connsiteX1804" fmla="*/ 4245561 w 6704664"/>
              <a:gd name="connsiteY1804" fmla="*/ 7374023 h 8384438"/>
              <a:gd name="connsiteX1805" fmla="*/ 4229599 w 6704664"/>
              <a:gd name="connsiteY1805" fmla="*/ 7358112 h 8384438"/>
              <a:gd name="connsiteX1806" fmla="*/ 4233589 w 6704664"/>
              <a:gd name="connsiteY1806" fmla="*/ 7300430 h 8384438"/>
              <a:gd name="connsiteX1807" fmla="*/ 4245560 w 6704664"/>
              <a:gd name="connsiteY1807" fmla="*/ 7290485 h 8384438"/>
              <a:gd name="connsiteX1808" fmla="*/ 4227604 w 6704664"/>
              <a:gd name="connsiteY1808" fmla="*/ 7270595 h 8384438"/>
              <a:gd name="connsiteX1809" fmla="*/ 4227603 w 6704664"/>
              <a:gd name="connsiteY1809" fmla="*/ 7103519 h 8384438"/>
              <a:gd name="connsiteX1810" fmla="*/ 4213638 w 6704664"/>
              <a:gd name="connsiteY1810" fmla="*/ 7087607 h 8384438"/>
              <a:gd name="connsiteX1811" fmla="*/ 4231595 w 6704664"/>
              <a:gd name="connsiteY1811" fmla="*/ 7059761 h 8384438"/>
              <a:gd name="connsiteX1812" fmla="*/ 4211642 w 6704664"/>
              <a:gd name="connsiteY1812" fmla="*/ 7017991 h 8384438"/>
              <a:gd name="connsiteX1813" fmla="*/ 4227603 w 6704664"/>
              <a:gd name="connsiteY1813" fmla="*/ 7002080 h 8384438"/>
              <a:gd name="connsiteX1814" fmla="*/ 4227603 w 6704664"/>
              <a:gd name="connsiteY1814" fmla="*/ 6968266 h 8384438"/>
              <a:gd name="connsiteX1815" fmla="*/ 4211643 w 6704664"/>
              <a:gd name="connsiteY1815" fmla="*/ 6950366 h 8384438"/>
              <a:gd name="connsiteX1816" fmla="*/ 4211643 w 6704664"/>
              <a:gd name="connsiteY1816" fmla="*/ 6916552 h 8384438"/>
              <a:gd name="connsiteX1817" fmla="*/ 4227603 w 6704664"/>
              <a:gd name="connsiteY1817" fmla="*/ 6898651 h 8384438"/>
              <a:gd name="connsiteX1818" fmla="*/ 4213638 w 6704664"/>
              <a:gd name="connsiteY1818" fmla="*/ 6884728 h 8384438"/>
              <a:gd name="connsiteX1819" fmla="*/ 4213637 w 6704664"/>
              <a:gd name="connsiteY1819" fmla="*/ 6763399 h 8384438"/>
              <a:gd name="connsiteX1820" fmla="*/ 4227603 w 6704664"/>
              <a:gd name="connsiteY1820" fmla="*/ 6749476 h 8384438"/>
              <a:gd name="connsiteX1821" fmla="*/ 4227604 w 6704664"/>
              <a:gd name="connsiteY1821" fmla="*/ 6697762 h 8384438"/>
              <a:gd name="connsiteX1822" fmla="*/ 4211642 w 6704664"/>
              <a:gd name="connsiteY1822" fmla="*/ 6675883 h 8384438"/>
              <a:gd name="connsiteX1823" fmla="*/ 4211642 w 6704664"/>
              <a:gd name="connsiteY1823" fmla="*/ 6630136 h 8384438"/>
              <a:gd name="connsiteX1824" fmla="*/ 4227604 w 6704664"/>
              <a:gd name="connsiteY1824" fmla="*/ 6612235 h 8384438"/>
              <a:gd name="connsiteX1825" fmla="*/ 4227604 w 6704664"/>
              <a:gd name="connsiteY1825" fmla="*/ 6578422 h 8384438"/>
              <a:gd name="connsiteX1826" fmla="*/ 4211642 w 6704664"/>
              <a:gd name="connsiteY1826" fmla="*/ 6560521 h 8384438"/>
              <a:gd name="connsiteX1827" fmla="*/ 4211643 w 6704664"/>
              <a:gd name="connsiteY1827" fmla="*/ 6526708 h 8384438"/>
              <a:gd name="connsiteX1828" fmla="*/ 4163078 w 6704664"/>
              <a:gd name="connsiteY1828" fmla="*/ 6480232 h 8384438"/>
              <a:gd name="connsiteX1829" fmla="*/ 4172237 w 6704664"/>
              <a:gd name="connsiteY1829" fmla="*/ 6461319 h 8384438"/>
              <a:gd name="connsiteX1830" fmla="*/ 4179719 w 6704664"/>
              <a:gd name="connsiteY1830" fmla="*/ 6447147 h 8384438"/>
              <a:gd name="connsiteX1831" fmla="*/ 4159767 w 6704664"/>
              <a:gd name="connsiteY1831" fmla="*/ 6425268 h 8384438"/>
              <a:gd name="connsiteX1832" fmla="*/ 4159767 w 6704664"/>
              <a:gd name="connsiteY1832" fmla="*/ 6375543 h 8384438"/>
              <a:gd name="connsiteX1833" fmla="*/ 4123852 w 6704664"/>
              <a:gd name="connsiteY1833" fmla="*/ 6321840 h 8384438"/>
              <a:gd name="connsiteX1834" fmla="*/ 4093924 w 6704664"/>
              <a:gd name="connsiteY1834" fmla="*/ 6319851 h 8384438"/>
              <a:gd name="connsiteX1835" fmla="*/ 4105896 w 6704664"/>
              <a:gd name="connsiteY1835" fmla="*/ 6355653 h 8384438"/>
              <a:gd name="connsiteX1836" fmla="*/ 4105897 w 6704664"/>
              <a:gd name="connsiteY1836" fmla="*/ 6427257 h 8384438"/>
              <a:gd name="connsiteX1837" fmla="*/ 4091929 w 6704664"/>
              <a:gd name="connsiteY1837" fmla="*/ 6443169 h 8384438"/>
              <a:gd name="connsiteX1838" fmla="*/ 4107892 w 6704664"/>
              <a:gd name="connsiteY1838" fmla="*/ 6461070 h 8384438"/>
              <a:gd name="connsiteX1839" fmla="*/ 4107891 w 6704664"/>
              <a:gd name="connsiteY1839" fmla="*/ 6544609 h 8384438"/>
              <a:gd name="connsiteX1840" fmla="*/ 4099911 w 6704664"/>
              <a:gd name="connsiteY1840" fmla="*/ 6550575 h 8384438"/>
              <a:gd name="connsiteX1841" fmla="*/ 4073972 w 6704664"/>
              <a:gd name="connsiteY1841" fmla="*/ 6560520 h 8384438"/>
              <a:gd name="connsiteX1842" fmla="*/ 4073972 w 6704664"/>
              <a:gd name="connsiteY1842" fmla="*/ 6594333 h 8384438"/>
              <a:gd name="connsiteX1843" fmla="*/ 4087940 w 6704664"/>
              <a:gd name="connsiteY1843" fmla="*/ 6612235 h 8384438"/>
              <a:gd name="connsiteX1844" fmla="*/ 4071978 w 6704664"/>
              <a:gd name="connsiteY1844" fmla="*/ 6632125 h 8384438"/>
              <a:gd name="connsiteX1845" fmla="*/ 4073973 w 6704664"/>
              <a:gd name="connsiteY1845" fmla="*/ 6665938 h 8384438"/>
              <a:gd name="connsiteX1846" fmla="*/ 4107891 w 6704664"/>
              <a:gd name="connsiteY1846" fmla="*/ 6677872 h 8384438"/>
              <a:gd name="connsiteX1847" fmla="*/ 4091930 w 6704664"/>
              <a:gd name="connsiteY1847" fmla="*/ 6695773 h 8384438"/>
              <a:gd name="connsiteX1848" fmla="*/ 4105897 w 6704664"/>
              <a:gd name="connsiteY1848" fmla="*/ 6711685 h 8384438"/>
              <a:gd name="connsiteX1849" fmla="*/ 4073972 w 6704664"/>
              <a:gd name="connsiteY1849" fmla="*/ 6767377 h 8384438"/>
              <a:gd name="connsiteX1850" fmla="*/ 4073973 w 6704664"/>
              <a:gd name="connsiteY1850" fmla="*/ 6797212 h 8384438"/>
              <a:gd name="connsiteX1851" fmla="*/ 4087939 w 6704664"/>
              <a:gd name="connsiteY1851" fmla="*/ 6815113 h 8384438"/>
              <a:gd name="connsiteX1852" fmla="*/ 4087939 w 6704664"/>
              <a:gd name="connsiteY1852" fmla="*/ 6918541 h 8384438"/>
              <a:gd name="connsiteX1853" fmla="*/ 4071977 w 6704664"/>
              <a:gd name="connsiteY1853" fmla="*/ 6934454 h 8384438"/>
              <a:gd name="connsiteX1854" fmla="*/ 4071977 w 6704664"/>
              <a:gd name="connsiteY1854" fmla="*/ 7137332 h 8384438"/>
              <a:gd name="connsiteX1855" fmla="*/ 4056015 w 6704664"/>
              <a:gd name="connsiteY1855" fmla="*/ 7153244 h 8384438"/>
              <a:gd name="connsiteX1856" fmla="*/ 4056016 w 6704664"/>
              <a:gd name="connsiteY1856" fmla="*/ 7356122 h 8384438"/>
              <a:gd name="connsiteX1857" fmla="*/ 4050030 w 6704664"/>
              <a:gd name="connsiteY1857" fmla="*/ 7364079 h 8384438"/>
              <a:gd name="connsiteX1858" fmla="*/ 4038058 w 6704664"/>
              <a:gd name="connsiteY1858" fmla="*/ 7374023 h 8384438"/>
              <a:gd name="connsiteX1859" fmla="*/ 4038058 w 6704664"/>
              <a:gd name="connsiteY1859" fmla="*/ 7543088 h 8384438"/>
              <a:gd name="connsiteX1860" fmla="*/ 4022097 w 6704664"/>
              <a:gd name="connsiteY1860" fmla="*/ 7560990 h 8384438"/>
              <a:gd name="connsiteX1861" fmla="*/ 4038059 w 6704664"/>
              <a:gd name="connsiteY1861" fmla="*/ 7578891 h 8384438"/>
              <a:gd name="connsiteX1862" fmla="*/ 4020103 w 6704664"/>
              <a:gd name="connsiteY1862" fmla="*/ 7594803 h 8384438"/>
              <a:gd name="connsiteX1863" fmla="*/ 4020102 w 6704664"/>
              <a:gd name="connsiteY1863" fmla="*/ 7712154 h 8384438"/>
              <a:gd name="connsiteX1864" fmla="*/ 4002146 w 6704664"/>
              <a:gd name="connsiteY1864" fmla="*/ 7730055 h 8384438"/>
              <a:gd name="connsiteX1865" fmla="*/ 4002146 w 6704664"/>
              <a:gd name="connsiteY1865" fmla="*/ 7815582 h 8384438"/>
              <a:gd name="connsiteX1866" fmla="*/ 3986184 w 6704664"/>
              <a:gd name="connsiteY1866" fmla="*/ 7831494 h 8384438"/>
              <a:gd name="connsiteX1867" fmla="*/ 3986184 w 6704664"/>
              <a:gd name="connsiteY1867" fmla="*/ 7930945 h 8384438"/>
              <a:gd name="connsiteX1868" fmla="*/ 3968227 w 6704664"/>
              <a:gd name="connsiteY1868" fmla="*/ 7950835 h 8384438"/>
              <a:gd name="connsiteX1869" fmla="*/ 3968227 w 6704664"/>
              <a:gd name="connsiteY1869" fmla="*/ 8000559 h 8384438"/>
              <a:gd name="connsiteX1870" fmla="*/ 3952265 w 6704664"/>
              <a:gd name="connsiteY1870" fmla="*/ 8020450 h 8384438"/>
              <a:gd name="connsiteX1871" fmla="*/ 3952264 w 6704664"/>
              <a:gd name="connsiteY1871" fmla="*/ 8094043 h 8384438"/>
              <a:gd name="connsiteX1872" fmla="*/ 3934309 w 6704664"/>
              <a:gd name="connsiteY1872" fmla="*/ 8131834 h 8384438"/>
              <a:gd name="connsiteX1873" fmla="*/ 3918346 w 6704664"/>
              <a:gd name="connsiteY1873" fmla="*/ 8157690 h 8384438"/>
              <a:gd name="connsiteX1874" fmla="*/ 3916352 w 6704664"/>
              <a:gd name="connsiteY1874" fmla="*/ 8187525 h 8384438"/>
              <a:gd name="connsiteX1875" fmla="*/ 3890414 w 6704664"/>
              <a:gd name="connsiteY1875" fmla="*/ 8211394 h 8384438"/>
              <a:gd name="connsiteX1876" fmla="*/ 3832553 w 6704664"/>
              <a:gd name="connsiteY1876" fmla="*/ 8219349 h 8384438"/>
              <a:gd name="connsiteX1877" fmla="*/ 3824571 w 6704664"/>
              <a:gd name="connsiteY1877" fmla="*/ 8259130 h 8384438"/>
              <a:gd name="connsiteX1878" fmla="*/ 3794644 w 6704664"/>
              <a:gd name="connsiteY1878" fmla="*/ 8306866 h 8384438"/>
              <a:gd name="connsiteX1879" fmla="*/ 3764715 w 6704664"/>
              <a:gd name="connsiteY1879" fmla="*/ 8318800 h 8384438"/>
              <a:gd name="connsiteX1880" fmla="*/ 3754740 w 6704664"/>
              <a:gd name="connsiteY1880" fmla="*/ 8348634 h 8384438"/>
              <a:gd name="connsiteX1881" fmla="*/ 3726807 w 6704664"/>
              <a:gd name="connsiteY1881" fmla="*/ 8348635 h 8384438"/>
              <a:gd name="connsiteX1882" fmla="*/ 3742768 w 6704664"/>
              <a:gd name="connsiteY1882" fmla="*/ 8320789 h 8384438"/>
              <a:gd name="connsiteX1883" fmla="*/ 3728801 w 6704664"/>
              <a:gd name="connsiteY1883" fmla="*/ 8304877 h 8384438"/>
              <a:gd name="connsiteX1884" fmla="*/ 3742768 w 6704664"/>
              <a:gd name="connsiteY1884" fmla="*/ 8286976 h 8384438"/>
              <a:gd name="connsiteX1885" fmla="*/ 3692887 w 6704664"/>
              <a:gd name="connsiteY1885" fmla="*/ 8286975 h 8384438"/>
              <a:gd name="connsiteX1886" fmla="*/ 3708849 w 6704664"/>
              <a:gd name="connsiteY1886" fmla="*/ 8306865 h 8384438"/>
              <a:gd name="connsiteX1887" fmla="*/ 3674932 w 6704664"/>
              <a:gd name="connsiteY1887" fmla="*/ 8320788 h 8384438"/>
              <a:gd name="connsiteX1888" fmla="*/ 3666950 w 6704664"/>
              <a:gd name="connsiteY1888" fmla="*/ 8364547 h 8384438"/>
              <a:gd name="connsiteX1889" fmla="*/ 3635026 w 6704664"/>
              <a:gd name="connsiteY1889" fmla="*/ 8364547 h 8384438"/>
              <a:gd name="connsiteX1890" fmla="*/ 3601108 w 6704664"/>
              <a:gd name="connsiteY1890" fmla="*/ 8384438 h 8384438"/>
              <a:gd name="connsiteX1891" fmla="*/ 3581157 w 6704664"/>
              <a:gd name="connsiteY1891" fmla="*/ 8364547 h 8384438"/>
              <a:gd name="connsiteX1892" fmla="*/ 3561204 w 6704664"/>
              <a:gd name="connsiteY1892" fmla="*/ 8380459 h 8384438"/>
              <a:gd name="connsiteX1893" fmla="*/ 3517309 w 6704664"/>
              <a:gd name="connsiteY1893" fmla="*/ 8380459 h 8384438"/>
              <a:gd name="connsiteX1894" fmla="*/ 3433511 w 6704664"/>
              <a:gd name="connsiteY1894" fmla="*/ 8338690 h 8384438"/>
              <a:gd name="connsiteX1895" fmla="*/ 3449473 w 6704664"/>
              <a:gd name="connsiteY1895" fmla="*/ 8322777 h 8384438"/>
              <a:gd name="connsiteX1896" fmla="*/ 3449473 w 6704664"/>
              <a:gd name="connsiteY1896" fmla="*/ 8219350 h 8384438"/>
              <a:gd name="connsiteX1897" fmla="*/ 3433511 w 6704664"/>
              <a:gd name="connsiteY1897" fmla="*/ 8203438 h 8384438"/>
              <a:gd name="connsiteX1898" fmla="*/ 3433510 w 6704664"/>
              <a:gd name="connsiteY1898" fmla="*/ 8090065 h 8384438"/>
              <a:gd name="connsiteX1899" fmla="*/ 3425531 w 6704664"/>
              <a:gd name="connsiteY1899" fmla="*/ 8076142 h 8384438"/>
              <a:gd name="connsiteX1900" fmla="*/ 3389616 w 6704664"/>
              <a:gd name="connsiteY1900" fmla="*/ 8076142 h 8384438"/>
              <a:gd name="connsiteX1901" fmla="*/ 3371660 w 6704664"/>
              <a:gd name="connsiteY1901" fmla="*/ 8060230 h 8384438"/>
              <a:gd name="connsiteX1902" fmla="*/ 3331755 w 6704664"/>
              <a:gd name="connsiteY1902" fmla="*/ 8054262 h 8384438"/>
              <a:gd name="connsiteX1903" fmla="*/ 3325769 w 6704664"/>
              <a:gd name="connsiteY1903" fmla="*/ 8030395 h 8384438"/>
              <a:gd name="connsiteX1904" fmla="*/ 3295841 w 6704664"/>
              <a:gd name="connsiteY1904" fmla="*/ 8020449 h 8384438"/>
              <a:gd name="connsiteX1905" fmla="*/ 3293847 w 6704664"/>
              <a:gd name="connsiteY1905" fmla="*/ 7980670 h 8384438"/>
              <a:gd name="connsiteX1906" fmla="*/ 3265913 w 6704664"/>
              <a:gd name="connsiteY1906" fmla="*/ 7972714 h 8384438"/>
              <a:gd name="connsiteX1907" fmla="*/ 3253942 w 6704664"/>
              <a:gd name="connsiteY1907" fmla="*/ 7944868 h 8384438"/>
              <a:gd name="connsiteX1908" fmla="*/ 3226010 w 6704664"/>
              <a:gd name="connsiteY1908" fmla="*/ 7917022 h 8384438"/>
              <a:gd name="connsiteX1909" fmla="*/ 3241970 w 6704664"/>
              <a:gd name="connsiteY1909" fmla="*/ 7899120 h 8384438"/>
              <a:gd name="connsiteX1910" fmla="*/ 3216034 w 6704664"/>
              <a:gd name="connsiteY1910" fmla="*/ 7871274 h 8384438"/>
              <a:gd name="connsiteX1911" fmla="*/ 3190096 w 6704664"/>
              <a:gd name="connsiteY1911" fmla="*/ 7825527 h 8384438"/>
              <a:gd name="connsiteX1912" fmla="*/ 3190095 w 6704664"/>
              <a:gd name="connsiteY1912" fmla="*/ 7789725 h 8384438"/>
              <a:gd name="connsiteX1913" fmla="*/ 3233990 w 6704664"/>
              <a:gd name="connsiteY1913" fmla="*/ 7761878 h 8384438"/>
              <a:gd name="connsiteX1914" fmla="*/ 3198077 w 6704664"/>
              <a:gd name="connsiteY1914" fmla="*/ 7753923 h 8384438"/>
              <a:gd name="connsiteX1915" fmla="*/ 3176129 w 6704664"/>
              <a:gd name="connsiteY1915" fmla="*/ 7730055 h 8384438"/>
              <a:gd name="connsiteX1916" fmla="*/ 3172139 w 6704664"/>
              <a:gd name="connsiteY1916" fmla="*/ 7626627 h 8384438"/>
              <a:gd name="connsiteX1917" fmla="*/ 3156176 w 6704664"/>
              <a:gd name="connsiteY1917" fmla="*/ 7612704 h 8384438"/>
              <a:gd name="connsiteX1918" fmla="*/ 3172138 w 6704664"/>
              <a:gd name="connsiteY1918" fmla="*/ 7594803 h 8384438"/>
              <a:gd name="connsiteX1919" fmla="*/ 3156176 w 6704664"/>
              <a:gd name="connsiteY1919" fmla="*/ 7574913 h 8384438"/>
              <a:gd name="connsiteX1920" fmla="*/ 3156176 w 6704664"/>
              <a:gd name="connsiteY1920" fmla="*/ 7525188 h 8384438"/>
              <a:gd name="connsiteX1921" fmla="*/ 3140216 w 6704664"/>
              <a:gd name="connsiteY1921" fmla="*/ 7511265 h 8384438"/>
              <a:gd name="connsiteX1922" fmla="*/ 3140215 w 6704664"/>
              <a:gd name="connsiteY1922" fmla="*/ 7451594 h 8384438"/>
              <a:gd name="connsiteX1923" fmla="*/ 3108291 w 6704664"/>
              <a:gd name="connsiteY1923" fmla="*/ 7393914 h 8384438"/>
              <a:gd name="connsiteX1924" fmla="*/ 3124253 w 6704664"/>
              <a:gd name="connsiteY1924" fmla="*/ 7360100 h 8384438"/>
              <a:gd name="connsiteX1925" fmla="*/ 3104302 w 6704664"/>
              <a:gd name="connsiteY1925" fmla="*/ 7340210 h 8384438"/>
              <a:gd name="connsiteX1926" fmla="*/ 3104302 w 6704664"/>
              <a:gd name="connsiteY1926" fmla="*/ 7290485 h 8384438"/>
              <a:gd name="connsiteX1927" fmla="*/ 3088339 w 6704664"/>
              <a:gd name="connsiteY1927" fmla="*/ 7272584 h 8384438"/>
              <a:gd name="connsiteX1928" fmla="*/ 3088339 w 6704664"/>
              <a:gd name="connsiteY1928" fmla="*/ 7222860 h 8384438"/>
              <a:gd name="connsiteX1929" fmla="*/ 3106297 w 6704664"/>
              <a:gd name="connsiteY1929" fmla="*/ 7200980 h 8384438"/>
              <a:gd name="connsiteX1930" fmla="*/ 3096321 w 6704664"/>
              <a:gd name="connsiteY1930" fmla="*/ 7163189 h 8384438"/>
              <a:gd name="connsiteX1931" fmla="*/ 3086345 w 6704664"/>
              <a:gd name="connsiteY1931" fmla="*/ 7133354 h 8384438"/>
              <a:gd name="connsiteX1932" fmla="*/ 3072379 w 6704664"/>
              <a:gd name="connsiteY1932" fmla="*/ 7093574 h 8384438"/>
              <a:gd name="connsiteX1933" fmla="*/ 3068387 w 6704664"/>
              <a:gd name="connsiteY1933" fmla="*/ 7189046 h 8384438"/>
              <a:gd name="connsiteX1934" fmla="*/ 3052426 w 6704664"/>
              <a:gd name="connsiteY1934" fmla="*/ 7204958 h 8384438"/>
              <a:gd name="connsiteX1935" fmla="*/ 3052426 w 6704664"/>
              <a:gd name="connsiteY1935" fmla="*/ 7288496 h 8384438"/>
              <a:gd name="connsiteX1936" fmla="*/ 3046441 w 6704664"/>
              <a:gd name="connsiteY1936" fmla="*/ 7294463 h 8384438"/>
              <a:gd name="connsiteX1937" fmla="*/ 3034470 w 6704664"/>
              <a:gd name="connsiteY1937" fmla="*/ 7306397 h 8384438"/>
              <a:gd name="connsiteX1938" fmla="*/ 3034470 w 6704664"/>
              <a:gd name="connsiteY1938" fmla="*/ 7407837 h 8384438"/>
              <a:gd name="connsiteX1939" fmla="*/ 3016513 w 6704664"/>
              <a:gd name="connsiteY1939" fmla="*/ 7427726 h 8384438"/>
              <a:gd name="connsiteX1940" fmla="*/ 3016513 w 6704664"/>
              <a:gd name="connsiteY1940" fmla="*/ 7493363 h 8384438"/>
              <a:gd name="connsiteX1941" fmla="*/ 3000550 w 6704664"/>
              <a:gd name="connsiteY1941" fmla="*/ 7509276 h 8384438"/>
              <a:gd name="connsiteX1942" fmla="*/ 3000550 w 6704664"/>
              <a:gd name="connsiteY1942" fmla="*/ 7610714 h 8384438"/>
              <a:gd name="connsiteX1943" fmla="*/ 2982594 w 6704664"/>
              <a:gd name="connsiteY1943" fmla="*/ 7628615 h 8384438"/>
              <a:gd name="connsiteX1944" fmla="*/ 2982593 w 6704664"/>
              <a:gd name="connsiteY1944" fmla="*/ 7680330 h 8384438"/>
              <a:gd name="connsiteX1945" fmla="*/ 2964637 w 6704664"/>
              <a:gd name="connsiteY1945" fmla="*/ 7698231 h 8384438"/>
              <a:gd name="connsiteX1946" fmla="*/ 2964636 w 6704664"/>
              <a:gd name="connsiteY1946" fmla="*/ 7765857 h 8384438"/>
              <a:gd name="connsiteX1947" fmla="*/ 2948676 w 6704664"/>
              <a:gd name="connsiteY1947" fmla="*/ 7779780 h 8384438"/>
              <a:gd name="connsiteX1948" fmla="*/ 2948675 w 6704664"/>
              <a:gd name="connsiteY1948" fmla="*/ 7899120 h 8384438"/>
              <a:gd name="connsiteX1949" fmla="*/ 2940695 w 6704664"/>
              <a:gd name="connsiteY1949" fmla="*/ 7909065 h 8384438"/>
              <a:gd name="connsiteX1950" fmla="*/ 2930719 w 6704664"/>
              <a:gd name="connsiteY1950" fmla="*/ 7915032 h 8384438"/>
              <a:gd name="connsiteX1951" fmla="*/ 2930718 w 6704664"/>
              <a:gd name="connsiteY1951" fmla="*/ 8000560 h 8384438"/>
              <a:gd name="connsiteX1952" fmla="*/ 2912761 w 6704664"/>
              <a:gd name="connsiteY1952" fmla="*/ 8020450 h 8384438"/>
              <a:gd name="connsiteX1953" fmla="*/ 2912762 w 6704664"/>
              <a:gd name="connsiteY1953" fmla="*/ 8084098 h 8384438"/>
              <a:gd name="connsiteX1954" fmla="*/ 2844925 w 6704664"/>
              <a:gd name="connsiteY1954" fmla="*/ 8185537 h 8384438"/>
              <a:gd name="connsiteX1955" fmla="*/ 2862882 w 6704664"/>
              <a:gd name="connsiteY1955" fmla="*/ 8203437 h 8384438"/>
              <a:gd name="connsiteX1956" fmla="*/ 2862881 w 6704664"/>
              <a:gd name="connsiteY1956" fmla="*/ 8237251 h 8384438"/>
              <a:gd name="connsiteX1957" fmla="*/ 2830958 w 6704664"/>
              <a:gd name="connsiteY1957" fmla="*/ 8259129 h 8384438"/>
              <a:gd name="connsiteX1958" fmla="*/ 2820982 w 6704664"/>
              <a:gd name="connsiteY1958" fmla="*/ 8209405 h 8384438"/>
              <a:gd name="connsiteX1959" fmla="*/ 2801030 w 6704664"/>
              <a:gd name="connsiteY1959" fmla="*/ 8229294 h 8384438"/>
              <a:gd name="connsiteX1960" fmla="*/ 2767112 w 6704664"/>
              <a:gd name="connsiteY1960" fmla="*/ 8229295 h 8384438"/>
              <a:gd name="connsiteX1961" fmla="*/ 2741174 w 6704664"/>
              <a:gd name="connsiteY1961" fmla="*/ 8277030 h 8384438"/>
              <a:gd name="connsiteX1962" fmla="*/ 2741174 w 6704664"/>
              <a:gd name="connsiteY1962" fmla="*/ 8322778 h 8384438"/>
              <a:gd name="connsiteX1963" fmla="*/ 2715237 w 6704664"/>
              <a:gd name="connsiteY1963" fmla="*/ 8344656 h 8384438"/>
              <a:gd name="connsiteX1964" fmla="*/ 2663361 w 6704664"/>
              <a:gd name="connsiteY1964" fmla="*/ 8314822 h 8384438"/>
              <a:gd name="connsiteX1965" fmla="*/ 2645404 w 6704664"/>
              <a:gd name="connsiteY1965" fmla="*/ 8348635 h 8384438"/>
              <a:gd name="connsiteX1966" fmla="*/ 2621462 w 6704664"/>
              <a:gd name="connsiteY1966" fmla="*/ 8342668 h 8384438"/>
              <a:gd name="connsiteX1967" fmla="*/ 2621461 w 6704664"/>
              <a:gd name="connsiteY1967" fmla="*/ 8290954 h 8384438"/>
              <a:gd name="connsiteX1968" fmla="*/ 2597519 w 6704664"/>
              <a:gd name="connsiteY1968" fmla="*/ 8249185 h 8384438"/>
              <a:gd name="connsiteX1969" fmla="*/ 2535667 w 6704664"/>
              <a:gd name="connsiteY1969" fmla="*/ 8263108 h 8384438"/>
              <a:gd name="connsiteX1970" fmla="*/ 2471821 w 6704664"/>
              <a:gd name="connsiteY1970" fmla="*/ 8279019 h 8384438"/>
              <a:gd name="connsiteX1971" fmla="*/ 2447878 w 6704664"/>
              <a:gd name="connsiteY1971" fmla="*/ 8251174 h 8384438"/>
              <a:gd name="connsiteX1972" fmla="*/ 2445883 w 6704664"/>
              <a:gd name="connsiteY1972" fmla="*/ 8225317 h 8384438"/>
              <a:gd name="connsiteX1973" fmla="*/ 2425931 w 6704664"/>
              <a:gd name="connsiteY1973" fmla="*/ 8191504 h 8384438"/>
              <a:gd name="connsiteX1974" fmla="*/ 2433912 w 6704664"/>
              <a:gd name="connsiteY1974" fmla="*/ 8185537 h 8384438"/>
              <a:gd name="connsiteX1975" fmla="*/ 2378045 w 6704664"/>
              <a:gd name="connsiteY1975" fmla="*/ 8139790 h 8384438"/>
              <a:gd name="connsiteX1976" fmla="*/ 2378045 w 6704664"/>
              <a:gd name="connsiteY1976" fmla="*/ 8101999 h 8384438"/>
              <a:gd name="connsiteX1977" fmla="*/ 2362084 w 6704664"/>
              <a:gd name="connsiteY1977" fmla="*/ 8084098 h 8384438"/>
              <a:gd name="connsiteX1978" fmla="*/ 2362085 w 6704664"/>
              <a:gd name="connsiteY1978" fmla="*/ 8000559 h 8384438"/>
              <a:gd name="connsiteX1979" fmla="*/ 2380041 w 6704664"/>
              <a:gd name="connsiteY1979" fmla="*/ 7978681 h 8384438"/>
              <a:gd name="connsiteX1980" fmla="*/ 2380041 w 6704664"/>
              <a:gd name="connsiteY1980" fmla="*/ 7668396 h 8384438"/>
              <a:gd name="connsiteX1981" fmla="*/ 2397998 w 6704664"/>
              <a:gd name="connsiteY1981" fmla="*/ 7632594 h 8384438"/>
              <a:gd name="connsiteX1982" fmla="*/ 2378046 w 6704664"/>
              <a:gd name="connsiteY1982" fmla="*/ 7610715 h 8384438"/>
              <a:gd name="connsiteX1983" fmla="*/ 2378045 w 6704664"/>
              <a:gd name="connsiteY1983" fmla="*/ 7459550 h 8384438"/>
              <a:gd name="connsiteX1984" fmla="*/ 2396003 w 6704664"/>
              <a:gd name="connsiteY1984" fmla="*/ 7441649 h 8384438"/>
              <a:gd name="connsiteX1985" fmla="*/ 2396003 w 6704664"/>
              <a:gd name="connsiteY1985" fmla="*/ 7222859 h 8384438"/>
              <a:gd name="connsiteX1986" fmla="*/ 2413959 w 6704664"/>
              <a:gd name="connsiteY1986" fmla="*/ 7202969 h 8384438"/>
              <a:gd name="connsiteX1987" fmla="*/ 2413959 w 6704664"/>
              <a:gd name="connsiteY1987" fmla="*/ 7000090 h 8384438"/>
              <a:gd name="connsiteX1988" fmla="*/ 2427926 w 6704664"/>
              <a:gd name="connsiteY1988" fmla="*/ 6986167 h 8384438"/>
              <a:gd name="connsiteX1989" fmla="*/ 2427926 w 6704664"/>
              <a:gd name="connsiteY1989" fmla="*/ 6914564 h 8384438"/>
              <a:gd name="connsiteX1990" fmla="*/ 2411964 w 6704664"/>
              <a:gd name="connsiteY1990" fmla="*/ 6900641 h 8384438"/>
              <a:gd name="connsiteX1991" fmla="*/ 2411965 w 6704664"/>
              <a:gd name="connsiteY1991" fmla="*/ 6801191 h 8384438"/>
              <a:gd name="connsiteX1992" fmla="*/ 2396003 w 6704664"/>
              <a:gd name="connsiteY1992" fmla="*/ 6779311 h 8384438"/>
              <a:gd name="connsiteX1993" fmla="*/ 2396003 w 6704664"/>
              <a:gd name="connsiteY1993" fmla="*/ 6733564 h 8384438"/>
              <a:gd name="connsiteX1994" fmla="*/ 2411965 w 6704664"/>
              <a:gd name="connsiteY1994" fmla="*/ 6697762 h 8384438"/>
              <a:gd name="connsiteX1995" fmla="*/ 2396003 w 6704664"/>
              <a:gd name="connsiteY1995" fmla="*/ 6679862 h 8384438"/>
              <a:gd name="connsiteX1996" fmla="*/ 2396003 w 6704664"/>
              <a:gd name="connsiteY1996" fmla="*/ 6630136 h 8384438"/>
              <a:gd name="connsiteX1997" fmla="*/ 2413960 w 6704664"/>
              <a:gd name="connsiteY1997" fmla="*/ 6610246 h 8384438"/>
              <a:gd name="connsiteX1998" fmla="*/ 2413960 w 6704664"/>
              <a:gd name="connsiteY1998" fmla="*/ 6170676 h 8384438"/>
              <a:gd name="connsiteX1999" fmla="*/ 2427926 w 6704664"/>
              <a:gd name="connsiteY1999" fmla="*/ 6156753 h 8384438"/>
              <a:gd name="connsiteX2000" fmla="*/ 2427926 w 6704664"/>
              <a:gd name="connsiteY2000" fmla="*/ 6021501 h 8384438"/>
              <a:gd name="connsiteX2001" fmla="*/ 2409969 w 6704664"/>
              <a:gd name="connsiteY2001" fmla="*/ 5991665 h 8384438"/>
              <a:gd name="connsiteX2002" fmla="*/ 2431917 w 6704664"/>
              <a:gd name="connsiteY2002" fmla="*/ 5965808 h 8384438"/>
              <a:gd name="connsiteX2003" fmla="*/ 2431917 w 6704664"/>
              <a:gd name="connsiteY2003" fmla="*/ 5707238 h 8384438"/>
              <a:gd name="connsiteX2004" fmla="*/ 2449873 w 6704664"/>
              <a:gd name="connsiteY2004" fmla="*/ 5667458 h 8384438"/>
              <a:gd name="connsiteX2005" fmla="*/ 2429921 w 6704664"/>
              <a:gd name="connsiteY2005" fmla="*/ 5647569 h 8384438"/>
              <a:gd name="connsiteX2006" fmla="*/ 2429922 w 6704664"/>
              <a:gd name="connsiteY2006" fmla="*/ 5444689 h 8384438"/>
              <a:gd name="connsiteX2007" fmla="*/ 2445882 w 6704664"/>
              <a:gd name="connsiteY2007" fmla="*/ 5426788 h 8384438"/>
              <a:gd name="connsiteX2008" fmla="*/ 2431917 w 6704664"/>
              <a:gd name="connsiteY2008" fmla="*/ 5392975 h 8384438"/>
              <a:gd name="connsiteX2009" fmla="*/ 2431917 w 6704664"/>
              <a:gd name="connsiteY2009" fmla="*/ 5289547 h 8384438"/>
              <a:gd name="connsiteX2010" fmla="*/ 2445883 w 6704664"/>
              <a:gd name="connsiteY2010" fmla="*/ 5275625 h 8384438"/>
              <a:gd name="connsiteX2011" fmla="*/ 2445883 w 6704664"/>
              <a:gd name="connsiteY2011" fmla="*/ 5138383 h 8384438"/>
              <a:gd name="connsiteX2012" fmla="*/ 2429921 w 6704664"/>
              <a:gd name="connsiteY2012" fmla="*/ 5122471 h 8384438"/>
              <a:gd name="connsiteX2013" fmla="*/ 2445883 w 6704664"/>
              <a:gd name="connsiteY2013" fmla="*/ 5104569 h 8384438"/>
              <a:gd name="connsiteX2014" fmla="*/ 2447878 w 6704664"/>
              <a:gd name="connsiteY2014" fmla="*/ 4917603 h 8384438"/>
              <a:gd name="connsiteX2015" fmla="*/ 2463840 w 6704664"/>
              <a:gd name="connsiteY2015" fmla="*/ 4901691 h 8384438"/>
              <a:gd name="connsiteX2016" fmla="*/ 2447879 w 6704664"/>
              <a:gd name="connsiteY2016" fmla="*/ 4885778 h 8384438"/>
              <a:gd name="connsiteX2017" fmla="*/ 2461845 w 6704664"/>
              <a:gd name="connsiteY2017" fmla="*/ 4867878 h 8384438"/>
              <a:gd name="connsiteX2018" fmla="*/ 2447878 w 6704664"/>
              <a:gd name="connsiteY2018" fmla="*/ 4849977 h 8384438"/>
              <a:gd name="connsiteX2019" fmla="*/ 2447879 w 6704664"/>
              <a:gd name="connsiteY2019" fmla="*/ 4766439 h 8384438"/>
              <a:gd name="connsiteX2020" fmla="*/ 2461845 w 6704664"/>
              <a:gd name="connsiteY2020" fmla="*/ 4748538 h 8384438"/>
              <a:gd name="connsiteX2021" fmla="*/ 2447878 w 6704664"/>
              <a:gd name="connsiteY2021" fmla="*/ 4732626 h 8384438"/>
              <a:gd name="connsiteX2022" fmla="*/ 2447878 w 6704664"/>
              <a:gd name="connsiteY2022" fmla="*/ 4680912 h 8384438"/>
              <a:gd name="connsiteX2023" fmla="*/ 2463840 w 6704664"/>
              <a:gd name="connsiteY2023" fmla="*/ 4647098 h 8384438"/>
              <a:gd name="connsiteX2024" fmla="*/ 2445883 w 6704664"/>
              <a:gd name="connsiteY2024" fmla="*/ 4629197 h 8384438"/>
              <a:gd name="connsiteX2025" fmla="*/ 2445883 w 6704664"/>
              <a:gd name="connsiteY2025" fmla="*/ 4444220 h 8384438"/>
              <a:gd name="connsiteX2026" fmla="*/ 2429922 w 6704664"/>
              <a:gd name="connsiteY2026" fmla="*/ 4428308 h 8384438"/>
              <a:gd name="connsiteX2027" fmla="*/ 2429922 w 6704664"/>
              <a:gd name="connsiteY2027" fmla="*/ 4394494 h 8384438"/>
              <a:gd name="connsiteX2028" fmla="*/ 2447878 w 6704664"/>
              <a:gd name="connsiteY2028" fmla="*/ 4372616 h 8384438"/>
              <a:gd name="connsiteX2029" fmla="*/ 2447878 w 6704664"/>
              <a:gd name="connsiteY2029" fmla="*/ 4211507 h 8384438"/>
              <a:gd name="connsiteX2030" fmla="*/ 2467831 w 6704664"/>
              <a:gd name="connsiteY2030" fmla="*/ 4179682 h 8384438"/>
              <a:gd name="connsiteX2031" fmla="*/ 2445883 w 6704664"/>
              <a:gd name="connsiteY2031" fmla="*/ 4153826 h 8384438"/>
              <a:gd name="connsiteX2032" fmla="*/ 2449874 w 6704664"/>
              <a:gd name="connsiteY2032" fmla="*/ 4068298 h 8384438"/>
              <a:gd name="connsiteX2033" fmla="*/ 2463840 w 6704664"/>
              <a:gd name="connsiteY2033" fmla="*/ 4056364 h 8384438"/>
              <a:gd name="connsiteX2034" fmla="*/ 2463840 w 6704664"/>
              <a:gd name="connsiteY2034" fmla="*/ 3887299 h 8384438"/>
              <a:gd name="connsiteX2035" fmla="*/ 2447878 w 6704664"/>
              <a:gd name="connsiteY2035" fmla="*/ 3869398 h 8384438"/>
              <a:gd name="connsiteX2036" fmla="*/ 2465835 w 6704664"/>
              <a:gd name="connsiteY2036" fmla="*/ 3849507 h 8384438"/>
              <a:gd name="connsiteX2037" fmla="*/ 2465835 w 6704664"/>
              <a:gd name="connsiteY2037" fmla="*/ 3565080 h 8384438"/>
              <a:gd name="connsiteX2038" fmla="*/ 2479802 w 6704664"/>
              <a:gd name="connsiteY2038" fmla="*/ 3545190 h 8384438"/>
              <a:gd name="connsiteX2039" fmla="*/ 2463840 w 6704664"/>
              <a:gd name="connsiteY2039" fmla="*/ 3529278 h 8384438"/>
              <a:gd name="connsiteX2040" fmla="*/ 2463840 w 6704664"/>
              <a:gd name="connsiteY2040" fmla="*/ 3199103 h 8384438"/>
              <a:gd name="connsiteX2041" fmla="*/ 2443887 w 6704664"/>
              <a:gd name="connsiteY2041" fmla="*/ 3161312 h 8384438"/>
              <a:gd name="connsiteX2042" fmla="*/ 2481797 w 6704664"/>
              <a:gd name="connsiteY2042" fmla="*/ 3123522 h 8384438"/>
              <a:gd name="connsiteX2043" fmla="*/ 2465835 w 6704664"/>
              <a:gd name="connsiteY2043" fmla="*/ 3109598 h 8384438"/>
              <a:gd name="connsiteX2044" fmla="*/ 2465835 w 6704664"/>
              <a:gd name="connsiteY2044" fmla="*/ 3004181 h 8384438"/>
              <a:gd name="connsiteX2045" fmla="*/ 2481797 w 6704664"/>
              <a:gd name="connsiteY2045" fmla="*/ 2988269 h 8384438"/>
              <a:gd name="connsiteX2046" fmla="*/ 2481797 w 6704664"/>
              <a:gd name="connsiteY2046" fmla="*/ 2837104 h 8384438"/>
              <a:gd name="connsiteX2047" fmla="*/ 2497759 w 6704664"/>
              <a:gd name="connsiteY2047" fmla="*/ 2821193 h 8384438"/>
              <a:gd name="connsiteX2048" fmla="*/ 2481797 w 6704664"/>
              <a:gd name="connsiteY2048" fmla="*/ 2803292 h 8384438"/>
              <a:gd name="connsiteX2049" fmla="*/ 2485788 w 6704664"/>
              <a:gd name="connsiteY2049" fmla="*/ 2747600 h 8384438"/>
              <a:gd name="connsiteX2050" fmla="*/ 2499754 w 6704664"/>
              <a:gd name="connsiteY2050" fmla="*/ 2735666 h 8384438"/>
              <a:gd name="connsiteX2051" fmla="*/ 2499754 w 6704664"/>
              <a:gd name="connsiteY2051" fmla="*/ 2668039 h 8384438"/>
              <a:gd name="connsiteX2052" fmla="*/ 2481797 w 6704664"/>
              <a:gd name="connsiteY2052" fmla="*/ 2650138 h 8384438"/>
              <a:gd name="connsiteX2053" fmla="*/ 2481796 w 6704664"/>
              <a:gd name="connsiteY2053" fmla="*/ 2616325 h 8384438"/>
              <a:gd name="connsiteX2054" fmla="*/ 2497759 w 6704664"/>
              <a:gd name="connsiteY2054" fmla="*/ 2598424 h 8384438"/>
              <a:gd name="connsiteX2055" fmla="*/ 2497759 w 6704664"/>
              <a:gd name="connsiteY2055" fmla="*/ 2530798 h 8384438"/>
              <a:gd name="connsiteX2056" fmla="*/ 2483792 w 6704664"/>
              <a:gd name="connsiteY2056" fmla="*/ 2512897 h 8384438"/>
              <a:gd name="connsiteX2057" fmla="*/ 2499754 w 6704664"/>
              <a:gd name="connsiteY2057" fmla="*/ 2496985 h 8384438"/>
              <a:gd name="connsiteX2058" fmla="*/ 2499754 w 6704664"/>
              <a:gd name="connsiteY2058" fmla="*/ 2387589 h 8384438"/>
              <a:gd name="connsiteX2059" fmla="*/ 2519706 w 6704664"/>
              <a:gd name="connsiteY2059" fmla="*/ 2349798 h 8384438"/>
              <a:gd name="connsiteX2060" fmla="*/ 2499754 w 6704664"/>
              <a:gd name="connsiteY2060" fmla="*/ 2327920 h 8384438"/>
              <a:gd name="connsiteX2061" fmla="*/ 2517711 w 6704664"/>
              <a:gd name="connsiteY2061" fmla="*/ 2310019 h 8384438"/>
              <a:gd name="connsiteX2062" fmla="*/ 2517711 w 6704664"/>
              <a:gd name="connsiteY2062" fmla="*/ 2158854 h 8384438"/>
              <a:gd name="connsiteX2063" fmla="*/ 2531677 w 6704664"/>
              <a:gd name="connsiteY2063" fmla="*/ 2140953 h 8384438"/>
              <a:gd name="connsiteX2064" fmla="*/ 2531677 w 6704664"/>
              <a:gd name="connsiteY2064" fmla="*/ 2091228 h 8384438"/>
              <a:gd name="connsiteX2065" fmla="*/ 2519706 w 6704664"/>
              <a:gd name="connsiteY2065" fmla="*/ 2077305 h 8384438"/>
              <a:gd name="connsiteX2066" fmla="*/ 2529682 w 6704664"/>
              <a:gd name="connsiteY2066" fmla="*/ 2019624 h 8384438"/>
              <a:gd name="connsiteX2067" fmla="*/ 2517711 w 6704664"/>
              <a:gd name="connsiteY2067" fmla="*/ 2007691 h 8384438"/>
              <a:gd name="connsiteX2068" fmla="*/ 2533672 w 6704664"/>
              <a:gd name="connsiteY2068" fmla="*/ 1989789 h 8384438"/>
              <a:gd name="connsiteX2069" fmla="*/ 2533672 w 6704664"/>
              <a:gd name="connsiteY2069" fmla="*/ 1820724 h 8384438"/>
              <a:gd name="connsiteX2070" fmla="*/ 2551629 w 6704664"/>
              <a:gd name="connsiteY2070" fmla="*/ 1802822 h 8384438"/>
              <a:gd name="connsiteX2071" fmla="*/ 2551629 w 6704664"/>
              <a:gd name="connsiteY2071" fmla="*/ 1770999 h 8384438"/>
              <a:gd name="connsiteX2072" fmla="*/ 2569586 w 6704664"/>
              <a:gd name="connsiteY2072" fmla="*/ 1745142 h 8384438"/>
              <a:gd name="connsiteX2073" fmla="*/ 2553624 w 6704664"/>
              <a:gd name="connsiteY2073" fmla="*/ 1717295 h 8384438"/>
              <a:gd name="connsiteX2074" fmla="*/ 2595524 w 6704664"/>
              <a:gd name="connsiteY2074" fmla="*/ 1725251 h 8384438"/>
              <a:gd name="connsiteX2075" fmla="*/ 2619466 w 6704664"/>
              <a:gd name="connsiteY2075" fmla="*/ 1701383 h 8384438"/>
              <a:gd name="connsiteX2076" fmla="*/ 2619467 w 6704664"/>
              <a:gd name="connsiteY2076" fmla="*/ 1661602 h 8384438"/>
              <a:gd name="connsiteX2077" fmla="*/ 2635428 w 6704664"/>
              <a:gd name="connsiteY2077" fmla="*/ 1649669 h 8384438"/>
              <a:gd name="connsiteX2078" fmla="*/ 2619467 w 6704664"/>
              <a:gd name="connsiteY2078" fmla="*/ 1661602 h 8384438"/>
              <a:gd name="connsiteX2079" fmla="*/ 2605499 w 6704664"/>
              <a:gd name="connsiteY2079" fmla="*/ 1665580 h 8384438"/>
              <a:gd name="connsiteX2080" fmla="*/ 2595524 w 6704664"/>
              <a:gd name="connsiteY2080" fmla="*/ 1695416 h 8384438"/>
              <a:gd name="connsiteX2081" fmla="*/ 2567591 w 6704664"/>
              <a:gd name="connsiteY2081" fmla="*/ 1655636 h 8384438"/>
              <a:gd name="connsiteX2082" fmla="*/ 2585548 w 6704664"/>
              <a:gd name="connsiteY2082" fmla="*/ 1631768 h 8384438"/>
              <a:gd name="connsiteX2083" fmla="*/ 2585548 w 6704664"/>
              <a:gd name="connsiteY2083" fmla="*/ 1603923 h 8384438"/>
              <a:gd name="connsiteX2084" fmla="*/ 2621461 w 6704664"/>
              <a:gd name="connsiteY2084" fmla="*/ 1544251 h 8384438"/>
              <a:gd name="connsiteX2085" fmla="*/ 2627447 w 6704664"/>
              <a:gd name="connsiteY2085" fmla="*/ 1490549 h 8384438"/>
              <a:gd name="connsiteX2086" fmla="*/ 2645404 w 6704664"/>
              <a:gd name="connsiteY2086" fmla="*/ 1506461 h 8384438"/>
              <a:gd name="connsiteX2087" fmla="*/ 2673337 w 6704664"/>
              <a:gd name="connsiteY2087" fmla="*/ 1454746 h 8384438"/>
              <a:gd name="connsiteX2088" fmla="*/ 2673337 w 6704664"/>
              <a:gd name="connsiteY2088" fmla="*/ 1410988 h 8384438"/>
              <a:gd name="connsiteX2089" fmla="*/ 2705260 w 6704664"/>
              <a:gd name="connsiteY2089" fmla="*/ 1399054 h 8384438"/>
              <a:gd name="connsiteX2090" fmla="*/ 2707255 w 6704664"/>
              <a:gd name="connsiteY2090" fmla="*/ 1361263 h 8384438"/>
              <a:gd name="connsiteX2091" fmla="*/ 2723217 w 6704664"/>
              <a:gd name="connsiteY2091" fmla="*/ 1347341 h 8384438"/>
              <a:gd name="connsiteX2092" fmla="*/ 2707255 w 6704664"/>
              <a:gd name="connsiteY2092" fmla="*/ 1329439 h 8384438"/>
              <a:gd name="connsiteX2093" fmla="*/ 2725212 w 6704664"/>
              <a:gd name="connsiteY2093" fmla="*/ 1309550 h 8384438"/>
              <a:gd name="connsiteX2094" fmla="*/ 2725212 w 6704664"/>
              <a:gd name="connsiteY2094" fmla="*/ 1275736 h 8384438"/>
              <a:gd name="connsiteX2095" fmla="*/ 2757136 w 6704664"/>
              <a:gd name="connsiteY2095" fmla="*/ 1251868 h 8384438"/>
              <a:gd name="connsiteX2096" fmla="*/ 2803024 w 6704664"/>
              <a:gd name="connsiteY2096" fmla="*/ 1301593 h 8384438"/>
              <a:gd name="connsiteX2097" fmla="*/ 2811006 w 6704664"/>
              <a:gd name="connsiteY2097" fmla="*/ 1261813 h 8384438"/>
              <a:gd name="connsiteX2098" fmla="*/ 2793049 w 6704664"/>
              <a:gd name="connsiteY2098" fmla="*/ 1243912 h 8384438"/>
              <a:gd name="connsiteX2099" fmla="*/ 2811005 w 6704664"/>
              <a:gd name="connsiteY2099" fmla="*/ 1235956 h 8384438"/>
              <a:gd name="connsiteX2100" fmla="*/ 2848915 w 6704664"/>
              <a:gd name="connsiteY2100" fmla="*/ 1273747 h 8384438"/>
              <a:gd name="connsiteX2101" fmla="*/ 2870862 w 6704664"/>
              <a:gd name="connsiteY2101" fmla="*/ 1253857 h 8384438"/>
              <a:gd name="connsiteX2102" fmla="*/ 2930719 w 6704664"/>
              <a:gd name="connsiteY2102" fmla="*/ 1259824 h 8384438"/>
              <a:gd name="connsiteX2103" fmla="*/ 2916752 w 6704664"/>
              <a:gd name="connsiteY2103" fmla="*/ 1277726 h 8384438"/>
              <a:gd name="connsiteX2104" fmla="*/ 2966633 w 6704664"/>
              <a:gd name="connsiteY2104" fmla="*/ 1323473 h 8384438"/>
              <a:gd name="connsiteX2105" fmla="*/ 2946680 w 6704664"/>
              <a:gd name="connsiteY2105" fmla="*/ 1357285 h 8384438"/>
              <a:gd name="connsiteX2106" fmla="*/ 2964637 w 6704664"/>
              <a:gd name="connsiteY2106" fmla="*/ 1381153 h 8384438"/>
              <a:gd name="connsiteX2107" fmla="*/ 2952665 w 6704664"/>
              <a:gd name="connsiteY2107" fmla="*/ 1393087 h 8384438"/>
              <a:gd name="connsiteX2108" fmla="*/ 2956657 w 6704664"/>
              <a:gd name="connsiteY2108" fmla="*/ 1438835 h 8384438"/>
              <a:gd name="connsiteX2109" fmla="*/ 2982594 w 6704664"/>
              <a:gd name="connsiteY2109" fmla="*/ 1438835 h 8384438"/>
              <a:gd name="connsiteX2110" fmla="*/ 2996560 w 6704664"/>
              <a:gd name="connsiteY2110" fmla="*/ 1456736 h 8384438"/>
              <a:gd name="connsiteX2111" fmla="*/ 3016512 w 6704664"/>
              <a:gd name="connsiteY2111" fmla="*/ 1462703 h 8384438"/>
              <a:gd name="connsiteX2112" fmla="*/ 2992570 w 6704664"/>
              <a:gd name="connsiteY2112" fmla="*/ 1506461 h 8384438"/>
              <a:gd name="connsiteX2113" fmla="*/ 2974612 w 6704664"/>
              <a:gd name="connsiteY2113" fmla="*/ 1490548 h 8384438"/>
              <a:gd name="connsiteX2114" fmla="*/ 2948676 w 6704664"/>
              <a:gd name="connsiteY2114" fmla="*/ 1516406 h 8384438"/>
              <a:gd name="connsiteX2115" fmla="*/ 2982593 w 6704664"/>
              <a:gd name="connsiteY2115" fmla="*/ 1532318 h 8384438"/>
              <a:gd name="connsiteX2116" fmla="*/ 2964637 w 6704664"/>
              <a:gd name="connsiteY2116" fmla="*/ 1550219 h 8384438"/>
              <a:gd name="connsiteX2117" fmla="*/ 2964637 w 6704664"/>
              <a:gd name="connsiteY2117" fmla="*/ 1582043 h 8384438"/>
              <a:gd name="connsiteX2118" fmla="*/ 2950671 w 6704664"/>
              <a:gd name="connsiteY2118" fmla="*/ 1599944 h 8384438"/>
              <a:gd name="connsiteX2119" fmla="*/ 2964636 w 6704664"/>
              <a:gd name="connsiteY2119" fmla="*/ 1617845 h 8384438"/>
              <a:gd name="connsiteX2120" fmla="*/ 2964636 w 6704664"/>
              <a:gd name="connsiteY2120" fmla="*/ 1663592 h 8384438"/>
              <a:gd name="connsiteX2121" fmla="*/ 2946681 w 6704664"/>
              <a:gd name="connsiteY2121" fmla="*/ 1697405 h 8384438"/>
              <a:gd name="connsiteX2122" fmla="*/ 2966633 w 6704664"/>
              <a:gd name="connsiteY2122" fmla="*/ 1719284 h 8384438"/>
              <a:gd name="connsiteX2123" fmla="*/ 2966632 w 6704664"/>
              <a:gd name="connsiteY2123" fmla="*/ 1751108 h 8384438"/>
              <a:gd name="connsiteX2124" fmla="*/ 2948676 w 6704664"/>
              <a:gd name="connsiteY2124" fmla="*/ 1769009 h 8384438"/>
              <a:gd name="connsiteX2125" fmla="*/ 2948675 w 6704664"/>
              <a:gd name="connsiteY2125" fmla="*/ 1802822 h 8384438"/>
              <a:gd name="connsiteX2126" fmla="*/ 2964637 w 6704664"/>
              <a:gd name="connsiteY2126" fmla="*/ 1820723 h 8384438"/>
              <a:gd name="connsiteX2127" fmla="*/ 2964637 w 6704664"/>
              <a:gd name="connsiteY2127" fmla="*/ 1870449 h 8384438"/>
              <a:gd name="connsiteX2128" fmla="*/ 2950671 w 6704664"/>
              <a:gd name="connsiteY2128" fmla="*/ 1888349 h 8384438"/>
              <a:gd name="connsiteX2129" fmla="*/ 2966632 w 6704664"/>
              <a:gd name="connsiteY2129" fmla="*/ 1951998 h 8384438"/>
              <a:gd name="connsiteX2130" fmla="*/ 2950670 w 6704664"/>
              <a:gd name="connsiteY2130" fmla="*/ 1973876 h 8384438"/>
              <a:gd name="connsiteX2131" fmla="*/ 2964637 w 6704664"/>
              <a:gd name="connsiteY2131" fmla="*/ 1989790 h 8384438"/>
              <a:gd name="connsiteX2132" fmla="*/ 2948676 w 6704664"/>
              <a:gd name="connsiteY2132" fmla="*/ 2007690 h 8384438"/>
              <a:gd name="connsiteX2133" fmla="*/ 2964636 w 6704664"/>
              <a:gd name="connsiteY2133" fmla="*/ 2041503 h 8384438"/>
              <a:gd name="connsiteX2134" fmla="*/ 2946680 w 6704664"/>
              <a:gd name="connsiteY2134" fmla="*/ 2061393 h 8384438"/>
              <a:gd name="connsiteX2135" fmla="*/ 2946681 w 6704664"/>
              <a:gd name="connsiteY2135" fmla="*/ 2327920 h 8384438"/>
              <a:gd name="connsiteX2136" fmla="*/ 2928723 w 6704664"/>
              <a:gd name="connsiteY2136" fmla="*/ 2349798 h 8384438"/>
              <a:gd name="connsiteX2137" fmla="*/ 2928724 w 6704664"/>
              <a:gd name="connsiteY2137" fmla="*/ 2532787 h 8384438"/>
              <a:gd name="connsiteX2138" fmla="*/ 2914756 w 6704664"/>
              <a:gd name="connsiteY2138" fmla="*/ 2548699 h 8384438"/>
              <a:gd name="connsiteX2139" fmla="*/ 2914756 w 6704664"/>
              <a:gd name="connsiteY2139" fmla="*/ 2600413 h 8384438"/>
              <a:gd name="connsiteX2140" fmla="*/ 2930718 w 6704664"/>
              <a:gd name="connsiteY2140" fmla="*/ 2634226 h 8384438"/>
              <a:gd name="connsiteX2141" fmla="*/ 2914756 w 6704664"/>
              <a:gd name="connsiteY2141" fmla="*/ 2650138 h 8384438"/>
              <a:gd name="connsiteX2142" fmla="*/ 2914756 w 6704664"/>
              <a:gd name="connsiteY2142" fmla="*/ 2683951 h 8384438"/>
              <a:gd name="connsiteX2143" fmla="*/ 2926729 w 6704664"/>
              <a:gd name="connsiteY2143" fmla="*/ 2695886 h 8384438"/>
              <a:gd name="connsiteX2144" fmla="*/ 2914757 w 6704664"/>
              <a:gd name="connsiteY2144" fmla="*/ 2739643 h 8384438"/>
              <a:gd name="connsiteX2145" fmla="*/ 2922738 w 6704664"/>
              <a:gd name="connsiteY2145" fmla="*/ 2793347 h 8384438"/>
              <a:gd name="connsiteX2146" fmla="*/ 2940695 w 6704664"/>
              <a:gd name="connsiteY2146" fmla="*/ 2793347 h 8384438"/>
              <a:gd name="connsiteX2147" fmla="*/ 2948676 w 6704664"/>
              <a:gd name="connsiteY2147" fmla="*/ 2785391 h 8384438"/>
              <a:gd name="connsiteX2148" fmla="*/ 2948675 w 6704664"/>
              <a:gd name="connsiteY2148" fmla="*/ 2717765 h 8384438"/>
              <a:gd name="connsiteX2149" fmla="*/ 2964637 w 6704664"/>
              <a:gd name="connsiteY2149" fmla="*/ 2701853 h 8384438"/>
              <a:gd name="connsiteX2150" fmla="*/ 2966632 w 6704664"/>
              <a:gd name="connsiteY2150" fmla="*/ 2598424 h 8384438"/>
              <a:gd name="connsiteX2151" fmla="*/ 2982593 w 6704664"/>
              <a:gd name="connsiteY2151" fmla="*/ 2582512 h 8384438"/>
              <a:gd name="connsiteX2152" fmla="*/ 2982594 w 6704664"/>
              <a:gd name="connsiteY2152" fmla="*/ 2481073 h 8384438"/>
              <a:gd name="connsiteX2153" fmla="*/ 3000550 w 6704664"/>
              <a:gd name="connsiteY2153" fmla="*/ 2463172 h 8384438"/>
              <a:gd name="connsiteX2154" fmla="*/ 3000551 w 6704664"/>
              <a:gd name="connsiteY2154" fmla="*/ 2395545 h 8384438"/>
              <a:gd name="connsiteX2155" fmla="*/ 3018508 w 6704664"/>
              <a:gd name="connsiteY2155" fmla="*/ 2375655 h 8384438"/>
              <a:gd name="connsiteX2156" fmla="*/ 3018508 w 6704664"/>
              <a:gd name="connsiteY2156" fmla="*/ 2294107 h 8384438"/>
              <a:gd name="connsiteX2157" fmla="*/ 3034469 w 6704664"/>
              <a:gd name="connsiteY2157" fmla="*/ 2278195 h 8384438"/>
              <a:gd name="connsiteX2158" fmla="*/ 3034469 w 6704664"/>
              <a:gd name="connsiteY2158" fmla="*/ 2142942 h 8384438"/>
              <a:gd name="connsiteX2159" fmla="*/ 3052427 w 6704664"/>
              <a:gd name="connsiteY2159" fmla="*/ 2125041 h 8384438"/>
              <a:gd name="connsiteX2160" fmla="*/ 3052427 w 6704664"/>
              <a:gd name="connsiteY2160" fmla="*/ 2039514 h 8384438"/>
              <a:gd name="connsiteX2161" fmla="*/ 3072378 w 6704664"/>
              <a:gd name="connsiteY2161" fmla="*/ 2021613 h 8384438"/>
              <a:gd name="connsiteX2162" fmla="*/ 3072378 w 6704664"/>
              <a:gd name="connsiteY2162" fmla="*/ 1936086 h 8384438"/>
              <a:gd name="connsiteX2163" fmla="*/ 3086344 w 6704664"/>
              <a:gd name="connsiteY2163" fmla="*/ 1922162 h 8384438"/>
              <a:gd name="connsiteX2164" fmla="*/ 3086345 w 6704664"/>
              <a:gd name="connsiteY2164" fmla="*/ 1838625 h 8384438"/>
              <a:gd name="connsiteX2165" fmla="*/ 3104302 w 6704664"/>
              <a:gd name="connsiteY2165" fmla="*/ 1818735 h 8384438"/>
              <a:gd name="connsiteX2166" fmla="*/ 3104301 w 6704664"/>
              <a:gd name="connsiteY2166" fmla="*/ 1701383 h 8384438"/>
              <a:gd name="connsiteX2167" fmla="*/ 3122258 w 6704664"/>
              <a:gd name="connsiteY2167" fmla="*/ 1681493 h 8384438"/>
              <a:gd name="connsiteX2168" fmla="*/ 3122259 w 6704664"/>
              <a:gd name="connsiteY2168" fmla="*/ 1633757 h 8384438"/>
              <a:gd name="connsiteX2169" fmla="*/ 3138221 w 6704664"/>
              <a:gd name="connsiteY2169" fmla="*/ 1617845 h 8384438"/>
              <a:gd name="connsiteX2170" fmla="*/ 3138220 w 6704664"/>
              <a:gd name="connsiteY2170" fmla="*/ 1532319 h 8384438"/>
              <a:gd name="connsiteX2171" fmla="*/ 3158172 w 6704664"/>
              <a:gd name="connsiteY2171" fmla="*/ 1514417 h 8384438"/>
              <a:gd name="connsiteX2172" fmla="*/ 3158173 w 6704664"/>
              <a:gd name="connsiteY2172" fmla="*/ 1446790 h 8384438"/>
              <a:gd name="connsiteX2173" fmla="*/ 3172138 w 6704664"/>
              <a:gd name="connsiteY2173" fmla="*/ 1430879 h 8384438"/>
              <a:gd name="connsiteX2174" fmla="*/ 3172138 w 6704664"/>
              <a:gd name="connsiteY2174" fmla="*/ 1347341 h 8384438"/>
              <a:gd name="connsiteX2175" fmla="*/ 3190096 w 6704664"/>
              <a:gd name="connsiteY2175" fmla="*/ 1329440 h 8384438"/>
              <a:gd name="connsiteX2176" fmla="*/ 3190096 w 6704664"/>
              <a:gd name="connsiteY2176" fmla="*/ 1279715 h 8384438"/>
              <a:gd name="connsiteX2177" fmla="*/ 3174133 w 6704664"/>
              <a:gd name="connsiteY2177" fmla="*/ 1261812 h 8384438"/>
              <a:gd name="connsiteX2178" fmla="*/ 3192090 w 6704664"/>
              <a:gd name="connsiteY2178" fmla="*/ 1222033 h 8384438"/>
              <a:gd name="connsiteX2179" fmla="*/ 3192091 w 6704664"/>
              <a:gd name="connsiteY2179" fmla="*/ 1158384 h 8384438"/>
              <a:gd name="connsiteX2180" fmla="*/ 3208053 w 6704664"/>
              <a:gd name="connsiteY2180" fmla="*/ 1142473 h 8384438"/>
              <a:gd name="connsiteX2181" fmla="*/ 3208052 w 6704664"/>
              <a:gd name="connsiteY2181" fmla="*/ 1025121 h 8384438"/>
              <a:gd name="connsiteX2182" fmla="*/ 3224015 w 6704664"/>
              <a:gd name="connsiteY2182" fmla="*/ 1009210 h 8384438"/>
              <a:gd name="connsiteX2183" fmla="*/ 3224014 w 6704664"/>
              <a:gd name="connsiteY2183" fmla="*/ 891858 h 8384438"/>
              <a:gd name="connsiteX2184" fmla="*/ 3241970 w 6704664"/>
              <a:gd name="connsiteY2184" fmla="*/ 871969 h 8384438"/>
              <a:gd name="connsiteX2185" fmla="*/ 3241970 w 6704664"/>
              <a:gd name="connsiteY2185" fmla="*/ 840145 h 8384438"/>
              <a:gd name="connsiteX2186" fmla="*/ 3259928 w 6704664"/>
              <a:gd name="connsiteY2186" fmla="*/ 822244 h 8384438"/>
              <a:gd name="connsiteX2187" fmla="*/ 3247957 w 6704664"/>
              <a:gd name="connsiteY2187" fmla="*/ 808319 h 8384438"/>
              <a:gd name="connsiteX2188" fmla="*/ 3257933 w 6704664"/>
              <a:gd name="connsiteY2188" fmla="*/ 770529 h 8384438"/>
              <a:gd name="connsiteX2189" fmla="*/ 3257932 w 6704664"/>
              <a:gd name="connsiteY2189" fmla="*/ 617376 h 8384438"/>
              <a:gd name="connsiteX2190" fmla="*/ 3241970 w 6704664"/>
              <a:gd name="connsiteY2190" fmla="*/ 601464 h 8384438"/>
              <a:gd name="connsiteX2191" fmla="*/ 3257932 w 6704664"/>
              <a:gd name="connsiteY2191" fmla="*/ 535826 h 8384438"/>
              <a:gd name="connsiteX2192" fmla="*/ 3277884 w 6704664"/>
              <a:gd name="connsiteY2192" fmla="*/ 466211 h 8384438"/>
              <a:gd name="connsiteX2193" fmla="*/ 3331756 w 6704664"/>
              <a:gd name="connsiteY2193" fmla="*/ 404552 h 8384438"/>
              <a:gd name="connsiteX2194" fmla="*/ 3381635 w 6704664"/>
              <a:gd name="connsiteY2194" fmla="*/ 317036 h 8384438"/>
              <a:gd name="connsiteX2195" fmla="*/ 3381635 w 6704664"/>
              <a:gd name="connsiteY2195" fmla="*/ 285212 h 8384438"/>
              <a:gd name="connsiteX2196" fmla="*/ 3405577 w 6704664"/>
              <a:gd name="connsiteY2196" fmla="*/ 239465 h 8384438"/>
              <a:gd name="connsiteX2197" fmla="*/ 3427525 w 6704664"/>
              <a:gd name="connsiteY2197" fmla="*/ 233498 h 8384438"/>
              <a:gd name="connsiteX2198" fmla="*/ 3471420 w 6704664"/>
              <a:gd name="connsiteY2198" fmla="*/ 191729 h 8384438"/>
              <a:gd name="connsiteX2199" fmla="*/ 3519305 w 6704664"/>
              <a:gd name="connsiteY2199" fmla="*/ 161894 h 8384438"/>
              <a:gd name="connsiteX2200" fmla="*/ 3519304 w 6704664"/>
              <a:gd name="connsiteY2200" fmla="*/ 143993 h 8384438"/>
              <a:gd name="connsiteX2201" fmla="*/ 3589137 w 6704664"/>
              <a:gd name="connsiteY2201" fmla="*/ 110179 h 8384438"/>
              <a:gd name="connsiteX2202" fmla="*/ 3589137 w 6704664"/>
              <a:gd name="connsiteY2202" fmla="*/ 76366 h 8384438"/>
              <a:gd name="connsiteX2203" fmla="*/ 3621061 w 6704664"/>
              <a:gd name="connsiteY2203" fmla="*/ 44543 h 8384438"/>
              <a:gd name="connsiteX2204" fmla="*/ 3633031 w 6704664"/>
              <a:gd name="connsiteY2204" fmla="*/ 16696 h 8384438"/>
              <a:gd name="connsiteX2205" fmla="*/ 3668946 w 6704664"/>
              <a:gd name="connsiteY2205" fmla="*/ 16697 h 8384438"/>
              <a:gd name="connsiteX2206" fmla="*/ 3680917 w 6704664"/>
              <a:gd name="connsiteY2206" fmla="*/ 46531 h 8384438"/>
              <a:gd name="connsiteX2207" fmla="*/ 3686902 w 6704664"/>
              <a:gd name="connsiteY2207" fmla="*/ 48520 h 8384438"/>
              <a:gd name="connsiteX2208" fmla="*/ 3734788 w 6704664"/>
              <a:gd name="connsiteY2208" fmla="*/ 784 h 838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</a:cxnLst>
            <a:rect l="l" t="t" r="r" b="b"/>
            <a:pathLst>
              <a:path w="6704664" h="8384438">
                <a:moveTo>
                  <a:pt x="4162285" y="6479473"/>
                </a:moveTo>
                <a:lnTo>
                  <a:pt x="4163078" y="6480232"/>
                </a:lnTo>
                <a:lnTo>
                  <a:pt x="4161762" y="6482950"/>
                </a:lnTo>
                <a:close/>
                <a:moveTo>
                  <a:pt x="4162510" y="6477977"/>
                </a:moveTo>
                <a:lnTo>
                  <a:pt x="4162285" y="6479473"/>
                </a:lnTo>
                <a:lnTo>
                  <a:pt x="4161762" y="6478971"/>
                </a:lnTo>
                <a:cubicBezTo>
                  <a:pt x="4161762" y="6478971"/>
                  <a:pt x="4162261" y="6477977"/>
                  <a:pt x="4162510" y="6477977"/>
                </a:cubicBezTo>
                <a:close/>
                <a:moveTo>
                  <a:pt x="1043027" y="1283919"/>
                </a:moveTo>
                <a:cubicBezTo>
                  <a:pt x="1044800" y="1288085"/>
                  <a:pt x="1046428" y="1294958"/>
                  <a:pt x="1050045" y="1301939"/>
                </a:cubicBezTo>
                <a:cubicBezTo>
                  <a:pt x="1063676" y="1308094"/>
                  <a:pt x="1077740" y="1306128"/>
                  <a:pt x="1087682" y="1306658"/>
                </a:cubicBezTo>
                <a:cubicBezTo>
                  <a:pt x="1099902" y="1301880"/>
                  <a:pt x="1108074" y="1298244"/>
                  <a:pt x="1118232" y="1294713"/>
                </a:cubicBezTo>
                <a:cubicBezTo>
                  <a:pt x="1129803" y="1302117"/>
                  <a:pt x="1137540" y="1306600"/>
                  <a:pt x="1147123" y="1313897"/>
                </a:cubicBezTo>
                <a:cubicBezTo>
                  <a:pt x="1146330" y="1328786"/>
                  <a:pt x="1145392" y="1346382"/>
                  <a:pt x="1144671" y="1359916"/>
                </a:cubicBezTo>
                <a:cubicBezTo>
                  <a:pt x="1154253" y="1367214"/>
                  <a:pt x="1158014" y="1371486"/>
                  <a:pt x="1163763" y="1375864"/>
                </a:cubicBezTo>
                <a:cubicBezTo>
                  <a:pt x="1162682" y="1396166"/>
                  <a:pt x="1161672" y="1415115"/>
                  <a:pt x="1160734" y="1432711"/>
                </a:cubicBezTo>
                <a:cubicBezTo>
                  <a:pt x="1166484" y="1437089"/>
                  <a:pt x="1170316" y="1440008"/>
                  <a:pt x="1176137" y="1443033"/>
                </a:cubicBezTo>
                <a:cubicBezTo>
                  <a:pt x="1174118" y="1480931"/>
                  <a:pt x="1172099" y="1518828"/>
                  <a:pt x="1170368" y="1551311"/>
                </a:cubicBezTo>
                <a:cubicBezTo>
                  <a:pt x="1173552" y="1566412"/>
                  <a:pt x="1193293" y="1570180"/>
                  <a:pt x="1186607" y="1583396"/>
                </a:cubicBezTo>
                <a:cubicBezTo>
                  <a:pt x="1182485" y="1585891"/>
                  <a:pt x="1176304" y="1589634"/>
                  <a:pt x="1170049" y="1594730"/>
                </a:cubicBezTo>
                <a:cubicBezTo>
                  <a:pt x="1169473" y="1605558"/>
                  <a:pt x="1168896" y="1616386"/>
                  <a:pt x="1168246" y="1628568"/>
                </a:cubicBezTo>
                <a:cubicBezTo>
                  <a:pt x="1172006" y="1632840"/>
                  <a:pt x="1177756" y="1637218"/>
                  <a:pt x="1183505" y="1641597"/>
                </a:cubicBezTo>
                <a:cubicBezTo>
                  <a:pt x="1180044" y="1706564"/>
                  <a:pt x="1176582" y="1771532"/>
                  <a:pt x="1173048" y="1837853"/>
                </a:cubicBezTo>
                <a:cubicBezTo>
                  <a:pt x="1176881" y="1840771"/>
                  <a:pt x="1180713" y="1843690"/>
                  <a:pt x="1184547" y="1846609"/>
                </a:cubicBezTo>
                <a:cubicBezTo>
                  <a:pt x="1186463" y="1848069"/>
                  <a:pt x="1190368" y="1849635"/>
                  <a:pt x="1190296" y="1850988"/>
                </a:cubicBezTo>
                <a:cubicBezTo>
                  <a:pt x="1187628" y="1901067"/>
                  <a:pt x="1185031" y="1949793"/>
                  <a:pt x="1182435" y="1998518"/>
                </a:cubicBezTo>
                <a:cubicBezTo>
                  <a:pt x="1188112" y="2004250"/>
                  <a:pt x="1193861" y="2008629"/>
                  <a:pt x="1197622" y="2012901"/>
                </a:cubicBezTo>
                <a:cubicBezTo>
                  <a:pt x="1193501" y="2015396"/>
                  <a:pt x="1187391" y="2017786"/>
                  <a:pt x="1183197" y="2021634"/>
                </a:cubicBezTo>
                <a:cubicBezTo>
                  <a:pt x="1186958" y="2025907"/>
                  <a:pt x="1190718" y="2030179"/>
                  <a:pt x="1196468" y="2034557"/>
                </a:cubicBezTo>
                <a:cubicBezTo>
                  <a:pt x="1194304" y="2075161"/>
                  <a:pt x="1192068" y="2117120"/>
                  <a:pt x="1189905" y="2157726"/>
                </a:cubicBezTo>
                <a:cubicBezTo>
                  <a:pt x="1195294" y="2168870"/>
                  <a:pt x="1214963" y="2173991"/>
                  <a:pt x="1206360" y="2185748"/>
                </a:cubicBezTo>
                <a:cubicBezTo>
                  <a:pt x="1200250" y="2188137"/>
                  <a:pt x="1195985" y="2193339"/>
                  <a:pt x="1189875" y="2195729"/>
                </a:cubicBezTo>
                <a:cubicBezTo>
                  <a:pt x="1195552" y="2201460"/>
                  <a:pt x="1201301" y="2205838"/>
                  <a:pt x="1205062" y="2210111"/>
                </a:cubicBezTo>
                <a:cubicBezTo>
                  <a:pt x="1204845" y="2214172"/>
                  <a:pt x="1206617" y="2218338"/>
                  <a:pt x="1202496" y="2220832"/>
                </a:cubicBezTo>
                <a:cubicBezTo>
                  <a:pt x="1200291" y="2224787"/>
                  <a:pt x="1194110" y="2228530"/>
                  <a:pt x="1187928" y="2232273"/>
                </a:cubicBezTo>
                <a:cubicBezTo>
                  <a:pt x="1193749" y="2235298"/>
                  <a:pt x="1197582" y="2238216"/>
                  <a:pt x="1203259" y="2243948"/>
                </a:cubicBezTo>
                <a:cubicBezTo>
                  <a:pt x="1200879" y="2288614"/>
                  <a:pt x="1198355" y="2335986"/>
                  <a:pt x="1195903" y="2382005"/>
                </a:cubicBezTo>
                <a:cubicBezTo>
                  <a:pt x="1203640" y="2386489"/>
                  <a:pt x="1207473" y="2389408"/>
                  <a:pt x="1211235" y="2393680"/>
                </a:cubicBezTo>
                <a:cubicBezTo>
                  <a:pt x="1209215" y="2431578"/>
                  <a:pt x="1207196" y="2469476"/>
                  <a:pt x="1205177" y="2507373"/>
                </a:cubicBezTo>
                <a:cubicBezTo>
                  <a:pt x="1210925" y="2511751"/>
                  <a:pt x="1216674" y="2516130"/>
                  <a:pt x="1226257" y="2523427"/>
                </a:cubicBezTo>
                <a:cubicBezTo>
                  <a:pt x="1225247" y="2542376"/>
                  <a:pt x="1224165" y="2562679"/>
                  <a:pt x="1223011" y="2584335"/>
                </a:cubicBezTo>
                <a:cubicBezTo>
                  <a:pt x="1238919" y="2585182"/>
                  <a:pt x="1252840" y="2585924"/>
                  <a:pt x="1264771" y="2586560"/>
                </a:cubicBezTo>
                <a:cubicBezTo>
                  <a:pt x="1273014" y="2581570"/>
                  <a:pt x="1273014" y="2581570"/>
                  <a:pt x="1240362" y="2558112"/>
                </a:cubicBezTo>
                <a:cubicBezTo>
                  <a:pt x="1244484" y="2555617"/>
                  <a:pt x="1248677" y="2551768"/>
                  <a:pt x="1256992" y="2545425"/>
                </a:cubicBezTo>
                <a:cubicBezTo>
                  <a:pt x="1260165" y="2485871"/>
                  <a:pt x="1263555" y="2422258"/>
                  <a:pt x="1266800" y="2361350"/>
                </a:cubicBezTo>
                <a:cubicBezTo>
                  <a:pt x="1274971" y="2357713"/>
                  <a:pt x="1279092" y="2355218"/>
                  <a:pt x="1283213" y="2352723"/>
                </a:cubicBezTo>
                <a:cubicBezTo>
                  <a:pt x="1279453" y="2348451"/>
                  <a:pt x="1273704" y="2344073"/>
                  <a:pt x="1267954" y="2339694"/>
                </a:cubicBezTo>
                <a:cubicBezTo>
                  <a:pt x="1272076" y="2337199"/>
                  <a:pt x="1276197" y="2334704"/>
                  <a:pt x="1282451" y="2329609"/>
                </a:cubicBezTo>
                <a:cubicBezTo>
                  <a:pt x="1293115" y="2316603"/>
                  <a:pt x="1282121" y="2298372"/>
                  <a:pt x="1291013" y="2281200"/>
                </a:cubicBezTo>
                <a:cubicBezTo>
                  <a:pt x="1295135" y="2278705"/>
                  <a:pt x="1299328" y="2274856"/>
                  <a:pt x="1305510" y="2271114"/>
                </a:cubicBezTo>
                <a:cubicBezTo>
                  <a:pt x="1301677" y="2268196"/>
                  <a:pt x="1297844" y="2265276"/>
                  <a:pt x="1290179" y="2259438"/>
                </a:cubicBezTo>
                <a:cubicBezTo>
                  <a:pt x="1291982" y="2225601"/>
                  <a:pt x="1293857" y="2190410"/>
                  <a:pt x="1295660" y="2156573"/>
                </a:cubicBezTo>
                <a:cubicBezTo>
                  <a:pt x="1287995" y="2150735"/>
                  <a:pt x="1284161" y="2147817"/>
                  <a:pt x="1280328" y="2144898"/>
                </a:cubicBezTo>
                <a:cubicBezTo>
                  <a:pt x="1284522" y="2141049"/>
                  <a:pt x="1288716" y="2137201"/>
                  <a:pt x="1294897" y="2133458"/>
                </a:cubicBezTo>
                <a:cubicBezTo>
                  <a:pt x="1291136" y="2129186"/>
                  <a:pt x="1285387" y="2124808"/>
                  <a:pt x="1279638" y="2120429"/>
                </a:cubicBezTo>
                <a:cubicBezTo>
                  <a:pt x="1280431" y="2105540"/>
                  <a:pt x="1281225" y="2090652"/>
                  <a:pt x="1282090" y="2074410"/>
                </a:cubicBezTo>
                <a:cubicBezTo>
                  <a:pt x="1288272" y="2070667"/>
                  <a:pt x="1294454" y="2066925"/>
                  <a:pt x="1300636" y="2063182"/>
                </a:cubicBezTo>
                <a:cubicBezTo>
                  <a:pt x="1302078" y="2036112"/>
                  <a:pt x="1303521" y="2009043"/>
                  <a:pt x="1304891" y="1983326"/>
                </a:cubicBezTo>
                <a:cubicBezTo>
                  <a:pt x="1299142" y="1978947"/>
                  <a:pt x="1293393" y="1974570"/>
                  <a:pt x="1287643" y="1970192"/>
                </a:cubicBezTo>
                <a:cubicBezTo>
                  <a:pt x="1293825" y="1966449"/>
                  <a:pt x="1297947" y="1963954"/>
                  <a:pt x="1304057" y="1961564"/>
                </a:cubicBezTo>
                <a:cubicBezTo>
                  <a:pt x="1304995" y="1943969"/>
                  <a:pt x="1306004" y="1925021"/>
                  <a:pt x="1306942" y="1907425"/>
                </a:cubicBezTo>
                <a:cubicBezTo>
                  <a:pt x="1315328" y="1899727"/>
                  <a:pt x="1319593" y="1894526"/>
                  <a:pt x="1327981" y="1886828"/>
                </a:cubicBezTo>
                <a:cubicBezTo>
                  <a:pt x="1322376" y="1879744"/>
                  <a:pt x="1316843" y="1871305"/>
                  <a:pt x="1309394" y="1861407"/>
                </a:cubicBezTo>
                <a:cubicBezTo>
                  <a:pt x="1313658" y="1856205"/>
                  <a:pt x="1319913" y="1851108"/>
                  <a:pt x="1328228" y="1844763"/>
                </a:cubicBezTo>
                <a:cubicBezTo>
                  <a:pt x="1322406" y="1841740"/>
                  <a:pt x="1316657" y="1837361"/>
                  <a:pt x="1312896" y="1833089"/>
                </a:cubicBezTo>
                <a:cubicBezTo>
                  <a:pt x="1309712" y="1817989"/>
                  <a:pt x="1327898" y="1813528"/>
                  <a:pt x="1338274" y="1805937"/>
                </a:cubicBezTo>
                <a:cubicBezTo>
                  <a:pt x="1350278" y="1805219"/>
                  <a:pt x="1364198" y="1805960"/>
                  <a:pt x="1363693" y="1815435"/>
                </a:cubicBezTo>
                <a:cubicBezTo>
                  <a:pt x="1362899" y="1830324"/>
                  <a:pt x="1382713" y="1832737"/>
                  <a:pt x="1389874" y="1848049"/>
                </a:cubicBezTo>
                <a:cubicBezTo>
                  <a:pt x="1396488" y="1836186"/>
                  <a:pt x="1398837" y="1829524"/>
                  <a:pt x="1405163" y="1823074"/>
                </a:cubicBezTo>
                <a:cubicBezTo>
                  <a:pt x="1407297" y="1820473"/>
                  <a:pt x="1411418" y="1817978"/>
                  <a:pt x="1417528" y="1815589"/>
                </a:cubicBezTo>
                <a:cubicBezTo>
                  <a:pt x="1418105" y="1804761"/>
                  <a:pt x="1418754" y="1792580"/>
                  <a:pt x="1419331" y="1781752"/>
                </a:cubicBezTo>
                <a:cubicBezTo>
                  <a:pt x="1413582" y="1777374"/>
                  <a:pt x="1407832" y="1772995"/>
                  <a:pt x="1402082" y="1768617"/>
                </a:cubicBezTo>
                <a:cubicBezTo>
                  <a:pt x="1406204" y="1766122"/>
                  <a:pt x="1410326" y="1763627"/>
                  <a:pt x="1418568" y="1758637"/>
                </a:cubicBezTo>
                <a:cubicBezTo>
                  <a:pt x="1419362" y="1743748"/>
                  <a:pt x="1420227" y="1727507"/>
                  <a:pt x="1420732" y="1718031"/>
                </a:cubicBezTo>
                <a:cubicBezTo>
                  <a:pt x="1433529" y="1702425"/>
                  <a:pt x="1441988" y="1693375"/>
                  <a:pt x="1450446" y="1684325"/>
                </a:cubicBezTo>
                <a:cubicBezTo>
                  <a:pt x="1458112" y="1690162"/>
                  <a:pt x="1465779" y="1695999"/>
                  <a:pt x="1473444" y="1701838"/>
                </a:cubicBezTo>
                <a:cubicBezTo>
                  <a:pt x="1480894" y="1711736"/>
                  <a:pt x="1460287" y="1724212"/>
                  <a:pt x="1483861" y="1730897"/>
                </a:cubicBezTo>
                <a:cubicBezTo>
                  <a:pt x="1485922" y="1729650"/>
                  <a:pt x="1489971" y="1728507"/>
                  <a:pt x="1490043" y="1727155"/>
                </a:cubicBezTo>
                <a:cubicBezTo>
                  <a:pt x="1491702" y="1696025"/>
                  <a:pt x="1493289" y="1666247"/>
                  <a:pt x="1494947" y="1635117"/>
                </a:cubicBezTo>
                <a:cubicBezTo>
                  <a:pt x="1517182" y="1629514"/>
                  <a:pt x="1513999" y="1614415"/>
                  <a:pt x="1526506" y="1604223"/>
                </a:cubicBezTo>
                <a:cubicBezTo>
                  <a:pt x="1536954" y="1595278"/>
                  <a:pt x="1533842" y="1578824"/>
                  <a:pt x="1536553" y="1565395"/>
                </a:cubicBezTo>
                <a:cubicBezTo>
                  <a:pt x="1542591" y="1564360"/>
                  <a:pt x="1550617" y="1563430"/>
                  <a:pt x="1558643" y="1562500"/>
                </a:cubicBezTo>
                <a:cubicBezTo>
                  <a:pt x="1577735" y="1578448"/>
                  <a:pt x="1571048" y="1591666"/>
                  <a:pt x="1550514" y="1602787"/>
                </a:cubicBezTo>
                <a:cubicBezTo>
                  <a:pt x="1554274" y="1607059"/>
                  <a:pt x="1560024" y="1611438"/>
                  <a:pt x="1563784" y="1615710"/>
                </a:cubicBezTo>
                <a:cubicBezTo>
                  <a:pt x="1565341" y="1623937"/>
                  <a:pt x="1564836" y="1633412"/>
                  <a:pt x="1566031" y="1648405"/>
                </a:cubicBezTo>
                <a:cubicBezTo>
                  <a:pt x="1584649" y="1635825"/>
                  <a:pt x="1583381" y="1622184"/>
                  <a:pt x="1601639" y="1616370"/>
                </a:cubicBezTo>
                <a:cubicBezTo>
                  <a:pt x="1603442" y="1582532"/>
                  <a:pt x="1605317" y="1547342"/>
                  <a:pt x="1607120" y="1513505"/>
                </a:cubicBezTo>
                <a:cubicBezTo>
                  <a:pt x="1617568" y="1504559"/>
                  <a:pt x="1633116" y="1512175"/>
                  <a:pt x="1647252" y="1508856"/>
                </a:cubicBezTo>
                <a:cubicBezTo>
                  <a:pt x="1660163" y="1528547"/>
                  <a:pt x="1677266" y="1544390"/>
                  <a:pt x="1676112" y="1566044"/>
                </a:cubicBezTo>
                <a:cubicBezTo>
                  <a:pt x="1705364" y="1578462"/>
                  <a:pt x="1672177" y="1602483"/>
                  <a:pt x="1697378" y="1616042"/>
                </a:cubicBezTo>
                <a:cubicBezTo>
                  <a:pt x="1714153" y="1600648"/>
                  <a:pt x="1699181" y="1582205"/>
                  <a:pt x="1712195" y="1562538"/>
                </a:cubicBezTo>
                <a:cubicBezTo>
                  <a:pt x="1710134" y="1563786"/>
                  <a:pt x="1714255" y="1561291"/>
                  <a:pt x="1718377" y="1558796"/>
                </a:cubicBezTo>
                <a:cubicBezTo>
                  <a:pt x="1720582" y="1554840"/>
                  <a:pt x="1724703" y="1552347"/>
                  <a:pt x="1724920" y="1548285"/>
                </a:cubicBezTo>
                <a:cubicBezTo>
                  <a:pt x="1725641" y="1534750"/>
                  <a:pt x="1726290" y="1522569"/>
                  <a:pt x="1726867" y="1511741"/>
                </a:cubicBezTo>
                <a:cubicBezTo>
                  <a:pt x="1749823" y="1492605"/>
                  <a:pt x="1768657" y="1475963"/>
                  <a:pt x="1789552" y="1458073"/>
                </a:cubicBezTo>
                <a:cubicBezTo>
                  <a:pt x="1806440" y="1477976"/>
                  <a:pt x="1789451" y="1497431"/>
                  <a:pt x="1800443" y="1515661"/>
                </a:cubicBezTo>
                <a:cubicBezTo>
                  <a:pt x="1838442" y="1513615"/>
                  <a:pt x="1826758" y="1470914"/>
                  <a:pt x="1874340" y="1476164"/>
                </a:cubicBezTo>
                <a:cubicBezTo>
                  <a:pt x="1889960" y="1482426"/>
                  <a:pt x="1879441" y="1492724"/>
                  <a:pt x="1882984" y="1501057"/>
                </a:cubicBezTo>
                <a:cubicBezTo>
                  <a:pt x="1888517" y="1509496"/>
                  <a:pt x="1896039" y="1518041"/>
                  <a:pt x="1901644" y="1525126"/>
                </a:cubicBezTo>
                <a:cubicBezTo>
                  <a:pt x="1893329" y="1531470"/>
                  <a:pt x="1889136" y="1535319"/>
                  <a:pt x="1882954" y="1539062"/>
                </a:cubicBezTo>
                <a:cubicBezTo>
                  <a:pt x="1886714" y="1543334"/>
                  <a:pt x="1892464" y="1547712"/>
                  <a:pt x="1898213" y="1552090"/>
                </a:cubicBezTo>
                <a:cubicBezTo>
                  <a:pt x="1897781" y="1560212"/>
                  <a:pt x="1897420" y="1566978"/>
                  <a:pt x="1896987" y="1575099"/>
                </a:cubicBezTo>
                <a:cubicBezTo>
                  <a:pt x="1902737" y="1579478"/>
                  <a:pt x="1906498" y="1583750"/>
                  <a:pt x="1912247" y="1588128"/>
                </a:cubicBezTo>
                <a:cubicBezTo>
                  <a:pt x="1906117" y="1703175"/>
                  <a:pt x="1899987" y="1818222"/>
                  <a:pt x="1893855" y="1933269"/>
                </a:cubicBezTo>
                <a:cubicBezTo>
                  <a:pt x="1887674" y="1937012"/>
                  <a:pt x="1883480" y="1940861"/>
                  <a:pt x="1875238" y="1945850"/>
                </a:cubicBezTo>
                <a:cubicBezTo>
                  <a:pt x="1885108" y="1947734"/>
                  <a:pt x="1892990" y="1949510"/>
                  <a:pt x="1900801" y="1952642"/>
                </a:cubicBezTo>
                <a:cubicBezTo>
                  <a:pt x="1911392" y="1940989"/>
                  <a:pt x="1923829" y="1932151"/>
                  <a:pt x="1928455" y="1920183"/>
                </a:cubicBezTo>
                <a:cubicBezTo>
                  <a:pt x="1933009" y="1909566"/>
                  <a:pt x="1927692" y="1897067"/>
                  <a:pt x="1947939" y="1891358"/>
                </a:cubicBezTo>
                <a:cubicBezTo>
                  <a:pt x="1948588" y="1879177"/>
                  <a:pt x="1949165" y="1868349"/>
                  <a:pt x="1949598" y="1860228"/>
                </a:cubicBezTo>
                <a:cubicBezTo>
                  <a:pt x="1960045" y="1851284"/>
                  <a:pt x="1968359" y="1844940"/>
                  <a:pt x="1974758" y="1837137"/>
                </a:cubicBezTo>
                <a:cubicBezTo>
                  <a:pt x="1990018" y="1850166"/>
                  <a:pt x="1983475" y="1860676"/>
                  <a:pt x="1983042" y="1868797"/>
                </a:cubicBezTo>
                <a:cubicBezTo>
                  <a:pt x="1978848" y="1872645"/>
                  <a:pt x="1972666" y="1876388"/>
                  <a:pt x="1968473" y="1880237"/>
                </a:cubicBezTo>
                <a:cubicBezTo>
                  <a:pt x="1976139" y="1886075"/>
                  <a:pt x="1983804" y="1891913"/>
                  <a:pt x="1991470" y="1897750"/>
                </a:cubicBezTo>
                <a:cubicBezTo>
                  <a:pt x="2009944" y="1887876"/>
                  <a:pt x="1998734" y="1873706"/>
                  <a:pt x="2003505" y="1859029"/>
                </a:cubicBezTo>
                <a:cubicBezTo>
                  <a:pt x="2007627" y="1856533"/>
                  <a:pt x="2011819" y="1852685"/>
                  <a:pt x="2020063" y="1847695"/>
                </a:cubicBezTo>
                <a:cubicBezTo>
                  <a:pt x="2020639" y="1836867"/>
                  <a:pt x="2021216" y="1826038"/>
                  <a:pt x="2021794" y="1815211"/>
                </a:cubicBezTo>
                <a:cubicBezTo>
                  <a:pt x="2034157" y="1807727"/>
                  <a:pt x="2040844" y="1794509"/>
                  <a:pt x="2062574" y="1798381"/>
                </a:cubicBezTo>
                <a:cubicBezTo>
                  <a:pt x="2084304" y="1802254"/>
                  <a:pt x="2065397" y="1820249"/>
                  <a:pt x="2087055" y="1825475"/>
                </a:cubicBezTo>
                <a:cubicBezTo>
                  <a:pt x="2088467" y="1836409"/>
                  <a:pt x="2091939" y="1846096"/>
                  <a:pt x="2093279" y="1858384"/>
                </a:cubicBezTo>
                <a:cubicBezTo>
                  <a:pt x="2118007" y="1843412"/>
                  <a:pt x="2117244" y="1820297"/>
                  <a:pt x="2141756" y="1809387"/>
                </a:cubicBezTo>
                <a:cubicBezTo>
                  <a:pt x="2136872" y="1788767"/>
                  <a:pt x="2161456" y="1776504"/>
                  <a:pt x="2170420" y="1757979"/>
                </a:cubicBezTo>
                <a:cubicBezTo>
                  <a:pt x="2176385" y="1758296"/>
                  <a:pt x="2184340" y="1758721"/>
                  <a:pt x="2196271" y="1759356"/>
                </a:cubicBezTo>
                <a:cubicBezTo>
                  <a:pt x="2197684" y="1770290"/>
                  <a:pt x="2197179" y="1779765"/>
                  <a:pt x="2196674" y="1789239"/>
                </a:cubicBezTo>
                <a:cubicBezTo>
                  <a:pt x="2204556" y="1791015"/>
                  <a:pt x="2210377" y="1794041"/>
                  <a:pt x="2220247" y="1795925"/>
                </a:cubicBezTo>
                <a:cubicBezTo>
                  <a:pt x="2226646" y="1788122"/>
                  <a:pt x="2233044" y="1780318"/>
                  <a:pt x="2239442" y="1772515"/>
                </a:cubicBezTo>
                <a:cubicBezTo>
                  <a:pt x="2245409" y="1772833"/>
                  <a:pt x="2251375" y="1773151"/>
                  <a:pt x="2257340" y="1773470"/>
                </a:cubicBezTo>
                <a:cubicBezTo>
                  <a:pt x="2274661" y="1785250"/>
                  <a:pt x="2261936" y="1799503"/>
                  <a:pt x="2265192" y="1813250"/>
                </a:cubicBezTo>
                <a:cubicBezTo>
                  <a:pt x="2269024" y="1816169"/>
                  <a:pt x="2272785" y="1820442"/>
                  <a:pt x="2278463" y="1826173"/>
                </a:cubicBezTo>
                <a:cubicBezTo>
                  <a:pt x="2274269" y="1830022"/>
                  <a:pt x="2270075" y="1833870"/>
                  <a:pt x="2263894" y="1837613"/>
                </a:cubicBezTo>
                <a:cubicBezTo>
                  <a:pt x="2281357" y="1846687"/>
                  <a:pt x="2276371" y="1865425"/>
                  <a:pt x="2295824" y="1874604"/>
                </a:cubicBezTo>
                <a:cubicBezTo>
                  <a:pt x="2293804" y="1912503"/>
                  <a:pt x="2291713" y="1951754"/>
                  <a:pt x="2289694" y="1989651"/>
                </a:cubicBezTo>
                <a:cubicBezTo>
                  <a:pt x="2283583" y="1992041"/>
                  <a:pt x="2279462" y="1994536"/>
                  <a:pt x="2273208" y="1999632"/>
                </a:cubicBezTo>
                <a:cubicBezTo>
                  <a:pt x="2271260" y="2036177"/>
                  <a:pt x="2269097" y="2076782"/>
                  <a:pt x="2267077" y="2114679"/>
                </a:cubicBezTo>
                <a:cubicBezTo>
                  <a:pt x="2258907" y="2118315"/>
                  <a:pt x="2254785" y="2120810"/>
                  <a:pt x="2246543" y="2125801"/>
                </a:cubicBezTo>
                <a:cubicBezTo>
                  <a:pt x="2244523" y="2163698"/>
                  <a:pt x="2242432" y="2202950"/>
                  <a:pt x="2240412" y="2240848"/>
                </a:cubicBezTo>
                <a:cubicBezTo>
                  <a:pt x="2234230" y="2244590"/>
                  <a:pt x="2230110" y="2247085"/>
                  <a:pt x="2223927" y="2250828"/>
                </a:cubicBezTo>
                <a:cubicBezTo>
                  <a:pt x="2222125" y="2284665"/>
                  <a:pt x="2220322" y="2318503"/>
                  <a:pt x="2218447" y="2353692"/>
                </a:cubicBezTo>
                <a:cubicBezTo>
                  <a:pt x="2212264" y="2357437"/>
                  <a:pt x="2208071" y="2361284"/>
                  <a:pt x="2201889" y="2365027"/>
                </a:cubicBezTo>
                <a:cubicBezTo>
                  <a:pt x="2199179" y="2378456"/>
                  <a:pt x="2198530" y="2390637"/>
                  <a:pt x="2197664" y="2406879"/>
                </a:cubicBezTo>
                <a:cubicBezTo>
                  <a:pt x="2217622" y="2406585"/>
                  <a:pt x="2229554" y="2407221"/>
                  <a:pt x="2243546" y="2406609"/>
                </a:cubicBezTo>
                <a:cubicBezTo>
                  <a:pt x="2245534" y="2406715"/>
                  <a:pt x="2247884" y="2400053"/>
                  <a:pt x="2250016" y="2397453"/>
                </a:cubicBezTo>
                <a:cubicBezTo>
                  <a:pt x="2255910" y="2399124"/>
                  <a:pt x="2261875" y="2399442"/>
                  <a:pt x="2263720" y="2402255"/>
                </a:cubicBezTo>
                <a:cubicBezTo>
                  <a:pt x="2267553" y="2405174"/>
                  <a:pt x="2267336" y="2409234"/>
                  <a:pt x="2267120" y="2413295"/>
                </a:cubicBezTo>
                <a:cubicBezTo>
                  <a:pt x="2266471" y="2425476"/>
                  <a:pt x="2265750" y="2439011"/>
                  <a:pt x="2265173" y="2449839"/>
                </a:cubicBezTo>
                <a:cubicBezTo>
                  <a:pt x="2256929" y="2454829"/>
                  <a:pt x="2252809" y="2457323"/>
                  <a:pt x="2244566" y="2462315"/>
                </a:cubicBezTo>
                <a:cubicBezTo>
                  <a:pt x="2258197" y="2468470"/>
                  <a:pt x="2271757" y="2475979"/>
                  <a:pt x="2279422" y="2481816"/>
                </a:cubicBezTo>
                <a:cubicBezTo>
                  <a:pt x="2278773" y="2493998"/>
                  <a:pt x="2278412" y="2500766"/>
                  <a:pt x="2277979" y="2508887"/>
                </a:cubicBezTo>
                <a:cubicBezTo>
                  <a:pt x="2283729" y="2513264"/>
                  <a:pt x="2289479" y="2517643"/>
                  <a:pt x="2295300" y="2520669"/>
                </a:cubicBezTo>
                <a:cubicBezTo>
                  <a:pt x="2304378" y="2537440"/>
                  <a:pt x="2264389" y="2539382"/>
                  <a:pt x="2279361" y="2557825"/>
                </a:cubicBezTo>
                <a:cubicBezTo>
                  <a:pt x="2285254" y="2559495"/>
                  <a:pt x="2293136" y="2561273"/>
                  <a:pt x="2303008" y="2563157"/>
                </a:cubicBezTo>
                <a:cubicBezTo>
                  <a:pt x="2304851" y="2565969"/>
                  <a:pt x="2308539" y="2571595"/>
                  <a:pt x="2314073" y="2580035"/>
                </a:cubicBezTo>
                <a:cubicBezTo>
                  <a:pt x="2299792" y="2586060"/>
                  <a:pt x="2285584" y="2590732"/>
                  <a:pt x="2275353" y="2595616"/>
                </a:cubicBezTo>
                <a:cubicBezTo>
                  <a:pt x="2274487" y="2611858"/>
                  <a:pt x="2273911" y="2622687"/>
                  <a:pt x="2273261" y="2634867"/>
                </a:cubicBezTo>
                <a:cubicBezTo>
                  <a:pt x="2282988" y="2639458"/>
                  <a:pt x="2294703" y="2644154"/>
                  <a:pt x="2306490" y="2647496"/>
                </a:cubicBezTo>
                <a:cubicBezTo>
                  <a:pt x="2306057" y="2655618"/>
                  <a:pt x="2305624" y="2663739"/>
                  <a:pt x="2305192" y="2671859"/>
                </a:cubicBezTo>
                <a:cubicBezTo>
                  <a:pt x="2293044" y="2675285"/>
                  <a:pt x="2280969" y="2677355"/>
                  <a:pt x="2268820" y="2680780"/>
                </a:cubicBezTo>
                <a:cubicBezTo>
                  <a:pt x="2284297" y="2689748"/>
                  <a:pt x="2291385" y="2706415"/>
                  <a:pt x="2315609" y="2700919"/>
                </a:cubicBezTo>
                <a:cubicBezTo>
                  <a:pt x="2320709" y="2717479"/>
                  <a:pt x="2325954" y="2731332"/>
                  <a:pt x="2301586" y="2739534"/>
                </a:cubicBezTo>
                <a:cubicBezTo>
                  <a:pt x="2307335" y="2743912"/>
                  <a:pt x="2311095" y="2748185"/>
                  <a:pt x="2316845" y="2752562"/>
                </a:cubicBezTo>
                <a:cubicBezTo>
                  <a:pt x="2300288" y="2763897"/>
                  <a:pt x="2280835" y="2754716"/>
                  <a:pt x="2262793" y="2756469"/>
                </a:cubicBezTo>
                <a:cubicBezTo>
                  <a:pt x="2260805" y="2756364"/>
                  <a:pt x="2256828" y="2756152"/>
                  <a:pt x="2254768" y="2757399"/>
                </a:cubicBezTo>
                <a:cubicBezTo>
                  <a:pt x="2234233" y="2768522"/>
                  <a:pt x="2211637" y="2780890"/>
                  <a:pt x="2195224" y="2789517"/>
                </a:cubicBezTo>
                <a:cubicBezTo>
                  <a:pt x="2194503" y="2803052"/>
                  <a:pt x="2192153" y="2809714"/>
                  <a:pt x="2212038" y="2810773"/>
                </a:cubicBezTo>
                <a:cubicBezTo>
                  <a:pt x="2212038" y="2810773"/>
                  <a:pt x="2215944" y="2812339"/>
                  <a:pt x="2218004" y="2811091"/>
                </a:cubicBezTo>
                <a:cubicBezTo>
                  <a:pt x="2230297" y="2804959"/>
                  <a:pt x="2242661" y="2797474"/>
                  <a:pt x="2256941" y="2791449"/>
                </a:cubicBezTo>
                <a:cubicBezTo>
                  <a:pt x="2262402" y="2801241"/>
                  <a:pt x="2269851" y="2811139"/>
                  <a:pt x="2279145" y="2823850"/>
                </a:cubicBezTo>
                <a:cubicBezTo>
                  <a:pt x="2278929" y="2827911"/>
                  <a:pt x="2278496" y="2836032"/>
                  <a:pt x="2278280" y="2840093"/>
                </a:cubicBezTo>
                <a:cubicBezTo>
                  <a:pt x="2267687" y="2851743"/>
                  <a:pt x="2261217" y="2860900"/>
                  <a:pt x="2252758" y="2869951"/>
                </a:cubicBezTo>
                <a:cubicBezTo>
                  <a:pt x="2241403" y="2858488"/>
                  <a:pt x="2232110" y="2845776"/>
                  <a:pt x="2222671" y="2835772"/>
                </a:cubicBezTo>
                <a:cubicBezTo>
                  <a:pt x="2204486" y="2840232"/>
                  <a:pt x="2190277" y="2844905"/>
                  <a:pt x="2176070" y="2849577"/>
                </a:cubicBezTo>
                <a:cubicBezTo>
                  <a:pt x="2175493" y="2860405"/>
                  <a:pt x="2174916" y="2871233"/>
                  <a:pt x="2174267" y="2883414"/>
                </a:cubicBezTo>
                <a:cubicBezTo>
                  <a:pt x="2189743" y="2892382"/>
                  <a:pt x="2219426" y="2896679"/>
                  <a:pt x="2224455" y="2914592"/>
                </a:cubicBezTo>
                <a:cubicBezTo>
                  <a:pt x="2214368" y="2916769"/>
                  <a:pt x="2200519" y="2914675"/>
                  <a:pt x="2211874" y="2926138"/>
                </a:cubicBezTo>
                <a:cubicBezTo>
                  <a:pt x="2216068" y="2922289"/>
                  <a:pt x="2220190" y="2919795"/>
                  <a:pt x="2224455" y="2914592"/>
                </a:cubicBezTo>
                <a:cubicBezTo>
                  <a:pt x="2236314" y="2916581"/>
                  <a:pt x="2250234" y="2917323"/>
                  <a:pt x="2266142" y="2918170"/>
                </a:cubicBezTo>
                <a:cubicBezTo>
                  <a:pt x="2284586" y="2946301"/>
                  <a:pt x="2284586" y="2946301"/>
                  <a:pt x="2323636" y="2961955"/>
                </a:cubicBezTo>
                <a:cubicBezTo>
                  <a:pt x="2323419" y="2966016"/>
                  <a:pt x="2321142" y="2971323"/>
                  <a:pt x="2320854" y="2976737"/>
                </a:cubicBezTo>
                <a:cubicBezTo>
                  <a:pt x="2304873" y="2977243"/>
                  <a:pt x="2290881" y="2977854"/>
                  <a:pt x="2276889" y="2978467"/>
                </a:cubicBezTo>
                <a:cubicBezTo>
                  <a:pt x="2268575" y="2984810"/>
                  <a:pt x="2266297" y="2990119"/>
                  <a:pt x="2275879" y="2997416"/>
                </a:cubicBezTo>
                <a:cubicBezTo>
                  <a:pt x="2291210" y="3009091"/>
                  <a:pt x="2306542" y="3020767"/>
                  <a:pt x="2321874" y="3032443"/>
                </a:cubicBezTo>
                <a:cubicBezTo>
                  <a:pt x="2313343" y="3042846"/>
                  <a:pt x="2304884" y="3051897"/>
                  <a:pt x="2302319" y="3062620"/>
                </a:cubicBezTo>
                <a:cubicBezTo>
                  <a:pt x="2299824" y="3071988"/>
                  <a:pt x="2297404" y="3080003"/>
                  <a:pt x="2283123" y="3086028"/>
                </a:cubicBezTo>
                <a:cubicBezTo>
                  <a:pt x="2288801" y="3091760"/>
                  <a:pt x="2294478" y="3097492"/>
                  <a:pt x="2303988" y="3106142"/>
                </a:cubicBezTo>
                <a:cubicBezTo>
                  <a:pt x="2289563" y="3114875"/>
                  <a:pt x="2275138" y="3123608"/>
                  <a:pt x="2262630" y="3133800"/>
                </a:cubicBezTo>
                <a:cubicBezTo>
                  <a:pt x="2259920" y="3147230"/>
                  <a:pt x="2277600" y="3152243"/>
                  <a:pt x="2287038" y="3162248"/>
                </a:cubicBezTo>
                <a:cubicBezTo>
                  <a:pt x="2300886" y="3164342"/>
                  <a:pt x="2315094" y="3159671"/>
                  <a:pt x="2326593" y="3168427"/>
                </a:cubicBezTo>
                <a:cubicBezTo>
                  <a:pt x="2326016" y="3179255"/>
                  <a:pt x="2310469" y="3171640"/>
                  <a:pt x="2296115" y="3179019"/>
                </a:cubicBezTo>
                <a:cubicBezTo>
                  <a:pt x="2294055" y="3180267"/>
                  <a:pt x="2285812" y="3185257"/>
                  <a:pt x="2277570" y="3190247"/>
                </a:cubicBezTo>
                <a:cubicBezTo>
                  <a:pt x="2276993" y="3201075"/>
                  <a:pt x="2276416" y="3211903"/>
                  <a:pt x="2275767" y="3224084"/>
                </a:cubicBezTo>
                <a:cubicBezTo>
                  <a:pt x="2269585" y="3227826"/>
                  <a:pt x="2263403" y="3231570"/>
                  <a:pt x="2257221" y="3235312"/>
                </a:cubicBezTo>
                <a:cubicBezTo>
                  <a:pt x="2256932" y="3240727"/>
                  <a:pt x="2256571" y="3247493"/>
                  <a:pt x="2256283" y="3252908"/>
                </a:cubicBezTo>
                <a:cubicBezTo>
                  <a:pt x="2248329" y="3252484"/>
                  <a:pt x="2238386" y="3251953"/>
                  <a:pt x="2230432" y="3251529"/>
                </a:cubicBezTo>
                <a:cubicBezTo>
                  <a:pt x="2211958" y="3261405"/>
                  <a:pt x="2223096" y="3276929"/>
                  <a:pt x="2220386" y="3290357"/>
                </a:cubicBezTo>
                <a:cubicBezTo>
                  <a:pt x="2214276" y="3292746"/>
                  <a:pt x="2210082" y="3296595"/>
                  <a:pt x="2201768" y="3302938"/>
                </a:cubicBezTo>
                <a:cubicBezTo>
                  <a:pt x="2207156" y="3314085"/>
                  <a:pt x="2214389" y="3328043"/>
                  <a:pt x="2223538" y="3343462"/>
                </a:cubicBezTo>
                <a:cubicBezTo>
                  <a:pt x="2229720" y="3339719"/>
                  <a:pt x="2235830" y="3337329"/>
                  <a:pt x="2242012" y="3333587"/>
                </a:cubicBezTo>
                <a:cubicBezTo>
                  <a:pt x="2255933" y="3334329"/>
                  <a:pt x="2267864" y="3334964"/>
                  <a:pt x="2279795" y="3335601"/>
                </a:cubicBezTo>
                <a:cubicBezTo>
                  <a:pt x="2295055" y="3348629"/>
                  <a:pt x="2282763" y="3354761"/>
                  <a:pt x="2268411" y="3362140"/>
                </a:cubicBezTo>
                <a:cubicBezTo>
                  <a:pt x="2265742" y="3412220"/>
                  <a:pt x="2263002" y="3463652"/>
                  <a:pt x="2260406" y="3512378"/>
                </a:cubicBezTo>
                <a:cubicBezTo>
                  <a:pt x="2237737" y="3526101"/>
                  <a:pt x="2228516" y="3512036"/>
                  <a:pt x="2214956" y="3504527"/>
                </a:cubicBezTo>
                <a:cubicBezTo>
                  <a:pt x="2204220" y="3518886"/>
                  <a:pt x="2205487" y="3532526"/>
                  <a:pt x="2208672" y="3547626"/>
                </a:cubicBezTo>
                <a:cubicBezTo>
                  <a:pt x="2228485" y="3550039"/>
                  <a:pt x="2221036" y="3540142"/>
                  <a:pt x="2225445" y="3532232"/>
                </a:cubicBezTo>
                <a:cubicBezTo>
                  <a:pt x="2233472" y="3531302"/>
                  <a:pt x="2243487" y="3530479"/>
                  <a:pt x="2255563" y="3528408"/>
                </a:cubicBezTo>
                <a:cubicBezTo>
                  <a:pt x="2252348" y="3551311"/>
                  <a:pt x="2279827" y="3559562"/>
                  <a:pt x="2292953" y="3575192"/>
                </a:cubicBezTo>
                <a:cubicBezTo>
                  <a:pt x="2288689" y="3580394"/>
                  <a:pt x="2286483" y="3584349"/>
                  <a:pt x="2284206" y="3589657"/>
                </a:cubicBezTo>
                <a:cubicBezTo>
                  <a:pt x="2276252" y="3589233"/>
                  <a:pt x="2270286" y="3588915"/>
                  <a:pt x="2264321" y="3588598"/>
                </a:cubicBezTo>
                <a:cubicBezTo>
                  <a:pt x="2243858" y="3598365"/>
                  <a:pt x="2262950" y="3614313"/>
                  <a:pt x="2256696" y="3619410"/>
                </a:cubicBezTo>
                <a:cubicBezTo>
                  <a:pt x="2249937" y="3633980"/>
                  <a:pt x="2229835" y="3636981"/>
                  <a:pt x="2237068" y="3650939"/>
                </a:cubicBezTo>
                <a:cubicBezTo>
                  <a:pt x="2246867" y="3654176"/>
                  <a:pt x="2256593" y="3658767"/>
                  <a:pt x="2268308" y="3663463"/>
                </a:cubicBezTo>
                <a:cubicBezTo>
                  <a:pt x="2268164" y="3666170"/>
                  <a:pt x="2267948" y="3670230"/>
                  <a:pt x="2267731" y="3674291"/>
                </a:cubicBezTo>
                <a:cubicBezTo>
                  <a:pt x="2263537" y="3678140"/>
                  <a:pt x="2257355" y="3681881"/>
                  <a:pt x="2251174" y="3685625"/>
                </a:cubicBezTo>
                <a:cubicBezTo>
                  <a:pt x="2249948" y="3708634"/>
                  <a:pt x="2248722" y="3731644"/>
                  <a:pt x="2247496" y="3754653"/>
                </a:cubicBezTo>
                <a:cubicBezTo>
                  <a:pt x="2243374" y="3757148"/>
                  <a:pt x="2239252" y="3759643"/>
                  <a:pt x="2235131" y="3762138"/>
                </a:cubicBezTo>
                <a:cubicBezTo>
                  <a:pt x="2220563" y="3773578"/>
                  <a:pt x="2233761" y="3787854"/>
                  <a:pt x="2225157" y="3799612"/>
                </a:cubicBezTo>
                <a:cubicBezTo>
                  <a:pt x="2230979" y="3802637"/>
                  <a:pt x="2232824" y="3805450"/>
                  <a:pt x="2234812" y="3805555"/>
                </a:cubicBezTo>
                <a:cubicBezTo>
                  <a:pt x="2248659" y="3807651"/>
                  <a:pt x="2264640" y="3807145"/>
                  <a:pt x="2259582" y="3827235"/>
                </a:cubicBezTo>
                <a:cubicBezTo>
                  <a:pt x="2251411" y="3830872"/>
                  <a:pt x="2237203" y="3835544"/>
                  <a:pt x="2227044" y="3839075"/>
                </a:cubicBezTo>
                <a:cubicBezTo>
                  <a:pt x="2226106" y="3856670"/>
                  <a:pt x="2225529" y="3867499"/>
                  <a:pt x="2224736" y="3882387"/>
                </a:cubicBezTo>
                <a:cubicBezTo>
                  <a:pt x="2234390" y="3888331"/>
                  <a:pt x="2247949" y="3895840"/>
                  <a:pt x="2255687" y="3900325"/>
                </a:cubicBezTo>
                <a:cubicBezTo>
                  <a:pt x="2254966" y="3913859"/>
                  <a:pt x="2254605" y="3920627"/>
                  <a:pt x="2254173" y="3928747"/>
                </a:cubicBezTo>
                <a:cubicBezTo>
                  <a:pt x="2249979" y="3932596"/>
                  <a:pt x="2243797" y="3936338"/>
                  <a:pt x="2235554" y="3941329"/>
                </a:cubicBezTo>
                <a:cubicBezTo>
                  <a:pt x="2253307" y="3944989"/>
                  <a:pt x="2269144" y="3947191"/>
                  <a:pt x="2284980" y="3949392"/>
                </a:cubicBezTo>
                <a:cubicBezTo>
                  <a:pt x="2281910" y="3969588"/>
                  <a:pt x="2254213" y="3965398"/>
                  <a:pt x="2237873" y="3972671"/>
                </a:cubicBezTo>
                <a:cubicBezTo>
                  <a:pt x="2235668" y="3976626"/>
                  <a:pt x="2235524" y="3979332"/>
                  <a:pt x="2235236" y="3984747"/>
                </a:cubicBezTo>
                <a:cubicBezTo>
                  <a:pt x="2244962" y="3989336"/>
                  <a:pt x="2256677" y="3994033"/>
                  <a:pt x="2268464" y="3997376"/>
                </a:cubicBezTo>
                <a:cubicBezTo>
                  <a:pt x="2262209" y="4002472"/>
                  <a:pt x="2256027" y="4006214"/>
                  <a:pt x="2251906" y="4008709"/>
                </a:cubicBezTo>
                <a:cubicBezTo>
                  <a:pt x="2255667" y="4012982"/>
                  <a:pt x="2261416" y="4017360"/>
                  <a:pt x="2267165" y="4021738"/>
                </a:cubicBezTo>
                <a:cubicBezTo>
                  <a:pt x="2250968" y="4026305"/>
                  <a:pt x="2236760" y="4030977"/>
                  <a:pt x="2222552" y="4035649"/>
                </a:cubicBezTo>
                <a:cubicBezTo>
                  <a:pt x="2216730" y="4032625"/>
                  <a:pt x="2210981" y="4028246"/>
                  <a:pt x="2205231" y="4023868"/>
                </a:cubicBezTo>
                <a:cubicBezTo>
                  <a:pt x="2193300" y="4023232"/>
                  <a:pt x="2183357" y="4022702"/>
                  <a:pt x="2171426" y="4022066"/>
                </a:cubicBezTo>
                <a:cubicBezTo>
                  <a:pt x="2163112" y="4028410"/>
                  <a:pt x="2154868" y="4033400"/>
                  <a:pt x="2144637" y="4038285"/>
                </a:cubicBezTo>
                <a:cubicBezTo>
                  <a:pt x="2152303" y="4044122"/>
                  <a:pt x="2162030" y="4048712"/>
                  <a:pt x="2177433" y="4059035"/>
                </a:cubicBezTo>
                <a:cubicBezTo>
                  <a:pt x="2183327" y="4060706"/>
                  <a:pt x="2203645" y="4053644"/>
                  <a:pt x="2214927" y="4066462"/>
                </a:cubicBezTo>
                <a:cubicBezTo>
                  <a:pt x="2226282" y="4077926"/>
                  <a:pt x="2248804" y="4066909"/>
                  <a:pt x="2262220" y="4077126"/>
                </a:cubicBezTo>
                <a:cubicBezTo>
                  <a:pt x="2253688" y="4087530"/>
                  <a:pt x="2249135" y="4098146"/>
                  <a:pt x="2242520" y="4110010"/>
                </a:cubicBezTo>
                <a:cubicBezTo>
                  <a:pt x="2237894" y="4121978"/>
                  <a:pt x="2223469" y="4130711"/>
                  <a:pt x="2226652" y="4145812"/>
                </a:cubicBezTo>
                <a:cubicBezTo>
                  <a:pt x="2230414" y="4150084"/>
                  <a:pt x="2236163" y="4154462"/>
                  <a:pt x="2241912" y="4158841"/>
                </a:cubicBezTo>
                <a:cubicBezTo>
                  <a:pt x="2241552" y="4165608"/>
                  <a:pt x="2241119" y="4173729"/>
                  <a:pt x="2240686" y="4181850"/>
                </a:cubicBezTo>
                <a:cubicBezTo>
                  <a:pt x="2238553" y="4184451"/>
                  <a:pt x="2234432" y="4186946"/>
                  <a:pt x="2228322" y="4189335"/>
                </a:cubicBezTo>
                <a:cubicBezTo>
                  <a:pt x="2217731" y="4200988"/>
                  <a:pt x="2224963" y="4214946"/>
                  <a:pt x="2222325" y="4227021"/>
                </a:cubicBezTo>
                <a:cubicBezTo>
                  <a:pt x="2224242" y="4228481"/>
                  <a:pt x="2226086" y="4231294"/>
                  <a:pt x="2228074" y="4231400"/>
                </a:cubicBezTo>
                <a:cubicBezTo>
                  <a:pt x="2241923" y="4233495"/>
                  <a:pt x="2255770" y="4235590"/>
                  <a:pt x="2267630" y="4237579"/>
                </a:cubicBezTo>
                <a:cubicBezTo>
                  <a:pt x="2277139" y="4246230"/>
                  <a:pt x="2272875" y="4251433"/>
                  <a:pt x="2266548" y="4257882"/>
                </a:cubicBezTo>
                <a:cubicBezTo>
                  <a:pt x="2254905" y="4251832"/>
                  <a:pt x="2243190" y="4247136"/>
                  <a:pt x="2233391" y="4243899"/>
                </a:cubicBezTo>
                <a:cubicBezTo>
                  <a:pt x="2206963" y="4253350"/>
                  <a:pt x="2237554" y="4278055"/>
                  <a:pt x="2203532" y="4280313"/>
                </a:cubicBezTo>
                <a:cubicBezTo>
                  <a:pt x="2202306" y="4303323"/>
                  <a:pt x="2201224" y="4323625"/>
                  <a:pt x="2200143" y="4343927"/>
                </a:cubicBezTo>
                <a:cubicBezTo>
                  <a:pt x="2211930" y="4347270"/>
                  <a:pt x="2221728" y="4350507"/>
                  <a:pt x="2235504" y="4353956"/>
                </a:cubicBezTo>
                <a:cubicBezTo>
                  <a:pt x="2217030" y="4363830"/>
                  <a:pt x="2202678" y="4371209"/>
                  <a:pt x="2188252" y="4379942"/>
                </a:cubicBezTo>
                <a:cubicBezTo>
                  <a:pt x="2180947" y="4367337"/>
                  <a:pt x="2173714" y="4353378"/>
                  <a:pt x="2154189" y="4345551"/>
                </a:cubicBezTo>
                <a:cubicBezTo>
                  <a:pt x="2139909" y="4351577"/>
                  <a:pt x="2147286" y="4362829"/>
                  <a:pt x="2144793" y="4372197"/>
                </a:cubicBezTo>
                <a:cubicBezTo>
                  <a:pt x="2152458" y="4378035"/>
                  <a:pt x="2158136" y="4383767"/>
                  <a:pt x="2165801" y="4389604"/>
                </a:cubicBezTo>
                <a:cubicBezTo>
                  <a:pt x="2181637" y="4391805"/>
                  <a:pt x="2197402" y="4395361"/>
                  <a:pt x="2215155" y="4399020"/>
                </a:cubicBezTo>
                <a:cubicBezTo>
                  <a:pt x="2206912" y="4404011"/>
                  <a:pt x="2200731" y="4407753"/>
                  <a:pt x="2190427" y="4413991"/>
                </a:cubicBezTo>
                <a:cubicBezTo>
                  <a:pt x="2196032" y="4421077"/>
                  <a:pt x="2201637" y="4428162"/>
                  <a:pt x="2209158" y="4436706"/>
                </a:cubicBezTo>
                <a:cubicBezTo>
                  <a:pt x="2188551" y="4449182"/>
                  <a:pt x="2179474" y="4432411"/>
                  <a:pt x="2167760" y="4427714"/>
                </a:cubicBezTo>
                <a:cubicBezTo>
                  <a:pt x="2157528" y="4432598"/>
                  <a:pt x="2157528" y="4432598"/>
                  <a:pt x="2161979" y="4461340"/>
                </a:cubicBezTo>
                <a:cubicBezTo>
                  <a:pt x="2170149" y="4457703"/>
                  <a:pt x="2174343" y="4453854"/>
                  <a:pt x="2180381" y="4452818"/>
                </a:cubicBezTo>
                <a:cubicBezTo>
                  <a:pt x="2188407" y="4451888"/>
                  <a:pt x="2196361" y="4452313"/>
                  <a:pt x="2202327" y="4452630"/>
                </a:cubicBezTo>
                <a:cubicBezTo>
                  <a:pt x="2206160" y="4455550"/>
                  <a:pt x="2210065" y="4457115"/>
                  <a:pt x="2209992" y="4458469"/>
                </a:cubicBezTo>
                <a:cubicBezTo>
                  <a:pt x="2209199" y="4473357"/>
                  <a:pt x="2208406" y="4488245"/>
                  <a:pt x="2207613" y="4503134"/>
                </a:cubicBezTo>
                <a:cubicBezTo>
                  <a:pt x="2201430" y="4506876"/>
                  <a:pt x="2195249" y="4510619"/>
                  <a:pt x="2189067" y="4514361"/>
                </a:cubicBezTo>
                <a:cubicBezTo>
                  <a:pt x="2200565" y="4523118"/>
                  <a:pt x="2210148" y="4530416"/>
                  <a:pt x="2221718" y="4537819"/>
                </a:cubicBezTo>
                <a:cubicBezTo>
                  <a:pt x="2217524" y="4541668"/>
                  <a:pt x="2211343" y="4545410"/>
                  <a:pt x="2207149" y="4549258"/>
                </a:cubicBezTo>
                <a:cubicBezTo>
                  <a:pt x="2206500" y="4561440"/>
                  <a:pt x="2205779" y="4574975"/>
                  <a:pt x="2205130" y="4587157"/>
                </a:cubicBezTo>
                <a:cubicBezTo>
                  <a:pt x="2218834" y="4591959"/>
                  <a:pt x="2219194" y="4585191"/>
                  <a:pt x="2221471" y="4579883"/>
                </a:cubicBezTo>
                <a:cubicBezTo>
                  <a:pt x="2221615" y="4577176"/>
                  <a:pt x="2223821" y="4573222"/>
                  <a:pt x="2225953" y="4570620"/>
                </a:cubicBezTo>
                <a:cubicBezTo>
                  <a:pt x="2239801" y="4572716"/>
                  <a:pt x="2245334" y="4581155"/>
                  <a:pt x="2254917" y="4588452"/>
                </a:cubicBezTo>
                <a:cubicBezTo>
                  <a:pt x="2256039" y="4604800"/>
                  <a:pt x="2231888" y="4608942"/>
                  <a:pt x="2219307" y="4620488"/>
                </a:cubicBezTo>
                <a:cubicBezTo>
                  <a:pt x="2229106" y="4623725"/>
                  <a:pt x="2240822" y="4628421"/>
                  <a:pt x="2250619" y="4631658"/>
                </a:cubicBezTo>
                <a:cubicBezTo>
                  <a:pt x="2246066" y="4642274"/>
                  <a:pt x="2232434" y="4636118"/>
                  <a:pt x="2224336" y="4638401"/>
                </a:cubicBezTo>
                <a:cubicBezTo>
                  <a:pt x="2209983" y="4645780"/>
                  <a:pt x="2221338" y="4657244"/>
                  <a:pt x="2214939" y="4665047"/>
                </a:cubicBezTo>
                <a:cubicBezTo>
                  <a:pt x="2220689" y="4669425"/>
                  <a:pt x="2226438" y="4673803"/>
                  <a:pt x="2232187" y="4678182"/>
                </a:cubicBezTo>
                <a:cubicBezTo>
                  <a:pt x="2231754" y="4686303"/>
                  <a:pt x="2231322" y="4694424"/>
                  <a:pt x="2230961" y="4701191"/>
                </a:cubicBezTo>
                <a:cubicBezTo>
                  <a:pt x="2236711" y="4705570"/>
                  <a:pt x="2242460" y="4709948"/>
                  <a:pt x="2246220" y="4714221"/>
                </a:cubicBezTo>
                <a:cubicBezTo>
                  <a:pt x="2231868" y="4721600"/>
                  <a:pt x="2216032" y="4719399"/>
                  <a:pt x="2200339" y="4714490"/>
                </a:cubicBezTo>
                <a:cubicBezTo>
                  <a:pt x="2196939" y="4703451"/>
                  <a:pt x="2195527" y="4692517"/>
                  <a:pt x="2192199" y="4680123"/>
                </a:cubicBezTo>
                <a:cubicBezTo>
                  <a:pt x="2179836" y="4687608"/>
                  <a:pt x="2169532" y="4693846"/>
                  <a:pt x="2159228" y="4700084"/>
                </a:cubicBezTo>
                <a:cubicBezTo>
                  <a:pt x="2166678" y="4709982"/>
                  <a:pt x="2172212" y="4718421"/>
                  <a:pt x="2179660" y="4728320"/>
                </a:cubicBezTo>
                <a:cubicBezTo>
                  <a:pt x="2173406" y="4733415"/>
                  <a:pt x="2167080" y="4739865"/>
                  <a:pt x="2158837" y="4744855"/>
                </a:cubicBezTo>
                <a:cubicBezTo>
                  <a:pt x="2158693" y="4747562"/>
                  <a:pt x="2158477" y="4751623"/>
                  <a:pt x="2158188" y="4757036"/>
                </a:cubicBezTo>
                <a:cubicBezTo>
                  <a:pt x="2167986" y="4760273"/>
                  <a:pt x="2177857" y="4762156"/>
                  <a:pt x="2189645" y="4765499"/>
                </a:cubicBezTo>
                <a:cubicBezTo>
                  <a:pt x="2191344" y="4771020"/>
                  <a:pt x="2191056" y="4776433"/>
                  <a:pt x="2192756" y="4781953"/>
                </a:cubicBezTo>
                <a:cubicBezTo>
                  <a:pt x="2180681" y="4784025"/>
                  <a:pt x="2170594" y="4786202"/>
                  <a:pt x="2158518" y="4788273"/>
                </a:cubicBezTo>
                <a:cubicBezTo>
                  <a:pt x="2157652" y="4804515"/>
                  <a:pt x="2156787" y="4820757"/>
                  <a:pt x="2155922" y="4836999"/>
                </a:cubicBezTo>
                <a:cubicBezTo>
                  <a:pt x="2161743" y="4840023"/>
                  <a:pt x="2165504" y="4844295"/>
                  <a:pt x="2171254" y="4848674"/>
                </a:cubicBezTo>
                <a:cubicBezTo>
                  <a:pt x="2170244" y="4867623"/>
                  <a:pt x="2169162" y="4887925"/>
                  <a:pt x="2168080" y="4908228"/>
                </a:cubicBezTo>
                <a:cubicBezTo>
                  <a:pt x="2181856" y="4911676"/>
                  <a:pt x="2191654" y="4914913"/>
                  <a:pt x="2205429" y="4918362"/>
                </a:cubicBezTo>
                <a:cubicBezTo>
                  <a:pt x="2178857" y="4930519"/>
                  <a:pt x="2154418" y="4940076"/>
                  <a:pt x="2134028" y="4948491"/>
                </a:cubicBezTo>
                <a:cubicBezTo>
                  <a:pt x="2155108" y="4964544"/>
                  <a:pt x="2174272" y="4979139"/>
                  <a:pt x="2193436" y="4993733"/>
                </a:cubicBezTo>
                <a:cubicBezTo>
                  <a:pt x="2199330" y="4995405"/>
                  <a:pt x="2207212" y="4997182"/>
                  <a:pt x="2215095" y="4998960"/>
                </a:cubicBezTo>
                <a:cubicBezTo>
                  <a:pt x="2202370" y="5013212"/>
                  <a:pt x="2183062" y="5001325"/>
                  <a:pt x="2168852" y="5005997"/>
                </a:cubicBezTo>
                <a:cubicBezTo>
                  <a:pt x="2160249" y="5017755"/>
                  <a:pt x="2151718" y="5028158"/>
                  <a:pt x="2143187" y="5038563"/>
                </a:cubicBezTo>
                <a:cubicBezTo>
                  <a:pt x="2148504" y="5051062"/>
                  <a:pt x="2164124" y="5057324"/>
                  <a:pt x="2173634" y="5065974"/>
                </a:cubicBezTo>
                <a:cubicBezTo>
                  <a:pt x="2176889" y="5079721"/>
                  <a:pt x="2182134" y="5093574"/>
                  <a:pt x="2159755" y="5101883"/>
                </a:cubicBezTo>
                <a:cubicBezTo>
                  <a:pt x="2158601" y="5123539"/>
                  <a:pt x="2157375" y="5146549"/>
                  <a:pt x="2156149" y="5169558"/>
                </a:cubicBezTo>
                <a:cubicBezTo>
                  <a:pt x="2149967" y="5173300"/>
                  <a:pt x="2143785" y="5177043"/>
                  <a:pt x="2137531" y="5182139"/>
                </a:cubicBezTo>
                <a:cubicBezTo>
                  <a:pt x="2147258" y="5186729"/>
                  <a:pt x="2159044" y="5190072"/>
                  <a:pt x="2170759" y="5194768"/>
                </a:cubicBezTo>
                <a:cubicBezTo>
                  <a:pt x="2166638" y="5197263"/>
                  <a:pt x="2162517" y="5199758"/>
                  <a:pt x="2158395" y="5202254"/>
                </a:cubicBezTo>
                <a:cubicBezTo>
                  <a:pt x="2145743" y="5215152"/>
                  <a:pt x="2156953" y="5229323"/>
                  <a:pt x="2148421" y="5239728"/>
                </a:cubicBezTo>
                <a:cubicBezTo>
                  <a:pt x="2156159" y="5244211"/>
                  <a:pt x="2159993" y="5247130"/>
                  <a:pt x="2165742" y="5251509"/>
                </a:cubicBezTo>
                <a:cubicBezTo>
                  <a:pt x="2165237" y="5260984"/>
                  <a:pt x="2164660" y="5271812"/>
                  <a:pt x="2163867" y="5286699"/>
                </a:cubicBezTo>
                <a:cubicBezTo>
                  <a:pt x="2161807" y="5287947"/>
                  <a:pt x="2155552" y="5293044"/>
                  <a:pt x="2149298" y="5298139"/>
                </a:cubicBezTo>
                <a:cubicBezTo>
                  <a:pt x="2148937" y="5304907"/>
                  <a:pt x="2148432" y="5314381"/>
                  <a:pt x="2148000" y="5322502"/>
                </a:cubicBezTo>
                <a:cubicBezTo>
                  <a:pt x="2153749" y="5326880"/>
                  <a:pt x="2157581" y="5329800"/>
                  <a:pt x="2161415" y="5332719"/>
                </a:cubicBezTo>
                <a:cubicBezTo>
                  <a:pt x="2157221" y="5336567"/>
                  <a:pt x="2151039" y="5340310"/>
                  <a:pt x="2146846" y="5344158"/>
                </a:cubicBezTo>
                <a:cubicBezTo>
                  <a:pt x="2150606" y="5348431"/>
                  <a:pt x="2156355" y="5352809"/>
                  <a:pt x="2162105" y="5357187"/>
                </a:cubicBezTo>
                <a:cubicBezTo>
                  <a:pt x="2160879" y="5380196"/>
                  <a:pt x="2159652" y="5403206"/>
                  <a:pt x="2158499" y="5424862"/>
                </a:cubicBezTo>
                <a:cubicBezTo>
                  <a:pt x="2164176" y="5430594"/>
                  <a:pt x="2169926" y="5434972"/>
                  <a:pt x="2173758" y="5437891"/>
                </a:cubicBezTo>
                <a:cubicBezTo>
                  <a:pt x="2173326" y="5446012"/>
                  <a:pt x="2172893" y="5454133"/>
                  <a:pt x="2172532" y="5460901"/>
                </a:cubicBezTo>
                <a:cubicBezTo>
                  <a:pt x="2168339" y="5464749"/>
                  <a:pt x="2164218" y="5467244"/>
                  <a:pt x="2158036" y="5470987"/>
                </a:cubicBezTo>
                <a:cubicBezTo>
                  <a:pt x="2157026" y="5489935"/>
                  <a:pt x="2155944" y="5510238"/>
                  <a:pt x="2154863" y="5530540"/>
                </a:cubicBezTo>
                <a:cubicBezTo>
                  <a:pt x="2158695" y="5533460"/>
                  <a:pt x="2162528" y="5536378"/>
                  <a:pt x="2168277" y="5540756"/>
                </a:cubicBezTo>
                <a:cubicBezTo>
                  <a:pt x="2167340" y="5558352"/>
                  <a:pt x="2166330" y="5577301"/>
                  <a:pt x="2165320" y="5596249"/>
                </a:cubicBezTo>
                <a:cubicBezTo>
                  <a:pt x="2170998" y="5601982"/>
                  <a:pt x="2174758" y="5606253"/>
                  <a:pt x="2180435" y="5611986"/>
                </a:cubicBezTo>
                <a:cubicBezTo>
                  <a:pt x="2176315" y="5614481"/>
                  <a:pt x="2172121" y="5618329"/>
                  <a:pt x="2165939" y="5622072"/>
                </a:cubicBezTo>
                <a:cubicBezTo>
                  <a:pt x="2164496" y="5649142"/>
                  <a:pt x="2163126" y="5674858"/>
                  <a:pt x="2161612" y="5703282"/>
                </a:cubicBezTo>
                <a:cubicBezTo>
                  <a:pt x="2165445" y="5706200"/>
                  <a:pt x="2171194" y="5710579"/>
                  <a:pt x="2176942" y="5714957"/>
                </a:cubicBezTo>
                <a:cubicBezTo>
                  <a:pt x="2170761" y="5718699"/>
                  <a:pt x="2164579" y="5722442"/>
                  <a:pt x="2160385" y="5726291"/>
                </a:cubicBezTo>
                <a:cubicBezTo>
                  <a:pt x="2159953" y="5734412"/>
                  <a:pt x="2159520" y="5742533"/>
                  <a:pt x="2159159" y="5749300"/>
                </a:cubicBezTo>
                <a:cubicBezTo>
                  <a:pt x="2164909" y="5753678"/>
                  <a:pt x="2170658" y="5758056"/>
                  <a:pt x="2178252" y="5765248"/>
                </a:cubicBezTo>
                <a:cubicBezTo>
                  <a:pt x="2171997" y="5770344"/>
                  <a:pt x="2167660" y="5776900"/>
                  <a:pt x="2155079" y="5788446"/>
                </a:cubicBezTo>
                <a:cubicBezTo>
                  <a:pt x="2154791" y="5793859"/>
                  <a:pt x="2154070" y="5807394"/>
                  <a:pt x="2153493" y="5818222"/>
                </a:cubicBezTo>
                <a:cubicBezTo>
                  <a:pt x="2147311" y="5821965"/>
                  <a:pt x="2143117" y="5825814"/>
                  <a:pt x="2134946" y="5829450"/>
                </a:cubicBezTo>
                <a:cubicBezTo>
                  <a:pt x="2142829" y="5831227"/>
                  <a:pt x="2148722" y="5832899"/>
                  <a:pt x="2154544" y="5835923"/>
                </a:cubicBezTo>
                <a:cubicBezTo>
                  <a:pt x="2160437" y="5837595"/>
                  <a:pt x="2164343" y="5839160"/>
                  <a:pt x="2170235" y="5840832"/>
                </a:cubicBezTo>
                <a:cubicBezTo>
                  <a:pt x="2165826" y="5848740"/>
                  <a:pt x="2149845" y="5849246"/>
                  <a:pt x="2151329" y="5858827"/>
                </a:cubicBezTo>
                <a:cubicBezTo>
                  <a:pt x="2147352" y="5858615"/>
                  <a:pt x="2141386" y="5858297"/>
                  <a:pt x="2135348" y="5859333"/>
                </a:cubicBezTo>
                <a:cubicBezTo>
                  <a:pt x="2133720" y="5852459"/>
                  <a:pt x="2134225" y="5842985"/>
                  <a:pt x="2119873" y="5850364"/>
                </a:cubicBezTo>
                <a:cubicBezTo>
                  <a:pt x="2123705" y="5853283"/>
                  <a:pt x="2129526" y="5856309"/>
                  <a:pt x="2135348" y="5859333"/>
                </a:cubicBezTo>
                <a:cubicBezTo>
                  <a:pt x="2134483" y="5875575"/>
                  <a:pt x="2133617" y="5891817"/>
                  <a:pt x="2132679" y="5909412"/>
                </a:cubicBezTo>
                <a:cubicBezTo>
                  <a:pt x="2136513" y="5912331"/>
                  <a:pt x="2140345" y="5915250"/>
                  <a:pt x="2144179" y="5918168"/>
                </a:cubicBezTo>
                <a:cubicBezTo>
                  <a:pt x="2145950" y="5922335"/>
                  <a:pt x="2147796" y="5925148"/>
                  <a:pt x="2147579" y="5929209"/>
                </a:cubicBezTo>
                <a:cubicBezTo>
                  <a:pt x="2148702" y="5945556"/>
                  <a:pt x="2145776" y="5963045"/>
                  <a:pt x="2144550" y="5986055"/>
                </a:cubicBezTo>
                <a:cubicBezTo>
                  <a:pt x="2136379" y="5989692"/>
                  <a:pt x="2122170" y="5994365"/>
                  <a:pt x="2099864" y="6001320"/>
                </a:cubicBezTo>
                <a:cubicBezTo>
                  <a:pt x="2119533" y="6006440"/>
                  <a:pt x="2127487" y="6006864"/>
                  <a:pt x="2139274" y="6010206"/>
                </a:cubicBezTo>
                <a:cubicBezTo>
                  <a:pt x="2140830" y="6018433"/>
                  <a:pt x="2144231" y="6029473"/>
                  <a:pt x="2145641" y="6040406"/>
                </a:cubicBezTo>
                <a:cubicBezTo>
                  <a:pt x="2155513" y="6042290"/>
                  <a:pt x="2165311" y="6045527"/>
                  <a:pt x="2175110" y="6048764"/>
                </a:cubicBezTo>
                <a:cubicBezTo>
                  <a:pt x="2170555" y="6059380"/>
                  <a:pt x="2156924" y="6053224"/>
                  <a:pt x="2144704" y="6058002"/>
                </a:cubicBezTo>
                <a:cubicBezTo>
                  <a:pt x="2134041" y="6071007"/>
                  <a:pt x="2145035" y="6089238"/>
                  <a:pt x="2138204" y="6105162"/>
                </a:cubicBezTo>
                <a:cubicBezTo>
                  <a:pt x="2143881" y="6110894"/>
                  <a:pt x="2149630" y="6115273"/>
                  <a:pt x="2155379" y="6119651"/>
                </a:cubicBezTo>
                <a:cubicBezTo>
                  <a:pt x="2151258" y="6122146"/>
                  <a:pt x="2147136" y="6124641"/>
                  <a:pt x="2138966" y="6128277"/>
                </a:cubicBezTo>
                <a:cubicBezTo>
                  <a:pt x="2138172" y="6143166"/>
                  <a:pt x="2137307" y="6159408"/>
                  <a:pt x="2136442" y="6175650"/>
                </a:cubicBezTo>
                <a:cubicBezTo>
                  <a:pt x="2122233" y="6180322"/>
                  <a:pt x="2117607" y="6192292"/>
                  <a:pt x="2101627" y="6192798"/>
                </a:cubicBezTo>
                <a:cubicBezTo>
                  <a:pt x="2098082" y="6184464"/>
                  <a:pt x="2100503" y="6176449"/>
                  <a:pt x="2084162" y="6183723"/>
                </a:cubicBezTo>
                <a:cubicBezTo>
                  <a:pt x="2089983" y="6186748"/>
                  <a:pt x="2093816" y="6189667"/>
                  <a:pt x="2101627" y="6192798"/>
                </a:cubicBezTo>
                <a:cubicBezTo>
                  <a:pt x="2098988" y="6204873"/>
                  <a:pt x="2098339" y="6217055"/>
                  <a:pt x="2097546" y="6231943"/>
                </a:cubicBezTo>
                <a:cubicBezTo>
                  <a:pt x="2109333" y="6235286"/>
                  <a:pt x="2121048" y="6239982"/>
                  <a:pt x="2134751" y="6244784"/>
                </a:cubicBezTo>
                <a:cubicBezTo>
                  <a:pt x="2122604" y="6248208"/>
                  <a:pt x="2112589" y="6249032"/>
                  <a:pt x="2100514" y="6251104"/>
                </a:cubicBezTo>
                <a:cubicBezTo>
                  <a:pt x="2090066" y="6260048"/>
                  <a:pt x="2095598" y="6268487"/>
                  <a:pt x="2107241" y="6274537"/>
                </a:cubicBezTo>
                <a:cubicBezTo>
                  <a:pt x="2109158" y="6275996"/>
                  <a:pt x="2112991" y="6278915"/>
                  <a:pt x="2112919" y="6280268"/>
                </a:cubicBezTo>
                <a:cubicBezTo>
                  <a:pt x="2110900" y="6318167"/>
                  <a:pt x="2108880" y="6356064"/>
                  <a:pt x="2106933" y="6392609"/>
                </a:cubicBezTo>
                <a:cubicBezTo>
                  <a:pt x="2112610" y="6398341"/>
                  <a:pt x="2116372" y="6402613"/>
                  <a:pt x="2122193" y="6405637"/>
                </a:cubicBezTo>
                <a:cubicBezTo>
                  <a:pt x="2117999" y="6409486"/>
                  <a:pt x="2113877" y="6411981"/>
                  <a:pt x="2107767" y="6414371"/>
                </a:cubicBezTo>
                <a:cubicBezTo>
                  <a:pt x="2111456" y="6419996"/>
                  <a:pt x="2115146" y="6425622"/>
                  <a:pt x="2118833" y="6431248"/>
                </a:cubicBezTo>
                <a:cubicBezTo>
                  <a:pt x="2110519" y="6437592"/>
                  <a:pt x="2096887" y="6431436"/>
                  <a:pt x="2086944" y="6430906"/>
                </a:cubicBezTo>
                <a:cubicBezTo>
                  <a:pt x="2087232" y="6425492"/>
                  <a:pt x="2087593" y="6418725"/>
                  <a:pt x="2086110" y="6409144"/>
                </a:cubicBezTo>
                <a:cubicBezTo>
                  <a:pt x="2074106" y="6409862"/>
                  <a:pt x="2064164" y="6409332"/>
                  <a:pt x="2048183" y="6409838"/>
                </a:cubicBezTo>
                <a:cubicBezTo>
                  <a:pt x="2059465" y="6422655"/>
                  <a:pt x="2042907" y="6433989"/>
                  <a:pt x="2060371" y="6443063"/>
                </a:cubicBezTo>
                <a:cubicBezTo>
                  <a:pt x="2068614" y="6438073"/>
                  <a:pt x="2076785" y="6434436"/>
                  <a:pt x="2086944" y="6430906"/>
                </a:cubicBezTo>
                <a:cubicBezTo>
                  <a:pt x="2086511" y="6439027"/>
                  <a:pt x="2086223" y="6444441"/>
                  <a:pt x="2085934" y="6449855"/>
                </a:cubicBezTo>
                <a:cubicBezTo>
                  <a:pt x="2091684" y="6454234"/>
                  <a:pt x="2097433" y="6458612"/>
                  <a:pt x="2103183" y="6462990"/>
                </a:cubicBezTo>
                <a:cubicBezTo>
                  <a:pt x="2102750" y="6471111"/>
                  <a:pt x="2102317" y="6479232"/>
                  <a:pt x="2101957" y="6485999"/>
                </a:cubicBezTo>
                <a:cubicBezTo>
                  <a:pt x="2075673" y="6492743"/>
                  <a:pt x="2071551" y="6495238"/>
                  <a:pt x="2048884" y="6508961"/>
                </a:cubicBezTo>
                <a:cubicBezTo>
                  <a:pt x="2058755" y="6510844"/>
                  <a:pt x="2066637" y="6512621"/>
                  <a:pt x="2076507" y="6514504"/>
                </a:cubicBezTo>
                <a:cubicBezTo>
                  <a:pt x="2089418" y="6534195"/>
                  <a:pt x="2074415" y="6553756"/>
                  <a:pt x="2083133" y="6577295"/>
                </a:cubicBezTo>
                <a:cubicBezTo>
                  <a:pt x="2066863" y="6583215"/>
                  <a:pt x="2052655" y="6587887"/>
                  <a:pt x="2044484" y="6591524"/>
                </a:cubicBezTo>
                <a:cubicBezTo>
                  <a:pt x="2041095" y="6655138"/>
                  <a:pt x="2037994" y="6713338"/>
                  <a:pt x="2034965" y="6770185"/>
                </a:cubicBezTo>
                <a:cubicBezTo>
                  <a:pt x="2028782" y="6773928"/>
                  <a:pt x="2022601" y="6777670"/>
                  <a:pt x="2016418" y="6781412"/>
                </a:cubicBezTo>
                <a:cubicBezTo>
                  <a:pt x="2013534" y="6835552"/>
                  <a:pt x="2010649" y="6889692"/>
                  <a:pt x="2007908" y="6941125"/>
                </a:cubicBezTo>
                <a:cubicBezTo>
                  <a:pt x="1987013" y="6959014"/>
                  <a:pt x="1977761" y="6982953"/>
                  <a:pt x="1931447" y="6991344"/>
                </a:cubicBezTo>
                <a:cubicBezTo>
                  <a:pt x="1933435" y="6991450"/>
                  <a:pt x="1921504" y="6990814"/>
                  <a:pt x="1909572" y="6990178"/>
                </a:cubicBezTo>
                <a:cubicBezTo>
                  <a:pt x="1880939" y="7003583"/>
                  <a:pt x="1875375" y="7033148"/>
                  <a:pt x="1832967" y="7043104"/>
                </a:cubicBezTo>
                <a:cubicBezTo>
                  <a:pt x="1828989" y="7042892"/>
                  <a:pt x="1817058" y="7042257"/>
                  <a:pt x="1803138" y="7041515"/>
                </a:cubicBezTo>
                <a:cubicBezTo>
                  <a:pt x="1799521" y="7034536"/>
                  <a:pt x="1793988" y="7026097"/>
                  <a:pt x="1788455" y="7017659"/>
                </a:cubicBezTo>
                <a:cubicBezTo>
                  <a:pt x="1776525" y="7017022"/>
                  <a:pt x="1766581" y="7016493"/>
                  <a:pt x="1754650" y="7015857"/>
                </a:cubicBezTo>
                <a:cubicBezTo>
                  <a:pt x="1737257" y="7005428"/>
                  <a:pt x="1723915" y="6993859"/>
                  <a:pt x="1706666" y="6980724"/>
                </a:cubicBezTo>
                <a:cubicBezTo>
                  <a:pt x="1715054" y="6973027"/>
                  <a:pt x="1723297" y="6968037"/>
                  <a:pt x="1729623" y="6961587"/>
                </a:cubicBezTo>
                <a:cubicBezTo>
                  <a:pt x="1719968" y="6955644"/>
                  <a:pt x="1710387" y="6948346"/>
                  <a:pt x="1700804" y="6941048"/>
                </a:cubicBezTo>
                <a:cubicBezTo>
                  <a:pt x="1695127" y="6935317"/>
                  <a:pt x="1695560" y="6927196"/>
                  <a:pt x="1690170" y="6916050"/>
                </a:cubicBezTo>
                <a:cubicBezTo>
                  <a:pt x="1670542" y="6947580"/>
                  <a:pt x="1684793" y="6979558"/>
                  <a:pt x="1673191" y="7010159"/>
                </a:cubicBezTo>
                <a:cubicBezTo>
                  <a:pt x="1661476" y="7005463"/>
                  <a:pt x="1649689" y="7002120"/>
                  <a:pt x="1639890" y="6998883"/>
                </a:cubicBezTo>
                <a:cubicBezTo>
                  <a:pt x="1628247" y="6992833"/>
                  <a:pt x="1618594" y="6986890"/>
                  <a:pt x="1606950" y="6980839"/>
                </a:cubicBezTo>
                <a:cubicBezTo>
                  <a:pt x="1615193" y="6975849"/>
                  <a:pt x="1619387" y="6972001"/>
                  <a:pt x="1625569" y="6968259"/>
                </a:cubicBezTo>
                <a:cubicBezTo>
                  <a:pt x="1621736" y="6965339"/>
                  <a:pt x="1617902" y="6962420"/>
                  <a:pt x="1614070" y="6959502"/>
                </a:cubicBezTo>
                <a:cubicBezTo>
                  <a:pt x="1600872" y="6945225"/>
                  <a:pt x="1621623" y="6930043"/>
                  <a:pt x="1604446" y="6915554"/>
                </a:cubicBezTo>
                <a:cubicBezTo>
                  <a:pt x="1602385" y="6916802"/>
                  <a:pt x="1598336" y="6917944"/>
                  <a:pt x="1598264" y="6919298"/>
                </a:cubicBezTo>
                <a:cubicBezTo>
                  <a:pt x="1594906" y="6944907"/>
                  <a:pt x="1591474" y="6971871"/>
                  <a:pt x="1587899" y="7001542"/>
                </a:cubicBezTo>
                <a:cubicBezTo>
                  <a:pt x="1585839" y="7002790"/>
                  <a:pt x="1579656" y="7006532"/>
                  <a:pt x="1571269" y="7014229"/>
                </a:cubicBezTo>
                <a:cubicBezTo>
                  <a:pt x="1570403" y="7030472"/>
                  <a:pt x="1569322" y="7050773"/>
                  <a:pt x="1568312" y="7069723"/>
                </a:cubicBezTo>
                <a:cubicBezTo>
                  <a:pt x="1562058" y="7074818"/>
                  <a:pt x="1557937" y="7077313"/>
                  <a:pt x="1551827" y="7079702"/>
                </a:cubicBezTo>
                <a:cubicBezTo>
                  <a:pt x="1551034" y="7094591"/>
                  <a:pt x="1550240" y="7109480"/>
                  <a:pt x="1549447" y="7124368"/>
                </a:cubicBezTo>
                <a:cubicBezTo>
                  <a:pt x="1535094" y="7131747"/>
                  <a:pt x="1530540" y="7142363"/>
                  <a:pt x="1523926" y="7154227"/>
                </a:cubicBezTo>
                <a:cubicBezTo>
                  <a:pt x="1506028" y="7153273"/>
                  <a:pt x="1486142" y="7152214"/>
                  <a:pt x="1468245" y="7151260"/>
                </a:cubicBezTo>
                <a:cubicBezTo>
                  <a:pt x="1451255" y="7170714"/>
                  <a:pt x="1442147" y="7191947"/>
                  <a:pt x="1415503" y="7205457"/>
                </a:cubicBezTo>
                <a:cubicBezTo>
                  <a:pt x="1403571" y="7204822"/>
                  <a:pt x="1391640" y="7204186"/>
                  <a:pt x="1377720" y="7203444"/>
                </a:cubicBezTo>
                <a:cubicBezTo>
                  <a:pt x="1376019" y="7197924"/>
                  <a:pt x="1372403" y="7190945"/>
                  <a:pt x="1368787" y="7183965"/>
                </a:cubicBezTo>
                <a:cubicBezTo>
                  <a:pt x="1357288" y="7175209"/>
                  <a:pt x="1342935" y="7182588"/>
                  <a:pt x="1325398" y="7174867"/>
                </a:cubicBezTo>
                <a:cubicBezTo>
                  <a:pt x="1321566" y="7171948"/>
                  <a:pt x="1313900" y="7166110"/>
                  <a:pt x="1302330" y="7158707"/>
                </a:cubicBezTo>
                <a:cubicBezTo>
                  <a:pt x="1303123" y="7143818"/>
                  <a:pt x="1304061" y="7126223"/>
                  <a:pt x="1304998" y="7108628"/>
                </a:cubicBezTo>
                <a:cubicBezTo>
                  <a:pt x="1290573" y="7117360"/>
                  <a:pt x="1288585" y="7117254"/>
                  <a:pt x="1289635" y="7134956"/>
                </a:cubicBezTo>
                <a:cubicBezTo>
                  <a:pt x="1283453" y="7138699"/>
                  <a:pt x="1277199" y="7143794"/>
                  <a:pt x="1271018" y="7147537"/>
                </a:cubicBezTo>
                <a:cubicBezTo>
                  <a:pt x="1270657" y="7154304"/>
                  <a:pt x="1270225" y="7162425"/>
                  <a:pt x="1269864" y="7169193"/>
                </a:cubicBezTo>
                <a:cubicBezTo>
                  <a:pt x="1261476" y="7176890"/>
                  <a:pt x="1255871" y="7169805"/>
                  <a:pt x="1250050" y="7166780"/>
                </a:cubicBezTo>
                <a:cubicBezTo>
                  <a:pt x="1242239" y="7163649"/>
                  <a:pt x="1232441" y="7160412"/>
                  <a:pt x="1218665" y="7156963"/>
                </a:cubicBezTo>
                <a:cubicBezTo>
                  <a:pt x="1221983" y="7094703"/>
                  <a:pt x="1225373" y="7031089"/>
                  <a:pt x="1228547" y="6971535"/>
                </a:cubicBezTo>
                <a:cubicBezTo>
                  <a:pt x="1207537" y="6954128"/>
                  <a:pt x="1196730" y="6969840"/>
                  <a:pt x="1184582" y="6973265"/>
                </a:cubicBezTo>
                <a:cubicBezTo>
                  <a:pt x="1172650" y="6972629"/>
                  <a:pt x="1160719" y="6971993"/>
                  <a:pt x="1150775" y="6971463"/>
                </a:cubicBezTo>
                <a:cubicBezTo>
                  <a:pt x="1137577" y="6957187"/>
                  <a:pt x="1117547" y="6958834"/>
                  <a:pt x="1099650" y="6957880"/>
                </a:cubicBezTo>
                <a:cubicBezTo>
                  <a:pt x="1082474" y="6943392"/>
                  <a:pt x="1101308" y="6926750"/>
                  <a:pt x="1086122" y="6912368"/>
                </a:cubicBezTo>
                <a:cubicBezTo>
                  <a:pt x="1074190" y="6911732"/>
                  <a:pt x="1060270" y="6910990"/>
                  <a:pt x="1044361" y="6910143"/>
                </a:cubicBezTo>
                <a:cubicBezTo>
                  <a:pt x="1044073" y="6915556"/>
                  <a:pt x="1037747" y="6922006"/>
                  <a:pt x="1041508" y="6926279"/>
                </a:cubicBezTo>
                <a:cubicBezTo>
                  <a:pt x="1051017" y="6934929"/>
                  <a:pt x="1064506" y="6943792"/>
                  <a:pt x="1076004" y="6952549"/>
                </a:cubicBezTo>
                <a:cubicBezTo>
                  <a:pt x="1071738" y="6957750"/>
                  <a:pt x="1069462" y="6963058"/>
                  <a:pt x="1067184" y="6968366"/>
                </a:cubicBezTo>
                <a:cubicBezTo>
                  <a:pt x="1033306" y="6967918"/>
                  <a:pt x="1026506" y="6945839"/>
                  <a:pt x="1007054" y="6936659"/>
                </a:cubicBezTo>
                <a:cubicBezTo>
                  <a:pt x="1007486" y="6928537"/>
                  <a:pt x="1007847" y="6921770"/>
                  <a:pt x="1008280" y="6913649"/>
                </a:cubicBezTo>
                <a:cubicBezTo>
                  <a:pt x="1000541" y="6909164"/>
                  <a:pt x="996781" y="6904893"/>
                  <a:pt x="987198" y="6897595"/>
                </a:cubicBezTo>
                <a:cubicBezTo>
                  <a:pt x="993525" y="6891146"/>
                  <a:pt x="999851" y="6884696"/>
                  <a:pt x="1006249" y="6876893"/>
                </a:cubicBezTo>
                <a:cubicBezTo>
                  <a:pt x="998656" y="6869702"/>
                  <a:pt x="989073" y="6862405"/>
                  <a:pt x="979420" y="6856461"/>
                </a:cubicBezTo>
                <a:cubicBezTo>
                  <a:pt x="986034" y="6844597"/>
                  <a:pt x="992577" y="6834087"/>
                  <a:pt x="997131" y="6823471"/>
                </a:cubicBezTo>
                <a:cubicBezTo>
                  <a:pt x="989537" y="6816280"/>
                  <a:pt x="983788" y="6811902"/>
                  <a:pt x="978038" y="6807523"/>
                </a:cubicBezTo>
                <a:cubicBezTo>
                  <a:pt x="978543" y="6798048"/>
                  <a:pt x="978976" y="6789927"/>
                  <a:pt x="977564" y="6778993"/>
                </a:cubicBezTo>
                <a:cubicBezTo>
                  <a:pt x="967621" y="6778464"/>
                  <a:pt x="959667" y="6778040"/>
                  <a:pt x="951713" y="6777616"/>
                </a:cubicBezTo>
                <a:cubicBezTo>
                  <a:pt x="942893" y="6793434"/>
                  <a:pt x="926336" y="6804768"/>
                  <a:pt x="923410" y="6822258"/>
                </a:cubicBezTo>
                <a:cubicBezTo>
                  <a:pt x="920699" y="6835687"/>
                  <a:pt x="902154" y="6846914"/>
                  <a:pt x="903349" y="6861908"/>
                </a:cubicBezTo>
                <a:cubicBezTo>
                  <a:pt x="895107" y="6866898"/>
                  <a:pt x="886863" y="6871888"/>
                  <a:pt x="880681" y="6875631"/>
                </a:cubicBezTo>
                <a:cubicBezTo>
                  <a:pt x="870666" y="6876455"/>
                  <a:pt x="862641" y="6877384"/>
                  <a:pt x="854613" y="6878314"/>
                </a:cubicBezTo>
                <a:cubicBezTo>
                  <a:pt x="852048" y="6889037"/>
                  <a:pt x="851543" y="6898510"/>
                  <a:pt x="849122" y="6906526"/>
                </a:cubicBezTo>
                <a:cubicBezTo>
                  <a:pt x="828876" y="6912234"/>
                  <a:pt x="809206" y="6907113"/>
                  <a:pt x="791310" y="6906160"/>
                </a:cubicBezTo>
                <a:cubicBezTo>
                  <a:pt x="785560" y="6901782"/>
                  <a:pt x="779739" y="6898757"/>
                  <a:pt x="773917" y="6895732"/>
                </a:cubicBezTo>
                <a:cubicBezTo>
                  <a:pt x="767807" y="6898121"/>
                  <a:pt x="763685" y="6900616"/>
                  <a:pt x="757503" y="6904358"/>
                </a:cubicBezTo>
                <a:cubicBezTo>
                  <a:pt x="743583" y="6903618"/>
                  <a:pt x="725686" y="6902663"/>
                  <a:pt x="705801" y="6901603"/>
                </a:cubicBezTo>
                <a:cubicBezTo>
                  <a:pt x="688336" y="6892529"/>
                  <a:pt x="668883" y="6883349"/>
                  <a:pt x="647442" y="6874062"/>
                </a:cubicBezTo>
                <a:cubicBezTo>
                  <a:pt x="648236" y="6859174"/>
                  <a:pt x="648885" y="6846992"/>
                  <a:pt x="649534" y="6834811"/>
                </a:cubicBezTo>
                <a:cubicBezTo>
                  <a:pt x="655644" y="6832422"/>
                  <a:pt x="659693" y="6831280"/>
                  <a:pt x="665658" y="6831598"/>
                </a:cubicBezTo>
                <a:cubicBezTo>
                  <a:pt x="665370" y="6837012"/>
                  <a:pt x="665081" y="6842426"/>
                  <a:pt x="664793" y="6847840"/>
                </a:cubicBezTo>
                <a:cubicBezTo>
                  <a:pt x="684175" y="6858374"/>
                  <a:pt x="691047" y="6879100"/>
                  <a:pt x="720947" y="6879336"/>
                </a:cubicBezTo>
                <a:cubicBezTo>
                  <a:pt x="724924" y="6879548"/>
                  <a:pt x="726985" y="6878300"/>
                  <a:pt x="731106" y="6875806"/>
                </a:cubicBezTo>
                <a:cubicBezTo>
                  <a:pt x="731467" y="6869038"/>
                  <a:pt x="731972" y="6859564"/>
                  <a:pt x="732477" y="6850089"/>
                </a:cubicBezTo>
                <a:cubicBezTo>
                  <a:pt x="722678" y="6846852"/>
                  <a:pt x="708830" y="6844757"/>
                  <a:pt x="703080" y="6840379"/>
                </a:cubicBezTo>
                <a:cubicBezTo>
                  <a:pt x="691582" y="6831622"/>
                  <a:pt x="679651" y="6830986"/>
                  <a:pt x="665658" y="6831598"/>
                </a:cubicBezTo>
                <a:cubicBezTo>
                  <a:pt x="661970" y="6825972"/>
                  <a:pt x="658282" y="6820346"/>
                  <a:pt x="650904" y="6809094"/>
                </a:cubicBezTo>
                <a:cubicBezTo>
                  <a:pt x="651409" y="6799620"/>
                  <a:pt x="652275" y="6783378"/>
                  <a:pt x="653212" y="6765782"/>
                </a:cubicBezTo>
                <a:cubicBezTo>
                  <a:pt x="643413" y="6762546"/>
                  <a:pt x="635531" y="6760768"/>
                  <a:pt x="631627" y="6759203"/>
                </a:cubicBezTo>
                <a:cubicBezTo>
                  <a:pt x="591206" y="6769265"/>
                  <a:pt x="583797" y="6796018"/>
                  <a:pt x="559070" y="6810987"/>
                </a:cubicBezTo>
                <a:cubicBezTo>
                  <a:pt x="526604" y="6821473"/>
                  <a:pt x="507799" y="6800111"/>
                  <a:pt x="482164" y="6794675"/>
                </a:cubicBezTo>
                <a:cubicBezTo>
                  <a:pt x="470306" y="6792685"/>
                  <a:pt x="463216" y="6776019"/>
                  <a:pt x="453346" y="6774136"/>
                </a:cubicBezTo>
                <a:cubicBezTo>
                  <a:pt x="437509" y="6771935"/>
                  <a:pt x="423806" y="6767132"/>
                  <a:pt x="418273" y="6758693"/>
                </a:cubicBezTo>
                <a:cubicBezTo>
                  <a:pt x="408908" y="6747335"/>
                  <a:pt x="388805" y="6750336"/>
                  <a:pt x="377379" y="6740226"/>
                </a:cubicBezTo>
                <a:cubicBezTo>
                  <a:pt x="378533" y="6718570"/>
                  <a:pt x="379759" y="6695561"/>
                  <a:pt x="380985" y="6672552"/>
                </a:cubicBezTo>
                <a:cubicBezTo>
                  <a:pt x="369486" y="6663795"/>
                  <a:pt x="358060" y="6653685"/>
                  <a:pt x="348477" y="6646387"/>
                </a:cubicBezTo>
                <a:cubicBezTo>
                  <a:pt x="345005" y="6636701"/>
                  <a:pt x="355524" y="6626403"/>
                  <a:pt x="339977" y="6618788"/>
                </a:cubicBezTo>
                <a:cubicBezTo>
                  <a:pt x="330394" y="6611490"/>
                  <a:pt x="332744" y="6604830"/>
                  <a:pt x="331115" y="6597956"/>
                </a:cubicBezTo>
                <a:cubicBezTo>
                  <a:pt x="329560" y="6589729"/>
                  <a:pt x="324027" y="6581290"/>
                  <a:pt x="318494" y="6572851"/>
                </a:cubicBezTo>
                <a:cubicBezTo>
                  <a:pt x="322616" y="6570356"/>
                  <a:pt x="328726" y="6567967"/>
                  <a:pt x="332846" y="6565472"/>
                </a:cubicBezTo>
                <a:cubicBezTo>
                  <a:pt x="329087" y="6561199"/>
                  <a:pt x="323337" y="6556821"/>
                  <a:pt x="317587" y="6552443"/>
                </a:cubicBezTo>
                <a:cubicBezTo>
                  <a:pt x="317948" y="6545675"/>
                  <a:pt x="318381" y="6537554"/>
                  <a:pt x="318741" y="6530787"/>
                </a:cubicBezTo>
                <a:cubicBezTo>
                  <a:pt x="307387" y="6519323"/>
                  <a:pt x="297371" y="6520147"/>
                  <a:pt x="285007" y="6527633"/>
                </a:cubicBezTo>
                <a:cubicBezTo>
                  <a:pt x="288769" y="6531905"/>
                  <a:pt x="294518" y="6536283"/>
                  <a:pt x="300267" y="6540661"/>
                </a:cubicBezTo>
                <a:cubicBezTo>
                  <a:pt x="296145" y="6543157"/>
                  <a:pt x="290036" y="6545545"/>
                  <a:pt x="285915" y="6548040"/>
                </a:cubicBezTo>
                <a:cubicBezTo>
                  <a:pt x="281216" y="6561363"/>
                  <a:pt x="274601" y="6573227"/>
                  <a:pt x="295899" y="6585221"/>
                </a:cubicBezTo>
                <a:cubicBezTo>
                  <a:pt x="294529" y="6610937"/>
                  <a:pt x="293159" y="6636653"/>
                  <a:pt x="291788" y="6662369"/>
                </a:cubicBezTo>
                <a:cubicBezTo>
                  <a:pt x="299309" y="6670914"/>
                  <a:pt x="306975" y="6676752"/>
                  <a:pt x="310592" y="6683731"/>
                </a:cubicBezTo>
                <a:cubicBezTo>
                  <a:pt x="312220" y="6690605"/>
                  <a:pt x="309871" y="6697267"/>
                  <a:pt x="309438" y="6705388"/>
                </a:cubicBezTo>
                <a:cubicBezTo>
                  <a:pt x="321298" y="6707376"/>
                  <a:pt x="329179" y="6709154"/>
                  <a:pt x="339049" y="6711037"/>
                </a:cubicBezTo>
                <a:cubicBezTo>
                  <a:pt x="340822" y="6715204"/>
                  <a:pt x="342522" y="6720724"/>
                  <a:pt x="344150" y="6727597"/>
                </a:cubicBezTo>
                <a:cubicBezTo>
                  <a:pt x="347983" y="6730517"/>
                  <a:pt x="353732" y="6734895"/>
                  <a:pt x="359482" y="6739273"/>
                </a:cubicBezTo>
                <a:cubicBezTo>
                  <a:pt x="359049" y="6747394"/>
                  <a:pt x="358616" y="6755514"/>
                  <a:pt x="358256" y="6762282"/>
                </a:cubicBezTo>
                <a:cubicBezTo>
                  <a:pt x="356194" y="6763530"/>
                  <a:pt x="352074" y="6766025"/>
                  <a:pt x="352074" y="6766025"/>
                </a:cubicBezTo>
                <a:cubicBezTo>
                  <a:pt x="340359" y="6761329"/>
                  <a:pt x="330632" y="6756738"/>
                  <a:pt x="305285" y="6745886"/>
                </a:cubicBezTo>
                <a:cubicBezTo>
                  <a:pt x="297620" y="6740048"/>
                  <a:pt x="278455" y="6725454"/>
                  <a:pt x="257447" y="6708046"/>
                </a:cubicBezTo>
                <a:cubicBezTo>
                  <a:pt x="257447" y="6708046"/>
                  <a:pt x="257664" y="6703986"/>
                  <a:pt x="257880" y="6699925"/>
                </a:cubicBezTo>
                <a:cubicBezTo>
                  <a:pt x="252131" y="6695547"/>
                  <a:pt x="246381" y="6691168"/>
                  <a:pt x="240631" y="6686790"/>
                </a:cubicBezTo>
                <a:cubicBezTo>
                  <a:pt x="241064" y="6678669"/>
                  <a:pt x="241425" y="6671902"/>
                  <a:pt x="241857" y="6663781"/>
                </a:cubicBezTo>
                <a:cubicBezTo>
                  <a:pt x="236108" y="6659402"/>
                  <a:pt x="232347" y="6655130"/>
                  <a:pt x="226598" y="6650752"/>
                </a:cubicBezTo>
                <a:cubicBezTo>
                  <a:pt x="230719" y="6648257"/>
                  <a:pt x="234841" y="6645762"/>
                  <a:pt x="241022" y="6642019"/>
                </a:cubicBezTo>
                <a:cubicBezTo>
                  <a:pt x="229885" y="6626495"/>
                  <a:pt x="218747" y="6610971"/>
                  <a:pt x="207609" y="6595447"/>
                </a:cubicBezTo>
                <a:cubicBezTo>
                  <a:pt x="215851" y="6590456"/>
                  <a:pt x="222033" y="6586714"/>
                  <a:pt x="228215" y="6582971"/>
                </a:cubicBezTo>
                <a:cubicBezTo>
                  <a:pt x="222466" y="6578593"/>
                  <a:pt x="218705" y="6574321"/>
                  <a:pt x="209123" y="6567023"/>
                </a:cubicBezTo>
                <a:cubicBezTo>
                  <a:pt x="215449" y="6560574"/>
                  <a:pt x="221776" y="6554124"/>
                  <a:pt x="230163" y="6546427"/>
                </a:cubicBezTo>
                <a:cubicBezTo>
                  <a:pt x="220580" y="6539130"/>
                  <a:pt x="210998" y="6531832"/>
                  <a:pt x="199428" y="6524430"/>
                </a:cubicBezTo>
                <a:cubicBezTo>
                  <a:pt x="203622" y="6520581"/>
                  <a:pt x="207814" y="6516732"/>
                  <a:pt x="214068" y="6511636"/>
                </a:cubicBezTo>
                <a:cubicBezTo>
                  <a:pt x="215799" y="6479152"/>
                  <a:pt x="217674" y="6443962"/>
                  <a:pt x="219477" y="6410124"/>
                </a:cubicBezTo>
                <a:cubicBezTo>
                  <a:pt x="225659" y="6406382"/>
                  <a:pt x="231842" y="6402639"/>
                  <a:pt x="240156" y="6396295"/>
                </a:cubicBezTo>
                <a:cubicBezTo>
                  <a:pt x="230286" y="6394412"/>
                  <a:pt x="220487" y="6391175"/>
                  <a:pt x="210617" y="6389292"/>
                </a:cubicBezTo>
                <a:cubicBezTo>
                  <a:pt x="208844" y="6385126"/>
                  <a:pt x="205012" y="6382207"/>
                  <a:pt x="205228" y="6378146"/>
                </a:cubicBezTo>
                <a:cubicBezTo>
                  <a:pt x="206742" y="6349723"/>
                  <a:pt x="208257" y="6321299"/>
                  <a:pt x="209844" y="6291523"/>
                </a:cubicBezTo>
                <a:cubicBezTo>
                  <a:pt x="204022" y="6288499"/>
                  <a:pt x="196141" y="6286720"/>
                  <a:pt x="186342" y="6283484"/>
                </a:cubicBezTo>
                <a:cubicBezTo>
                  <a:pt x="179871" y="6292641"/>
                  <a:pt x="173545" y="6299090"/>
                  <a:pt x="167074" y="6308247"/>
                </a:cubicBezTo>
                <a:cubicBezTo>
                  <a:pt x="161541" y="6299808"/>
                  <a:pt x="156008" y="6291369"/>
                  <a:pt x="148559" y="6281470"/>
                </a:cubicBezTo>
                <a:cubicBezTo>
                  <a:pt x="134423" y="6284789"/>
                  <a:pt x="120214" y="6289461"/>
                  <a:pt x="106078" y="6292781"/>
                </a:cubicBezTo>
                <a:cubicBezTo>
                  <a:pt x="88253" y="6290473"/>
                  <a:pt x="84853" y="6279434"/>
                  <a:pt x="73209" y="6273383"/>
                </a:cubicBezTo>
                <a:cubicBezTo>
                  <a:pt x="73786" y="6262556"/>
                  <a:pt x="74435" y="6250374"/>
                  <a:pt x="75012" y="6239547"/>
                </a:cubicBezTo>
                <a:cubicBezTo>
                  <a:pt x="81194" y="6235804"/>
                  <a:pt x="85388" y="6231955"/>
                  <a:pt x="91570" y="6228212"/>
                </a:cubicBezTo>
                <a:cubicBezTo>
                  <a:pt x="87737" y="6225294"/>
                  <a:pt x="83904" y="6222374"/>
                  <a:pt x="78228" y="6216643"/>
                </a:cubicBezTo>
                <a:cubicBezTo>
                  <a:pt x="78949" y="6203108"/>
                  <a:pt x="79887" y="6185512"/>
                  <a:pt x="80680" y="6170624"/>
                </a:cubicBezTo>
                <a:cubicBezTo>
                  <a:pt x="59238" y="6161338"/>
                  <a:pt x="63864" y="6149368"/>
                  <a:pt x="62453" y="6138435"/>
                </a:cubicBezTo>
                <a:cubicBezTo>
                  <a:pt x="58908" y="6130102"/>
                  <a:pt x="49398" y="6121450"/>
                  <a:pt x="43720" y="6115719"/>
                </a:cubicBezTo>
                <a:cubicBezTo>
                  <a:pt x="54169" y="6106774"/>
                  <a:pt x="60423" y="6101678"/>
                  <a:pt x="68810" y="6093981"/>
                </a:cubicBezTo>
                <a:cubicBezTo>
                  <a:pt x="63132" y="6088249"/>
                  <a:pt x="55467" y="6082411"/>
                  <a:pt x="49862" y="6075326"/>
                </a:cubicBezTo>
                <a:cubicBezTo>
                  <a:pt x="55972" y="6072937"/>
                  <a:pt x="60166" y="6069088"/>
                  <a:pt x="66347" y="6065346"/>
                </a:cubicBezTo>
                <a:cubicBezTo>
                  <a:pt x="66779" y="6057225"/>
                  <a:pt x="67212" y="6049104"/>
                  <a:pt x="67574" y="6042336"/>
                </a:cubicBezTo>
                <a:cubicBezTo>
                  <a:pt x="61824" y="6037958"/>
                  <a:pt x="56075" y="6033579"/>
                  <a:pt x="48480" y="6026388"/>
                </a:cubicBezTo>
                <a:cubicBezTo>
                  <a:pt x="54807" y="6019939"/>
                  <a:pt x="61133" y="6013489"/>
                  <a:pt x="67531" y="6005686"/>
                </a:cubicBezTo>
                <a:cubicBezTo>
                  <a:pt x="63699" y="6002767"/>
                  <a:pt x="59866" y="5999848"/>
                  <a:pt x="50211" y="5993905"/>
                </a:cubicBezTo>
                <a:cubicBezTo>
                  <a:pt x="64493" y="5987879"/>
                  <a:pt x="78701" y="5983206"/>
                  <a:pt x="88859" y="5979676"/>
                </a:cubicBezTo>
                <a:cubicBezTo>
                  <a:pt x="89581" y="5966141"/>
                  <a:pt x="89941" y="5959374"/>
                  <a:pt x="90374" y="5951253"/>
                </a:cubicBezTo>
                <a:cubicBezTo>
                  <a:pt x="104800" y="5942520"/>
                  <a:pt x="119224" y="5933787"/>
                  <a:pt x="135637" y="5925160"/>
                </a:cubicBezTo>
                <a:cubicBezTo>
                  <a:pt x="145220" y="5932458"/>
                  <a:pt x="156719" y="5941215"/>
                  <a:pt x="170205" y="5950077"/>
                </a:cubicBezTo>
                <a:cubicBezTo>
                  <a:pt x="178232" y="5949148"/>
                  <a:pt x="186258" y="5948218"/>
                  <a:pt x="194285" y="5947288"/>
                </a:cubicBezTo>
                <a:cubicBezTo>
                  <a:pt x="188608" y="5941556"/>
                  <a:pt x="182858" y="5937178"/>
                  <a:pt x="177109" y="5932799"/>
                </a:cubicBezTo>
                <a:cubicBezTo>
                  <a:pt x="178407" y="5908436"/>
                  <a:pt x="179705" y="5884074"/>
                  <a:pt x="181003" y="5859711"/>
                </a:cubicBezTo>
                <a:cubicBezTo>
                  <a:pt x="157140" y="5858440"/>
                  <a:pt x="166579" y="5868444"/>
                  <a:pt x="162241" y="5874999"/>
                </a:cubicBezTo>
                <a:cubicBezTo>
                  <a:pt x="148104" y="5878318"/>
                  <a:pt x="133896" y="5882990"/>
                  <a:pt x="113649" y="5888698"/>
                </a:cubicBezTo>
                <a:cubicBezTo>
                  <a:pt x="109673" y="5888486"/>
                  <a:pt x="97741" y="5887850"/>
                  <a:pt x="85810" y="5887214"/>
                </a:cubicBezTo>
                <a:cubicBezTo>
                  <a:pt x="79628" y="5890957"/>
                  <a:pt x="73445" y="5894699"/>
                  <a:pt x="67335" y="5897089"/>
                </a:cubicBezTo>
                <a:cubicBezTo>
                  <a:pt x="53921" y="5886873"/>
                  <a:pt x="38518" y="5876551"/>
                  <a:pt x="25101" y="5866334"/>
                </a:cubicBezTo>
                <a:cubicBezTo>
                  <a:pt x="26111" y="5847385"/>
                  <a:pt x="27121" y="5828437"/>
                  <a:pt x="28130" y="5809488"/>
                </a:cubicBezTo>
                <a:cubicBezTo>
                  <a:pt x="22382" y="5805110"/>
                  <a:pt x="18621" y="5800837"/>
                  <a:pt x="12872" y="5796458"/>
                </a:cubicBezTo>
                <a:cubicBezTo>
                  <a:pt x="29140" y="5790539"/>
                  <a:pt x="45338" y="5785972"/>
                  <a:pt x="63595" y="5780159"/>
                </a:cubicBezTo>
                <a:cubicBezTo>
                  <a:pt x="64100" y="5770685"/>
                  <a:pt x="64461" y="5763917"/>
                  <a:pt x="66954" y="5754549"/>
                </a:cubicBezTo>
                <a:cubicBezTo>
                  <a:pt x="71148" y="5750700"/>
                  <a:pt x="79390" y="5745709"/>
                  <a:pt x="85645" y="5740613"/>
                </a:cubicBezTo>
                <a:cubicBezTo>
                  <a:pt x="108095" y="5730951"/>
                  <a:pt x="133153" y="5747217"/>
                  <a:pt x="153760" y="5734742"/>
                </a:cubicBezTo>
                <a:cubicBezTo>
                  <a:pt x="142046" y="5730045"/>
                  <a:pt x="130258" y="5726703"/>
                  <a:pt x="120531" y="5722112"/>
                </a:cubicBezTo>
                <a:cubicBezTo>
                  <a:pt x="120748" y="5718052"/>
                  <a:pt x="120964" y="5713991"/>
                  <a:pt x="121181" y="5709931"/>
                </a:cubicBezTo>
                <a:cubicBezTo>
                  <a:pt x="109754" y="5699821"/>
                  <a:pt x="93557" y="5704388"/>
                  <a:pt x="75805" y="5700726"/>
                </a:cubicBezTo>
                <a:cubicBezTo>
                  <a:pt x="72043" y="5696454"/>
                  <a:pt x="64522" y="5687909"/>
                  <a:pt x="58989" y="5679470"/>
                </a:cubicBezTo>
                <a:cubicBezTo>
                  <a:pt x="67232" y="5674480"/>
                  <a:pt x="81585" y="5667101"/>
                  <a:pt x="62276" y="5655213"/>
                </a:cubicBezTo>
                <a:cubicBezTo>
                  <a:pt x="56095" y="5658956"/>
                  <a:pt x="49985" y="5661345"/>
                  <a:pt x="43802" y="5665088"/>
                </a:cubicBezTo>
                <a:cubicBezTo>
                  <a:pt x="41885" y="5663629"/>
                  <a:pt x="37981" y="5662063"/>
                  <a:pt x="38053" y="5660709"/>
                </a:cubicBezTo>
                <a:cubicBezTo>
                  <a:pt x="38918" y="5644467"/>
                  <a:pt x="39712" y="5629579"/>
                  <a:pt x="40577" y="5613337"/>
                </a:cubicBezTo>
                <a:cubicBezTo>
                  <a:pt x="44698" y="5610842"/>
                  <a:pt x="50952" y="5605747"/>
                  <a:pt x="57134" y="5602004"/>
                </a:cubicBezTo>
                <a:cubicBezTo>
                  <a:pt x="51313" y="5598979"/>
                  <a:pt x="45563" y="5594600"/>
                  <a:pt x="39814" y="5590222"/>
                </a:cubicBezTo>
                <a:cubicBezTo>
                  <a:pt x="56228" y="5581595"/>
                  <a:pt x="83995" y="5584433"/>
                  <a:pt x="90898" y="5567155"/>
                </a:cubicBezTo>
                <a:cubicBezTo>
                  <a:pt x="87066" y="5564236"/>
                  <a:pt x="83233" y="5561317"/>
                  <a:pt x="79400" y="5558398"/>
                </a:cubicBezTo>
                <a:cubicBezTo>
                  <a:pt x="92052" y="5545500"/>
                  <a:pt x="92052" y="5545500"/>
                  <a:pt x="90785" y="5531858"/>
                </a:cubicBezTo>
                <a:cubicBezTo>
                  <a:pt x="74877" y="5531011"/>
                  <a:pt x="59875" y="5550571"/>
                  <a:pt x="41143" y="5527855"/>
                </a:cubicBezTo>
                <a:cubicBezTo>
                  <a:pt x="51447" y="5521618"/>
                  <a:pt x="63811" y="5514133"/>
                  <a:pt x="78164" y="5506754"/>
                </a:cubicBezTo>
                <a:cubicBezTo>
                  <a:pt x="72703" y="5496961"/>
                  <a:pt x="65398" y="5484356"/>
                  <a:pt x="58092" y="5471751"/>
                </a:cubicBezTo>
                <a:cubicBezTo>
                  <a:pt x="52198" y="5470079"/>
                  <a:pt x="44316" y="5468303"/>
                  <a:pt x="36362" y="5467878"/>
                </a:cubicBezTo>
                <a:cubicBezTo>
                  <a:pt x="28913" y="5457980"/>
                  <a:pt x="23452" y="5448188"/>
                  <a:pt x="16003" y="5438289"/>
                </a:cubicBezTo>
                <a:cubicBezTo>
                  <a:pt x="26523" y="5427991"/>
                  <a:pt x="37115" y="5416339"/>
                  <a:pt x="47706" y="5404688"/>
                </a:cubicBezTo>
                <a:cubicBezTo>
                  <a:pt x="43874" y="5401769"/>
                  <a:pt x="40041" y="5398850"/>
                  <a:pt x="32375" y="5393012"/>
                </a:cubicBezTo>
                <a:cubicBezTo>
                  <a:pt x="33745" y="5367296"/>
                  <a:pt x="35260" y="5338873"/>
                  <a:pt x="36702" y="5311802"/>
                </a:cubicBezTo>
                <a:cubicBezTo>
                  <a:pt x="24987" y="5307106"/>
                  <a:pt x="15188" y="5303870"/>
                  <a:pt x="5318" y="5301986"/>
                </a:cubicBezTo>
                <a:cubicBezTo>
                  <a:pt x="16126" y="5286275"/>
                  <a:pt x="35362" y="5299515"/>
                  <a:pt x="51632" y="5293596"/>
                </a:cubicBezTo>
                <a:cubicBezTo>
                  <a:pt x="53764" y="5290994"/>
                  <a:pt x="56042" y="5285686"/>
                  <a:pt x="58391" y="5279025"/>
                </a:cubicBezTo>
                <a:cubicBezTo>
                  <a:pt x="48592" y="5275788"/>
                  <a:pt x="36732" y="5273799"/>
                  <a:pt x="28994" y="5269315"/>
                </a:cubicBezTo>
                <a:cubicBezTo>
                  <a:pt x="25090" y="5267749"/>
                  <a:pt x="25307" y="5263689"/>
                  <a:pt x="23534" y="5259523"/>
                </a:cubicBezTo>
                <a:cubicBezTo>
                  <a:pt x="31488" y="5259946"/>
                  <a:pt x="39443" y="5260370"/>
                  <a:pt x="49385" y="5260900"/>
                </a:cubicBezTo>
                <a:cubicBezTo>
                  <a:pt x="51374" y="5261006"/>
                  <a:pt x="55495" y="5258511"/>
                  <a:pt x="53507" y="5258405"/>
                </a:cubicBezTo>
                <a:cubicBezTo>
                  <a:pt x="53723" y="5254344"/>
                  <a:pt x="51951" y="5250177"/>
                  <a:pt x="49962" y="5250072"/>
                </a:cubicBezTo>
                <a:cubicBezTo>
                  <a:pt x="40092" y="5248189"/>
                  <a:pt x="32066" y="5249118"/>
                  <a:pt x="24111" y="5248695"/>
                </a:cubicBezTo>
                <a:cubicBezTo>
                  <a:pt x="26316" y="5244740"/>
                  <a:pt x="26533" y="5240679"/>
                  <a:pt x="30581" y="5239537"/>
                </a:cubicBezTo>
                <a:cubicBezTo>
                  <a:pt x="34703" y="5237042"/>
                  <a:pt x="40597" y="5238714"/>
                  <a:pt x="46634" y="5237678"/>
                </a:cubicBezTo>
                <a:cubicBezTo>
                  <a:pt x="50683" y="5236537"/>
                  <a:pt x="54805" y="5234042"/>
                  <a:pt x="58927" y="5231546"/>
                </a:cubicBezTo>
                <a:cubicBezTo>
                  <a:pt x="49128" y="5228309"/>
                  <a:pt x="39329" y="5225073"/>
                  <a:pt x="29531" y="5221836"/>
                </a:cubicBezTo>
                <a:cubicBezTo>
                  <a:pt x="6822" y="5198909"/>
                  <a:pt x="57257" y="5188023"/>
                  <a:pt x="35053" y="5155621"/>
                </a:cubicBezTo>
                <a:cubicBezTo>
                  <a:pt x="40730" y="5161353"/>
                  <a:pt x="37042" y="5155727"/>
                  <a:pt x="31293" y="5151349"/>
                </a:cubicBezTo>
                <a:cubicBezTo>
                  <a:pt x="35485" y="5147500"/>
                  <a:pt x="39679" y="5143652"/>
                  <a:pt x="45861" y="5139909"/>
                </a:cubicBezTo>
                <a:cubicBezTo>
                  <a:pt x="36351" y="5131259"/>
                  <a:pt x="24852" y="5122502"/>
                  <a:pt x="13353" y="5113744"/>
                </a:cubicBezTo>
                <a:cubicBezTo>
                  <a:pt x="27563" y="5109073"/>
                  <a:pt x="30056" y="5099705"/>
                  <a:pt x="34466" y="5091795"/>
                </a:cubicBezTo>
                <a:cubicBezTo>
                  <a:pt x="40865" y="5083992"/>
                  <a:pt x="55072" y="5079319"/>
                  <a:pt x="65375" y="5073083"/>
                </a:cubicBezTo>
                <a:cubicBezTo>
                  <a:pt x="44295" y="5057028"/>
                  <a:pt x="21153" y="5042222"/>
                  <a:pt x="0" y="5027522"/>
                </a:cubicBezTo>
                <a:cubicBezTo>
                  <a:pt x="14930" y="5009314"/>
                  <a:pt x="39154" y="5003817"/>
                  <a:pt x="53939" y="4988318"/>
                </a:cubicBezTo>
                <a:cubicBezTo>
                  <a:pt x="54227" y="4982904"/>
                  <a:pt x="54660" y="4974783"/>
                  <a:pt x="55165" y="4965309"/>
                </a:cubicBezTo>
                <a:cubicBezTo>
                  <a:pt x="49271" y="4963637"/>
                  <a:pt x="43378" y="4961966"/>
                  <a:pt x="35496" y="4960188"/>
                </a:cubicBezTo>
                <a:cubicBezTo>
                  <a:pt x="27613" y="4958411"/>
                  <a:pt x="19803" y="4955281"/>
                  <a:pt x="20164" y="4948513"/>
                </a:cubicBezTo>
                <a:cubicBezTo>
                  <a:pt x="30251" y="4946336"/>
                  <a:pt x="44099" y="4948431"/>
                  <a:pt x="32672" y="4938320"/>
                </a:cubicBezTo>
                <a:cubicBezTo>
                  <a:pt x="28551" y="4940816"/>
                  <a:pt x="24430" y="4943311"/>
                  <a:pt x="20164" y="4948513"/>
                </a:cubicBezTo>
                <a:cubicBezTo>
                  <a:pt x="6244" y="4947772"/>
                  <a:pt x="6677" y="4939651"/>
                  <a:pt x="5265" y="4928717"/>
                </a:cubicBezTo>
                <a:cubicBezTo>
                  <a:pt x="17486" y="4923938"/>
                  <a:pt x="31766" y="4917913"/>
                  <a:pt x="44058" y="4911781"/>
                </a:cubicBezTo>
                <a:cubicBezTo>
                  <a:pt x="30714" y="4900211"/>
                  <a:pt x="19216" y="4891455"/>
                  <a:pt x="7789" y="4881345"/>
                </a:cubicBezTo>
                <a:cubicBezTo>
                  <a:pt x="19866" y="4879273"/>
                  <a:pt x="29880" y="4878449"/>
                  <a:pt x="39967" y="4876273"/>
                </a:cubicBezTo>
                <a:cubicBezTo>
                  <a:pt x="50486" y="4865974"/>
                  <a:pt x="40905" y="4858676"/>
                  <a:pt x="25500" y="4848354"/>
                </a:cubicBezTo>
                <a:cubicBezTo>
                  <a:pt x="35588" y="4846177"/>
                  <a:pt x="45747" y="4842647"/>
                  <a:pt x="55834" y="4840470"/>
                </a:cubicBezTo>
                <a:cubicBezTo>
                  <a:pt x="70403" y="4829030"/>
                  <a:pt x="95533" y="4843942"/>
                  <a:pt x="114152" y="4831361"/>
                </a:cubicBezTo>
                <a:cubicBezTo>
                  <a:pt x="97120" y="4814166"/>
                  <a:pt x="64149" y="4834126"/>
                  <a:pt x="47189" y="4815577"/>
                </a:cubicBezTo>
                <a:cubicBezTo>
                  <a:pt x="53660" y="4806421"/>
                  <a:pt x="84972" y="4817589"/>
                  <a:pt x="81933" y="4799783"/>
                </a:cubicBezTo>
                <a:cubicBezTo>
                  <a:pt x="76616" y="4787284"/>
                  <a:pt x="60996" y="4781022"/>
                  <a:pt x="49641" y="4769558"/>
                </a:cubicBezTo>
                <a:cubicBezTo>
                  <a:pt x="55679" y="4768522"/>
                  <a:pt x="61789" y="4766133"/>
                  <a:pt x="67827" y="4765098"/>
                </a:cubicBezTo>
                <a:cubicBezTo>
                  <a:pt x="79831" y="4764380"/>
                  <a:pt x="91546" y="4769076"/>
                  <a:pt x="99933" y="4761379"/>
                </a:cubicBezTo>
                <a:cubicBezTo>
                  <a:pt x="94255" y="4755647"/>
                  <a:pt x="86590" y="4749810"/>
                  <a:pt x="78924" y="4743972"/>
                </a:cubicBezTo>
                <a:cubicBezTo>
                  <a:pt x="72814" y="4746361"/>
                  <a:pt x="66704" y="4748750"/>
                  <a:pt x="58462" y="4753741"/>
                </a:cubicBezTo>
                <a:cubicBezTo>
                  <a:pt x="54773" y="4748115"/>
                  <a:pt x="51011" y="4743842"/>
                  <a:pt x="51228" y="4739782"/>
                </a:cubicBezTo>
                <a:cubicBezTo>
                  <a:pt x="49600" y="4732908"/>
                  <a:pt x="54011" y="4724999"/>
                  <a:pt x="44428" y="4717701"/>
                </a:cubicBezTo>
                <a:cubicBezTo>
                  <a:pt x="38606" y="4714677"/>
                  <a:pt x="36906" y="4709157"/>
                  <a:pt x="33145" y="4704884"/>
                </a:cubicBezTo>
                <a:cubicBezTo>
                  <a:pt x="41532" y="4697187"/>
                  <a:pt x="47786" y="4692092"/>
                  <a:pt x="56174" y="4684394"/>
                </a:cubicBezTo>
                <a:cubicBezTo>
                  <a:pt x="50497" y="4678663"/>
                  <a:pt x="44892" y="4671577"/>
                  <a:pt x="39286" y="4664492"/>
                </a:cubicBezTo>
                <a:cubicBezTo>
                  <a:pt x="43407" y="4661996"/>
                  <a:pt x="49589" y="4658254"/>
                  <a:pt x="57833" y="4653264"/>
                </a:cubicBezTo>
                <a:cubicBezTo>
                  <a:pt x="46262" y="4645861"/>
                  <a:pt x="32703" y="4638352"/>
                  <a:pt x="19215" y="4629488"/>
                </a:cubicBezTo>
                <a:cubicBezTo>
                  <a:pt x="23553" y="4622933"/>
                  <a:pt x="25829" y="4617625"/>
                  <a:pt x="30096" y="4612423"/>
                </a:cubicBezTo>
                <a:cubicBezTo>
                  <a:pt x="37761" y="4618261"/>
                  <a:pt x="43582" y="4621286"/>
                  <a:pt x="49260" y="4627017"/>
                </a:cubicBezTo>
                <a:cubicBezTo>
                  <a:pt x="53598" y="4620462"/>
                  <a:pt x="55803" y="4616507"/>
                  <a:pt x="58079" y="4611200"/>
                </a:cubicBezTo>
                <a:cubicBezTo>
                  <a:pt x="40616" y="4602125"/>
                  <a:pt x="23151" y="4593051"/>
                  <a:pt x="7603" y="4585435"/>
                </a:cubicBezTo>
                <a:cubicBezTo>
                  <a:pt x="7963" y="4578668"/>
                  <a:pt x="8107" y="4575961"/>
                  <a:pt x="8396" y="4570547"/>
                </a:cubicBezTo>
                <a:cubicBezTo>
                  <a:pt x="16495" y="4568264"/>
                  <a:pt x="28570" y="4566192"/>
                  <a:pt x="40646" y="4564121"/>
                </a:cubicBezTo>
                <a:cubicBezTo>
                  <a:pt x="41295" y="4551940"/>
                  <a:pt x="41944" y="4539758"/>
                  <a:pt x="42521" y="4528931"/>
                </a:cubicBezTo>
                <a:cubicBezTo>
                  <a:pt x="50837" y="4522587"/>
                  <a:pt x="56946" y="4520198"/>
                  <a:pt x="63272" y="4513749"/>
                </a:cubicBezTo>
                <a:cubicBezTo>
                  <a:pt x="53402" y="4511865"/>
                  <a:pt x="45520" y="4510087"/>
                  <a:pt x="37637" y="4508310"/>
                </a:cubicBezTo>
                <a:cubicBezTo>
                  <a:pt x="30116" y="4499765"/>
                  <a:pt x="24655" y="4489974"/>
                  <a:pt x="17206" y="4480075"/>
                </a:cubicBezTo>
                <a:cubicBezTo>
                  <a:pt x="29714" y="4469883"/>
                  <a:pt x="34700" y="4451146"/>
                  <a:pt x="57080" y="4442837"/>
                </a:cubicBezTo>
                <a:cubicBezTo>
                  <a:pt x="62901" y="4445862"/>
                  <a:pt x="68723" y="4448886"/>
                  <a:pt x="74545" y="4451911"/>
                </a:cubicBezTo>
                <a:cubicBezTo>
                  <a:pt x="86620" y="4449840"/>
                  <a:pt x="84991" y="4442967"/>
                  <a:pt x="81520" y="4433280"/>
                </a:cubicBezTo>
                <a:cubicBezTo>
                  <a:pt x="75554" y="4432962"/>
                  <a:pt x="67671" y="4431186"/>
                  <a:pt x="57873" y="4427948"/>
                </a:cubicBezTo>
                <a:cubicBezTo>
                  <a:pt x="50280" y="4420757"/>
                  <a:pt x="30610" y="4415637"/>
                  <a:pt x="33392" y="4400855"/>
                </a:cubicBezTo>
                <a:cubicBezTo>
                  <a:pt x="51650" y="4395040"/>
                  <a:pt x="69979" y="4387874"/>
                  <a:pt x="88309" y="4380706"/>
                </a:cubicBezTo>
                <a:cubicBezTo>
                  <a:pt x="82632" y="4374974"/>
                  <a:pt x="76882" y="4370596"/>
                  <a:pt x="71133" y="4366217"/>
                </a:cubicBezTo>
                <a:cubicBezTo>
                  <a:pt x="77315" y="4362475"/>
                  <a:pt x="83497" y="4358732"/>
                  <a:pt x="89751" y="4353637"/>
                </a:cubicBezTo>
                <a:cubicBezTo>
                  <a:pt x="87980" y="4349470"/>
                  <a:pt x="86280" y="4343950"/>
                  <a:pt x="82591" y="4338324"/>
                </a:cubicBezTo>
                <a:cubicBezTo>
                  <a:pt x="74420" y="4341961"/>
                  <a:pt x="68238" y="4345703"/>
                  <a:pt x="62128" y="4348092"/>
                </a:cubicBezTo>
                <a:cubicBezTo>
                  <a:pt x="48714" y="4337876"/>
                  <a:pt x="55256" y="4327366"/>
                  <a:pt x="59809" y="4316750"/>
                </a:cubicBezTo>
                <a:cubicBezTo>
                  <a:pt x="75791" y="4316245"/>
                  <a:pt x="91843" y="4314385"/>
                  <a:pt x="109812" y="4313985"/>
                </a:cubicBezTo>
                <a:cubicBezTo>
                  <a:pt x="96686" y="4298355"/>
                  <a:pt x="76223" y="4308124"/>
                  <a:pt x="60747" y="4299155"/>
                </a:cubicBezTo>
                <a:cubicBezTo>
                  <a:pt x="58903" y="4296342"/>
                  <a:pt x="57204" y="4290822"/>
                  <a:pt x="55575" y="4283949"/>
                </a:cubicBezTo>
                <a:cubicBezTo>
                  <a:pt x="53659" y="4282489"/>
                  <a:pt x="49825" y="4279571"/>
                  <a:pt x="46065" y="4275298"/>
                </a:cubicBezTo>
                <a:cubicBezTo>
                  <a:pt x="46137" y="4273945"/>
                  <a:pt x="46281" y="4271238"/>
                  <a:pt x="48414" y="4268636"/>
                </a:cubicBezTo>
                <a:cubicBezTo>
                  <a:pt x="59079" y="4255631"/>
                  <a:pt x="67682" y="4243874"/>
                  <a:pt x="78345" y="4230868"/>
                </a:cubicBezTo>
                <a:cubicBezTo>
                  <a:pt x="80478" y="4228268"/>
                  <a:pt x="78706" y="4224101"/>
                  <a:pt x="78994" y="4218687"/>
                </a:cubicBezTo>
                <a:cubicBezTo>
                  <a:pt x="91430" y="4209848"/>
                  <a:pt x="103867" y="4201010"/>
                  <a:pt x="114170" y="4194772"/>
                </a:cubicBezTo>
                <a:cubicBezTo>
                  <a:pt x="116880" y="4181343"/>
                  <a:pt x="105093" y="4178000"/>
                  <a:pt x="97427" y="4172162"/>
                </a:cubicBezTo>
                <a:cubicBezTo>
                  <a:pt x="93666" y="4167890"/>
                  <a:pt x="87917" y="4163512"/>
                  <a:pt x="82167" y="4159134"/>
                </a:cubicBezTo>
                <a:cubicBezTo>
                  <a:pt x="88349" y="4155391"/>
                  <a:pt x="94532" y="4151648"/>
                  <a:pt x="98726" y="4147800"/>
                </a:cubicBezTo>
                <a:cubicBezTo>
                  <a:pt x="92904" y="4144775"/>
                  <a:pt x="89071" y="4141856"/>
                  <a:pt x="81478" y="4134664"/>
                </a:cubicBezTo>
                <a:cubicBezTo>
                  <a:pt x="95613" y="4131346"/>
                  <a:pt x="111811" y="4126780"/>
                  <a:pt x="131985" y="4122425"/>
                </a:cubicBezTo>
                <a:cubicBezTo>
                  <a:pt x="98973" y="4105735"/>
                  <a:pt x="103887" y="4088352"/>
                  <a:pt x="86567" y="4076571"/>
                </a:cubicBezTo>
                <a:cubicBezTo>
                  <a:pt x="80746" y="4073545"/>
                  <a:pt x="87288" y="4063035"/>
                  <a:pt x="87649" y="4056268"/>
                </a:cubicBezTo>
                <a:cubicBezTo>
                  <a:pt x="93903" y="4051172"/>
                  <a:pt x="100085" y="4047429"/>
                  <a:pt x="106339" y="4042334"/>
                </a:cubicBezTo>
                <a:cubicBezTo>
                  <a:pt x="98962" y="4031082"/>
                  <a:pt x="93646" y="4018582"/>
                  <a:pt x="84352" y="4005871"/>
                </a:cubicBezTo>
                <a:cubicBezTo>
                  <a:pt x="78459" y="4004200"/>
                  <a:pt x="70576" y="4002422"/>
                  <a:pt x="62694" y="4000645"/>
                </a:cubicBezTo>
                <a:cubicBezTo>
                  <a:pt x="43385" y="3988758"/>
                  <a:pt x="61715" y="3981590"/>
                  <a:pt x="74079" y="3974105"/>
                </a:cubicBezTo>
                <a:cubicBezTo>
                  <a:pt x="74440" y="3967338"/>
                  <a:pt x="74873" y="3959217"/>
                  <a:pt x="75305" y="3951096"/>
                </a:cubicBezTo>
                <a:cubicBezTo>
                  <a:pt x="69556" y="3946717"/>
                  <a:pt x="63807" y="3942339"/>
                  <a:pt x="58057" y="3937961"/>
                </a:cubicBezTo>
                <a:cubicBezTo>
                  <a:pt x="68144" y="3935783"/>
                  <a:pt x="78231" y="3933606"/>
                  <a:pt x="90307" y="3931535"/>
                </a:cubicBezTo>
                <a:cubicBezTo>
                  <a:pt x="92511" y="3927581"/>
                  <a:pt x="92800" y="3922166"/>
                  <a:pt x="95150" y="3915505"/>
                </a:cubicBezTo>
                <a:cubicBezTo>
                  <a:pt x="83363" y="3912162"/>
                  <a:pt x="73492" y="3910279"/>
                  <a:pt x="63694" y="3907042"/>
                </a:cubicBezTo>
                <a:cubicBezTo>
                  <a:pt x="48578" y="3891306"/>
                  <a:pt x="86721" y="3886551"/>
                  <a:pt x="79488" y="3872593"/>
                </a:cubicBezTo>
                <a:cubicBezTo>
                  <a:pt x="72327" y="3857281"/>
                  <a:pt x="102444" y="3853455"/>
                  <a:pt x="99333" y="3837002"/>
                </a:cubicBezTo>
                <a:cubicBezTo>
                  <a:pt x="93512" y="3833978"/>
                  <a:pt x="87762" y="3829599"/>
                  <a:pt x="82085" y="3823867"/>
                </a:cubicBezTo>
                <a:cubicBezTo>
                  <a:pt x="82445" y="3817100"/>
                  <a:pt x="82878" y="3808979"/>
                  <a:pt x="83238" y="3802212"/>
                </a:cubicBezTo>
                <a:cubicBezTo>
                  <a:pt x="89421" y="3798469"/>
                  <a:pt x="95603" y="3794726"/>
                  <a:pt x="101857" y="3789630"/>
                </a:cubicBezTo>
                <a:cubicBezTo>
                  <a:pt x="102217" y="3782862"/>
                  <a:pt x="102650" y="3774741"/>
                  <a:pt x="103010" y="3767974"/>
                </a:cubicBezTo>
                <a:cubicBezTo>
                  <a:pt x="109192" y="3764232"/>
                  <a:pt x="113386" y="3760383"/>
                  <a:pt x="123690" y="3754145"/>
                </a:cubicBezTo>
                <a:cubicBezTo>
                  <a:pt x="103877" y="3751733"/>
                  <a:pt x="88040" y="3749532"/>
                  <a:pt x="68298" y="3745765"/>
                </a:cubicBezTo>
                <a:cubicBezTo>
                  <a:pt x="70719" y="3737749"/>
                  <a:pt x="72997" y="3732441"/>
                  <a:pt x="75346" y="3725780"/>
                </a:cubicBezTo>
                <a:cubicBezTo>
                  <a:pt x="85288" y="3726310"/>
                  <a:pt x="91254" y="3726628"/>
                  <a:pt x="99209" y="3727052"/>
                </a:cubicBezTo>
                <a:cubicBezTo>
                  <a:pt x="103690" y="3717789"/>
                  <a:pt x="106257" y="3707067"/>
                  <a:pt x="110810" y="3696451"/>
                </a:cubicBezTo>
                <a:cubicBezTo>
                  <a:pt x="114932" y="3693956"/>
                  <a:pt x="119052" y="3691461"/>
                  <a:pt x="123174" y="3688966"/>
                </a:cubicBezTo>
                <a:cubicBezTo>
                  <a:pt x="123751" y="3678138"/>
                  <a:pt x="124400" y="3665956"/>
                  <a:pt x="125049" y="3653775"/>
                </a:cubicBezTo>
                <a:cubicBezTo>
                  <a:pt x="115322" y="3649185"/>
                  <a:pt x="103608" y="3644489"/>
                  <a:pt x="91821" y="3641146"/>
                </a:cubicBezTo>
                <a:cubicBezTo>
                  <a:pt x="92037" y="3637085"/>
                  <a:pt x="92254" y="3633024"/>
                  <a:pt x="92542" y="3627611"/>
                </a:cubicBezTo>
                <a:cubicBezTo>
                  <a:pt x="104618" y="3625540"/>
                  <a:pt x="116765" y="3622115"/>
                  <a:pt x="132962" y="3617549"/>
                </a:cubicBezTo>
                <a:cubicBezTo>
                  <a:pt x="117486" y="3608580"/>
                  <a:pt x="103927" y="3601071"/>
                  <a:pt x="94273" y="3595127"/>
                </a:cubicBezTo>
                <a:cubicBezTo>
                  <a:pt x="94850" y="3584300"/>
                  <a:pt x="95283" y="3576179"/>
                  <a:pt x="111263" y="3575673"/>
                </a:cubicBezTo>
                <a:cubicBezTo>
                  <a:pt x="114808" y="3584005"/>
                  <a:pt x="112387" y="3592020"/>
                  <a:pt x="128728" y="3584747"/>
                </a:cubicBezTo>
                <a:cubicBezTo>
                  <a:pt x="122906" y="3581722"/>
                  <a:pt x="119073" y="3578803"/>
                  <a:pt x="111263" y="3575673"/>
                </a:cubicBezTo>
                <a:cubicBezTo>
                  <a:pt x="113469" y="3571718"/>
                  <a:pt x="113757" y="3566304"/>
                  <a:pt x="114118" y="3559536"/>
                </a:cubicBezTo>
                <a:cubicBezTo>
                  <a:pt x="104319" y="3556300"/>
                  <a:pt x="94520" y="3553063"/>
                  <a:pt x="80744" y="3549615"/>
                </a:cubicBezTo>
                <a:cubicBezTo>
                  <a:pt x="86998" y="3544518"/>
                  <a:pt x="95241" y="3539527"/>
                  <a:pt x="97518" y="3534220"/>
                </a:cubicBezTo>
                <a:cubicBezTo>
                  <a:pt x="99867" y="3527559"/>
                  <a:pt x="98312" y="3519331"/>
                  <a:pt x="98744" y="3511210"/>
                </a:cubicBezTo>
                <a:cubicBezTo>
                  <a:pt x="110820" y="3509139"/>
                  <a:pt x="120907" y="3506962"/>
                  <a:pt x="130922" y="3506138"/>
                </a:cubicBezTo>
                <a:cubicBezTo>
                  <a:pt x="127594" y="3493746"/>
                  <a:pt x="111902" y="3488837"/>
                  <a:pt x="100475" y="3478727"/>
                </a:cubicBezTo>
                <a:cubicBezTo>
                  <a:pt x="106657" y="3474984"/>
                  <a:pt x="112840" y="3471242"/>
                  <a:pt x="119022" y="3467499"/>
                </a:cubicBezTo>
                <a:cubicBezTo>
                  <a:pt x="119382" y="3460732"/>
                  <a:pt x="119815" y="3452611"/>
                  <a:pt x="120176" y="3445843"/>
                </a:cubicBezTo>
                <a:cubicBezTo>
                  <a:pt x="126358" y="3442100"/>
                  <a:pt x="132611" y="3437005"/>
                  <a:pt x="136733" y="3434510"/>
                </a:cubicBezTo>
                <a:cubicBezTo>
                  <a:pt x="145336" y="3422752"/>
                  <a:pt x="125666" y="3417632"/>
                  <a:pt x="122051" y="3410652"/>
                </a:cubicBezTo>
                <a:cubicBezTo>
                  <a:pt x="122772" y="3397118"/>
                  <a:pt x="123349" y="3386289"/>
                  <a:pt x="123926" y="3375461"/>
                </a:cubicBezTo>
                <a:cubicBezTo>
                  <a:pt x="130108" y="3371719"/>
                  <a:pt x="136289" y="3367976"/>
                  <a:pt x="140483" y="3364128"/>
                </a:cubicBezTo>
                <a:cubicBezTo>
                  <a:pt x="126996" y="3355265"/>
                  <a:pt x="110798" y="3359831"/>
                  <a:pt x="93047" y="3356171"/>
                </a:cubicBezTo>
                <a:cubicBezTo>
                  <a:pt x="93335" y="3350757"/>
                  <a:pt x="91706" y="3343883"/>
                  <a:pt x="90007" y="3338364"/>
                </a:cubicBezTo>
                <a:cubicBezTo>
                  <a:pt x="104142" y="3335045"/>
                  <a:pt x="114230" y="3332868"/>
                  <a:pt x="128294" y="3330902"/>
                </a:cubicBezTo>
                <a:cubicBezTo>
                  <a:pt x="114591" y="3326100"/>
                  <a:pt x="102876" y="3321404"/>
                  <a:pt x="93149" y="3316814"/>
                </a:cubicBezTo>
                <a:cubicBezTo>
                  <a:pt x="93581" y="3308693"/>
                  <a:pt x="93942" y="3301926"/>
                  <a:pt x="94375" y="3293805"/>
                </a:cubicBezTo>
                <a:cubicBezTo>
                  <a:pt x="88625" y="3289426"/>
                  <a:pt x="82876" y="3285047"/>
                  <a:pt x="77128" y="3280670"/>
                </a:cubicBezTo>
                <a:cubicBezTo>
                  <a:pt x="77344" y="3276609"/>
                  <a:pt x="77560" y="3272549"/>
                  <a:pt x="77849" y="3267135"/>
                </a:cubicBezTo>
                <a:cubicBezTo>
                  <a:pt x="85875" y="3266205"/>
                  <a:pt x="91912" y="3265170"/>
                  <a:pt x="103989" y="3263097"/>
                </a:cubicBezTo>
                <a:cubicBezTo>
                  <a:pt x="110314" y="3256648"/>
                  <a:pt x="116784" y="3247492"/>
                  <a:pt x="129437" y="3234593"/>
                </a:cubicBezTo>
                <a:cubicBezTo>
                  <a:pt x="130014" y="3223765"/>
                  <a:pt x="130952" y="3206169"/>
                  <a:pt x="131889" y="3188574"/>
                </a:cubicBezTo>
                <a:cubicBezTo>
                  <a:pt x="124007" y="3186796"/>
                  <a:pt x="116125" y="3185020"/>
                  <a:pt x="106254" y="3183136"/>
                </a:cubicBezTo>
                <a:cubicBezTo>
                  <a:pt x="88934" y="3171355"/>
                  <a:pt x="103288" y="3163975"/>
                  <a:pt x="117640" y="3156596"/>
                </a:cubicBezTo>
                <a:cubicBezTo>
                  <a:pt x="118000" y="3149829"/>
                  <a:pt x="122626" y="3137859"/>
                  <a:pt x="118794" y="3134940"/>
                </a:cubicBezTo>
                <a:cubicBezTo>
                  <a:pt x="99413" y="3124406"/>
                  <a:pt x="110437" y="3104634"/>
                  <a:pt x="84874" y="3097842"/>
                </a:cubicBezTo>
                <a:cubicBezTo>
                  <a:pt x="105553" y="3084014"/>
                  <a:pt x="130683" y="3098925"/>
                  <a:pt x="151003" y="3091864"/>
                </a:cubicBezTo>
                <a:cubicBezTo>
                  <a:pt x="153063" y="3090617"/>
                  <a:pt x="155195" y="3088016"/>
                  <a:pt x="155195" y="3088016"/>
                </a:cubicBezTo>
                <a:cubicBezTo>
                  <a:pt x="139864" y="3076340"/>
                  <a:pt x="122544" y="3064559"/>
                  <a:pt x="107284" y="3051529"/>
                </a:cubicBezTo>
                <a:cubicBezTo>
                  <a:pt x="117444" y="3047999"/>
                  <a:pt x="129519" y="3045927"/>
                  <a:pt x="141667" y="3042503"/>
                </a:cubicBezTo>
                <a:cubicBezTo>
                  <a:pt x="135918" y="3038125"/>
                  <a:pt x="130169" y="3033746"/>
                  <a:pt x="124419" y="3029367"/>
                </a:cubicBezTo>
                <a:cubicBezTo>
                  <a:pt x="130601" y="3025624"/>
                  <a:pt x="136783" y="3021883"/>
                  <a:pt x="140976" y="3018034"/>
                </a:cubicBezTo>
                <a:cubicBezTo>
                  <a:pt x="135227" y="3013656"/>
                  <a:pt x="129478" y="3009277"/>
                  <a:pt x="123874" y="3002192"/>
                </a:cubicBezTo>
                <a:cubicBezTo>
                  <a:pt x="128138" y="2996989"/>
                  <a:pt x="134465" y="2990540"/>
                  <a:pt x="142924" y="2981489"/>
                </a:cubicBezTo>
                <a:cubicBezTo>
                  <a:pt x="133270" y="2975546"/>
                  <a:pt x="119639" y="2969390"/>
                  <a:pt x="102102" y="2961669"/>
                </a:cubicBezTo>
                <a:cubicBezTo>
                  <a:pt x="122348" y="2955961"/>
                  <a:pt x="134496" y="2952536"/>
                  <a:pt x="150620" y="2949324"/>
                </a:cubicBezTo>
                <a:cubicBezTo>
                  <a:pt x="143099" y="2940779"/>
                  <a:pt x="137566" y="2932340"/>
                  <a:pt x="132033" y="2923901"/>
                </a:cubicBezTo>
                <a:cubicBezTo>
                  <a:pt x="142264" y="2919018"/>
                  <a:pt x="154485" y="2914239"/>
                  <a:pt x="145191" y="2901528"/>
                </a:cubicBezTo>
                <a:cubicBezTo>
                  <a:pt x="137381" y="2898397"/>
                  <a:pt x="127581" y="2895160"/>
                  <a:pt x="117783" y="2891923"/>
                </a:cubicBezTo>
                <a:cubicBezTo>
                  <a:pt x="118432" y="2879741"/>
                  <a:pt x="133980" y="2887357"/>
                  <a:pt x="150322" y="2880084"/>
                </a:cubicBezTo>
                <a:cubicBezTo>
                  <a:pt x="150322" y="2880084"/>
                  <a:pt x="158564" y="2875094"/>
                  <a:pt x="166807" y="2870103"/>
                </a:cubicBezTo>
                <a:cubicBezTo>
                  <a:pt x="167023" y="2866043"/>
                  <a:pt x="167167" y="2863336"/>
                  <a:pt x="167456" y="2857923"/>
                </a:cubicBezTo>
                <a:cubicBezTo>
                  <a:pt x="154041" y="2847706"/>
                  <a:pt x="126057" y="2848929"/>
                  <a:pt x="121029" y="2831017"/>
                </a:cubicBezTo>
                <a:cubicBezTo>
                  <a:pt x="123090" y="2829769"/>
                  <a:pt x="127211" y="2827274"/>
                  <a:pt x="131332" y="2824779"/>
                </a:cubicBezTo>
                <a:cubicBezTo>
                  <a:pt x="138019" y="2811561"/>
                  <a:pt x="142645" y="2799592"/>
                  <a:pt x="123337" y="2787705"/>
                </a:cubicBezTo>
                <a:cubicBezTo>
                  <a:pt x="125397" y="2786456"/>
                  <a:pt x="127530" y="2783856"/>
                  <a:pt x="129663" y="2781255"/>
                </a:cubicBezTo>
                <a:cubicBezTo>
                  <a:pt x="138338" y="2768144"/>
                  <a:pt x="167879" y="2775147"/>
                  <a:pt x="176482" y="2763390"/>
                </a:cubicBezTo>
                <a:cubicBezTo>
                  <a:pt x="165632" y="2742451"/>
                  <a:pt x="138298" y="2731494"/>
                  <a:pt x="125170" y="2715864"/>
                </a:cubicBezTo>
                <a:cubicBezTo>
                  <a:pt x="119853" y="2703364"/>
                  <a:pt x="137967" y="2700257"/>
                  <a:pt x="142377" y="2692349"/>
                </a:cubicBezTo>
                <a:cubicBezTo>
                  <a:pt x="137061" y="2679849"/>
                  <a:pt x="129683" y="2668597"/>
                  <a:pt x="122379" y="2655992"/>
                </a:cubicBezTo>
                <a:cubicBezTo>
                  <a:pt x="112507" y="2654109"/>
                  <a:pt x="102708" y="2650872"/>
                  <a:pt x="94899" y="2647740"/>
                </a:cubicBezTo>
                <a:cubicBezTo>
                  <a:pt x="93127" y="2643575"/>
                  <a:pt x="93343" y="2639514"/>
                  <a:pt x="93487" y="2636807"/>
                </a:cubicBezTo>
                <a:cubicBezTo>
                  <a:pt x="106500" y="2617141"/>
                  <a:pt x="146055" y="2623320"/>
                  <a:pt x="161057" y="2603760"/>
                </a:cubicBezTo>
                <a:cubicBezTo>
                  <a:pt x="159213" y="2600946"/>
                  <a:pt x="155379" y="2598028"/>
                  <a:pt x="149702" y="2592296"/>
                </a:cubicBezTo>
                <a:cubicBezTo>
                  <a:pt x="150423" y="2578761"/>
                  <a:pt x="151217" y="2563872"/>
                  <a:pt x="152298" y="2543570"/>
                </a:cubicBezTo>
                <a:cubicBezTo>
                  <a:pt x="144561" y="2539086"/>
                  <a:pt x="132918" y="2533037"/>
                  <a:pt x="121347" y="2525632"/>
                </a:cubicBezTo>
                <a:cubicBezTo>
                  <a:pt x="111405" y="2525103"/>
                  <a:pt x="101462" y="2524573"/>
                  <a:pt x="89530" y="2523937"/>
                </a:cubicBezTo>
                <a:cubicBezTo>
                  <a:pt x="81865" y="2518100"/>
                  <a:pt x="74199" y="2512262"/>
                  <a:pt x="66534" y="2506424"/>
                </a:cubicBezTo>
                <a:cubicBezTo>
                  <a:pt x="74920" y="2498727"/>
                  <a:pt x="86707" y="2502069"/>
                  <a:pt x="96722" y="2501246"/>
                </a:cubicBezTo>
                <a:cubicBezTo>
                  <a:pt x="104676" y="2501670"/>
                  <a:pt x="110786" y="2499281"/>
                  <a:pt x="124851" y="2497316"/>
                </a:cubicBezTo>
                <a:cubicBezTo>
                  <a:pt x="109158" y="2492407"/>
                  <a:pt x="99288" y="2490524"/>
                  <a:pt x="85511" y="2487075"/>
                </a:cubicBezTo>
                <a:cubicBezTo>
                  <a:pt x="86088" y="2476247"/>
                  <a:pt x="86665" y="2465419"/>
                  <a:pt x="87459" y="2450531"/>
                </a:cubicBezTo>
                <a:cubicBezTo>
                  <a:pt x="97979" y="2440232"/>
                  <a:pt x="108642" y="2427228"/>
                  <a:pt x="121295" y="2414328"/>
                </a:cubicBezTo>
                <a:cubicBezTo>
                  <a:pt x="109508" y="2410986"/>
                  <a:pt x="99710" y="2407749"/>
                  <a:pt x="89839" y="2405866"/>
                </a:cubicBezTo>
                <a:cubicBezTo>
                  <a:pt x="100575" y="2391507"/>
                  <a:pt x="122665" y="2388612"/>
                  <a:pt x="140923" y="2382799"/>
                </a:cubicBezTo>
                <a:cubicBezTo>
                  <a:pt x="129352" y="2375395"/>
                  <a:pt x="122048" y="2362790"/>
                  <a:pt x="100030" y="2364331"/>
                </a:cubicBezTo>
                <a:cubicBezTo>
                  <a:pt x="86614" y="2354115"/>
                  <a:pt x="73271" y="2342546"/>
                  <a:pt x="59928" y="2330976"/>
                </a:cubicBezTo>
                <a:cubicBezTo>
                  <a:pt x="68026" y="2328693"/>
                  <a:pt x="78041" y="2327869"/>
                  <a:pt x="90117" y="2325798"/>
                </a:cubicBezTo>
                <a:cubicBezTo>
                  <a:pt x="90333" y="2321738"/>
                  <a:pt x="92611" y="2316429"/>
                  <a:pt x="94959" y="2309768"/>
                </a:cubicBezTo>
                <a:cubicBezTo>
                  <a:pt x="85089" y="2307884"/>
                  <a:pt x="75290" y="2304647"/>
                  <a:pt x="61515" y="2301198"/>
                </a:cubicBezTo>
                <a:cubicBezTo>
                  <a:pt x="58403" y="2284745"/>
                  <a:pt x="63246" y="2268715"/>
                  <a:pt x="62195" y="2251014"/>
                </a:cubicBezTo>
                <a:cubicBezTo>
                  <a:pt x="58361" y="2248095"/>
                  <a:pt x="54529" y="2245176"/>
                  <a:pt x="48780" y="2240798"/>
                </a:cubicBezTo>
                <a:cubicBezTo>
                  <a:pt x="59443" y="2227793"/>
                  <a:pt x="72240" y="2212187"/>
                  <a:pt x="84965" y="2197934"/>
                </a:cubicBezTo>
                <a:cubicBezTo>
                  <a:pt x="77299" y="2192096"/>
                  <a:pt x="73539" y="2187823"/>
                  <a:pt x="67789" y="2183445"/>
                </a:cubicBezTo>
                <a:cubicBezTo>
                  <a:pt x="78165" y="2175854"/>
                  <a:pt x="90529" y="2168369"/>
                  <a:pt x="100904" y="2160778"/>
                </a:cubicBezTo>
                <a:cubicBezTo>
                  <a:pt x="109796" y="2143607"/>
                  <a:pt x="85790" y="2145042"/>
                  <a:pt x="72085" y="2140240"/>
                </a:cubicBezTo>
                <a:cubicBezTo>
                  <a:pt x="74218" y="2137638"/>
                  <a:pt x="76495" y="2132330"/>
                  <a:pt x="76495" y="2132330"/>
                </a:cubicBezTo>
                <a:cubicBezTo>
                  <a:pt x="96236" y="2136098"/>
                  <a:pt x="102996" y="2121526"/>
                  <a:pt x="118833" y="2123727"/>
                </a:cubicBezTo>
                <a:cubicBezTo>
                  <a:pt x="138285" y="2132908"/>
                  <a:pt x="159798" y="2140841"/>
                  <a:pt x="171009" y="2155012"/>
                </a:cubicBezTo>
                <a:cubicBezTo>
                  <a:pt x="169494" y="2183434"/>
                  <a:pt x="169494" y="2183434"/>
                  <a:pt x="182981" y="2192298"/>
                </a:cubicBezTo>
                <a:cubicBezTo>
                  <a:pt x="183125" y="2189591"/>
                  <a:pt x="187175" y="2188450"/>
                  <a:pt x="187247" y="2187096"/>
                </a:cubicBezTo>
                <a:cubicBezTo>
                  <a:pt x="188257" y="2168147"/>
                  <a:pt x="189267" y="2149198"/>
                  <a:pt x="190204" y="2131602"/>
                </a:cubicBezTo>
                <a:cubicBezTo>
                  <a:pt x="174584" y="2125341"/>
                  <a:pt x="160952" y="2119186"/>
                  <a:pt x="145333" y="2112924"/>
                </a:cubicBezTo>
                <a:cubicBezTo>
                  <a:pt x="139151" y="2116666"/>
                  <a:pt x="130979" y="2120303"/>
                  <a:pt x="118833" y="2123727"/>
                </a:cubicBezTo>
                <a:cubicBezTo>
                  <a:pt x="121326" y="2114360"/>
                  <a:pt x="121758" y="2106239"/>
                  <a:pt x="122119" y="2099470"/>
                </a:cubicBezTo>
                <a:cubicBezTo>
                  <a:pt x="136039" y="2100213"/>
                  <a:pt x="151948" y="2101061"/>
                  <a:pt x="165867" y="2101802"/>
                </a:cubicBezTo>
                <a:cubicBezTo>
                  <a:pt x="171617" y="2106181"/>
                  <a:pt x="177438" y="2109206"/>
                  <a:pt x="183188" y="2113583"/>
                </a:cubicBezTo>
                <a:cubicBezTo>
                  <a:pt x="189153" y="2113901"/>
                  <a:pt x="195118" y="2114219"/>
                  <a:pt x="203073" y="2114643"/>
                </a:cubicBezTo>
                <a:cubicBezTo>
                  <a:pt x="205422" y="2107982"/>
                  <a:pt x="209760" y="2101426"/>
                  <a:pt x="214097" y="2094871"/>
                </a:cubicBezTo>
                <a:cubicBezTo>
                  <a:pt x="224185" y="2092693"/>
                  <a:pt x="234199" y="2091870"/>
                  <a:pt x="244287" y="2089692"/>
                </a:cubicBezTo>
                <a:cubicBezTo>
                  <a:pt x="238610" y="2083961"/>
                  <a:pt x="232860" y="2079583"/>
                  <a:pt x="227110" y="2075205"/>
                </a:cubicBezTo>
                <a:cubicBezTo>
                  <a:pt x="225988" y="2058856"/>
                  <a:pt x="252055" y="2056173"/>
                  <a:pt x="258670" y="2044310"/>
                </a:cubicBezTo>
                <a:cubicBezTo>
                  <a:pt x="265141" y="2035152"/>
                  <a:pt x="279566" y="2026420"/>
                  <a:pt x="280070" y="2016946"/>
                </a:cubicBezTo>
                <a:cubicBezTo>
                  <a:pt x="280792" y="2003410"/>
                  <a:pt x="293300" y="1993218"/>
                  <a:pt x="301759" y="1984168"/>
                </a:cubicBezTo>
                <a:cubicBezTo>
                  <a:pt x="308518" y="1969597"/>
                  <a:pt x="262997" y="1963100"/>
                  <a:pt x="291702" y="1948342"/>
                </a:cubicBezTo>
                <a:cubicBezTo>
                  <a:pt x="303418" y="1953037"/>
                  <a:pt x="313145" y="1957628"/>
                  <a:pt x="326848" y="1962431"/>
                </a:cubicBezTo>
                <a:cubicBezTo>
                  <a:pt x="342210" y="1936102"/>
                  <a:pt x="377025" y="1918955"/>
                  <a:pt x="374635" y="1888966"/>
                </a:cubicBezTo>
                <a:cubicBezTo>
                  <a:pt x="394953" y="1881904"/>
                  <a:pt x="386380" y="1855658"/>
                  <a:pt x="422103" y="1858919"/>
                </a:cubicBezTo>
                <a:cubicBezTo>
                  <a:pt x="432045" y="1859448"/>
                  <a:pt x="440505" y="1850399"/>
                  <a:pt x="446687" y="1846656"/>
                </a:cubicBezTo>
                <a:cubicBezTo>
                  <a:pt x="447120" y="1838535"/>
                  <a:pt x="447481" y="1831767"/>
                  <a:pt x="447769" y="1826353"/>
                </a:cubicBezTo>
                <a:cubicBezTo>
                  <a:pt x="464759" y="1806898"/>
                  <a:pt x="481750" y="1787444"/>
                  <a:pt x="503005" y="1762787"/>
                </a:cubicBezTo>
                <a:cubicBezTo>
                  <a:pt x="503726" y="1749252"/>
                  <a:pt x="504736" y="1730302"/>
                  <a:pt x="505746" y="1711354"/>
                </a:cubicBezTo>
                <a:cubicBezTo>
                  <a:pt x="511928" y="1707612"/>
                  <a:pt x="516193" y="1702410"/>
                  <a:pt x="526497" y="1696172"/>
                </a:cubicBezTo>
                <a:cubicBezTo>
                  <a:pt x="527218" y="1682637"/>
                  <a:pt x="528083" y="1666395"/>
                  <a:pt x="529021" y="1648800"/>
                </a:cubicBezTo>
                <a:cubicBezTo>
                  <a:pt x="572265" y="1660606"/>
                  <a:pt x="572594" y="1691842"/>
                  <a:pt x="601629" y="1708320"/>
                </a:cubicBezTo>
                <a:cubicBezTo>
                  <a:pt x="607596" y="1708637"/>
                  <a:pt x="613561" y="1708956"/>
                  <a:pt x="619527" y="1709273"/>
                </a:cubicBezTo>
                <a:cubicBezTo>
                  <a:pt x="621587" y="1708026"/>
                  <a:pt x="625636" y="1706884"/>
                  <a:pt x="625708" y="1705530"/>
                </a:cubicBezTo>
                <a:cubicBezTo>
                  <a:pt x="630623" y="1688148"/>
                  <a:pt x="627511" y="1671693"/>
                  <a:pt x="630221" y="1658264"/>
                </a:cubicBezTo>
                <a:cubicBezTo>
                  <a:pt x="622555" y="1652426"/>
                  <a:pt x="618723" y="1649507"/>
                  <a:pt x="612901" y="1646483"/>
                </a:cubicBezTo>
                <a:cubicBezTo>
                  <a:pt x="619083" y="1642740"/>
                  <a:pt x="625265" y="1638997"/>
                  <a:pt x="631447" y="1635255"/>
                </a:cubicBezTo>
                <a:cubicBezTo>
                  <a:pt x="625698" y="1630876"/>
                  <a:pt x="619949" y="1626498"/>
                  <a:pt x="614199" y="1622119"/>
                </a:cubicBezTo>
                <a:cubicBezTo>
                  <a:pt x="611087" y="1605666"/>
                  <a:pt x="649303" y="1599558"/>
                  <a:pt x="628727" y="1574030"/>
                </a:cubicBezTo>
                <a:cubicBezTo>
                  <a:pt x="630644" y="1575489"/>
                  <a:pt x="624894" y="1571111"/>
                  <a:pt x="619217" y="1565379"/>
                </a:cubicBezTo>
                <a:cubicBezTo>
                  <a:pt x="631798" y="1553833"/>
                  <a:pt x="658081" y="1547090"/>
                  <a:pt x="659091" y="1528141"/>
                </a:cubicBezTo>
                <a:cubicBezTo>
                  <a:pt x="673011" y="1528883"/>
                  <a:pt x="674495" y="1538463"/>
                  <a:pt x="682305" y="1541594"/>
                </a:cubicBezTo>
                <a:cubicBezTo>
                  <a:pt x="691671" y="1552952"/>
                  <a:pt x="685056" y="1564815"/>
                  <a:pt x="686468" y="1575750"/>
                </a:cubicBezTo>
                <a:cubicBezTo>
                  <a:pt x="685891" y="1586577"/>
                  <a:pt x="683253" y="1598653"/>
                  <a:pt x="684665" y="1609586"/>
                </a:cubicBezTo>
                <a:cubicBezTo>
                  <a:pt x="686004" y="1621874"/>
                  <a:pt x="675485" y="1632172"/>
                  <a:pt x="690816" y="1643848"/>
                </a:cubicBezTo>
                <a:cubicBezTo>
                  <a:pt x="709578" y="1628560"/>
                  <a:pt x="694751" y="1607409"/>
                  <a:pt x="705560" y="1591697"/>
                </a:cubicBezTo>
                <a:cubicBezTo>
                  <a:pt x="709682" y="1589202"/>
                  <a:pt x="713802" y="1586707"/>
                  <a:pt x="717924" y="1584212"/>
                </a:cubicBezTo>
                <a:cubicBezTo>
                  <a:pt x="712319" y="1577127"/>
                  <a:pt x="708630" y="1571501"/>
                  <a:pt x="703025" y="1564415"/>
                </a:cubicBezTo>
                <a:cubicBezTo>
                  <a:pt x="709351" y="1557966"/>
                  <a:pt x="715749" y="1550163"/>
                  <a:pt x="724208" y="1541113"/>
                </a:cubicBezTo>
                <a:cubicBezTo>
                  <a:pt x="718532" y="1535381"/>
                  <a:pt x="712855" y="1529649"/>
                  <a:pt x="707249" y="1522564"/>
                </a:cubicBezTo>
                <a:cubicBezTo>
                  <a:pt x="711298" y="1521421"/>
                  <a:pt x="715420" y="1518927"/>
                  <a:pt x="719614" y="1515078"/>
                </a:cubicBezTo>
                <a:cubicBezTo>
                  <a:pt x="721746" y="1512477"/>
                  <a:pt x="723951" y="1508523"/>
                  <a:pt x="724095" y="1505816"/>
                </a:cubicBezTo>
                <a:cubicBezTo>
                  <a:pt x="724888" y="1490928"/>
                  <a:pt x="725754" y="1474686"/>
                  <a:pt x="726547" y="1459797"/>
                </a:cubicBezTo>
                <a:cubicBezTo>
                  <a:pt x="737067" y="1449498"/>
                  <a:pt x="741765" y="1436175"/>
                  <a:pt x="756119" y="1428796"/>
                </a:cubicBezTo>
                <a:cubicBezTo>
                  <a:pt x="772604" y="1418816"/>
                  <a:pt x="751596" y="1401409"/>
                  <a:pt x="773902" y="1394454"/>
                </a:cubicBezTo>
                <a:cubicBezTo>
                  <a:pt x="775818" y="1395913"/>
                  <a:pt x="779723" y="1397478"/>
                  <a:pt x="779651" y="1398831"/>
                </a:cubicBezTo>
                <a:cubicBezTo>
                  <a:pt x="780774" y="1415179"/>
                  <a:pt x="777993" y="1429962"/>
                  <a:pt x="777271" y="1443496"/>
                </a:cubicBezTo>
                <a:cubicBezTo>
                  <a:pt x="792747" y="1452466"/>
                  <a:pt x="796075" y="1464859"/>
                  <a:pt x="801536" y="1474652"/>
                </a:cubicBezTo>
                <a:cubicBezTo>
                  <a:pt x="803524" y="1474757"/>
                  <a:pt x="805513" y="1474863"/>
                  <a:pt x="807502" y="1474970"/>
                </a:cubicBezTo>
                <a:cubicBezTo>
                  <a:pt x="811912" y="1467060"/>
                  <a:pt x="818310" y="1459257"/>
                  <a:pt x="816177" y="1461858"/>
                </a:cubicBezTo>
                <a:cubicBezTo>
                  <a:pt x="835084" y="1443863"/>
                  <a:pt x="831611" y="1434176"/>
                  <a:pt x="832116" y="1424701"/>
                </a:cubicBezTo>
                <a:cubicBezTo>
                  <a:pt x="834538" y="1416687"/>
                  <a:pt x="832909" y="1409814"/>
                  <a:pt x="833270" y="1403046"/>
                </a:cubicBezTo>
                <a:cubicBezTo>
                  <a:pt x="827521" y="1398668"/>
                  <a:pt x="823688" y="1395749"/>
                  <a:pt x="817939" y="1391370"/>
                </a:cubicBezTo>
                <a:cubicBezTo>
                  <a:pt x="822061" y="1388875"/>
                  <a:pt x="828242" y="1385133"/>
                  <a:pt x="834496" y="1380037"/>
                </a:cubicBezTo>
                <a:cubicBezTo>
                  <a:pt x="835001" y="1370562"/>
                  <a:pt x="835578" y="1359735"/>
                  <a:pt x="836227" y="1347553"/>
                </a:cubicBezTo>
                <a:cubicBezTo>
                  <a:pt x="842481" y="1342457"/>
                  <a:pt x="850725" y="1337466"/>
                  <a:pt x="859039" y="1331123"/>
                </a:cubicBezTo>
                <a:cubicBezTo>
                  <a:pt x="882686" y="1336455"/>
                  <a:pt x="887786" y="1353015"/>
                  <a:pt x="905394" y="1359383"/>
                </a:cubicBezTo>
                <a:cubicBezTo>
                  <a:pt x="897986" y="1386135"/>
                  <a:pt x="932987" y="1402931"/>
                  <a:pt x="923807" y="1425516"/>
                </a:cubicBezTo>
                <a:cubicBezTo>
                  <a:pt x="938592" y="1410016"/>
                  <a:pt x="959271" y="1396188"/>
                  <a:pt x="956375" y="1375672"/>
                </a:cubicBezTo>
                <a:cubicBezTo>
                  <a:pt x="962557" y="1371930"/>
                  <a:pt x="966751" y="1368082"/>
                  <a:pt x="974921" y="1364444"/>
                </a:cubicBezTo>
                <a:cubicBezTo>
                  <a:pt x="975498" y="1353616"/>
                  <a:pt x="976148" y="1341435"/>
                  <a:pt x="976652" y="1331961"/>
                </a:cubicBezTo>
                <a:cubicBezTo>
                  <a:pt x="995560" y="1313966"/>
                  <a:pt x="1006729" y="1291486"/>
                  <a:pt x="1043027" y="1283919"/>
                </a:cubicBezTo>
                <a:close/>
                <a:moveTo>
                  <a:pt x="5074457" y="773099"/>
                </a:moveTo>
                <a:cubicBezTo>
                  <a:pt x="5076455" y="779333"/>
                  <a:pt x="5080202" y="787058"/>
                  <a:pt x="5083948" y="794784"/>
                </a:cubicBezTo>
                <a:cubicBezTo>
                  <a:pt x="5094439" y="803739"/>
                  <a:pt x="5105598" y="793645"/>
                  <a:pt x="5121002" y="800757"/>
                </a:cubicBezTo>
                <a:cubicBezTo>
                  <a:pt x="5124498" y="803742"/>
                  <a:pt x="5131493" y="809712"/>
                  <a:pt x="5141900" y="817087"/>
                </a:cubicBezTo>
                <a:cubicBezTo>
                  <a:pt x="5142815" y="834469"/>
                  <a:pt x="5143895" y="855011"/>
                  <a:pt x="5144976" y="875552"/>
                </a:cubicBezTo>
                <a:cubicBezTo>
                  <a:pt x="5156052" y="863878"/>
                  <a:pt x="5157717" y="863791"/>
                  <a:pt x="5154971" y="843337"/>
                </a:cubicBezTo>
                <a:cubicBezTo>
                  <a:pt x="5159718" y="838333"/>
                  <a:pt x="5164382" y="831749"/>
                  <a:pt x="5169128" y="826746"/>
                </a:cubicBezTo>
                <a:cubicBezTo>
                  <a:pt x="5168713" y="818846"/>
                  <a:pt x="5168214" y="809365"/>
                  <a:pt x="5167798" y="801464"/>
                </a:cubicBezTo>
                <a:cubicBezTo>
                  <a:pt x="5173961" y="791633"/>
                  <a:pt x="5179373" y="799271"/>
                  <a:pt x="5184536" y="802169"/>
                </a:cubicBezTo>
                <a:cubicBezTo>
                  <a:pt x="5191364" y="804978"/>
                  <a:pt x="5199856" y="807701"/>
                  <a:pt x="5211680" y="810247"/>
                </a:cubicBezTo>
                <a:cubicBezTo>
                  <a:pt x="5215504" y="882935"/>
                  <a:pt x="5219411" y="957201"/>
                  <a:pt x="5223068" y="1026727"/>
                </a:cubicBezTo>
                <a:cubicBezTo>
                  <a:pt x="5242385" y="1044725"/>
                  <a:pt x="5249714" y="1025325"/>
                  <a:pt x="5259457" y="1020059"/>
                </a:cubicBezTo>
                <a:cubicBezTo>
                  <a:pt x="5269450" y="1019533"/>
                  <a:pt x="5279441" y="1019008"/>
                  <a:pt x="5287769" y="1018570"/>
                </a:cubicBezTo>
                <a:cubicBezTo>
                  <a:pt x="5300258" y="1033759"/>
                  <a:pt x="5316745" y="1029722"/>
                  <a:pt x="5331734" y="1028934"/>
                </a:cubicBezTo>
                <a:cubicBezTo>
                  <a:pt x="5347552" y="1043946"/>
                  <a:pt x="5333646" y="1065277"/>
                  <a:pt x="5347799" y="1080378"/>
                </a:cubicBezTo>
                <a:cubicBezTo>
                  <a:pt x="5357792" y="1079852"/>
                  <a:pt x="5369449" y="1079239"/>
                  <a:pt x="5382773" y="1078538"/>
                </a:cubicBezTo>
                <a:cubicBezTo>
                  <a:pt x="5382440" y="1072218"/>
                  <a:pt x="5387021" y="1064054"/>
                  <a:pt x="5383440" y="1059489"/>
                </a:cubicBezTo>
                <a:cubicBezTo>
                  <a:pt x="5374615" y="1050446"/>
                  <a:pt x="5362458" y="1041578"/>
                  <a:pt x="5351968" y="1032623"/>
                </a:cubicBezTo>
                <a:cubicBezTo>
                  <a:pt x="5354965" y="1026127"/>
                  <a:pt x="5356299" y="1019718"/>
                  <a:pt x="5357632" y="1013311"/>
                </a:cubicBezTo>
                <a:cubicBezTo>
                  <a:pt x="5385860" y="1010242"/>
                  <a:pt x="5393851" y="1035173"/>
                  <a:pt x="5411004" y="1043778"/>
                </a:cubicBezTo>
                <a:cubicBezTo>
                  <a:pt x="5411503" y="1053259"/>
                  <a:pt x="5411918" y="1061160"/>
                  <a:pt x="5412417" y="1070641"/>
                </a:cubicBezTo>
                <a:cubicBezTo>
                  <a:pt x="5419327" y="1075030"/>
                  <a:pt x="5422908" y="1079595"/>
                  <a:pt x="5431651" y="1087058"/>
                </a:cubicBezTo>
                <a:cubicBezTo>
                  <a:pt x="5427070" y="1095222"/>
                  <a:pt x="5422490" y="1103385"/>
                  <a:pt x="5417992" y="1113129"/>
                </a:cubicBezTo>
                <a:cubicBezTo>
                  <a:pt x="5425069" y="1120679"/>
                  <a:pt x="5433811" y="1128142"/>
                  <a:pt x="5442470" y="1134025"/>
                </a:cubicBezTo>
                <a:cubicBezTo>
                  <a:pt x="5438222" y="1148509"/>
                  <a:pt x="5433892" y="1161413"/>
                  <a:pt x="5431226" y="1174229"/>
                </a:cubicBezTo>
                <a:cubicBezTo>
                  <a:pt x="5438303" y="1181779"/>
                  <a:pt x="5443548" y="1186257"/>
                  <a:pt x="5448795" y="1190735"/>
                </a:cubicBezTo>
                <a:cubicBezTo>
                  <a:pt x="5449376" y="1201795"/>
                  <a:pt x="5449874" y="1211276"/>
                  <a:pt x="5452205" y="1223830"/>
                </a:cubicBezTo>
                <a:cubicBezTo>
                  <a:pt x="5460532" y="1223391"/>
                  <a:pt x="5467193" y="1223042"/>
                  <a:pt x="5473854" y="1222691"/>
                </a:cubicBezTo>
                <a:cubicBezTo>
                  <a:pt x="5479519" y="1203379"/>
                  <a:pt x="5492094" y="1188457"/>
                  <a:pt x="5492678" y="1167828"/>
                </a:cubicBezTo>
                <a:cubicBezTo>
                  <a:pt x="5493513" y="1151938"/>
                  <a:pt x="5507754" y="1136928"/>
                  <a:pt x="5505174" y="1119635"/>
                </a:cubicBezTo>
                <a:cubicBezTo>
                  <a:pt x="5511502" y="1112963"/>
                  <a:pt x="5517831" y="1106293"/>
                  <a:pt x="5522578" y="1101289"/>
                </a:cubicBezTo>
                <a:cubicBezTo>
                  <a:pt x="5530823" y="1099271"/>
                  <a:pt x="5537400" y="1097340"/>
                  <a:pt x="5543980" y="1095410"/>
                </a:cubicBezTo>
                <a:cubicBezTo>
                  <a:pt x="5544980" y="1082681"/>
                  <a:pt x="5544398" y="1071620"/>
                  <a:pt x="5545565" y="1062052"/>
                </a:cubicBezTo>
                <a:cubicBezTo>
                  <a:pt x="5561803" y="1053276"/>
                  <a:pt x="5578705" y="1057139"/>
                  <a:pt x="5593695" y="1056352"/>
                </a:cubicBezTo>
                <a:cubicBezTo>
                  <a:pt x="5598939" y="1060829"/>
                  <a:pt x="5604103" y="1063726"/>
                  <a:pt x="5609265" y="1066624"/>
                </a:cubicBezTo>
                <a:cubicBezTo>
                  <a:pt x="5614095" y="1063200"/>
                  <a:pt x="5617260" y="1059865"/>
                  <a:pt x="5622006" y="1054861"/>
                </a:cubicBezTo>
                <a:cubicBezTo>
                  <a:pt x="5633663" y="1054249"/>
                  <a:pt x="5648653" y="1053461"/>
                  <a:pt x="5665306" y="1052585"/>
                </a:cubicBezTo>
                <a:cubicBezTo>
                  <a:pt x="5680793" y="1061276"/>
                  <a:pt x="5697945" y="1069881"/>
                  <a:pt x="5716764" y="1078398"/>
                </a:cubicBezTo>
                <a:cubicBezTo>
                  <a:pt x="5717677" y="1095780"/>
                  <a:pt x="5718425" y="1110001"/>
                  <a:pt x="5719174" y="1124223"/>
                </a:cubicBezTo>
                <a:cubicBezTo>
                  <a:pt x="5714344" y="1127646"/>
                  <a:pt x="5711096" y="1129401"/>
                  <a:pt x="5706101" y="1129664"/>
                </a:cubicBezTo>
                <a:cubicBezTo>
                  <a:pt x="5705768" y="1123344"/>
                  <a:pt x="5705436" y="1117022"/>
                  <a:pt x="5705103" y="1110702"/>
                </a:cubicBezTo>
                <a:cubicBezTo>
                  <a:pt x="5687868" y="1100518"/>
                  <a:pt x="5679958" y="1077166"/>
                  <a:pt x="5655062" y="1080060"/>
                </a:cubicBezTo>
                <a:cubicBezTo>
                  <a:pt x="5651730" y="1080235"/>
                  <a:pt x="5650149" y="1081902"/>
                  <a:pt x="5646984" y="1085238"/>
                </a:cubicBezTo>
                <a:cubicBezTo>
                  <a:pt x="5647399" y="1093139"/>
                  <a:pt x="5647981" y="1104200"/>
                  <a:pt x="5648563" y="1115261"/>
                </a:cubicBezTo>
                <a:cubicBezTo>
                  <a:pt x="5657057" y="1117983"/>
                  <a:pt x="5668797" y="1118950"/>
                  <a:pt x="5674042" y="1123427"/>
                </a:cubicBezTo>
                <a:cubicBezTo>
                  <a:pt x="5684533" y="1132383"/>
                  <a:pt x="5694525" y="1131857"/>
                  <a:pt x="5706101" y="1129664"/>
                </a:cubicBezTo>
                <a:cubicBezTo>
                  <a:pt x="5709764" y="1135809"/>
                  <a:pt x="5713427" y="1141954"/>
                  <a:pt x="5720754" y="1154245"/>
                </a:cubicBezTo>
                <a:cubicBezTo>
                  <a:pt x="5721335" y="1165307"/>
                  <a:pt x="5722333" y="1184268"/>
                  <a:pt x="5723413" y="1204810"/>
                </a:cubicBezTo>
                <a:cubicBezTo>
                  <a:pt x="5731906" y="1207532"/>
                  <a:pt x="5738651" y="1208762"/>
                  <a:pt x="5742065" y="1210167"/>
                </a:cubicBezTo>
                <a:cubicBezTo>
                  <a:pt x="5774624" y="1194194"/>
                  <a:pt x="5777958" y="1162327"/>
                  <a:pt x="5796946" y="1142315"/>
                </a:cubicBezTo>
                <a:cubicBezTo>
                  <a:pt x="5822843" y="1126693"/>
                  <a:pt x="5840745" y="1149519"/>
                  <a:pt x="5862643" y="1153119"/>
                </a:cubicBezTo>
                <a:cubicBezTo>
                  <a:pt x="5872719" y="1154175"/>
                  <a:pt x="5880378" y="1172786"/>
                  <a:pt x="5888787" y="1173928"/>
                </a:cubicBezTo>
                <a:cubicBezTo>
                  <a:pt x="5902194" y="1174808"/>
                  <a:pt x="5914101" y="1178934"/>
                  <a:pt x="5919595" y="1188152"/>
                </a:cubicBezTo>
                <a:cubicBezTo>
                  <a:pt x="5928588" y="1200355"/>
                  <a:pt x="5944992" y="1194739"/>
                  <a:pt x="5955566" y="1205274"/>
                </a:cubicBezTo>
                <a:cubicBezTo>
                  <a:pt x="5956896" y="1230557"/>
                  <a:pt x="5958309" y="1257419"/>
                  <a:pt x="5959722" y="1284282"/>
                </a:cubicBezTo>
                <a:cubicBezTo>
                  <a:pt x="5970213" y="1293237"/>
                  <a:pt x="5980787" y="1303772"/>
                  <a:pt x="5989530" y="1311235"/>
                </a:cubicBezTo>
                <a:cubicBezTo>
                  <a:pt x="5993443" y="1322121"/>
                  <a:pt x="5985781" y="1335199"/>
                  <a:pt x="5999519" y="1342400"/>
                </a:cubicBezTo>
                <a:cubicBezTo>
                  <a:pt x="6008262" y="1349862"/>
                  <a:pt x="6007012" y="1357850"/>
                  <a:pt x="6009094" y="1365664"/>
                </a:cubicBezTo>
                <a:cubicBezTo>
                  <a:pt x="6011258" y="1375057"/>
                  <a:pt x="6016753" y="1384275"/>
                  <a:pt x="6022248" y="1393493"/>
                </a:cubicBezTo>
                <a:cubicBezTo>
                  <a:pt x="6019082" y="1396829"/>
                  <a:pt x="6014253" y="1400252"/>
                  <a:pt x="6011088" y="1403587"/>
                </a:cubicBezTo>
                <a:cubicBezTo>
                  <a:pt x="6014668" y="1408152"/>
                  <a:pt x="6019914" y="1412630"/>
                  <a:pt x="6025160" y="1417108"/>
                </a:cubicBezTo>
                <a:cubicBezTo>
                  <a:pt x="6025575" y="1425009"/>
                  <a:pt x="6026073" y="1434489"/>
                  <a:pt x="6026490" y="1442390"/>
                </a:cubicBezTo>
                <a:cubicBezTo>
                  <a:pt x="6037147" y="1454505"/>
                  <a:pt x="6045391" y="1452487"/>
                  <a:pt x="6054884" y="1442480"/>
                </a:cubicBezTo>
                <a:cubicBezTo>
                  <a:pt x="6051303" y="1437915"/>
                  <a:pt x="6046059" y="1433438"/>
                  <a:pt x="6040812" y="1428961"/>
                </a:cubicBezTo>
                <a:cubicBezTo>
                  <a:pt x="6043977" y="1425625"/>
                  <a:pt x="6048807" y="1422202"/>
                  <a:pt x="6051972" y="1418867"/>
                </a:cubicBezTo>
                <a:cubicBezTo>
                  <a:pt x="6054472" y="1402890"/>
                  <a:pt x="6058720" y="1388405"/>
                  <a:pt x="6039736" y="1376728"/>
                </a:cubicBezTo>
                <a:cubicBezTo>
                  <a:pt x="6038156" y="1346705"/>
                  <a:pt x="6036577" y="1316683"/>
                  <a:pt x="6034997" y="1286660"/>
                </a:cubicBezTo>
                <a:cubicBezTo>
                  <a:pt x="6027838" y="1277529"/>
                  <a:pt x="6020842" y="1271559"/>
                  <a:pt x="6017096" y="1263834"/>
                </a:cubicBezTo>
                <a:cubicBezTo>
                  <a:pt x="6015016" y="1256020"/>
                  <a:pt x="6016265" y="1248032"/>
                  <a:pt x="6015767" y="1238551"/>
                </a:cubicBezTo>
                <a:cubicBezTo>
                  <a:pt x="6005691" y="1237497"/>
                  <a:pt x="5998946" y="1236267"/>
                  <a:pt x="5990537" y="1235125"/>
                </a:cubicBezTo>
                <a:cubicBezTo>
                  <a:pt x="5988622" y="1230472"/>
                  <a:pt x="5986623" y="1224240"/>
                  <a:pt x="5984542" y="1216426"/>
                </a:cubicBezTo>
                <a:cubicBezTo>
                  <a:pt x="5981046" y="1213441"/>
                  <a:pt x="5975801" y="1208963"/>
                  <a:pt x="5970555" y="1204485"/>
                </a:cubicBezTo>
                <a:cubicBezTo>
                  <a:pt x="5970057" y="1195005"/>
                  <a:pt x="5969557" y="1185524"/>
                  <a:pt x="5969142" y="1177624"/>
                </a:cubicBezTo>
                <a:cubicBezTo>
                  <a:pt x="5970724" y="1175955"/>
                  <a:pt x="5973888" y="1172620"/>
                  <a:pt x="5973888" y="1172620"/>
                </a:cubicBezTo>
                <a:cubicBezTo>
                  <a:pt x="5984131" y="1176835"/>
                  <a:pt x="5992707" y="1181138"/>
                  <a:pt x="6014939" y="1191059"/>
                </a:cubicBezTo>
                <a:cubicBezTo>
                  <a:pt x="6021933" y="1197029"/>
                  <a:pt x="6039418" y="1211955"/>
                  <a:pt x="6058734" y="1229952"/>
                </a:cubicBezTo>
                <a:cubicBezTo>
                  <a:pt x="6058734" y="1229952"/>
                  <a:pt x="6058983" y="1234693"/>
                  <a:pt x="6059233" y="1239433"/>
                </a:cubicBezTo>
                <a:cubicBezTo>
                  <a:pt x="6064478" y="1243911"/>
                  <a:pt x="6069724" y="1248390"/>
                  <a:pt x="6074969" y="1252868"/>
                </a:cubicBezTo>
                <a:cubicBezTo>
                  <a:pt x="6075469" y="1262347"/>
                  <a:pt x="6075884" y="1270249"/>
                  <a:pt x="6076382" y="1279729"/>
                </a:cubicBezTo>
                <a:cubicBezTo>
                  <a:pt x="6081629" y="1284207"/>
                  <a:pt x="6085208" y="1288772"/>
                  <a:pt x="6090454" y="1293250"/>
                </a:cubicBezTo>
                <a:cubicBezTo>
                  <a:pt x="6087290" y="1296585"/>
                  <a:pt x="6084125" y="1299921"/>
                  <a:pt x="6079378" y="1304924"/>
                </a:cubicBezTo>
                <a:cubicBezTo>
                  <a:pt x="6090284" y="1321780"/>
                  <a:pt x="6101192" y="1338635"/>
                  <a:pt x="6112097" y="1355492"/>
                </a:cubicBezTo>
                <a:cubicBezTo>
                  <a:pt x="6105769" y="1362162"/>
                  <a:pt x="6101021" y="1367166"/>
                  <a:pt x="6096276" y="1372169"/>
                </a:cubicBezTo>
                <a:cubicBezTo>
                  <a:pt x="6101521" y="1376647"/>
                  <a:pt x="6105101" y="1381212"/>
                  <a:pt x="6113844" y="1388675"/>
                </a:cubicBezTo>
                <a:cubicBezTo>
                  <a:pt x="6109262" y="1396839"/>
                  <a:pt x="6104683" y="1405002"/>
                  <a:pt x="6098520" y="1414833"/>
                </a:cubicBezTo>
                <a:cubicBezTo>
                  <a:pt x="6107262" y="1422296"/>
                  <a:pt x="6116005" y="1429759"/>
                  <a:pt x="6126413" y="1437133"/>
                </a:cubicBezTo>
                <a:cubicBezTo>
                  <a:pt x="6123331" y="1442049"/>
                  <a:pt x="6120250" y="1446965"/>
                  <a:pt x="6115585" y="1453548"/>
                </a:cubicBezTo>
                <a:cubicBezTo>
                  <a:pt x="6117581" y="1491472"/>
                  <a:pt x="6119741" y="1532556"/>
                  <a:pt x="6121819" y="1572059"/>
                </a:cubicBezTo>
                <a:cubicBezTo>
                  <a:pt x="6117072" y="1577062"/>
                  <a:pt x="6112327" y="1582066"/>
                  <a:pt x="6106081" y="1590317"/>
                </a:cubicBezTo>
                <a:cubicBezTo>
                  <a:pt x="6114491" y="1591459"/>
                  <a:pt x="6122984" y="1594182"/>
                  <a:pt x="6131393" y="1595323"/>
                </a:cubicBezTo>
                <a:cubicBezTo>
                  <a:pt x="6133309" y="1599976"/>
                  <a:pt x="6136805" y="1602961"/>
                  <a:pt x="6137055" y="1607702"/>
                </a:cubicBezTo>
                <a:cubicBezTo>
                  <a:pt x="6138801" y="1640885"/>
                  <a:pt x="6140546" y="1674067"/>
                  <a:pt x="6142374" y="1708830"/>
                </a:cubicBezTo>
                <a:cubicBezTo>
                  <a:pt x="6147537" y="1711728"/>
                  <a:pt x="6154281" y="1712958"/>
                  <a:pt x="6162774" y="1715680"/>
                </a:cubicBezTo>
                <a:cubicBezTo>
                  <a:pt x="6167188" y="1704357"/>
                  <a:pt x="6171770" y="1696193"/>
                  <a:pt x="6176183" y="1684869"/>
                </a:cubicBezTo>
                <a:cubicBezTo>
                  <a:pt x="6181679" y="1694087"/>
                  <a:pt x="6187174" y="1703305"/>
                  <a:pt x="6194416" y="1714016"/>
                </a:cubicBezTo>
                <a:cubicBezTo>
                  <a:pt x="6205826" y="1708662"/>
                  <a:pt x="6217150" y="1701728"/>
                  <a:pt x="6228559" y="1696375"/>
                </a:cubicBezTo>
                <a:cubicBezTo>
                  <a:pt x="6243630" y="1697166"/>
                  <a:pt x="6247626" y="1709632"/>
                  <a:pt x="6257950" y="1715427"/>
                </a:cubicBezTo>
                <a:cubicBezTo>
                  <a:pt x="6258615" y="1728069"/>
                  <a:pt x="6259363" y="1742290"/>
                  <a:pt x="6260028" y="1754931"/>
                </a:cubicBezTo>
                <a:cubicBezTo>
                  <a:pt x="6255282" y="1759934"/>
                  <a:pt x="6252201" y="1764849"/>
                  <a:pt x="6247454" y="1769853"/>
                </a:cubicBezTo>
                <a:cubicBezTo>
                  <a:pt x="6250950" y="1772838"/>
                  <a:pt x="6254448" y="1775823"/>
                  <a:pt x="6259777" y="1781881"/>
                </a:cubicBezTo>
                <a:cubicBezTo>
                  <a:pt x="6260608" y="1797682"/>
                  <a:pt x="6261688" y="1818224"/>
                  <a:pt x="6262603" y="1835607"/>
                </a:cubicBezTo>
                <a:cubicBezTo>
                  <a:pt x="6281421" y="1844123"/>
                  <a:pt x="6278838" y="1858519"/>
                  <a:pt x="6281168" y="1871072"/>
                </a:cubicBezTo>
                <a:cubicBezTo>
                  <a:pt x="6284998" y="1880379"/>
                  <a:pt x="6293824" y="1889422"/>
                  <a:pt x="6299151" y="1895479"/>
                </a:cubicBezTo>
                <a:cubicBezTo>
                  <a:pt x="6291407" y="1906978"/>
                  <a:pt x="6286744" y="1913561"/>
                  <a:pt x="6280581" y="1923392"/>
                </a:cubicBezTo>
                <a:cubicBezTo>
                  <a:pt x="6285909" y="1929451"/>
                  <a:pt x="6292903" y="1935421"/>
                  <a:pt x="6298315" y="1943059"/>
                </a:cubicBezTo>
                <a:cubicBezTo>
                  <a:pt x="6293485" y="1946481"/>
                  <a:pt x="6290404" y="1951398"/>
                  <a:pt x="6285657" y="1956401"/>
                </a:cubicBezTo>
                <a:cubicBezTo>
                  <a:pt x="6286156" y="1965881"/>
                  <a:pt x="6286654" y="1975362"/>
                  <a:pt x="6287070" y="1983263"/>
                </a:cubicBezTo>
                <a:cubicBezTo>
                  <a:pt x="6292315" y="1987741"/>
                  <a:pt x="6297561" y="1992219"/>
                  <a:pt x="6304637" y="1999768"/>
                </a:cubicBezTo>
                <a:cubicBezTo>
                  <a:pt x="6300058" y="2007932"/>
                  <a:pt x="6295476" y="2016096"/>
                  <a:pt x="6290980" y="2025840"/>
                </a:cubicBezTo>
                <a:cubicBezTo>
                  <a:pt x="6294477" y="2028825"/>
                  <a:pt x="6297973" y="2031810"/>
                  <a:pt x="6306632" y="2037692"/>
                </a:cubicBezTo>
                <a:cubicBezTo>
                  <a:pt x="6295391" y="2046206"/>
                  <a:pt x="6284065" y="2053139"/>
                  <a:pt x="6275987" y="2058318"/>
                </a:cubicBezTo>
                <a:cubicBezTo>
                  <a:pt x="6276820" y="2074120"/>
                  <a:pt x="6277234" y="2082020"/>
                  <a:pt x="6277734" y="2091501"/>
                </a:cubicBezTo>
                <a:cubicBezTo>
                  <a:pt x="6266658" y="2103176"/>
                  <a:pt x="6255582" y="2114850"/>
                  <a:pt x="6242841" y="2126612"/>
                </a:cubicBezTo>
                <a:cubicBezTo>
                  <a:pt x="6234098" y="2119149"/>
                  <a:pt x="6223607" y="2110193"/>
                  <a:pt x="6211451" y="2101327"/>
                </a:cubicBezTo>
                <a:cubicBezTo>
                  <a:pt x="6204873" y="2103257"/>
                  <a:pt x="6198293" y="2105188"/>
                  <a:pt x="6191715" y="2107117"/>
                </a:cubicBezTo>
                <a:cubicBezTo>
                  <a:pt x="6197044" y="2113176"/>
                  <a:pt x="6202290" y="2117653"/>
                  <a:pt x="6207535" y="2122131"/>
                </a:cubicBezTo>
                <a:cubicBezTo>
                  <a:pt x="6209032" y="2150573"/>
                  <a:pt x="6210527" y="2179016"/>
                  <a:pt x="6212023" y="2207458"/>
                </a:cubicBezTo>
                <a:cubicBezTo>
                  <a:pt x="6232008" y="2206407"/>
                  <a:pt x="6223099" y="2195784"/>
                  <a:pt x="6226014" y="2187708"/>
                </a:cubicBezTo>
                <a:cubicBezTo>
                  <a:pt x="6237423" y="2182354"/>
                  <a:pt x="6248747" y="2175421"/>
                  <a:pt x="6264987" y="2166644"/>
                </a:cubicBezTo>
                <a:cubicBezTo>
                  <a:pt x="6268317" y="2166469"/>
                  <a:pt x="6278309" y="2165944"/>
                  <a:pt x="6288301" y="2165418"/>
                </a:cubicBezTo>
                <a:cubicBezTo>
                  <a:pt x="6293049" y="2160415"/>
                  <a:pt x="6297796" y="2155412"/>
                  <a:pt x="6302626" y="2151988"/>
                </a:cubicBezTo>
                <a:cubicBezTo>
                  <a:pt x="6314864" y="2162436"/>
                  <a:pt x="6328770" y="2172796"/>
                  <a:pt x="6341009" y="2183244"/>
                </a:cubicBezTo>
                <a:cubicBezTo>
                  <a:pt x="6342172" y="2205366"/>
                  <a:pt x="6343337" y="2227488"/>
                  <a:pt x="6344501" y="2249610"/>
                </a:cubicBezTo>
                <a:cubicBezTo>
                  <a:pt x="6349746" y="2254088"/>
                  <a:pt x="6353326" y="2258653"/>
                  <a:pt x="6358571" y="2263131"/>
                </a:cubicBezTo>
                <a:cubicBezTo>
                  <a:pt x="6345663" y="2271732"/>
                  <a:pt x="6332673" y="2278754"/>
                  <a:pt x="6318100" y="2287442"/>
                </a:cubicBezTo>
                <a:cubicBezTo>
                  <a:pt x="6318682" y="2298503"/>
                  <a:pt x="6319098" y="2306404"/>
                  <a:pt x="6318015" y="2317552"/>
                </a:cubicBezTo>
                <a:cubicBezTo>
                  <a:pt x="6314933" y="2322469"/>
                  <a:pt x="6308604" y="2329140"/>
                  <a:pt x="6303941" y="2335723"/>
                </a:cubicBezTo>
                <a:cubicBezTo>
                  <a:pt x="6286285" y="2349328"/>
                  <a:pt x="6263722" y="2333085"/>
                  <a:pt x="6247898" y="2349762"/>
                </a:cubicBezTo>
                <a:cubicBezTo>
                  <a:pt x="6258141" y="2353977"/>
                  <a:pt x="6268299" y="2356612"/>
                  <a:pt x="6276876" y="2360914"/>
                </a:cubicBezTo>
                <a:cubicBezTo>
                  <a:pt x="6277124" y="2365654"/>
                  <a:pt x="6277375" y="2370395"/>
                  <a:pt x="6277624" y="2375136"/>
                </a:cubicBezTo>
                <a:cubicBezTo>
                  <a:pt x="6288197" y="2385671"/>
                  <a:pt x="6301188" y="2378649"/>
                  <a:pt x="6316343" y="2381021"/>
                </a:cubicBezTo>
                <a:cubicBezTo>
                  <a:pt x="6319923" y="2385587"/>
                  <a:pt x="6327084" y="2394717"/>
                  <a:pt x="6332579" y="2403934"/>
                </a:cubicBezTo>
                <a:cubicBezTo>
                  <a:pt x="6326250" y="2410606"/>
                  <a:pt x="6315090" y="2420700"/>
                  <a:pt x="6332408" y="2432465"/>
                </a:cubicBezTo>
                <a:cubicBezTo>
                  <a:pt x="6337156" y="2427462"/>
                  <a:pt x="6341986" y="2424039"/>
                  <a:pt x="6346733" y="2419036"/>
                </a:cubicBezTo>
                <a:cubicBezTo>
                  <a:pt x="6348480" y="2420528"/>
                  <a:pt x="6351895" y="2421934"/>
                  <a:pt x="6351978" y="2423513"/>
                </a:cubicBezTo>
                <a:cubicBezTo>
                  <a:pt x="6352975" y="2442474"/>
                  <a:pt x="6353890" y="2459856"/>
                  <a:pt x="6354887" y="2478818"/>
                </a:cubicBezTo>
                <a:cubicBezTo>
                  <a:pt x="6351723" y="2482154"/>
                  <a:pt x="6347059" y="2488737"/>
                  <a:pt x="6342313" y="2493740"/>
                </a:cubicBezTo>
                <a:cubicBezTo>
                  <a:pt x="6347475" y="2496638"/>
                  <a:pt x="6352720" y="2501115"/>
                  <a:pt x="6357966" y="2505593"/>
                </a:cubicBezTo>
                <a:cubicBezTo>
                  <a:pt x="6345224" y="2517355"/>
                  <a:pt x="6321825" y="2517001"/>
                  <a:pt x="6317911" y="2537806"/>
                </a:cubicBezTo>
                <a:cubicBezTo>
                  <a:pt x="6321408" y="2540791"/>
                  <a:pt x="6324905" y="2543776"/>
                  <a:pt x="6328402" y="2546761"/>
                </a:cubicBezTo>
                <a:cubicBezTo>
                  <a:pt x="6319241" y="2563088"/>
                  <a:pt x="6319241" y="2563088"/>
                  <a:pt x="6321737" y="2578802"/>
                </a:cubicBezTo>
                <a:cubicBezTo>
                  <a:pt x="6335059" y="2578100"/>
                  <a:pt x="6345470" y="2553786"/>
                  <a:pt x="6363454" y="2578192"/>
                </a:cubicBezTo>
                <a:cubicBezTo>
                  <a:pt x="6355543" y="2586530"/>
                  <a:pt x="6346050" y="2596537"/>
                  <a:pt x="6334891" y="2606632"/>
                </a:cubicBezTo>
                <a:cubicBezTo>
                  <a:pt x="6340469" y="2617430"/>
                  <a:pt x="6347879" y="2631301"/>
                  <a:pt x="6355287" y="2645171"/>
                </a:cubicBezTo>
                <a:cubicBezTo>
                  <a:pt x="6360368" y="2646489"/>
                  <a:pt x="6367112" y="2647718"/>
                  <a:pt x="6373773" y="2647367"/>
                </a:cubicBezTo>
                <a:cubicBezTo>
                  <a:pt x="6381017" y="2658079"/>
                  <a:pt x="6386595" y="2668877"/>
                  <a:pt x="6393838" y="2679587"/>
                </a:cubicBezTo>
                <a:cubicBezTo>
                  <a:pt x="6386177" y="2692667"/>
                  <a:pt x="6378598" y="2707325"/>
                  <a:pt x="6371018" y="2721985"/>
                </a:cubicBezTo>
                <a:cubicBezTo>
                  <a:pt x="6374516" y="2724971"/>
                  <a:pt x="6378013" y="2727956"/>
                  <a:pt x="6385007" y="2733925"/>
                </a:cubicBezTo>
                <a:cubicBezTo>
                  <a:pt x="6386586" y="2763949"/>
                  <a:pt x="6388332" y="2797131"/>
                  <a:pt x="6389994" y="2828734"/>
                </a:cubicBezTo>
                <a:cubicBezTo>
                  <a:pt x="6400235" y="2832949"/>
                  <a:pt x="6408728" y="2835671"/>
                  <a:pt x="6417139" y="2836813"/>
                </a:cubicBezTo>
                <a:cubicBezTo>
                  <a:pt x="6409809" y="2856213"/>
                  <a:pt x="6392408" y="2842867"/>
                  <a:pt x="6379500" y="2851470"/>
                </a:cubicBezTo>
                <a:cubicBezTo>
                  <a:pt x="6378000" y="2854717"/>
                  <a:pt x="6376668" y="2861125"/>
                  <a:pt x="6375418" y="2869113"/>
                </a:cubicBezTo>
                <a:cubicBezTo>
                  <a:pt x="6383911" y="2871836"/>
                  <a:pt x="6393987" y="2872890"/>
                  <a:pt x="6400897" y="2877281"/>
                </a:cubicBezTo>
                <a:cubicBezTo>
                  <a:pt x="6404312" y="2878686"/>
                  <a:pt x="6404561" y="2883425"/>
                  <a:pt x="6406476" y="2888079"/>
                </a:cubicBezTo>
                <a:cubicBezTo>
                  <a:pt x="6399813" y="2888429"/>
                  <a:pt x="6393153" y="2888780"/>
                  <a:pt x="6384826" y="2889217"/>
                </a:cubicBezTo>
                <a:cubicBezTo>
                  <a:pt x="6383159" y="2889306"/>
                  <a:pt x="6379995" y="2892640"/>
                  <a:pt x="6381661" y="2892554"/>
                </a:cubicBezTo>
                <a:cubicBezTo>
                  <a:pt x="6381910" y="2897293"/>
                  <a:pt x="6383824" y="2901946"/>
                  <a:pt x="6385491" y="2901859"/>
                </a:cubicBezTo>
                <a:cubicBezTo>
                  <a:pt x="6393901" y="2903001"/>
                  <a:pt x="6400478" y="2901070"/>
                  <a:pt x="6407141" y="2900720"/>
                </a:cubicBezTo>
                <a:cubicBezTo>
                  <a:pt x="6405725" y="2905547"/>
                  <a:pt x="6405974" y="2910288"/>
                  <a:pt x="6402726" y="2912043"/>
                </a:cubicBezTo>
                <a:cubicBezTo>
                  <a:pt x="6399562" y="2915379"/>
                  <a:pt x="6394482" y="2914062"/>
                  <a:pt x="6389569" y="2915905"/>
                </a:cubicBezTo>
                <a:cubicBezTo>
                  <a:pt x="6386321" y="2917660"/>
                  <a:pt x="6383157" y="2920995"/>
                  <a:pt x="6379993" y="2924331"/>
                </a:cubicBezTo>
                <a:cubicBezTo>
                  <a:pt x="6388486" y="2927054"/>
                  <a:pt x="6396978" y="2929775"/>
                  <a:pt x="6405472" y="2932498"/>
                </a:cubicBezTo>
                <a:cubicBezTo>
                  <a:pt x="6426786" y="2956729"/>
                  <a:pt x="6385983" y="2974721"/>
                  <a:pt x="6407879" y="3010013"/>
                </a:cubicBezTo>
                <a:cubicBezTo>
                  <a:pt x="6402551" y="3003954"/>
                  <a:pt x="6406214" y="3010100"/>
                  <a:pt x="6411460" y="3014578"/>
                </a:cubicBezTo>
                <a:cubicBezTo>
                  <a:pt x="6408379" y="3019494"/>
                  <a:pt x="6405297" y="3024409"/>
                  <a:pt x="6400549" y="3029412"/>
                </a:cubicBezTo>
                <a:cubicBezTo>
                  <a:pt x="6409375" y="3038455"/>
                  <a:pt x="6419866" y="3047411"/>
                  <a:pt x="6430357" y="3056366"/>
                </a:cubicBezTo>
                <a:cubicBezTo>
                  <a:pt x="6419033" y="3063299"/>
                  <a:pt x="6417949" y="3074448"/>
                  <a:pt x="6415116" y="3084104"/>
                </a:cubicBezTo>
                <a:cubicBezTo>
                  <a:pt x="6410620" y="3093848"/>
                  <a:pt x="6399295" y="3100782"/>
                  <a:pt x="6391383" y="3109120"/>
                </a:cubicBezTo>
                <a:cubicBezTo>
                  <a:pt x="6410617" y="3125538"/>
                  <a:pt x="6431432" y="3140288"/>
                  <a:pt x="6450583" y="3155127"/>
                </a:cubicBezTo>
                <a:cubicBezTo>
                  <a:pt x="6440089" y="3177861"/>
                  <a:pt x="6420520" y="3186814"/>
                  <a:pt x="6409860" y="3206389"/>
                </a:cubicBezTo>
                <a:cubicBezTo>
                  <a:pt x="6410192" y="3212709"/>
                  <a:pt x="6410691" y="3222190"/>
                  <a:pt x="6411273" y="3233250"/>
                </a:cubicBezTo>
                <a:cubicBezTo>
                  <a:pt x="6416352" y="3234568"/>
                  <a:pt x="6421431" y="3235885"/>
                  <a:pt x="6428176" y="3237115"/>
                </a:cubicBezTo>
                <a:cubicBezTo>
                  <a:pt x="6434921" y="3238345"/>
                  <a:pt x="6441748" y="3241154"/>
                  <a:pt x="6442164" y="3249056"/>
                </a:cubicBezTo>
                <a:cubicBezTo>
                  <a:pt x="6434002" y="3252654"/>
                  <a:pt x="6422262" y="3251687"/>
                  <a:pt x="6432836" y="3262222"/>
                </a:cubicBezTo>
                <a:cubicBezTo>
                  <a:pt x="6436001" y="3258887"/>
                  <a:pt x="6439166" y="3255551"/>
                  <a:pt x="6442164" y="3249056"/>
                </a:cubicBezTo>
                <a:cubicBezTo>
                  <a:pt x="6453821" y="3248441"/>
                  <a:pt x="6454319" y="3257924"/>
                  <a:pt x="6456651" y="3270477"/>
                </a:cubicBezTo>
                <a:cubicBezTo>
                  <a:pt x="6446991" y="3277323"/>
                  <a:pt x="6435749" y="3285838"/>
                  <a:pt x="6426171" y="3294263"/>
                </a:cubicBezTo>
                <a:cubicBezTo>
                  <a:pt x="6438495" y="3306290"/>
                  <a:pt x="6448986" y="3315246"/>
                  <a:pt x="6459560" y="3325782"/>
                </a:cubicBezTo>
                <a:cubicBezTo>
                  <a:pt x="6449734" y="3329467"/>
                  <a:pt x="6441490" y="3331486"/>
                  <a:pt x="6433329" y="3335084"/>
                </a:cubicBezTo>
                <a:cubicBezTo>
                  <a:pt x="6425668" y="3348163"/>
                  <a:pt x="6434410" y="3355625"/>
                  <a:pt x="6448314" y="3365986"/>
                </a:cubicBezTo>
                <a:cubicBezTo>
                  <a:pt x="6440153" y="3369584"/>
                  <a:pt x="6432077" y="3374762"/>
                  <a:pt x="6423916" y="3378361"/>
                </a:cubicBezTo>
                <a:cubicBezTo>
                  <a:pt x="6413006" y="3393195"/>
                  <a:pt x="6390525" y="3378532"/>
                  <a:pt x="6376368" y="3395123"/>
                </a:cubicBezTo>
                <a:cubicBezTo>
                  <a:pt x="6392353" y="3413296"/>
                  <a:pt x="6417670" y="3386612"/>
                  <a:pt x="6433738" y="3406365"/>
                </a:cubicBezTo>
                <a:cubicBezTo>
                  <a:pt x="6429324" y="3417689"/>
                  <a:pt x="6402096" y="3408030"/>
                  <a:pt x="6406507" y="3428396"/>
                </a:cubicBezTo>
                <a:cubicBezTo>
                  <a:pt x="6412251" y="3442355"/>
                  <a:pt x="6425907" y="3447974"/>
                  <a:pt x="6436565" y="3460090"/>
                </a:cubicBezTo>
                <a:cubicBezTo>
                  <a:pt x="6431652" y="3461933"/>
                  <a:pt x="6426822" y="3465356"/>
                  <a:pt x="6421909" y="3467200"/>
                </a:cubicBezTo>
                <a:cubicBezTo>
                  <a:pt x="6412000" y="3469305"/>
                  <a:pt x="6401757" y="3465091"/>
                  <a:pt x="6395596" y="3474922"/>
                </a:cubicBezTo>
                <a:cubicBezTo>
                  <a:pt x="6400924" y="3480979"/>
                  <a:pt x="6407918" y="3486949"/>
                  <a:pt x="6414911" y="3492919"/>
                </a:cubicBezTo>
                <a:cubicBezTo>
                  <a:pt x="6419742" y="3489496"/>
                  <a:pt x="6424572" y="3486073"/>
                  <a:pt x="6430900" y="3479402"/>
                </a:cubicBezTo>
                <a:cubicBezTo>
                  <a:pt x="6434564" y="3485547"/>
                  <a:pt x="6438145" y="3490113"/>
                  <a:pt x="6438393" y="3494853"/>
                </a:cubicBezTo>
                <a:cubicBezTo>
                  <a:pt x="6440475" y="3502667"/>
                  <a:pt x="6437643" y="3512323"/>
                  <a:pt x="6446385" y="3519786"/>
                </a:cubicBezTo>
                <a:cubicBezTo>
                  <a:pt x="6451547" y="3522683"/>
                  <a:pt x="6453545" y="3528916"/>
                  <a:pt x="6457125" y="3533481"/>
                </a:cubicBezTo>
                <a:cubicBezTo>
                  <a:pt x="6450963" y="3543312"/>
                  <a:pt x="6446299" y="3549896"/>
                  <a:pt x="6440135" y="3559727"/>
                </a:cubicBezTo>
                <a:cubicBezTo>
                  <a:pt x="6445465" y="3565785"/>
                  <a:pt x="6450877" y="3573423"/>
                  <a:pt x="6456288" y="3581060"/>
                </a:cubicBezTo>
                <a:cubicBezTo>
                  <a:pt x="6453123" y="3584396"/>
                  <a:pt x="6448377" y="3589399"/>
                  <a:pt x="6442047" y="3596071"/>
                </a:cubicBezTo>
                <a:cubicBezTo>
                  <a:pt x="6452456" y="3603445"/>
                  <a:pt x="6464529" y="3610733"/>
                  <a:pt x="6476686" y="3619601"/>
                </a:cubicBezTo>
                <a:cubicBezTo>
                  <a:pt x="6473770" y="3627676"/>
                  <a:pt x="6472438" y="3634084"/>
                  <a:pt x="6469438" y="3640580"/>
                </a:cubicBezTo>
                <a:cubicBezTo>
                  <a:pt x="6462445" y="3634611"/>
                  <a:pt x="6457283" y="3631713"/>
                  <a:pt x="6451954" y="3625655"/>
                </a:cubicBezTo>
                <a:cubicBezTo>
                  <a:pt x="6449038" y="3633731"/>
                  <a:pt x="6447623" y="3638559"/>
                  <a:pt x="6446290" y="3644967"/>
                </a:cubicBezTo>
                <a:cubicBezTo>
                  <a:pt x="6461777" y="3653659"/>
                  <a:pt x="6477265" y="3662351"/>
                  <a:pt x="6491003" y="3669552"/>
                </a:cubicBezTo>
                <a:cubicBezTo>
                  <a:pt x="6491418" y="3677453"/>
                  <a:pt x="6491585" y="3680613"/>
                  <a:pt x="6491918" y="3686934"/>
                </a:cubicBezTo>
                <a:cubicBezTo>
                  <a:pt x="6485422" y="3690444"/>
                  <a:pt x="6475596" y="3694130"/>
                  <a:pt x="6465770" y="3697816"/>
                </a:cubicBezTo>
                <a:cubicBezTo>
                  <a:pt x="6466518" y="3712038"/>
                  <a:pt x="6467266" y="3726258"/>
                  <a:pt x="6467931" y="3738899"/>
                </a:cubicBezTo>
                <a:cubicBezTo>
                  <a:pt x="6461685" y="3747151"/>
                  <a:pt x="6456855" y="3750574"/>
                  <a:pt x="6452274" y="3758737"/>
                </a:cubicBezTo>
                <a:cubicBezTo>
                  <a:pt x="6460685" y="3759879"/>
                  <a:pt x="6467430" y="3761109"/>
                  <a:pt x="6474174" y="3762339"/>
                </a:cubicBezTo>
                <a:cubicBezTo>
                  <a:pt x="6481334" y="3771469"/>
                  <a:pt x="6486913" y="3782267"/>
                  <a:pt x="6494156" y="3792977"/>
                </a:cubicBezTo>
                <a:cubicBezTo>
                  <a:pt x="6484829" y="3806145"/>
                  <a:pt x="6482661" y="3828442"/>
                  <a:pt x="6464924" y="3840467"/>
                </a:cubicBezTo>
                <a:cubicBezTo>
                  <a:pt x="6459762" y="3837570"/>
                  <a:pt x="6454598" y="3834672"/>
                  <a:pt x="6449437" y="3831774"/>
                </a:cubicBezTo>
                <a:cubicBezTo>
                  <a:pt x="6439611" y="3835460"/>
                  <a:pt x="6441691" y="3843274"/>
                  <a:pt x="6445604" y="3854159"/>
                </a:cubicBezTo>
                <a:cubicBezTo>
                  <a:pt x="6450601" y="3853897"/>
                  <a:pt x="6457345" y="3855126"/>
                  <a:pt x="6465837" y="3857849"/>
                </a:cubicBezTo>
                <a:cubicBezTo>
                  <a:pt x="6472916" y="3865398"/>
                  <a:pt x="6489819" y="3869263"/>
                  <a:pt x="6489068" y="3886732"/>
                </a:cubicBezTo>
                <a:cubicBezTo>
                  <a:pt x="6474495" y="3895422"/>
                  <a:pt x="6460004" y="3905691"/>
                  <a:pt x="6445515" y="3915959"/>
                </a:cubicBezTo>
                <a:cubicBezTo>
                  <a:pt x="6450843" y="3922018"/>
                  <a:pt x="6456090" y="3926495"/>
                  <a:pt x="6461334" y="3930973"/>
                </a:cubicBezTo>
                <a:cubicBezTo>
                  <a:pt x="6456588" y="3935976"/>
                  <a:pt x="6451841" y="3940980"/>
                  <a:pt x="6447177" y="3947563"/>
                </a:cubicBezTo>
                <a:cubicBezTo>
                  <a:pt x="6449092" y="3952216"/>
                  <a:pt x="6451090" y="3958448"/>
                  <a:pt x="6454753" y="3964594"/>
                </a:cubicBezTo>
                <a:cubicBezTo>
                  <a:pt x="6461166" y="3959503"/>
                  <a:pt x="6465913" y="3954500"/>
                  <a:pt x="6470742" y="3951077"/>
                </a:cubicBezTo>
                <a:cubicBezTo>
                  <a:pt x="6482982" y="3961524"/>
                  <a:pt x="6478651" y="3974428"/>
                  <a:pt x="6475985" y="3987245"/>
                </a:cubicBezTo>
                <a:cubicBezTo>
                  <a:pt x="6462745" y="3989526"/>
                  <a:pt x="6449588" y="3993387"/>
                  <a:pt x="6434683" y="3995756"/>
                </a:cubicBezTo>
                <a:cubicBezTo>
                  <a:pt x="6447255" y="4012524"/>
                  <a:pt x="6463244" y="3999007"/>
                  <a:pt x="6477065" y="4007787"/>
                </a:cubicBezTo>
                <a:cubicBezTo>
                  <a:pt x="6478897" y="4010860"/>
                  <a:pt x="6480894" y="4017093"/>
                  <a:pt x="6482976" y="4024905"/>
                </a:cubicBezTo>
                <a:cubicBezTo>
                  <a:pt x="6484724" y="4026398"/>
                  <a:pt x="6488222" y="4029384"/>
                  <a:pt x="6491802" y="4033949"/>
                </a:cubicBezTo>
                <a:cubicBezTo>
                  <a:pt x="6491885" y="4035529"/>
                  <a:pt x="6492051" y="4038689"/>
                  <a:pt x="6490552" y="4041937"/>
                </a:cubicBezTo>
                <a:cubicBezTo>
                  <a:pt x="6483055" y="4058176"/>
                  <a:pt x="6477143" y="4072747"/>
                  <a:pt x="6469646" y="4088988"/>
                </a:cubicBezTo>
                <a:cubicBezTo>
                  <a:pt x="6468148" y="4092236"/>
                  <a:pt x="6470063" y="4096888"/>
                  <a:pt x="6470394" y="4103208"/>
                </a:cubicBezTo>
                <a:cubicBezTo>
                  <a:pt x="6460985" y="4114795"/>
                  <a:pt x="6451574" y="4126382"/>
                  <a:pt x="6443663" y="4134721"/>
                </a:cubicBezTo>
                <a:cubicBezTo>
                  <a:pt x="6442828" y="4150609"/>
                  <a:pt x="6452987" y="4153245"/>
                  <a:pt x="6459981" y="4159214"/>
                </a:cubicBezTo>
                <a:cubicBezTo>
                  <a:pt x="6463561" y="4163780"/>
                  <a:pt x="6468806" y="4168257"/>
                  <a:pt x="6474052" y="4172735"/>
                </a:cubicBezTo>
                <a:cubicBezTo>
                  <a:pt x="6469306" y="4177738"/>
                  <a:pt x="6464558" y="4182741"/>
                  <a:pt x="6461476" y="4187657"/>
                </a:cubicBezTo>
                <a:cubicBezTo>
                  <a:pt x="6466640" y="4190555"/>
                  <a:pt x="6470136" y="4193539"/>
                  <a:pt x="6477214" y="4201090"/>
                </a:cubicBezTo>
                <a:cubicBezTo>
                  <a:pt x="6465806" y="4206444"/>
                  <a:pt x="6452815" y="4213465"/>
                  <a:pt x="6436493" y="4220661"/>
                </a:cubicBezTo>
                <a:cubicBezTo>
                  <a:pt x="6465720" y="4236554"/>
                  <a:pt x="6463469" y="4257271"/>
                  <a:pt x="6479123" y="4269124"/>
                </a:cubicBezTo>
                <a:cubicBezTo>
                  <a:pt x="6484284" y="4272020"/>
                  <a:pt x="6479953" y="4284925"/>
                  <a:pt x="6480370" y="4292826"/>
                </a:cubicBezTo>
                <a:cubicBezTo>
                  <a:pt x="6475705" y="4299410"/>
                  <a:pt x="6470959" y="4304412"/>
                  <a:pt x="6466295" y="4310996"/>
                </a:cubicBezTo>
                <a:cubicBezTo>
                  <a:pt x="6473622" y="4323286"/>
                  <a:pt x="6479366" y="4337245"/>
                  <a:pt x="6488440" y="4351028"/>
                </a:cubicBezTo>
                <a:cubicBezTo>
                  <a:pt x="6493520" y="4352345"/>
                  <a:pt x="6500265" y="4353576"/>
                  <a:pt x="6507009" y="4354805"/>
                </a:cubicBezTo>
                <a:cubicBezTo>
                  <a:pt x="6524328" y="4366569"/>
                  <a:pt x="6509839" y="4376840"/>
                  <a:pt x="6500344" y="4386846"/>
                </a:cubicBezTo>
                <a:cubicBezTo>
                  <a:pt x="6500761" y="4394747"/>
                  <a:pt x="6501260" y="4404227"/>
                  <a:pt x="6501757" y="4413708"/>
                </a:cubicBezTo>
                <a:cubicBezTo>
                  <a:pt x="6507004" y="4418186"/>
                  <a:pt x="6512248" y="4422663"/>
                  <a:pt x="6517495" y="4427141"/>
                </a:cubicBezTo>
                <a:cubicBezTo>
                  <a:pt x="6509334" y="4430740"/>
                  <a:pt x="6501172" y="4434338"/>
                  <a:pt x="6491346" y="4438024"/>
                </a:cubicBezTo>
                <a:cubicBezTo>
                  <a:pt x="6489931" y="4442852"/>
                  <a:pt x="6490263" y="4449172"/>
                  <a:pt x="6489013" y="4457161"/>
                </a:cubicBezTo>
                <a:cubicBezTo>
                  <a:pt x="6499173" y="4459796"/>
                  <a:pt x="6507582" y="4460937"/>
                  <a:pt x="6516076" y="4463659"/>
                </a:cubicBezTo>
                <a:cubicBezTo>
                  <a:pt x="6530313" y="4480340"/>
                  <a:pt x="6499085" y="4489906"/>
                  <a:pt x="6506578" y="4505356"/>
                </a:cubicBezTo>
                <a:cubicBezTo>
                  <a:pt x="6514155" y="4522388"/>
                  <a:pt x="6489507" y="4530022"/>
                  <a:pt x="6493834" y="4548809"/>
                </a:cubicBezTo>
                <a:cubicBezTo>
                  <a:pt x="6498997" y="4551707"/>
                  <a:pt x="6504243" y="4556184"/>
                  <a:pt x="6509572" y="4562242"/>
                </a:cubicBezTo>
                <a:cubicBezTo>
                  <a:pt x="6509986" y="4570143"/>
                  <a:pt x="6510486" y="4579624"/>
                  <a:pt x="6510901" y="4587525"/>
                </a:cubicBezTo>
                <a:cubicBezTo>
                  <a:pt x="6506155" y="4592527"/>
                  <a:pt x="6501407" y="4597531"/>
                  <a:pt x="6496744" y="4604113"/>
                </a:cubicBezTo>
                <a:cubicBezTo>
                  <a:pt x="6497160" y="4612014"/>
                  <a:pt x="6497659" y="4621495"/>
                  <a:pt x="6498074" y="4629397"/>
                </a:cubicBezTo>
                <a:cubicBezTo>
                  <a:pt x="6493327" y="4634400"/>
                  <a:pt x="6490246" y="4639315"/>
                  <a:pt x="6482335" y="4647653"/>
                </a:cubicBezTo>
                <a:cubicBezTo>
                  <a:pt x="6499072" y="4648358"/>
                  <a:pt x="6512478" y="4649237"/>
                  <a:pt x="6529298" y="4651522"/>
                </a:cubicBezTo>
                <a:cubicBezTo>
                  <a:pt x="6528131" y="4661090"/>
                  <a:pt x="6526798" y="4667498"/>
                  <a:pt x="6525549" y="4675487"/>
                </a:cubicBezTo>
                <a:cubicBezTo>
                  <a:pt x="6517222" y="4675925"/>
                  <a:pt x="6512225" y="4676188"/>
                  <a:pt x="6505563" y="4676538"/>
                </a:cubicBezTo>
                <a:cubicBezTo>
                  <a:pt x="6502815" y="4687774"/>
                  <a:pt x="6501815" y="4700503"/>
                  <a:pt x="6499148" y="4713319"/>
                </a:cubicBezTo>
                <a:cubicBezTo>
                  <a:pt x="6495983" y="4716655"/>
                  <a:pt x="6492819" y="4719991"/>
                  <a:pt x="6489655" y="4723325"/>
                </a:cubicBezTo>
                <a:cubicBezTo>
                  <a:pt x="6490320" y="4735967"/>
                  <a:pt x="6491068" y="4750188"/>
                  <a:pt x="6491816" y="4764410"/>
                </a:cubicBezTo>
                <a:cubicBezTo>
                  <a:pt x="6500393" y="4768712"/>
                  <a:pt x="6510634" y="4772927"/>
                  <a:pt x="6520793" y="4775562"/>
                </a:cubicBezTo>
                <a:cubicBezTo>
                  <a:pt x="6521041" y="4780302"/>
                  <a:pt x="6521292" y="4785042"/>
                  <a:pt x="6521624" y="4791362"/>
                </a:cubicBezTo>
                <a:cubicBezTo>
                  <a:pt x="6511797" y="4795048"/>
                  <a:pt x="6502054" y="4800314"/>
                  <a:pt x="6489063" y="4807335"/>
                </a:cubicBezTo>
                <a:cubicBezTo>
                  <a:pt x="6502886" y="4816116"/>
                  <a:pt x="6514959" y="4823403"/>
                  <a:pt x="6523619" y="4829286"/>
                </a:cubicBezTo>
                <a:cubicBezTo>
                  <a:pt x="6524284" y="4841927"/>
                  <a:pt x="6524783" y="4851408"/>
                  <a:pt x="6511542" y="4853689"/>
                </a:cubicBezTo>
                <a:cubicBezTo>
                  <a:pt x="6507713" y="4844383"/>
                  <a:pt x="6508880" y="4834814"/>
                  <a:pt x="6496054" y="4844996"/>
                </a:cubicBezTo>
                <a:cubicBezTo>
                  <a:pt x="6501218" y="4847894"/>
                  <a:pt x="6504714" y="4850878"/>
                  <a:pt x="6511542" y="4853689"/>
                </a:cubicBezTo>
                <a:cubicBezTo>
                  <a:pt x="6510127" y="4858517"/>
                  <a:pt x="6510458" y="4864837"/>
                  <a:pt x="6510875" y="4872738"/>
                </a:cubicBezTo>
                <a:cubicBezTo>
                  <a:pt x="6519368" y="4875461"/>
                  <a:pt x="6527860" y="4878183"/>
                  <a:pt x="6539685" y="4880730"/>
                </a:cubicBezTo>
                <a:cubicBezTo>
                  <a:pt x="6535021" y="4887314"/>
                  <a:pt x="6528692" y="4893984"/>
                  <a:pt x="6527358" y="4900392"/>
                </a:cubicBezTo>
                <a:cubicBezTo>
                  <a:pt x="6526108" y="4908381"/>
                  <a:pt x="6528274" y="4917774"/>
                  <a:pt x="6528771" y="4927255"/>
                </a:cubicBezTo>
                <a:cubicBezTo>
                  <a:pt x="6518946" y="4930941"/>
                  <a:pt x="6510785" y="4934540"/>
                  <a:pt x="6502542" y="4936558"/>
                </a:cubicBezTo>
                <a:cubicBezTo>
                  <a:pt x="6506620" y="4950604"/>
                  <a:pt x="6520192" y="4954643"/>
                  <a:pt x="6530766" y="4965179"/>
                </a:cubicBezTo>
                <a:cubicBezTo>
                  <a:pt x="6526020" y="4970182"/>
                  <a:pt x="6521274" y="4975185"/>
                  <a:pt x="6516527" y="4980188"/>
                </a:cubicBezTo>
                <a:cubicBezTo>
                  <a:pt x="6516942" y="4988089"/>
                  <a:pt x="6517440" y="4997569"/>
                  <a:pt x="6517857" y="5005470"/>
                </a:cubicBezTo>
                <a:cubicBezTo>
                  <a:pt x="6513109" y="5010474"/>
                  <a:pt x="6508446" y="5017057"/>
                  <a:pt x="6505282" y="5020393"/>
                </a:cubicBezTo>
                <a:cubicBezTo>
                  <a:pt x="6499368" y="5034964"/>
                  <a:pt x="6516270" y="5038829"/>
                  <a:pt x="6520017" y="5046555"/>
                </a:cubicBezTo>
                <a:cubicBezTo>
                  <a:pt x="6520848" y="5062356"/>
                  <a:pt x="6521513" y="5074996"/>
                  <a:pt x="6522178" y="5087638"/>
                </a:cubicBezTo>
                <a:cubicBezTo>
                  <a:pt x="6517432" y="5092641"/>
                  <a:pt x="6512685" y="5097644"/>
                  <a:pt x="6509604" y="5102560"/>
                </a:cubicBezTo>
                <a:cubicBezTo>
                  <a:pt x="6521759" y="5111428"/>
                  <a:pt x="6534751" y="5104407"/>
                  <a:pt x="6549906" y="5106778"/>
                </a:cubicBezTo>
                <a:cubicBezTo>
                  <a:pt x="6550238" y="5113099"/>
                  <a:pt x="6552319" y="5120912"/>
                  <a:pt x="6554317" y="5127145"/>
                </a:cubicBezTo>
                <a:cubicBezTo>
                  <a:pt x="6542909" y="5132499"/>
                  <a:pt x="6534747" y="5136097"/>
                  <a:pt x="6523257" y="5139870"/>
                </a:cubicBezTo>
                <a:cubicBezTo>
                  <a:pt x="6535164" y="5143998"/>
                  <a:pt x="6545404" y="5148213"/>
                  <a:pt x="6553981" y="5152515"/>
                </a:cubicBezTo>
                <a:cubicBezTo>
                  <a:pt x="6554480" y="5161996"/>
                  <a:pt x="6554896" y="5169896"/>
                  <a:pt x="6555394" y="5179377"/>
                </a:cubicBezTo>
                <a:cubicBezTo>
                  <a:pt x="6560640" y="5183854"/>
                  <a:pt x="6565885" y="5188333"/>
                  <a:pt x="6571131" y="5192810"/>
                </a:cubicBezTo>
                <a:cubicBezTo>
                  <a:pt x="6571380" y="5197550"/>
                  <a:pt x="6571629" y="5202291"/>
                  <a:pt x="6571962" y="5208612"/>
                </a:cubicBezTo>
                <a:cubicBezTo>
                  <a:pt x="6565383" y="5210542"/>
                  <a:pt x="6560470" y="5212385"/>
                  <a:pt x="6550644" y="5216071"/>
                </a:cubicBezTo>
                <a:cubicBezTo>
                  <a:pt x="6546064" y="5224235"/>
                  <a:pt x="6541650" y="5235558"/>
                  <a:pt x="6532489" y="5251885"/>
                </a:cubicBezTo>
                <a:cubicBezTo>
                  <a:pt x="6533154" y="5264527"/>
                  <a:pt x="6534234" y="5285068"/>
                  <a:pt x="6535315" y="5305610"/>
                </a:cubicBezTo>
                <a:cubicBezTo>
                  <a:pt x="6542060" y="5306840"/>
                  <a:pt x="6548803" y="5308070"/>
                  <a:pt x="6557214" y="5309211"/>
                </a:cubicBezTo>
                <a:cubicBezTo>
                  <a:pt x="6572867" y="5321065"/>
                  <a:pt x="6561709" y="5331159"/>
                  <a:pt x="6550550" y="5341253"/>
                </a:cubicBezTo>
                <a:cubicBezTo>
                  <a:pt x="6550965" y="5349153"/>
                  <a:pt x="6548382" y="5363549"/>
                  <a:pt x="6551880" y="5366535"/>
                </a:cubicBezTo>
                <a:cubicBezTo>
                  <a:pt x="6569115" y="5376719"/>
                  <a:pt x="6562035" y="5400860"/>
                  <a:pt x="6584018" y="5406042"/>
                </a:cubicBezTo>
                <a:cubicBezTo>
                  <a:pt x="6568278" y="5424299"/>
                  <a:pt x="6545797" y="5409637"/>
                  <a:pt x="6529641" y="5419994"/>
                </a:cubicBezTo>
                <a:cubicBezTo>
                  <a:pt x="6528060" y="5421661"/>
                  <a:pt x="6526559" y="5424909"/>
                  <a:pt x="6526559" y="5424909"/>
                </a:cubicBezTo>
                <a:cubicBezTo>
                  <a:pt x="6540549" y="5436850"/>
                  <a:pt x="6556202" y="5448702"/>
                  <a:pt x="6570273" y="5462223"/>
                </a:cubicBezTo>
                <a:cubicBezTo>
                  <a:pt x="6562196" y="5467401"/>
                  <a:pt x="6552369" y="5471087"/>
                  <a:pt x="6542627" y="5476353"/>
                </a:cubicBezTo>
                <a:cubicBezTo>
                  <a:pt x="6547871" y="5480831"/>
                  <a:pt x="6553118" y="5485309"/>
                  <a:pt x="6558362" y="5489786"/>
                </a:cubicBezTo>
                <a:cubicBezTo>
                  <a:pt x="6553616" y="5494790"/>
                  <a:pt x="6548870" y="5499793"/>
                  <a:pt x="6545788" y="5504709"/>
                </a:cubicBezTo>
                <a:cubicBezTo>
                  <a:pt x="6551033" y="5509186"/>
                  <a:pt x="6556279" y="5513664"/>
                  <a:pt x="6561690" y="5521301"/>
                </a:cubicBezTo>
                <a:cubicBezTo>
                  <a:pt x="6558692" y="5527798"/>
                  <a:pt x="6554112" y="5535960"/>
                  <a:pt x="6548032" y="5547372"/>
                </a:cubicBezTo>
                <a:cubicBezTo>
                  <a:pt x="6556692" y="5553255"/>
                  <a:pt x="6568681" y="5558962"/>
                  <a:pt x="6584085" y="5566075"/>
                </a:cubicBezTo>
                <a:cubicBezTo>
                  <a:pt x="6567848" y="5574851"/>
                  <a:pt x="6558105" y="5580117"/>
                  <a:pt x="6545031" y="5585558"/>
                </a:cubicBezTo>
                <a:cubicBezTo>
                  <a:pt x="6552190" y="5594688"/>
                  <a:pt x="6557686" y="5603907"/>
                  <a:pt x="6563181" y="5613125"/>
                </a:cubicBezTo>
                <a:cubicBezTo>
                  <a:pt x="6555187" y="5619884"/>
                  <a:pt x="6545526" y="5626730"/>
                  <a:pt x="6554602" y="5640513"/>
                </a:cubicBezTo>
                <a:cubicBezTo>
                  <a:pt x="6561430" y="5643322"/>
                  <a:pt x="6569923" y="5646045"/>
                  <a:pt x="6578415" y="5648768"/>
                </a:cubicBezTo>
                <a:cubicBezTo>
                  <a:pt x="6579163" y="5662989"/>
                  <a:pt x="6565424" y="5655789"/>
                  <a:pt x="6552600" y="5665970"/>
                </a:cubicBezTo>
                <a:cubicBezTo>
                  <a:pt x="6552600" y="5665970"/>
                  <a:pt x="6546272" y="5672641"/>
                  <a:pt x="6539943" y="5679313"/>
                </a:cubicBezTo>
                <a:cubicBezTo>
                  <a:pt x="6540192" y="5684053"/>
                  <a:pt x="6540357" y="5687213"/>
                  <a:pt x="6540691" y="5693534"/>
                </a:cubicBezTo>
                <a:cubicBezTo>
                  <a:pt x="6552929" y="5703981"/>
                  <a:pt x="6576080" y="5699594"/>
                  <a:pt x="6582156" y="5719874"/>
                </a:cubicBezTo>
                <a:cubicBezTo>
                  <a:pt x="6580574" y="5721542"/>
                  <a:pt x="6577410" y="5724877"/>
                  <a:pt x="6574245" y="5728212"/>
                </a:cubicBezTo>
                <a:cubicBezTo>
                  <a:pt x="6570080" y="5744276"/>
                  <a:pt x="6567497" y="5758673"/>
                  <a:pt x="6584816" y="5770438"/>
                </a:cubicBezTo>
                <a:cubicBezTo>
                  <a:pt x="6583234" y="5772106"/>
                  <a:pt x="6581734" y="5775354"/>
                  <a:pt x="6580236" y="5778602"/>
                </a:cubicBezTo>
                <a:cubicBezTo>
                  <a:pt x="6574404" y="5794754"/>
                  <a:pt x="6549092" y="5789748"/>
                  <a:pt x="6543179" y="5804319"/>
                </a:cubicBezTo>
                <a:cubicBezTo>
                  <a:pt x="6554418" y="5827496"/>
                  <a:pt x="6578314" y="5837330"/>
                  <a:pt x="6590887" y="5854098"/>
                </a:cubicBezTo>
                <a:cubicBezTo>
                  <a:pt x="6596631" y="5868056"/>
                  <a:pt x="6581892" y="5873585"/>
                  <a:pt x="6579059" y="5883241"/>
                </a:cubicBezTo>
                <a:cubicBezTo>
                  <a:pt x="6584803" y="5897200"/>
                  <a:pt x="6592131" y="5909491"/>
                  <a:pt x="6599540" y="5923362"/>
                </a:cubicBezTo>
                <a:cubicBezTo>
                  <a:pt x="6607950" y="5924504"/>
                  <a:pt x="6616443" y="5927226"/>
                  <a:pt x="6623270" y="5930037"/>
                </a:cubicBezTo>
                <a:cubicBezTo>
                  <a:pt x="6625185" y="5934688"/>
                  <a:pt x="6625435" y="5939429"/>
                  <a:pt x="6625602" y="5942589"/>
                </a:cubicBezTo>
                <a:cubicBezTo>
                  <a:pt x="6616856" y="5966817"/>
                  <a:pt x="6583298" y="5963829"/>
                  <a:pt x="6572887" y="5988144"/>
                </a:cubicBezTo>
                <a:cubicBezTo>
                  <a:pt x="6574720" y="5991217"/>
                  <a:pt x="6578217" y="5994202"/>
                  <a:pt x="6583545" y="6000260"/>
                </a:cubicBezTo>
                <a:cubicBezTo>
                  <a:pt x="6584377" y="6016061"/>
                  <a:pt x="6585291" y="6033442"/>
                  <a:pt x="6586538" y="6057145"/>
                </a:cubicBezTo>
                <a:cubicBezTo>
                  <a:pt x="6593449" y="6061535"/>
                  <a:pt x="6603774" y="6067330"/>
                  <a:pt x="6614180" y="6074705"/>
                </a:cubicBezTo>
                <a:cubicBezTo>
                  <a:pt x="6622508" y="6074267"/>
                  <a:pt x="6630834" y="6073829"/>
                  <a:pt x="6640827" y="6073303"/>
                </a:cubicBezTo>
                <a:cubicBezTo>
                  <a:pt x="6647822" y="6079274"/>
                  <a:pt x="6654816" y="6085244"/>
                  <a:pt x="6661809" y="6091214"/>
                </a:cubicBezTo>
                <a:cubicBezTo>
                  <a:pt x="6655646" y="6101045"/>
                  <a:pt x="6645488" y="6098411"/>
                  <a:pt x="6637243" y="6100429"/>
                </a:cubicBezTo>
                <a:cubicBezTo>
                  <a:pt x="6630583" y="6100779"/>
                  <a:pt x="6625753" y="6104203"/>
                  <a:pt x="6614262" y="6107977"/>
                </a:cubicBezTo>
                <a:cubicBezTo>
                  <a:pt x="6627834" y="6112015"/>
                  <a:pt x="6636244" y="6113158"/>
                  <a:pt x="6648068" y="6115704"/>
                </a:cubicBezTo>
                <a:cubicBezTo>
                  <a:pt x="6648733" y="6128346"/>
                  <a:pt x="6649398" y="6140986"/>
                  <a:pt x="6650312" y="6158368"/>
                </a:cubicBezTo>
                <a:cubicBezTo>
                  <a:pt x="6642650" y="6171448"/>
                  <a:pt x="6635154" y="6187687"/>
                  <a:pt x="6625992" y="6204014"/>
                </a:cubicBezTo>
                <a:cubicBezTo>
                  <a:pt x="6636152" y="6206649"/>
                  <a:pt x="6644644" y="6209372"/>
                  <a:pt x="6653055" y="6210513"/>
                </a:cubicBezTo>
                <a:cubicBezTo>
                  <a:pt x="6645643" y="6228332"/>
                  <a:pt x="6627572" y="6234036"/>
                  <a:pt x="6613000" y="6242726"/>
                </a:cubicBezTo>
                <a:cubicBezTo>
                  <a:pt x="6623408" y="6250101"/>
                  <a:pt x="6630817" y="6263972"/>
                  <a:pt x="6648970" y="6259848"/>
                </a:cubicBezTo>
                <a:cubicBezTo>
                  <a:pt x="6661210" y="6270295"/>
                  <a:pt x="6673533" y="6282324"/>
                  <a:pt x="6685854" y="6294352"/>
                </a:cubicBezTo>
                <a:cubicBezTo>
                  <a:pt x="6679360" y="6297862"/>
                  <a:pt x="6671115" y="6299881"/>
                  <a:pt x="6661289" y="6303566"/>
                </a:cubicBezTo>
                <a:cubicBezTo>
                  <a:pt x="6661539" y="6308307"/>
                  <a:pt x="6660206" y="6314716"/>
                  <a:pt x="6658957" y="6322703"/>
                </a:cubicBezTo>
                <a:cubicBezTo>
                  <a:pt x="6667367" y="6323846"/>
                  <a:pt x="6675860" y="6326568"/>
                  <a:pt x="6687684" y="6329115"/>
                </a:cubicBezTo>
                <a:cubicBezTo>
                  <a:pt x="6692012" y="6347902"/>
                  <a:pt x="6689679" y="6367039"/>
                  <a:pt x="6692425" y="6387493"/>
                </a:cubicBezTo>
                <a:cubicBezTo>
                  <a:pt x="6695922" y="6390478"/>
                  <a:pt x="6699418" y="6393462"/>
                  <a:pt x="6704664" y="6397940"/>
                </a:cubicBezTo>
                <a:cubicBezTo>
                  <a:pt x="6697168" y="6414180"/>
                  <a:pt x="6688174" y="6433667"/>
                  <a:pt x="6679096" y="6451574"/>
                </a:cubicBezTo>
                <a:cubicBezTo>
                  <a:pt x="6686089" y="6457545"/>
                  <a:pt x="6689670" y="6462109"/>
                  <a:pt x="6694914" y="6466587"/>
                </a:cubicBezTo>
                <a:cubicBezTo>
                  <a:pt x="6687087" y="6476506"/>
                  <a:pt x="6677592" y="6486512"/>
                  <a:pt x="6669764" y="6496431"/>
                </a:cubicBezTo>
                <a:cubicBezTo>
                  <a:pt x="6664183" y="6517324"/>
                  <a:pt x="6684002" y="6513112"/>
                  <a:pt x="6695910" y="6517240"/>
                </a:cubicBezTo>
                <a:cubicBezTo>
                  <a:pt x="6694411" y="6520487"/>
                  <a:pt x="6693078" y="6526896"/>
                  <a:pt x="6693078" y="6526896"/>
                </a:cubicBezTo>
                <a:cubicBezTo>
                  <a:pt x="6676258" y="6524611"/>
                  <a:pt x="6672176" y="6542256"/>
                  <a:pt x="6658769" y="6541376"/>
                </a:cubicBezTo>
                <a:cubicBezTo>
                  <a:pt x="6641617" y="6532771"/>
                  <a:pt x="6622881" y="6525835"/>
                  <a:pt x="6612059" y="6510559"/>
                </a:cubicBezTo>
                <a:cubicBezTo>
                  <a:pt x="6610312" y="6477376"/>
                  <a:pt x="6610312" y="6477376"/>
                  <a:pt x="6598157" y="6468508"/>
                </a:cubicBezTo>
                <a:cubicBezTo>
                  <a:pt x="6598323" y="6471668"/>
                  <a:pt x="6595075" y="6473424"/>
                  <a:pt x="6595158" y="6475004"/>
                </a:cubicBezTo>
                <a:cubicBezTo>
                  <a:pt x="6596322" y="6497126"/>
                  <a:pt x="6597485" y="6519248"/>
                  <a:pt x="6598566" y="6539789"/>
                </a:cubicBezTo>
                <a:cubicBezTo>
                  <a:pt x="6612222" y="6545410"/>
                  <a:pt x="6624211" y="6551117"/>
                  <a:pt x="6637867" y="6556736"/>
                </a:cubicBezTo>
                <a:cubicBezTo>
                  <a:pt x="6642614" y="6551733"/>
                  <a:pt x="6649026" y="6546642"/>
                  <a:pt x="6658769" y="6541376"/>
                </a:cubicBezTo>
                <a:cubicBezTo>
                  <a:pt x="6657685" y="6552525"/>
                  <a:pt x="6658185" y="6562006"/>
                  <a:pt x="6658600" y="6569906"/>
                </a:cubicBezTo>
                <a:cubicBezTo>
                  <a:pt x="6646943" y="6570519"/>
                  <a:pt x="6633619" y="6571220"/>
                  <a:pt x="6621961" y="6571833"/>
                </a:cubicBezTo>
                <a:cubicBezTo>
                  <a:pt x="6616716" y="6567356"/>
                  <a:pt x="6611554" y="6564459"/>
                  <a:pt x="6606309" y="6559981"/>
                </a:cubicBezTo>
                <a:cubicBezTo>
                  <a:pt x="6601312" y="6560244"/>
                  <a:pt x="6596316" y="6560506"/>
                  <a:pt x="6589655" y="6560857"/>
                </a:cubicBezTo>
                <a:cubicBezTo>
                  <a:pt x="6588405" y="6568845"/>
                  <a:pt x="6585489" y="6576921"/>
                  <a:pt x="6582574" y="6584998"/>
                </a:cubicBezTo>
                <a:cubicBezTo>
                  <a:pt x="6574413" y="6588595"/>
                  <a:pt x="6566170" y="6590614"/>
                  <a:pt x="6558009" y="6594212"/>
                </a:cubicBezTo>
                <a:cubicBezTo>
                  <a:pt x="6563337" y="6600270"/>
                  <a:pt x="6568584" y="6604748"/>
                  <a:pt x="6573829" y="6609226"/>
                </a:cubicBezTo>
                <a:cubicBezTo>
                  <a:pt x="6576491" y="6628099"/>
                  <a:pt x="6555090" y="6633978"/>
                  <a:pt x="6550842" y="6648462"/>
                </a:cubicBezTo>
                <a:cubicBezTo>
                  <a:pt x="6546428" y="6659787"/>
                  <a:pt x="6535352" y="6671461"/>
                  <a:pt x="6535935" y="6682521"/>
                </a:cubicBezTo>
                <a:cubicBezTo>
                  <a:pt x="6536765" y="6698324"/>
                  <a:pt x="6527439" y="6711490"/>
                  <a:pt x="6521359" y="6722902"/>
                </a:cubicBezTo>
                <a:cubicBezTo>
                  <a:pt x="6517276" y="6740546"/>
                  <a:pt x="6555830" y="6743271"/>
                  <a:pt x="6533511" y="6763459"/>
                </a:cubicBezTo>
                <a:cubicBezTo>
                  <a:pt x="6523271" y="6759244"/>
                  <a:pt x="6514694" y="6754942"/>
                  <a:pt x="6502787" y="6750815"/>
                </a:cubicBezTo>
                <a:cubicBezTo>
                  <a:pt x="6492791" y="6783031"/>
                  <a:pt x="6465644" y="6806642"/>
                  <a:pt x="6470804" y="6841230"/>
                </a:cubicBezTo>
                <a:cubicBezTo>
                  <a:pt x="6454649" y="6851587"/>
                  <a:pt x="6464555" y="6881172"/>
                  <a:pt x="6434495" y="6881168"/>
                </a:cubicBezTo>
                <a:cubicBezTo>
                  <a:pt x="6426167" y="6881606"/>
                  <a:pt x="6420088" y="6893018"/>
                  <a:pt x="6415341" y="6898022"/>
                </a:cubicBezTo>
                <a:cubicBezTo>
                  <a:pt x="6415840" y="6907503"/>
                  <a:pt x="6416256" y="6915403"/>
                  <a:pt x="6416588" y="6921724"/>
                </a:cubicBezTo>
                <a:cubicBezTo>
                  <a:pt x="6404512" y="6946126"/>
                  <a:pt x="6392436" y="6970530"/>
                  <a:pt x="6377360" y="7001429"/>
                </a:cubicBezTo>
                <a:cubicBezTo>
                  <a:pt x="6378192" y="7017230"/>
                  <a:pt x="6379355" y="7039351"/>
                  <a:pt x="6380520" y="7061475"/>
                </a:cubicBezTo>
                <a:cubicBezTo>
                  <a:pt x="6375772" y="7066477"/>
                  <a:pt x="6372774" y="7072972"/>
                  <a:pt x="6364862" y="7081311"/>
                </a:cubicBezTo>
                <a:cubicBezTo>
                  <a:pt x="6365694" y="7097113"/>
                  <a:pt x="6366692" y="7116074"/>
                  <a:pt x="6367772" y="7136616"/>
                </a:cubicBezTo>
                <a:cubicBezTo>
                  <a:pt x="6330551" y="7127483"/>
                  <a:pt x="6326975" y="7091227"/>
                  <a:pt x="6301079" y="7075159"/>
                </a:cubicBezTo>
                <a:cubicBezTo>
                  <a:pt x="6296084" y="7075422"/>
                  <a:pt x="6291088" y="7075685"/>
                  <a:pt x="6286091" y="7075948"/>
                </a:cubicBezTo>
                <a:cubicBezTo>
                  <a:pt x="6284508" y="7077615"/>
                  <a:pt x="6281262" y="7079371"/>
                  <a:pt x="6281344" y="7080951"/>
                </a:cubicBezTo>
                <a:cubicBezTo>
                  <a:pt x="6279093" y="7101668"/>
                  <a:pt x="6283423" y="7120454"/>
                  <a:pt x="6282588" y="7136343"/>
                </a:cubicBezTo>
                <a:cubicBezTo>
                  <a:pt x="6289583" y="7142314"/>
                  <a:pt x="6293080" y="7145300"/>
                  <a:pt x="6298242" y="7148196"/>
                </a:cubicBezTo>
                <a:cubicBezTo>
                  <a:pt x="6293494" y="7153200"/>
                  <a:pt x="6288747" y="7158203"/>
                  <a:pt x="6284002" y="7163206"/>
                </a:cubicBezTo>
                <a:cubicBezTo>
                  <a:pt x="6289246" y="7167684"/>
                  <a:pt x="6294493" y="7172161"/>
                  <a:pt x="6299738" y="7176639"/>
                </a:cubicBezTo>
                <a:cubicBezTo>
                  <a:pt x="6304066" y="7195426"/>
                  <a:pt x="6272922" y="7206571"/>
                  <a:pt x="6292737" y="7234050"/>
                </a:cubicBezTo>
                <a:cubicBezTo>
                  <a:pt x="6290989" y="7232557"/>
                  <a:pt x="6296235" y="7237034"/>
                  <a:pt x="6301563" y="7243093"/>
                </a:cubicBezTo>
                <a:cubicBezTo>
                  <a:pt x="6292319" y="7257840"/>
                  <a:pt x="6271168" y="7268460"/>
                  <a:pt x="6272332" y="7290581"/>
                </a:cubicBezTo>
                <a:cubicBezTo>
                  <a:pt x="6260674" y="7291194"/>
                  <a:pt x="6258426" y="7280221"/>
                  <a:pt x="6251598" y="7277411"/>
                </a:cubicBezTo>
                <a:cubicBezTo>
                  <a:pt x="6242607" y="7265208"/>
                  <a:pt x="6246855" y="7250724"/>
                  <a:pt x="6244525" y="7238170"/>
                </a:cubicBezTo>
                <a:cubicBezTo>
                  <a:pt x="6243860" y="7225530"/>
                  <a:pt x="6244777" y="7211221"/>
                  <a:pt x="6242447" y="7198667"/>
                </a:cubicBezTo>
                <a:cubicBezTo>
                  <a:pt x="6240033" y="7184533"/>
                  <a:pt x="6247696" y="7171454"/>
                  <a:pt x="6233707" y="7159514"/>
                </a:cubicBezTo>
                <a:cubicBezTo>
                  <a:pt x="6219716" y="7179264"/>
                  <a:pt x="6234286" y="7202266"/>
                  <a:pt x="6226957" y="7221665"/>
                </a:cubicBezTo>
                <a:cubicBezTo>
                  <a:pt x="6223792" y="7225000"/>
                  <a:pt x="6220627" y="7228336"/>
                  <a:pt x="6217462" y="7231672"/>
                </a:cubicBezTo>
                <a:cubicBezTo>
                  <a:pt x="6222875" y="7239309"/>
                  <a:pt x="6226538" y="7245454"/>
                  <a:pt x="6231950" y="7253093"/>
                </a:cubicBezTo>
                <a:cubicBezTo>
                  <a:pt x="6227370" y="7261256"/>
                  <a:pt x="6222872" y="7271000"/>
                  <a:pt x="6216792" y="7282411"/>
                </a:cubicBezTo>
                <a:cubicBezTo>
                  <a:pt x="6222120" y="7288469"/>
                  <a:pt x="6227450" y="7294527"/>
                  <a:pt x="6232861" y="7302164"/>
                </a:cubicBezTo>
                <a:cubicBezTo>
                  <a:pt x="6229613" y="7303920"/>
                  <a:pt x="6226448" y="7307255"/>
                  <a:pt x="6223367" y="7312171"/>
                </a:cubicBezTo>
                <a:cubicBezTo>
                  <a:pt x="6221869" y="7315419"/>
                  <a:pt x="6220452" y="7320247"/>
                  <a:pt x="6220619" y="7323408"/>
                </a:cubicBezTo>
                <a:cubicBezTo>
                  <a:pt x="6221533" y="7340789"/>
                  <a:pt x="6222530" y="7359751"/>
                  <a:pt x="6223445" y="7377133"/>
                </a:cubicBezTo>
                <a:cubicBezTo>
                  <a:pt x="6215782" y="7390211"/>
                  <a:pt x="6213284" y="7406188"/>
                  <a:pt x="6202125" y="7416283"/>
                </a:cubicBezTo>
                <a:cubicBezTo>
                  <a:pt x="6189465" y="7429624"/>
                  <a:pt x="6208782" y="7447622"/>
                  <a:pt x="6190962" y="7458067"/>
                </a:cubicBezTo>
                <a:cubicBezTo>
                  <a:pt x="6189214" y="7456574"/>
                  <a:pt x="6185800" y="7455169"/>
                  <a:pt x="6185717" y="7453589"/>
                </a:cubicBezTo>
                <a:cubicBezTo>
                  <a:pt x="6183054" y="7434715"/>
                  <a:pt x="6183804" y="7417246"/>
                  <a:pt x="6182974" y="7401444"/>
                </a:cubicBezTo>
                <a:cubicBezTo>
                  <a:pt x="6169152" y="7392664"/>
                  <a:pt x="6165072" y="7378618"/>
                  <a:pt x="6159494" y="7367820"/>
                </a:cubicBezTo>
                <a:cubicBezTo>
                  <a:pt x="6157830" y="7367908"/>
                  <a:pt x="6156165" y="7367995"/>
                  <a:pt x="6154498" y="7368083"/>
                </a:cubicBezTo>
                <a:cubicBezTo>
                  <a:pt x="6151666" y="7377739"/>
                  <a:pt x="6147170" y="7387483"/>
                  <a:pt x="6148669" y="7384234"/>
                </a:cubicBezTo>
                <a:cubicBezTo>
                  <a:pt x="6134844" y="7407145"/>
                  <a:pt x="6138756" y="7418031"/>
                  <a:pt x="6139339" y="7429092"/>
                </a:cubicBezTo>
                <a:cubicBezTo>
                  <a:pt x="6138172" y="7438660"/>
                  <a:pt x="6140252" y="7446473"/>
                  <a:pt x="6140669" y="7454374"/>
                </a:cubicBezTo>
                <a:cubicBezTo>
                  <a:pt x="6145913" y="7458852"/>
                  <a:pt x="6149411" y="7461837"/>
                  <a:pt x="6154656" y="7466314"/>
                </a:cubicBezTo>
                <a:cubicBezTo>
                  <a:pt x="6151491" y="7469650"/>
                  <a:pt x="6146745" y="7474653"/>
                  <a:pt x="6142082" y="7481236"/>
                </a:cubicBezTo>
                <a:cubicBezTo>
                  <a:pt x="6142663" y="7492298"/>
                  <a:pt x="6143328" y="7504939"/>
                  <a:pt x="6144076" y="7519160"/>
                </a:cubicBezTo>
                <a:cubicBezTo>
                  <a:pt x="6139412" y="7525744"/>
                  <a:pt x="6133084" y="7532413"/>
                  <a:pt x="6126838" y="7540665"/>
                </a:cubicBezTo>
                <a:cubicBezTo>
                  <a:pt x="6106604" y="7536976"/>
                  <a:pt x="6100610" y="7518278"/>
                  <a:pt x="6085289" y="7512745"/>
                </a:cubicBezTo>
                <a:cubicBezTo>
                  <a:pt x="6088622" y="7480880"/>
                  <a:pt x="6057732" y="7465075"/>
                  <a:pt x="6062979" y="7437863"/>
                </a:cubicBezTo>
                <a:cubicBezTo>
                  <a:pt x="6052320" y="7457437"/>
                  <a:pt x="6036580" y="7475695"/>
                  <a:pt x="6041157" y="7499222"/>
                </a:cubicBezTo>
                <a:cubicBezTo>
                  <a:pt x="6036411" y="7504225"/>
                  <a:pt x="6033330" y="7509141"/>
                  <a:pt x="6026917" y="7514231"/>
                </a:cubicBezTo>
                <a:cubicBezTo>
                  <a:pt x="6027582" y="7526873"/>
                  <a:pt x="6028330" y="7541094"/>
                  <a:pt x="6028913" y="7552155"/>
                </a:cubicBezTo>
                <a:cubicBezTo>
                  <a:pt x="6015087" y="7575065"/>
                  <a:pt x="6008174" y="7602364"/>
                  <a:pt x="5978778" y="7615004"/>
                </a:cubicBezTo>
                <a:cubicBezTo>
                  <a:pt x="5976863" y="7610351"/>
                  <a:pt x="5974783" y="7602538"/>
                  <a:pt x="5971037" y="7594812"/>
                </a:cubicBezTo>
                <a:cubicBezTo>
                  <a:pt x="5959047" y="7589105"/>
                  <a:pt x="5947555" y="7592878"/>
                  <a:pt x="5939227" y="7593316"/>
                </a:cubicBezTo>
                <a:cubicBezTo>
                  <a:pt x="5929568" y="7600163"/>
                  <a:pt x="5923155" y="7605253"/>
                  <a:pt x="5915078" y="7610432"/>
                </a:cubicBezTo>
                <a:cubicBezTo>
                  <a:pt x="5904670" y="7603056"/>
                  <a:pt x="5897759" y="7598666"/>
                  <a:pt x="5889016" y="7591203"/>
                </a:cubicBezTo>
                <a:cubicBezTo>
                  <a:pt x="5888103" y="7573821"/>
                  <a:pt x="5887022" y="7553280"/>
                  <a:pt x="5886191" y="7537479"/>
                </a:cubicBezTo>
                <a:cubicBezTo>
                  <a:pt x="5877449" y="7530017"/>
                  <a:pt x="5873868" y="7525450"/>
                  <a:pt x="5868623" y="7520974"/>
                </a:cubicBezTo>
                <a:cubicBezTo>
                  <a:pt x="5867376" y="7497272"/>
                  <a:pt x="5866212" y="7475149"/>
                  <a:pt x="5865132" y="7454608"/>
                </a:cubicBezTo>
                <a:cubicBezTo>
                  <a:pt x="5859886" y="7450130"/>
                  <a:pt x="5856390" y="7447145"/>
                  <a:pt x="5851226" y="7444248"/>
                </a:cubicBezTo>
                <a:cubicBezTo>
                  <a:pt x="5848900" y="7400003"/>
                  <a:pt x="5846572" y="7355759"/>
                  <a:pt x="5844578" y="7317836"/>
                </a:cubicBezTo>
                <a:cubicBezTo>
                  <a:pt x="5840332" y="7300630"/>
                  <a:pt x="5823512" y="7298345"/>
                  <a:pt x="5827677" y="7282281"/>
                </a:cubicBezTo>
                <a:cubicBezTo>
                  <a:pt x="5830842" y="7278946"/>
                  <a:pt x="5835589" y="7273942"/>
                  <a:pt x="5840251" y="7267359"/>
                </a:cubicBezTo>
                <a:cubicBezTo>
                  <a:pt x="5839586" y="7254718"/>
                  <a:pt x="5838921" y="7242077"/>
                  <a:pt x="5838173" y="7227856"/>
                </a:cubicBezTo>
                <a:cubicBezTo>
                  <a:pt x="5834593" y="7223291"/>
                  <a:pt x="5829349" y="7218813"/>
                  <a:pt x="5824103" y="7214335"/>
                </a:cubicBezTo>
                <a:cubicBezTo>
                  <a:pt x="5820113" y="7138488"/>
                  <a:pt x="5816124" y="7062642"/>
                  <a:pt x="5812050" y="6985214"/>
                </a:cubicBezTo>
                <a:cubicBezTo>
                  <a:pt x="5808553" y="6982229"/>
                  <a:pt x="5805057" y="6979244"/>
                  <a:pt x="5801559" y="6976259"/>
                </a:cubicBezTo>
                <a:cubicBezTo>
                  <a:pt x="5799810" y="6974767"/>
                  <a:pt x="5796397" y="6973361"/>
                  <a:pt x="5796314" y="6971781"/>
                </a:cubicBezTo>
                <a:cubicBezTo>
                  <a:pt x="5793238" y="6913316"/>
                  <a:pt x="5790246" y="6856431"/>
                  <a:pt x="5787254" y="6799545"/>
                </a:cubicBezTo>
                <a:cubicBezTo>
                  <a:pt x="5781925" y="6793488"/>
                  <a:pt x="5776680" y="6789010"/>
                  <a:pt x="5773100" y="6784445"/>
                </a:cubicBezTo>
                <a:cubicBezTo>
                  <a:pt x="5776264" y="6781109"/>
                  <a:pt x="5781094" y="6777687"/>
                  <a:pt x="5784176" y="6772771"/>
                </a:cubicBezTo>
                <a:cubicBezTo>
                  <a:pt x="5780595" y="6768206"/>
                  <a:pt x="5777014" y="6763641"/>
                  <a:pt x="5771770" y="6759163"/>
                </a:cubicBezTo>
                <a:cubicBezTo>
                  <a:pt x="5769275" y="6711759"/>
                  <a:pt x="5766700" y="6662774"/>
                  <a:pt x="5764206" y="6615370"/>
                </a:cubicBezTo>
                <a:cubicBezTo>
                  <a:pt x="5758545" y="6602991"/>
                  <a:pt x="5741642" y="6599127"/>
                  <a:pt x="5747554" y="6584555"/>
                </a:cubicBezTo>
                <a:cubicBezTo>
                  <a:pt x="5752384" y="6581132"/>
                  <a:pt x="5755383" y="6574636"/>
                  <a:pt x="5760213" y="6571214"/>
                </a:cubicBezTo>
                <a:cubicBezTo>
                  <a:pt x="5754884" y="6565156"/>
                  <a:pt x="5749639" y="6560678"/>
                  <a:pt x="5746058" y="6556113"/>
                </a:cubicBezTo>
                <a:cubicBezTo>
                  <a:pt x="5745810" y="6551373"/>
                  <a:pt x="5743895" y="6546720"/>
                  <a:pt x="5747059" y="6543384"/>
                </a:cubicBezTo>
                <a:cubicBezTo>
                  <a:pt x="5748474" y="6538556"/>
                  <a:pt x="5753222" y="6533553"/>
                  <a:pt x="5757969" y="6528550"/>
                </a:cubicBezTo>
                <a:cubicBezTo>
                  <a:pt x="5752806" y="6525652"/>
                  <a:pt x="5749310" y="6522667"/>
                  <a:pt x="5743980" y="6516609"/>
                </a:cubicBezTo>
                <a:cubicBezTo>
                  <a:pt x="5741237" y="6464465"/>
                  <a:pt x="5738329" y="6409159"/>
                  <a:pt x="5735503" y="6355435"/>
                </a:cubicBezTo>
                <a:cubicBezTo>
                  <a:pt x="5728592" y="6351045"/>
                  <a:pt x="5725094" y="6348059"/>
                  <a:pt x="5721514" y="6343494"/>
                </a:cubicBezTo>
                <a:cubicBezTo>
                  <a:pt x="5719187" y="6299250"/>
                  <a:pt x="5716860" y="6255006"/>
                  <a:pt x="5714532" y="6210762"/>
                </a:cubicBezTo>
                <a:cubicBezTo>
                  <a:pt x="5709287" y="6206285"/>
                  <a:pt x="5704041" y="6201807"/>
                  <a:pt x="5695298" y="6194344"/>
                </a:cubicBezTo>
                <a:cubicBezTo>
                  <a:pt x="5694135" y="6172223"/>
                  <a:pt x="5692889" y="6148520"/>
                  <a:pt x="5691559" y="6123237"/>
                </a:cubicBezTo>
                <a:cubicBezTo>
                  <a:pt x="5678235" y="6123938"/>
                  <a:pt x="5666577" y="6124552"/>
                  <a:pt x="5656585" y="6125077"/>
                </a:cubicBezTo>
                <a:cubicBezTo>
                  <a:pt x="5650257" y="6131749"/>
                  <a:pt x="5650257" y="6131749"/>
                  <a:pt x="5679898" y="6155542"/>
                </a:cubicBezTo>
                <a:cubicBezTo>
                  <a:pt x="5676733" y="6158877"/>
                  <a:pt x="5673652" y="6163793"/>
                  <a:pt x="5667405" y="6172044"/>
                </a:cubicBezTo>
                <a:cubicBezTo>
                  <a:pt x="5671063" y="6241571"/>
                  <a:pt x="5674969" y="6315837"/>
                  <a:pt x="5678710" y="6386944"/>
                </a:cubicBezTo>
                <a:cubicBezTo>
                  <a:pt x="5672297" y="6392034"/>
                  <a:pt x="5669134" y="6395369"/>
                  <a:pt x="5665969" y="6398705"/>
                </a:cubicBezTo>
                <a:cubicBezTo>
                  <a:pt x="5669549" y="6403270"/>
                  <a:pt x="5674794" y="6407748"/>
                  <a:pt x="5680040" y="6412226"/>
                </a:cubicBezTo>
                <a:cubicBezTo>
                  <a:pt x="5676875" y="6415561"/>
                  <a:pt x="5673710" y="6418896"/>
                  <a:pt x="5669048" y="6425480"/>
                </a:cubicBezTo>
                <a:cubicBezTo>
                  <a:pt x="5661551" y="6441719"/>
                  <a:pt x="5672625" y="6461735"/>
                  <a:pt x="5667044" y="6482627"/>
                </a:cubicBezTo>
                <a:cubicBezTo>
                  <a:pt x="5663879" y="6485963"/>
                  <a:pt x="5660798" y="6490879"/>
                  <a:pt x="5656051" y="6495882"/>
                </a:cubicBezTo>
                <a:cubicBezTo>
                  <a:pt x="5659548" y="6498868"/>
                  <a:pt x="5663044" y="6501852"/>
                  <a:pt x="5670039" y="6507823"/>
                </a:cubicBezTo>
                <a:cubicBezTo>
                  <a:pt x="5672117" y="6547326"/>
                  <a:pt x="5674278" y="6588409"/>
                  <a:pt x="5676356" y="6627914"/>
                </a:cubicBezTo>
                <a:cubicBezTo>
                  <a:pt x="5683350" y="6633884"/>
                  <a:pt x="5686847" y="6636869"/>
                  <a:pt x="5690343" y="6639854"/>
                </a:cubicBezTo>
                <a:cubicBezTo>
                  <a:pt x="5687262" y="6644769"/>
                  <a:pt x="5684181" y="6649685"/>
                  <a:pt x="5679434" y="6654688"/>
                </a:cubicBezTo>
                <a:cubicBezTo>
                  <a:pt x="5683014" y="6659253"/>
                  <a:pt x="5688260" y="6663731"/>
                  <a:pt x="5693506" y="6668209"/>
                </a:cubicBezTo>
                <a:cubicBezTo>
                  <a:pt x="5694419" y="6685591"/>
                  <a:pt x="5695334" y="6702972"/>
                  <a:pt x="5696331" y="6721933"/>
                </a:cubicBezTo>
                <a:cubicBezTo>
                  <a:pt x="5691584" y="6726937"/>
                  <a:pt x="5686838" y="6731940"/>
                  <a:pt x="5682092" y="6736943"/>
                </a:cubicBezTo>
                <a:cubicBezTo>
                  <a:pt x="5683753" y="6768546"/>
                  <a:pt x="5685416" y="6800149"/>
                  <a:pt x="5686996" y="6830172"/>
                </a:cubicBezTo>
                <a:cubicBezTo>
                  <a:pt x="5692241" y="6834650"/>
                  <a:pt x="5697487" y="6839127"/>
                  <a:pt x="5702731" y="6843605"/>
                </a:cubicBezTo>
                <a:cubicBezTo>
                  <a:pt x="5697985" y="6848608"/>
                  <a:pt x="5694821" y="6851943"/>
                  <a:pt x="5689991" y="6855367"/>
                </a:cubicBezTo>
                <a:cubicBezTo>
                  <a:pt x="5691071" y="6875908"/>
                  <a:pt x="5692235" y="6898031"/>
                  <a:pt x="5693315" y="6918572"/>
                </a:cubicBezTo>
                <a:cubicBezTo>
                  <a:pt x="5687152" y="6928404"/>
                  <a:pt x="5684155" y="6934900"/>
                  <a:pt x="5677991" y="6944730"/>
                </a:cubicBezTo>
                <a:cubicBezTo>
                  <a:pt x="5683403" y="6952369"/>
                  <a:pt x="5688898" y="6961587"/>
                  <a:pt x="5696142" y="6972297"/>
                </a:cubicBezTo>
                <a:cubicBezTo>
                  <a:pt x="5693144" y="6978792"/>
                  <a:pt x="5688480" y="6985377"/>
                  <a:pt x="5682234" y="6993627"/>
                </a:cubicBezTo>
                <a:cubicBezTo>
                  <a:pt x="5687395" y="6996525"/>
                  <a:pt x="5692642" y="7001002"/>
                  <a:pt x="5696221" y="7005568"/>
                </a:cubicBezTo>
                <a:cubicBezTo>
                  <a:pt x="5700467" y="7022774"/>
                  <a:pt x="5685810" y="7029883"/>
                  <a:pt x="5677983" y="7039802"/>
                </a:cubicBezTo>
                <a:cubicBezTo>
                  <a:pt x="5668073" y="7041908"/>
                  <a:pt x="5656416" y="7042521"/>
                  <a:pt x="5655834" y="7031460"/>
                </a:cubicBezTo>
                <a:cubicBezTo>
                  <a:pt x="5654919" y="7014078"/>
                  <a:pt x="5638182" y="7013374"/>
                  <a:pt x="5630606" y="6996343"/>
                </a:cubicBezTo>
                <a:cubicBezTo>
                  <a:pt x="5626358" y="7010827"/>
                  <a:pt x="5625108" y="7018816"/>
                  <a:pt x="5620529" y="7026979"/>
                </a:cubicBezTo>
                <a:cubicBezTo>
                  <a:pt x="5619028" y="7030227"/>
                  <a:pt x="5615865" y="7033563"/>
                  <a:pt x="5611034" y="7036986"/>
                </a:cubicBezTo>
                <a:cubicBezTo>
                  <a:pt x="5611699" y="7049627"/>
                  <a:pt x="5612447" y="7063848"/>
                  <a:pt x="5613112" y="7076489"/>
                </a:cubicBezTo>
                <a:cubicBezTo>
                  <a:pt x="5618359" y="7080967"/>
                  <a:pt x="5623604" y="7085445"/>
                  <a:pt x="5628850" y="7089922"/>
                </a:cubicBezTo>
                <a:cubicBezTo>
                  <a:pt x="5625684" y="7093257"/>
                  <a:pt x="5622520" y="7096593"/>
                  <a:pt x="5616191" y="7103264"/>
                </a:cubicBezTo>
                <a:cubicBezTo>
                  <a:pt x="5617105" y="7120646"/>
                  <a:pt x="5618103" y="7139607"/>
                  <a:pt x="5618684" y="7150668"/>
                </a:cubicBezTo>
                <a:cubicBezTo>
                  <a:pt x="5609690" y="7170156"/>
                  <a:pt x="5603611" y="7181567"/>
                  <a:pt x="5597531" y="7192979"/>
                </a:cubicBezTo>
                <a:cubicBezTo>
                  <a:pt x="5590537" y="7187008"/>
                  <a:pt x="5583542" y="7181038"/>
                  <a:pt x="5576549" y="7175068"/>
                </a:cubicBezTo>
                <a:cubicBezTo>
                  <a:pt x="5569304" y="7164358"/>
                  <a:pt x="5585127" y="7147680"/>
                  <a:pt x="5564810" y="7142411"/>
                </a:cubicBezTo>
                <a:cubicBezTo>
                  <a:pt x="5563229" y="7144078"/>
                  <a:pt x="5559981" y="7145834"/>
                  <a:pt x="5560064" y="7147414"/>
                </a:cubicBezTo>
                <a:cubicBezTo>
                  <a:pt x="5561975" y="7183757"/>
                  <a:pt x="5563805" y="7218521"/>
                  <a:pt x="5565716" y="7254863"/>
                </a:cubicBezTo>
                <a:cubicBezTo>
                  <a:pt x="5547813" y="7263728"/>
                  <a:pt x="5552057" y="7280934"/>
                  <a:pt x="5542729" y="7294101"/>
                </a:cubicBezTo>
                <a:cubicBezTo>
                  <a:pt x="5534985" y="7305600"/>
                  <a:pt x="5539313" y="7324386"/>
                  <a:pt x="5538479" y="7340276"/>
                </a:cubicBezTo>
                <a:cubicBezTo>
                  <a:pt x="5533566" y="7342119"/>
                  <a:pt x="5526987" y="7344049"/>
                  <a:pt x="5520410" y="7345980"/>
                </a:cubicBezTo>
                <a:cubicBezTo>
                  <a:pt x="5502840" y="7329474"/>
                  <a:pt x="5507005" y="7313410"/>
                  <a:pt x="5522912" y="7298313"/>
                </a:cubicBezTo>
                <a:cubicBezTo>
                  <a:pt x="5519331" y="7293748"/>
                  <a:pt x="5514086" y="7289270"/>
                  <a:pt x="5510505" y="7284705"/>
                </a:cubicBezTo>
                <a:cubicBezTo>
                  <a:pt x="5508342" y="7275311"/>
                  <a:pt x="5507760" y="7264251"/>
                  <a:pt x="5505181" y="7246956"/>
                </a:cubicBezTo>
                <a:cubicBezTo>
                  <a:pt x="5491023" y="7263546"/>
                  <a:pt x="5493520" y="7279260"/>
                  <a:pt x="5478947" y="7287949"/>
                </a:cubicBezTo>
                <a:cubicBezTo>
                  <a:pt x="5481025" y="7327452"/>
                  <a:pt x="5483185" y="7368537"/>
                  <a:pt x="5485263" y="7408040"/>
                </a:cubicBezTo>
                <a:cubicBezTo>
                  <a:pt x="5477518" y="7419539"/>
                  <a:pt x="5463779" y="7412340"/>
                  <a:pt x="5452372" y="7417693"/>
                </a:cubicBezTo>
                <a:cubicBezTo>
                  <a:pt x="5439550" y="7396184"/>
                  <a:pt x="5423648" y="7379591"/>
                  <a:pt x="5422318" y="7354308"/>
                </a:cubicBezTo>
                <a:cubicBezTo>
                  <a:pt x="5396671" y="7342982"/>
                  <a:pt x="5421738" y="7311557"/>
                  <a:pt x="5399341" y="7298474"/>
                </a:cubicBezTo>
                <a:cubicBezTo>
                  <a:pt x="5387016" y="7318137"/>
                  <a:pt x="5401419" y="7337979"/>
                  <a:pt x="5392674" y="7362207"/>
                </a:cubicBezTo>
                <a:cubicBezTo>
                  <a:pt x="5394255" y="7360538"/>
                  <a:pt x="5391091" y="7363873"/>
                  <a:pt x="5387927" y="7367210"/>
                </a:cubicBezTo>
                <a:cubicBezTo>
                  <a:pt x="5386511" y="7372038"/>
                  <a:pt x="5383345" y="7375373"/>
                  <a:pt x="5383596" y="7380113"/>
                </a:cubicBezTo>
                <a:cubicBezTo>
                  <a:pt x="5384427" y="7395914"/>
                  <a:pt x="5385175" y="7410136"/>
                  <a:pt x="5385840" y="7422777"/>
                </a:cubicBezTo>
                <a:cubicBezTo>
                  <a:pt x="5368767" y="7447443"/>
                  <a:pt x="5354859" y="7468773"/>
                  <a:pt x="5339368" y="7491772"/>
                </a:cubicBezTo>
                <a:cubicBezTo>
                  <a:pt x="5323216" y="7470438"/>
                  <a:pt x="5335294" y="7446034"/>
                  <a:pt x="5324220" y="7426019"/>
                </a:cubicBezTo>
                <a:cubicBezTo>
                  <a:pt x="5292827" y="7432423"/>
                  <a:pt x="5307062" y="7480795"/>
                  <a:pt x="5266927" y="7479737"/>
                </a:cubicBezTo>
                <a:cubicBezTo>
                  <a:pt x="5253271" y="7474117"/>
                  <a:pt x="5260932" y="7461038"/>
                  <a:pt x="5257103" y="7451733"/>
                </a:cubicBezTo>
                <a:cubicBezTo>
                  <a:pt x="5251608" y="7442515"/>
                  <a:pt x="5244449" y="7433384"/>
                  <a:pt x="5239036" y="7425746"/>
                </a:cubicBezTo>
                <a:cubicBezTo>
                  <a:pt x="5245282" y="7417494"/>
                  <a:pt x="5248363" y="7412579"/>
                  <a:pt x="5253110" y="7407576"/>
                </a:cubicBezTo>
                <a:cubicBezTo>
                  <a:pt x="5249530" y="7403010"/>
                  <a:pt x="5244285" y="7398533"/>
                  <a:pt x="5239040" y="7394055"/>
                </a:cubicBezTo>
                <a:cubicBezTo>
                  <a:pt x="5238541" y="7384574"/>
                  <a:pt x="5238124" y="7376674"/>
                  <a:pt x="5237627" y="7367193"/>
                </a:cubicBezTo>
                <a:cubicBezTo>
                  <a:pt x="5232381" y="7362716"/>
                  <a:pt x="5228800" y="7358150"/>
                  <a:pt x="5223556" y="7353673"/>
                </a:cubicBezTo>
                <a:cubicBezTo>
                  <a:pt x="5216490" y="7219360"/>
                  <a:pt x="5209424" y="7085048"/>
                  <a:pt x="5202359" y="6950736"/>
                </a:cubicBezTo>
                <a:cubicBezTo>
                  <a:pt x="5207107" y="6945732"/>
                  <a:pt x="5210188" y="6940817"/>
                  <a:pt x="5216516" y="6934146"/>
                </a:cubicBezTo>
                <a:cubicBezTo>
                  <a:pt x="5208107" y="6933004"/>
                  <a:pt x="5201362" y="6931774"/>
                  <a:pt x="5194535" y="6928965"/>
                </a:cubicBezTo>
                <a:cubicBezTo>
                  <a:pt x="5186955" y="6943624"/>
                  <a:pt x="5177545" y="6955210"/>
                  <a:pt x="5174963" y="6969607"/>
                </a:cubicBezTo>
                <a:cubicBezTo>
                  <a:pt x="5172296" y="6982424"/>
                  <a:pt x="5178040" y="6996381"/>
                  <a:pt x="5161803" y="7005158"/>
                </a:cubicBezTo>
                <a:cubicBezTo>
                  <a:pt x="5162550" y="7019380"/>
                  <a:pt x="5163216" y="7032021"/>
                  <a:pt x="5163715" y="7041502"/>
                </a:cubicBezTo>
                <a:cubicBezTo>
                  <a:pt x="5155969" y="7053001"/>
                  <a:pt x="5149724" y="7061252"/>
                  <a:pt x="5145226" y="7070995"/>
                </a:cubicBezTo>
                <a:cubicBezTo>
                  <a:pt x="5131155" y="7057476"/>
                  <a:pt x="5135486" y="7044571"/>
                  <a:pt x="5134987" y="7035090"/>
                </a:cubicBezTo>
                <a:cubicBezTo>
                  <a:pt x="5138068" y="7030175"/>
                  <a:pt x="5142816" y="7025171"/>
                  <a:pt x="5145896" y="7020256"/>
                </a:cubicBezTo>
                <a:cubicBezTo>
                  <a:pt x="5138903" y="7014286"/>
                  <a:pt x="5131909" y="7008315"/>
                  <a:pt x="5124914" y="7002345"/>
                </a:cubicBezTo>
                <a:cubicBezTo>
                  <a:pt x="5110592" y="7015775"/>
                  <a:pt x="5121414" y="7031051"/>
                  <a:pt x="5118998" y="7048608"/>
                </a:cubicBezTo>
                <a:cubicBezTo>
                  <a:pt x="5115833" y="7051943"/>
                  <a:pt x="5112752" y="7056858"/>
                  <a:pt x="5106424" y="7063530"/>
                </a:cubicBezTo>
                <a:cubicBezTo>
                  <a:pt x="5107089" y="7076172"/>
                  <a:pt x="5107754" y="7088812"/>
                  <a:pt x="5108419" y="7101453"/>
                </a:cubicBezTo>
                <a:cubicBezTo>
                  <a:pt x="5098924" y="7111459"/>
                  <a:pt x="5094759" y="7127524"/>
                  <a:pt x="5076274" y="7125327"/>
                </a:cubicBezTo>
                <a:cubicBezTo>
                  <a:pt x="5057789" y="7123130"/>
                  <a:pt x="5071613" y="7100220"/>
                  <a:pt x="5053045" y="7096443"/>
                </a:cubicBezTo>
                <a:cubicBezTo>
                  <a:pt x="5050714" y="7083891"/>
                  <a:pt x="5046801" y="7073004"/>
                  <a:pt x="5044388" y="7058870"/>
                </a:cubicBezTo>
                <a:cubicBezTo>
                  <a:pt x="5025401" y="7078883"/>
                  <a:pt x="5028479" y="7105658"/>
                  <a:pt x="5009244" y="7120930"/>
                </a:cubicBezTo>
                <a:cubicBezTo>
                  <a:pt x="5015487" y="7144370"/>
                  <a:pt x="4996333" y="7161223"/>
                  <a:pt x="4990835" y="7183695"/>
                </a:cubicBezTo>
                <a:cubicBezTo>
                  <a:pt x="4985838" y="7183958"/>
                  <a:pt x="4979178" y="7184309"/>
                  <a:pt x="4969184" y="7184834"/>
                </a:cubicBezTo>
                <a:cubicBezTo>
                  <a:pt x="4966855" y="7172281"/>
                  <a:pt x="4966273" y="7161219"/>
                  <a:pt x="4965690" y="7150158"/>
                </a:cubicBezTo>
                <a:cubicBezTo>
                  <a:pt x="4958946" y="7148929"/>
                  <a:pt x="4953784" y="7146031"/>
                  <a:pt x="4945373" y="7144889"/>
                </a:cubicBezTo>
                <a:cubicBezTo>
                  <a:pt x="4940877" y="7154633"/>
                  <a:pt x="4936379" y="7164377"/>
                  <a:pt x="4931881" y="7174120"/>
                </a:cubicBezTo>
                <a:cubicBezTo>
                  <a:pt x="4926886" y="7174383"/>
                  <a:pt x="4921890" y="7174646"/>
                  <a:pt x="4916893" y="7174909"/>
                </a:cubicBezTo>
                <a:cubicBezTo>
                  <a:pt x="4901240" y="7163056"/>
                  <a:pt x="4910318" y="7145148"/>
                  <a:pt x="4906156" y="7129522"/>
                </a:cubicBezTo>
                <a:cubicBezTo>
                  <a:pt x="4902658" y="7126537"/>
                  <a:pt x="4899079" y="7121972"/>
                  <a:pt x="4893750" y="7115914"/>
                </a:cubicBezTo>
                <a:cubicBezTo>
                  <a:pt x="4896832" y="7110998"/>
                  <a:pt x="4899913" y="7106083"/>
                  <a:pt x="4904660" y="7101080"/>
                </a:cubicBezTo>
                <a:cubicBezTo>
                  <a:pt x="4889173" y="7092387"/>
                  <a:pt x="4891340" y="7070090"/>
                  <a:pt x="4874187" y="7061486"/>
                </a:cubicBezTo>
                <a:cubicBezTo>
                  <a:pt x="4871859" y="7017241"/>
                  <a:pt x="4869449" y="6971417"/>
                  <a:pt x="4867122" y="6927173"/>
                </a:cubicBezTo>
                <a:cubicBezTo>
                  <a:pt x="4871951" y="6923750"/>
                  <a:pt x="4875116" y="6920414"/>
                  <a:pt x="4879779" y="6913831"/>
                </a:cubicBezTo>
                <a:cubicBezTo>
                  <a:pt x="4877536" y="6871167"/>
                  <a:pt x="4875041" y="6823763"/>
                  <a:pt x="4872715" y="6779519"/>
                </a:cubicBezTo>
                <a:cubicBezTo>
                  <a:pt x="4879126" y="6774428"/>
                  <a:pt x="4882292" y="6771093"/>
                  <a:pt x="4888621" y="6764421"/>
                </a:cubicBezTo>
                <a:cubicBezTo>
                  <a:pt x="4886293" y="6720178"/>
                  <a:pt x="4883883" y="6674354"/>
                  <a:pt x="4881555" y="6630109"/>
                </a:cubicBezTo>
                <a:cubicBezTo>
                  <a:pt x="4886301" y="6625106"/>
                  <a:pt x="4889467" y="6621771"/>
                  <a:pt x="4894212" y="6616768"/>
                </a:cubicBezTo>
                <a:cubicBezTo>
                  <a:pt x="4892134" y="6577264"/>
                  <a:pt x="4890056" y="6537760"/>
                  <a:pt x="4887895" y="6496677"/>
                </a:cubicBezTo>
                <a:cubicBezTo>
                  <a:pt x="4892643" y="6491673"/>
                  <a:pt x="4895725" y="6486758"/>
                  <a:pt x="4900471" y="6481754"/>
                </a:cubicBezTo>
                <a:cubicBezTo>
                  <a:pt x="4901305" y="6465866"/>
                  <a:pt x="4900558" y="6451644"/>
                  <a:pt x="4899560" y="6432683"/>
                </a:cubicBezTo>
                <a:cubicBezTo>
                  <a:pt x="4882989" y="6435139"/>
                  <a:pt x="4872997" y="6435664"/>
                  <a:pt x="4861423" y="6437857"/>
                </a:cubicBezTo>
                <a:cubicBezTo>
                  <a:pt x="4859756" y="6437945"/>
                  <a:pt x="4858507" y="6445933"/>
                  <a:pt x="4857008" y="6449182"/>
                </a:cubicBezTo>
                <a:cubicBezTo>
                  <a:pt x="4851928" y="6447864"/>
                  <a:pt x="4846932" y="6448126"/>
                  <a:pt x="4845100" y="6445054"/>
                </a:cubicBezTo>
                <a:cubicBezTo>
                  <a:pt x="4841604" y="6442069"/>
                  <a:pt x="4841354" y="6437329"/>
                  <a:pt x="4841105" y="6432588"/>
                </a:cubicBezTo>
                <a:cubicBezTo>
                  <a:pt x="4840357" y="6418367"/>
                  <a:pt x="4839526" y="6402566"/>
                  <a:pt x="4838861" y="6389924"/>
                </a:cubicBezTo>
                <a:cubicBezTo>
                  <a:pt x="4845190" y="6383253"/>
                  <a:pt x="4848354" y="6379918"/>
                  <a:pt x="4854683" y="6373247"/>
                </a:cubicBezTo>
                <a:cubicBezTo>
                  <a:pt x="4842693" y="6367540"/>
                  <a:pt x="4830620" y="6360252"/>
                  <a:pt x="4823625" y="6354282"/>
                </a:cubicBezTo>
                <a:cubicBezTo>
                  <a:pt x="4822877" y="6340061"/>
                  <a:pt x="4822463" y="6332160"/>
                  <a:pt x="4821964" y="6322679"/>
                </a:cubicBezTo>
                <a:cubicBezTo>
                  <a:pt x="4816718" y="6318201"/>
                  <a:pt x="4811473" y="6313724"/>
                  <a:pt x="4806310" y="6310827"/>
                </a:cubicBezTo>
                <a:cubicBezTo>
                  <a:pt x="4796986" y="6292303"/>
                  <a:pt x="4830043" y="6285810"/>
                  <a:pt x="4815640" y="6265969"/>
                </a:cubicBezTo>
                <a:cubicBezTo>
                  <a:pt x="4810562" y="6264652"/>
                  <a:pt x="4803816" y="6263422"/>
                  <a:pt x="4795407" y="6262280"/>
                </a:cubicBezTo>
                <a:cubicBezTo>
                  <a:pt x="4793575" y="6259208"/>
                  <a:pt x="4789912" y="6253061"/>
                  <a:pt x="4784417" y="6243843"/>
                </a:cubicBezTo>
                <a:cubicBezTo>
                  <a:pt x="4795658" y="6235330"/>
                  <a:pt x="4806984" y="6228396"/>
                  <a:pt x="4814979" y="6221637"/>
                </a:cubicBezTo>
                <a:cubicBezTo>
                  <a:pt x="4813980" y="6202676"/>
                  <a:pt x="4813315" y="6190034"/>
                  <a:pt x="4812567" y="6175814"/>
                </a:cubicBezTo>
                <a:cubicBezTo>
                  <a:pt x="4803991" y="6171511"/>
                  <a:pt x="4793750" y="6167296"/>
                  <a:pt x="4783591" y="6164661"/>
                </a:cubicBezTo>
                <a:cubicBezTo>
                  <a:pt x="4783093" y="6155181"/>
                  <a:pt x="4782594" y="6145700"/>
                  <a:pt x="4782095" y="6136219"/>
                </a:cubicBezTo>
                <a:cubicBezTo>
                  <a:pt x="4791839" y="6130953"/>
                  <a:pt x="4801665" y="6127266"/>
                  <a:pt x="4811408" y="6122001"/>
                </a:cubicBezTo>
                <a:cubicBezTo>
                  <a:pt x="4797585" y="6113221"/>
                  <a:pt x="4789926" y="6094610"/>
                  <a:pt x="4770357" y="6103561"/>
                </a:cubicBezTo>
                <a:cubicBezTo>
                  <a:pt x="4764364" y="6084862"/>
                  <a:pt x="4758537" y="6069324"/>
                  <a:pt x="4777939" y="6057212"/>
                </a:cubicBezTo>
                <a:cubicBezTo>
                  <a:pt x="4772694" y="6052734"/>
                  <a:pt x="4769114" y="6048169"/>
                  <a:pt x="4763868" y="6043691"/>
                </a:cubicBezTo>
                <a:cubicBezTo>
                  <a:pt x="4776444" y="6028769"/>
                  <a:pt x="4793596" y="6037374"/>
                  <a:pt x="4808418" y="6033425"/>
                </a:cubicBezTo>
                <a:cubicBezTo>
                  <a:pt x="4810083" y="6033337"/>
                  <a:pt x="4813414" y="6033162"/>
                  <a:pt x="4814996" y="6031495"/>
                </a:cubicBezTo>
                <a:cubicBezTo>
                  <a:pt x="4830901" y="6016398"/>
                  <a:pt x="4848390" y="5999633"/>
                  <a:pt x="4861131" y="5987870"/>
                </a:cubicBezTo>
                <a:cubicBezTo>
                  <a:pt x="4860299" y="5972069"/>
                  <a:pt x="4861549" y="5964080"/>
                  <a:pt x="4844895" y="5964956"/>
                </a:cubicBezTo>
                <a:cubicBezTo>
                  <a:pt x="4844895" y="5964956"/>
                  <a:pt x="4841483" y="5963552"/>
                  <a:pt x="4839899" y="5965219"/>
                </a:cubicBezTo>
                <a:cubicBezTo>
                  <a:pt x="4830324" y="5973646"/>
                  <a:pt x="4820829" y="5983652"/>
                  <a:pt x="4809588" y="5992167"/>
                </a:cubicBezTo>
                <a:cubicBezTo>
                  <a:pt x="4804010" y="5981368"/>
                  <a:pt x="4796766" y="5970657"/>
                  <a:pt x="4787692" y="5956874"/>
                </a:cubicBezTo>
                <a:cubicBezTo>
                  <a:pt x="4787441" y="5952134"/>
                  <a:pt x="4786943" y="5942653"/>
                  <a:pt x="4786693" y="5937912"/>
                </a:cubicBezTo>
                <a:cubicBezTo>
                  <a:pt x="4794273" y="5923253"/>
                  <a:pt x="4798687" y="5911929"/>
                  <a:pt x="4804767" y="5900518"/>
                </a:cubicBezTo>
                <a:cubicBezTo>
                  <a:pt x="4815423" y="5912633"/>
                  <a:pt x="4824499" y="5926417"/>
                  <a:pt x="4833408" y="5937039"/>
                </a:cubicBezTo>
                <a:cubicBezTo>
                  <a:pt x="4848064" y="5929931"/>
                  <a:pt x="4859388" y="5922997"/>
                  <a:pt x="4870714" y="5916064"/>
                </a:cubicBezTo>
                <a:cubicBezTo>
                  <a:pt x="4870049" y="5903422"/>
                  <a:pt x="4869384" y="5890781"/>
                  <a:pt x="4868636" y="5876559"/>
                </a:cubicBezTo>
                <a:cubicBezTo>
                  <a:pt x="4854814" y="5867779"/>
                  <a:pt x="4829668" y="5865934"/>
                  <a:pt x="4823591" y="5845654"/>
                </a:cubicBezTo>
                <a:cubicBezTo>
                  <a:pt x="4831751" y="5842056"/>
                  <a:pt x="4843491" y="5843023"/>
                  <a:pt x="4832835" y="5830907"/>
                </a:cubicBezTo>
                <a:cubicBezTo>
                  <a:pt x="4829754" y="5835822"/>
                  <a:pt x="4826589" y="5839158"/>
                  <a:pt x="4823591" y="5845654"/>
                </a:cubicBezTo>
                <a:cubicBezTo>
                  <a:pt x="4813516" y="5844600"/>
                  <a:pt x="4801858" y="5845213"/>
                  <a:pt x="4788534" y="5845914"/>
                </a:cubicBezTo>
                <a:cubicBezTo>
                  <a:pt x="4770218" y="5815187"/>
                  <a:pt x="4770218" y="5815187"/>
                  <a:pt x="4736080" y="5801137"/>
                </a:cubicBezTo>
                <a:cubicBezTo>
                  <a:pt x="4735829" y="5796397"/>
                  <a:pt x="4737163" y="5789989"/>
                  <a:pt x="4736831" y="5783669"/>
                </a:cubicBezTo>
                <a:cubicBezTo>
                  <a:pt x="4750070" y="5781387"/>
                  <a:pt x="4761644" y="5779194"/>
                  <a:pt x="4773220" y="5777001"/>
                </a:cubicBezTo>
                <a:cubicBezTo>
                  <a:pt x="4779465" y="5768750"/>
                  <a:pt x="4780798" y="5762342"/>
                  <a:pt x="4772055" y="5754879"/>
                </a:cubicBezTo>
                <a:cubicBezTo>
                  <a:pt x="4758068" y="5742938"/>
                  <a:pt x="4744079" y="5730998"/>
                  <a:pt x="4730092" y="5719058"/>
                </a:cubicBezTo>
                <a:cubicBezTo>
                  <a:pt x="4736089" y="5706067"/>
                  <a:pt x="4742167" y="5694655"/>
                  <a:pt x="4743168" y="5681926"/>
                </a:cubicBezTo>
                <a:cubicBezTo>
                  <a:pt x="4744251" y="5670777"/>
                  <a:pt x="4745419" y="5661209"/>
                  <a:pt x="4756660" y="5652695"/>
                </a:cubicBezTo>
                <a:cubicBezTo>
                  <a:pt x="4751332" y="5646637"/>
                  <a:pt x="4746003" y="5640579"/>
                  <a:pt x="4737178" y="5631536"/>
                </a:cubicBezTo>
                <a:cubicBezTo>
                  <a:pt x="4748254" y="5619863"/>
                  <a:pt x="4759330" y="5608189"/>
                  <a:pt x="4768656" y="5595021"/>
                </a:cubicBezTo>
                <a:cubicBezTo>
                  <a:pt x="4769491" y="5579133"/>
                  <a:pt x="4754252" y="5575181"/>
                  <a:pt x="4745345" y="5564557"/>
                </a:cubicBezTo>
                <a:cubicBezTo>
                  <a:pt x="4733604" y="5563590"/>
                  <a:pt x="4722278" y="5570524"/>
                  <a:pt x="4711788" y="5561569"/>
                </a:cubicBezTo>
                <a:cubicBezTo>
                  <a:pt x="4711123" y="5548928"/>
                  <a:pt x="4724861" y="5556127"/>
                  <a:pt x="4736020" y="5546033"/>
                </a:cubicBezTo>
                <a:cubicBezTo>
                  <a:pt x="4737602" y="5544366"/>
                  <a:pt x="4743932" y="5537695"/>
                  <a:pt x="4750260" y="5531024"/>
                </a:cubicBezTo>
                <a:cubicBezTo>
                  <a:pt x="4749595" y="5518383"/>
                  <a:pt x="4748930" y="5505741"/>
                  <a:pt x="4748182" y="5491520"/>
                </a:cubicBezTo>
                <a:cubicBezTo>
                  <a:pt x="4752929" y="5486517"/>
                  <a:pt x="4757676" y="5481514"/>
                  <a:pt x="4762422" y="5476510"/>
                </a:cubicBezTo>
                <a:cubicBezTo>
                  <a:pt x="4762091" y="5470190"/>
                  <a:pt x="4761674" y="5462289"/>
                  <a:pt x="4761342" y="5455969"/>
                </a:cubicBezTo>
                <a:cubicBezTo>
                  <a:pt x="4768004" y="5455618"/>
                  <a:pt x="4776331" y="5455180"/>
                  <a:pt x="4782993" y="5454830"/>
                </a:cubicBezTo>
                <a:cubicBezTo>
                  <a:pt x="4797316" y="5441400"/>
                  <a:pt x="4786409" y="5424545"/>
                  <a:pt x="4787243" y="5408656"/>
                </a:cubicBezTo>
                <a:cubicBezTo>
                  <a:pt x="4792073" y="5405232"/>
                  <a:pt x="4795155" y="5400317"/>
                  <a:pt x="4801400" y="5392065"/>
                </a:cubicBezTo>
                <a:cubicBezTo>
                  <a:pt x="4795739" y="5379688"/>
                  <a:pt x="4788246" y="5364236"/>
                  <a:pt x="4779005" y="5347293"/>
                </a:cubicBezTo>
                <a:cubicBezTo>
                  <a:pt x="4774259" y="5352296"/>
                  <a:pt x="4769429" y="5355720"/>
                  <a:pt x="4764682" y="5360722"/>
                </a:cubicBezTo>
                <a:cubicBezTo>
                  <a:pt x="4753023" y="5361335"/>
                  <a:pt x="4743032" y="5361861"/>
                  <a:pt x="4733040" y="5362386"/>
                </a:cubicBezTo>
                <a:cubicBezTo>
                  <a:pt x="4718969" y="5348866"/>
                  <a:pt x="4728545" y="5340440"/>
                  <a:pt x="4739704" y="5330346"/>
                </a:cubicBezTo>
                <a:cubicBezTo>
                  <a:pt x="4736628" y="5271881"/>
                  <a:pt x="4733470" y="5211835"/>
                  <a:pt x="4730477" y="5154949"/>
                </a:cubicBezTo>
                <a:cubicBezTo>
                  <a:pt x="4747883" y="5136605"/>
                  <a:pt x="4757041" y="5151968"/>
                  <a:pt x="4769114" y="5159256"/>
                </a:cubicBezTo>
                <a:cubicBezTo>
                  <a:pt x="4776526" y="5141436"/>
                  <a:pt x="4774029" y="5125722"/>
                  <a:pt x="4769785" y="5108516"/>
                </a:cubicBezTo>
                <a:cubicBezTo>
                  <a:pt x="4753047" y="5107812"/>
                  <a:pt x="4760291" y="5118522"/>
                  <a:pt x="4757459" y="5128178"/>
                </a:cubicBezTo>
                <a:cubicBezTo>
                  <a:pt x="4750881" y="5130109"/>
                  <a:pt x="4742636" y="5132127"/>
                  <a:pt x="4732810" y="5135813"/>
                </a:cubicBezTo>
                <a:cubicBezTo>
                  <a:pt x="4733064" y="5108863"/>
                  <a:pt x="4709333" y="5102188"/>
                  <a:pt x="4696761" y="5085421"/>
                </a:cubicBezTo>
                <a:cubicBezTo>
                  <a:pt x="4699758" y="5078924"/>
                  <a:pt x="4701175" y="5074096"/>
                  <a:pt x="4702508" y="5067688"/>
                </a:cubicBezTo>
                <a:cubicBezTo>
                  <a:pt x="4709170" y="5067338"/>
                  <a:pt x="4714166" y="5067075"/>
                  <a:pt x="4719162" y="5066812"/>
                </a:cubicBezTo>
                <a:cubicBezTo>
                  <a:pt x="4735151" y="5053295"/>
                  <a:pt x="4717583" y="5036790"/>
                  <a:pt x="4722245" y="5030207"/>
                </a:cubicBezTo>
                <a:cubicBezTo>
                  <a:pt x="4726328" y="5012562"/>
                  <a:pt x="4742733" y="5006945"/>
                  <a:pt x="4735240" y="4991495"/>
                </a:cubicBezTo>
                <a:cubicBezTo>
                  <a:pt x="4726747" y="4988772"/>
                  <a:pt x="4718169" y="4984470"/>
                  <a:pt x="4707929" y="4980255"/>
                </a:cubicBezTo>
                <a:cubicBezTo>
                  <a:pt x="4707761" y="4977094"/>
                  <a:pt x="4707513" y="4972354"/>
                  <a:pt x="4707264" y="4967613"/>
                </a:cubicBezTo>
                <a:cubicBezTo>
                  <a:pt x="4710345" y="4962698"/>
                  <a:pt x="4715091" y="4957695"/>
                  <a:pt x="4719838" y="4952691"/>
                </a:cubicBezTo>
                <a:cubicBezTo>
                  <a:pt x="4718426" y="4925829"/>
                  <a:pt x="4717013" y="4898966"/>
                  <a:pt x="4715600" y="4872103"/>
                </a:cubicBezTo>
                <a:cubicBezTo>
                  <a:pt x="4718763" y="4868769"/>
                  <a:pt x="4721928" y="4865434"/>
                  <a:pt x="4725092" y="4862097"/>
                </a:cubicBezTo>
                <a:cubicBezTo>
                  <a:pt x="4736002" y="4847263"/>
                  <a:pt x="4723513" y="4832075"/>
                  <a:pt x="4729427" y="4817503"/>
                </a:cubicBezTo>
                <a:cubicBezTo>
                  <a:pt x="4724265" y="4814606"/>
                  <a:pt x="4722433" y="4811533"/>
                  <a:pt x="4720768" y="4811620"/>
                </a:cubicBezTo>
                <a:cubicBezTo>
                  <a:pt x="4709027" y="4810654"/>
                  <a:pt x="4695786" y="4812935"/>
                  <a:pt x="4697871" y="4789057"/>
                </a:cubicBezTo>
                <a:cubicBezTo>
                  <a:pt x="4704282" y="4783966"/>
                  <a:pt x="4715608" y="4777033"/>
                  <a:pt x="4723686" y="4771854"/>
                </a:cubicBezTo>
                <a:cubicBezTo>
                  <a:pt x="4722605" y="4751313"/>
                  <a:pt x="4721940" y="4738671"/>
                  <a:pt x="4721025" y="4721289"/>
                </a:cubicBezTo>
                <a:cubicBezTo>
                  <a:pt x="4712366" y="4715407"/>
                  <a:pt x="4700294" y="4708120"/>
                  <a:pt x="4693383" y="4703730"/>
                </a:cubicBezTo>
                <a:cubicBezTo>
                  <a:pt x="4692550" y="4687928"/>
                  <a:pt x="4692136" y="4680028"/>
                  <a:pt x="4691637" y="4670546"/>
                </a:cubicBezTo>
                <a:cubicBezTo>
                  <a:pt x="4694719" y="4665631"/>
                  <a:pt x="4699465" y="4660628"/>
                  <a:pt x="4705793" y="4653957"/>
                </a:cubicBezTo>
                <a:cubicBezTo>
                  <a:pt x="4690640" y="4651585"/>
                  <a:pt x="4677233" y="4650705"/>
                  <a:pt x="4663826" y="4649826"/>
                </a:cubicBezTo>
                <a:cubicBezTo>
                  <a:pt x="4664246" y="4626036"/>
                  <a:pt x="4687726" y="4627971"/>
                  <a:pt x="4700552" y="4617789"/>
                </a:cubicBezTo>
                <a:cubicBezTo>
                  <a:pt x="4701967" y="4612961"/>
                  <a:pt x="4701802" y="4609800"/>
                  <a:pt x="4701469" y="4603480"/>
                </a:cubicBezTo>
                <a:cubicBezTo>
                  <a:pt x="4692893" y="4599177"/>
                  <a:pt x="4682650" y="4594963"/>
                  <a:pt x="4672493" y="4592328"/>
                </a:cubicBezTo>
                <a:cubicBezTo>
                  <a:pt x="4677155" y="4585745"/>
                  <a:pt x="4681902" y="4580741"/>
                  <a:pt x="4685067" y="4577405"/>
                </a:cubicBezTo>
                <a:cubicBezTo>
                  <a:pt x="4681486" y="4572840"/>
                  <a:pt x="4676242" y="4568363"/>
                  <a:pt x="4670996" y="4563885"/>
                </a:cubicBezTo>
                <a:cubicBezTo>
                  <a:pt x="4683987" y="4556864"/>
                  <a:pt x="4695312" y="4549930"/>
                  <a:pt x="4706636" y="4542996"/>
                </a:cubicBezTo>
                <a:cubicBezTo>
                  <a:pt x="4711800" y="4545894"/>
                  <a:pt x="4717044" y="4550371"/>
                  <a:pt x="4722291" y="4554849"/>
                </a:cubicBezTo>
                <a:cubicBezTo>
                  <a:pt x="4732283" y="4554323"/>
                  <a:pt x="4740609" y="4553885"/>
                  <a:pt x="4750602" y="4553360"/>
                </a:cubicBezTo>
                <a:cubicBezTo>
                  <a:pt x="4756848" y="4545108"/>
                  <a:pt x="4763176" y="4538438"/>
                  <a:pt x="4771172" y="4531679"/>
                </a:cubicBezTo>
                <a:cubicBezTo>
                  <a:pt x="4764178" y="4525709"/>
                  <a:pt x="4755602" y="4521406"/>
                  <a:pt x="4741697" y="4511046"/>
                </a:cubicBezTo>
                <a:cubicBezTo>
                  <a:pt x="4736616" y="4509729"/>
                  <a:pt x="4720462" y="4520086"/>
                  <a:pt x="4709722" y="4506390"/>
                </a:cubicBezTo>
                <a:cubicBezTo>
                  <a:pt x="4699065" y="4494275"/>
                  <a:pt x="4681493" y="4509459"/>
                  <a:pt x="4669253" y="4499012"/>
                </a:cubicBezTo>
                <a:cubicBezTo>
                  <a:pt x="4675250" y="4486020"/>
                  <a:pt x="4677916" y="4473204"/>
                  <a:pt x="4682164" y="4458720"/>
                </a:cubicBezTo>
                <a:cubicBezTo>
                  <a:pt x="4684747" y="4444324"/>
                  <a:pt x="4695823" y="4432649"/>
                  <a:pt x="4691577" y="4415443"/>
                </a:cubicBezTo>
                <a:cubicBezTo>
                  <a:pt x="4687998" y="4410878"/>
                  <a:pt x="4682752" y="4406400"/>
                  <a:pt x="4677507" y="4401922"/>
                </a:cubicBezTo>
                <a:cubicBezTo>
                  <a:pt x="4677091" y="4394021"/>
                  <a:pt x="4676591" y="4384540"/>
                  <a:pt x="4676094" y="4375059"/>
                </a:cubicBezTo>
                <a:cubicBezTo>
                  <a:pt x="4677593" y="4371812"/>
                  <a:pt x="4680756" y="4368476"/>
                  <a:pt x="4685587" y="4365053"/>
                </a:cubicBezTo>
                <a:cubicBezTo>
                  <a:pt x="4693165" y="4350394"/>
                  <a:pt x="4685672" y="4334943"/>
                  <a:pt x="4686591" y="4320634"/>
                </a:cubicBezTo>
                <a:cubicBezTo>
                  <a:pt x="4684841" y="4319142"/>
                  <a:pt x="4683010" y="4316069"/>
                  <a:pt x="4681345" y="4316156"/>
                </a:cubicBezTo>
                <a:cubicBezTo>
                  <a:pt x="4669604" y="4315190"/>
                  <a:pt x="4657863" y="4314223"/>
                  <a:pt x="4647787" y="4313168"/>
                </a:cubicBezTo>
                <a:cubicBezTo>
                  <a:pt x="4638962" y="4304125"/>
                  <a:pt x="4641961" y="4297630"/>
                  <a:pt x="4646540" y="4289466"/>
                </a:cubicBezTo>
                <a:cubicBezTo>
                  <a:pt x="4656865" y="4295261"/>
                  <a:pt x="4667108" y="4299476"/>
                  <a:pt x="4675600" y="4302198"/>
                </a:cubicBezTo>
                <a:cubicBezTo>
                  <a:pt x="4696586" y="4288418"/>
                  <a:pt x="4668526" y="4262957"/>
                  <a:pt x="4696589" y="4256727"/>
                </a:cubicBezTo>
                <a:cubicBezTo>
                  <a:pt x="4695176" y="4229865"/>
                  <a:pt x="4693929" y="4206162"/>
                  <a:pt x="4692681" y="4182461"/>
                </a:cubicBezTo>
                <a:cubicBezTo>
                  <a:pt x="4682524" y="4179826"/>
                  <a:pt x="4674031" y="4177104"/>
                  <a:pt x="4662207" y="4174557"/>
                </a:cubicBezTo>
                <a:cubicBezTo>
                  <a:pt x="4676529" y="4161127"/>
                  <a:pt x="4687688" y="4151033"/>
                  <a:pt x="4698764" y="4139359"/>
                </a:cubicBezTo>
                <a:cubicBezTo>
                  <a:pt x="4706174" y="4153230"/>
                  <a:pt x="4713666" y="4168681"/>
                  <a:pt x="4730737" y="4175706"/>
                </a:cubicBezTo>
                <a:cubicBezTo>
                  <a:pt x="4741978" y="4167192"/>
                  <a:pt x="4734651" y="4154900"/>
                  <a:pt x="4735735" y="4143752"/>
                </a:cubicBezTo>
                <a:cubicBezTo>
                  <a:pt x="4728742" y="4137782"/>
                  <a:pt x="4723412" y="4131725"/>
                  <a:pt x="4716418" y="4125754"/>
                </a:cubicBezTo>
                <a:cubicBezTo>
                  <a:pt x="4703012" y="4124875"/>
                  <a:pt x="4689524" y="4122415"/>
                  <a:pt x="4674368" y="4120043"/>
                </a:cubicBezTo>
                <a:cubicBezTo>
                  <a:pt x="4680697" y="4113372"/>
                  <a:pt x="4685444" y="4108369"/>
                  <a:pt x="4693356" y="4100030"/>
                </a:cubicBezTo>
                <a:cubicBezTo>
                  <a:pt x="4687943" y="4092393"/>
                  <a:pt x="4682533" y="4084754"/>
                  <a:pt x="4675371" y="4075624"/>
                </a:cubicBezTo>
                <a:cubicBezTo>
                  <a:pt x="4691195" y="4058947"/>
                  <a:pt x="4700519" y="4077471"/>
                  <a:pt x="4710760" y="4081685"/>
                </a:cubicBezTo>
                <a:cubicBezTo>
                  <a:pt x="4718754" y="4074927"/>
                  <a:pt x="4718754" y="4074927"/>
                  <a:pt x="4712014" y="4042007"/>
                </a:cubicBezTo>
                <a:cubicBezTo>
                  <a:pt x="4705601" y="4047098"/>
                  <a:pt x="4702519" y="4052013"/>
                  <a:pt x="4697606" y="4053856"/>
                </a:cubicBezTo>
                <a:cubicBezTo>
                  <a:pt x="4691029" y="4055786"/>
                  <a:pt x="4684367" y="4056137"/>
                  <a:pt x="4679371" y="4056400"/>
                </a:cubicBezTo>
                <a:cubicBezTo>
                  <a:pt x="4675873" y="4053415"/>
                  <a:pt x="4672460" y="4052010"/>
                  <a:pt x="4672377" y="4050430"/>
                </a:cubicBezTo>
                <a:cubicBezTo>
                  <a:pt x="4671462" y="4033048"/>
                  <a:pt x="4670548" y="4015667"/>
                  <a:pt x="4669634" y="3998285"/>
                </a:cubicBezTo>
                <a:cubicBezTo>
                  <a:pt x="4674380" y="3993282"/>
                  <a:pt x="4679128" y="3988278"/>
                  <a:pt x="4683874" y="3983276"/>
                </a:cubicBezTo>
                <a:cubicBezTo>
                  <a:pt x="4673383" y="3974320"/>
                  <a:pt x="4664641" y="3966857"/>
                  <a:pt x="4654233" y="3959482"/>
                </a:cubicBezTo>
                <a:cubicBezTo>
                  <a:pt x="4657314" y="3954566"/>
                  <a:pt x="4662061" y="3949563"/>
                  <a:pt x="4665143" y="3944647"/>
                </a:cubicBezTo>
                <a:cubicBezTo>
                  <a:pt x="4664395" y="3930426"/>
                  <a:pt x="4663562" y="3914625"/>
                  <a:pt x="4662814" y="3900404"/>
                </a:cubicBezTo>
                <a:cubicBezTo>
                  <a:pt x="4650907" y="3896276"/>
                  <a:pt x="4651324" y="3904177"/>
                  <a:pt x="4649991" y="3910585"/>
                </a:cubicBezTo>
                <a:cubicBezTo>
                  <a:pt x="4650157" y="3913745"/>
                  <a:pt x="4648740" y="3918574"/>
                  <a:pt x="4647242" y="3921821"/>
                </a:cubicBezTo>
                <a:cubicBezTo>
                  <a:pt x="4635501" y="3920855"/>
                  <a:pt x="4630005" y="3911637"/>
                  <a:pt x="4621264" y="3904174"/>
                </a:cubicBezTo>
                <a:cubicBezTo>
                  <a:pt x="4618601" y="3885299"/>
                  <a:pt x="4638253" y="3877928"/>
                  <a:pt x="4647497" y="3863181"/>
                </a:cubicBezTo>
                <a:cubicBezTo>
                  <a:pt x="4639003" y="3860459"/>
                  <a:pt x="4628763" y="3856243"/>
                  <a:pt x="4620269" y="3853522"/>
                </a:cubicBezTo>
                <a:cubicBezTo>
                  <a:pt x="4622934" y="3840705"/>
                  <a:pt x="4634925" y="3846412"/>
                  <a:pt x="4641420" y="3842902"/>
                </a:cubicBezTo>
                <a:cubicBezTo>
                  <a:pt x="4652579" y="3832808"/>
                  <a:pt x="4641921" y="3820692"/>
                  <a:pt x="4646420" y="3810948"/>
                </a:cubicBezTo>
                <a:cubicBezTo>
                  <a:pt x="4641173" y="3806472"/>
                  <a:pt x="4635929" y="3801993"/>
                  <a:pt x="4630682" y="3797516"/>
                </a:cubicBezTo>
                <a:cubicBezTo>
                  <a:pt x="4630184" y="3788035"/>
                  <a:pt x="4629686" y="3778554"/>
                  <a:pt x="4629269" y="3770654"/>
                </a:cubicBezTo>
                <a:cubicBezTo>
                  <a:pt x="4624025" y="3766175"/>
                  <a:pt x="4618778" y="3761698"/>
                  <a:pt x="4615199" y="3757133"/>
                </a:cubicBezTo>
                <a:cubicBezTo>
                  <a:pt x="4626358" y="3747039"/>
                  <a:pt x="4639763" y="3747918"/>
                  <a:pt x="4653336" y="3751958"/>
                </a:cubicBezTo>
                <a:cubicBezTo>
                  <a:pt x="4657332" y="3764423"/>
                  <a:pt x="4659662" y="3776978"/>
                  <a:pt x="4663741" y="3791023"/>
                </a:cubicBezTo>
                <a:cubicBezTo>
                  <a:pt x="4673234" y="3781017"/>
                  <a:pt x="4681145" y="3772677"/>
                  <a:pt x="4689057" y="3764339"/>
                </a:cubicBezTo>
                <a:cubicBezTo>
                  <a:pt x="4681814" y="3753629"/>
                  <a:pt x="4676320" y="3744411"/>
                  <a:pt x="4669076" y="3733701"/>
                </a:cubicBezTo>
                <a:cubicBezTo>
                  <a:pt x="4673740" y="3727117"/>
                  <a:pt x="4678319" y="3718954"/>
                  <a:pt x="4684648" y="3712282"/>
                </a:cubicBezTo>
                <a:cubicBezTo>
                  <a:pt x="4684482" y="3709122"/>
                  <a:pt x="4684234" y="3704382"/>
                  <a:pt x="4683900" y="3698061"/>
                </a:cubicBezTo>
                <a:cubicBezTo>
                  <a:pt x="4675408" y="3695339"/>
                  <a:pt x="4666998" y="3694196"/>
                  <a:pt x="4656840" y="3691562"/>
                </a:cubicBezTo>
                <a:cubicBezTo>
                  <a:pt x="4654841" y="3685329"/>
                  <a:pt x="4654509" y="3679008"/>
                  <a:pt x="4652511" y="3672776"/>
                </a:cubicBezTo>
                <a:cubicBezTo>
                  <a:pt x="4662337" y="3669089"/>
                  <a:pt x="4670498" y="3665491"/>
                  <a:pt x="4680324" y="3661804"/>
                </a:cubicBezTo>
                <a:cubicBezTo>
                  <a:pt x="4679327" y="3642844"/>
                  <a:pt x="4678329" y="3623882"/>
                  <a:pt x="4677332" y="3604920"/>
                </a:cubicBezTo>
                <a:cubicBezTo>
                  <a:pt x="4672169" y="3602023"/>
                  <a:pt x="4668589" y="3597457"/>
                  <a:pt x="4663344" y="3592979"/>
                </a:cubicBezTo>
                <a:cubicBezTo>
                  <a:pt x="4662179" y="3570858"/>
                  <a:pt x="4660933" y="3547156"/>
                  <a:pt x="4659687" y="3523454"/>
                </a:cubicBezTo>
                <a:cubicBezTo>
                  <a:pt x="4647863" y="3520906"/>
                  <a:pt x="4639369" y="3518185"/>
                  <a:pt x="4627546" y="3515637"/>
                </a:cubicBezTo>
                <a:cubicBezTo>
                  <a:pt x="4648364" y="3498697"/>
                  <a:pt x="4667684" y="3485004"/>
                  <a:pt x="4683755" y="3473068"/>
                </a:cubicBezTo>
                <a:cubicBezTo>
                  <a:pt x="4664521" y="3456649"/>
                  <a:pt x="4647037" y="3441724"/>
                  <a:pt x="4629552" y="3426799"/>
                </a:cubicBezTo>
                <a:cubicBezTo>
                  <a:pt x="4624473" y="3425481"/>
                  <a:pt x="4617728" y="3424252"/>
                  <a:pt x="4610984" y="3423022"/>
                </a:cubicBezTo>
                <a:cubicBezTo>
                  <a:pt x="4620062" y="3405115"/>
                  <a:pt x="4637380" y="3416880"/>
                  <a:pt x="4648706" y="3409946"/>
                </a:cubicBezTo>
                <a:cubicBezTo>
                  <a:pt x="4654619" y="3395374"/>
                  <a:pt x="4660616" y="3382382"/>
                  <a:pt x="4666611" y="3369391"/>
                </a:cubicBezTo>
                <a:cubicBezTo>
                  <a:pt x="4660867" y="3355433"/>
                  <a:pt x="4647212" y="3349813"/>
                  <a:pt x="4638387" y="3340770"/>
                </a:cubicBezTo>
                <a:cubicBezTo>
                  <a:pt x="4634224" y="3325144"/>
                  <a:pt x="4628397" y="3309606"/>
                  <a:pt x="4646135" y="3297580"/>
                </a:cubicBezTo>
                <a:cubicBezTo>
                  <a:pt x="4644805" y="3272299"/>
                  <a:pt x="4643392" y="3245436"/>
                  <a:pt x="4641979" y="3218574"/>
                </a:cubicBezTo>
                <a:cubicBezTo>
                  <a:pt x="4646726" y="3213571"/>
                  <a:pt x="4651472" y="3208567"/>
                  <a:pt x="4656136" y="3201983"/>
                </a:cubicBezTo>
                <a:cubicBezTo>
                  <a:pt x="4647559" y="3197681"/>
                  <a:pt x="4637401" y="3195047"/>
                  <a:pt x="4627159" y="3190832"/>
                </a:cubicBezTo>
                <a:cubicBezTo>
                  <a:pt x="4630323" y="3187496"/>
                  <a:pt x="4633488" y="3184160"/>
                  <a:pt x="4636653" y="3180826"/>
                </a:cubicBezTo>
                <a:cubicBezTo>
                  <a:pt x="4645814" y="3164498"/>
                  <a:pt x="4634990" y="3149222"/>
                  <a:pt x="4640988" y="3136231"/>
                </a:cubicBezTo>
                <a:cubicBezTo>
                  <a:pt x="4634077" y="3131841"/>
                  <a:pt x="4630579" y="3128856"/>
                  <a:pt x="4625334" y="3124378"/>
                </a:cubicBezTo>
                <a:cubicBezTo>
                  <a:pt x="4624752" y="3113318"/>
                  <a:pt x="4624087" y="3100676"/>
                  <a:pt x="4623173" y="3083295"/>
                </a:cubicBezTo>
                <a:cubicBezTo>
                  <a:pt x="4624754" y="3081626"/>
                  <a:pt x="4629419" y="3075044"/>
                  <a:pt x="4634083" y="3068460"/>
                </a:cubicBezTo>
                <a:cubicBezTo>
                  <a:pt x="4633667" y="3060559"/>
                  <a:pt x="4633085" y="3049498"/>
                  <a:pt x="4632585" y="3040018"/>
                </a:cubicBezTo>
                <a:cubicBezTo>
                  <a:pt x="4627341" y="3035540"/>
                  <a:pt x="4623843" y="3032555"/>
                  <a:pt x="4620347" y="3029569"/>
                </a:cubicBezTo>
                <a:cubicBezTo>
                  <a:pt x="4623428" y="3024654"/>
                  <a:pt x="4628174" y="3019651"/>
                  <a:pt x="4631255" y="3014736"/>
                </a:cubicBezTo>
                <a:cubicBezTo>
                  <a:pt x="4627676" y="3010171"/>
                  <a:pt x="4622430" y="3005693"/>
                  <a:pt x="4617185" y="3001214"/>
                </a:cubicBezTo>
                <a:cubicBezTo>
                  <a:pt x="4615772" y="2974352"/>
                  <a:pt x="4614359" y="2947489"/>
                  <a:pt x="4613029" y="2922207"/>
                </a:cubicBezTo>
                <a:cubicBezTo>
                  <a:pt x="4607700" y="2916150"/>
                  <a:pt x="4602455" y="2911672"/>
                  <a:pt x="4598958" y="2908687"/>
                </a:cubicBezTo>
                <a:cubicBezTo>
                  <a:pt x="4598458" y="2899206"/>
                  <a:pt x="4597961" y="2889725"/>
                  <a:pt x="4597545" y="2881825"/>
                </a:cubicBezTo>
                <a:cubicBezTo>
                  <a:pt x="4600627" y="2876908"/>
                  <a:pt x="4603790" y="2873574"/>
                  <a:pt x="4608538" y="2868570"/>
                </a:cubicBezTo>
                <a:cubicBezTo>
                  <a:pt x="4607373" y="2846448"/>
                  <a:pt x="4606126" y="2822746"/>
                  <a:pt x="4604881" y="2799043"/>
                </a:cubicBezTo>
                <a:cubicBezTo>
                  <a:pt x="4601383" y="2796059"/>
                  <a:pt x="4597885" y="2793075"/>
                  <a:pt x="4592641" y="2788596"/>
                </a:cubicBezTo>
                <a:cubicBezTo>
                  <a:pt x="4591559" y="2768054"/>
                  <a:pt x="4590397" y="2745932"/>
                  <a:pt x="4589233" y="2723810"/>
                </a:cubicBezTo>
                <a:cubicBezTo>
                  <a:pt x="4583903" y="2717753"/>
                  <a:pt x="4580324" y="2713188"/>
                  <a:pt x="4574995" y="2707129"/>
                </a:cubicBezTo>
                <a:cubicBezTo>
                  <a:pt x="4578159" y="2703795"/>
                  <a:pt x="4581241" y="2698879"/>
                  <a:pt x="4585988" y="2693875"/>
                </a:cubicBezTo>
                <a:cubicBezTo>
                  <a:pt x="4584326" y="2662272"/>
                  <a:pt x="4582746" y="2632250"/>
                  <a:pt x="4581001" y="2599067"/>
                </a:cubicBezTo>
                <a:cubicBezTo>
                  <a:pt x="4577503" y="2596081"/>
                  <a:pt x="4572259" y="2591604"/>
                  <a:pt x="4567012" y="2587126"/>
                </a:cubicBezTo>
                <a:cubicBezTo>
                  <a:pt x="4571760" y="2582123"/>
                  <a:pt x="4576507" y="2577119"/>
                  <a:pt x="4579588" y="2572204"/>
                </a:cubicBezTo>
                <a:cubicBezTo>
                  <a:pt x="4579089" y="2562723"/>
                  <a:pt x="4578590" y="2553242"/>
                  <a:pt x="4578175" y="2545342"/>
                </a:cubicBezTo>
                <a:cubicBezTo>
                  <a:pt x="4572929" y="2540864"/>
                  <a:pt x="4567684" y="2536387"/>
                  <a:pt x="4560606" y="2528836"/>
                </a:cubicBezTo>
                <a:cubicBezTo>
                  <a:pt x="4565271" y="2522253"/>
                  <a:pt x="4568186" y="2514177"/>
                  <a:pt x="4577430" y="2499430"/>
                </a:cubicBezTo>
                <a:cubicBezTo>
                  <a:pt x="4577097" y="2493110"/>
                  <a:pt x="4576265" y="2477308"/>
                  <a:pt x="4575600" y="2464667"/>
                </a:cubicBezTo>
                <a:cubicBezTo>
                  <a:pt x="4580348" y="2459664"/>
                  <a:pt x="4583430" y="2454748"/>
                  <a:pt x="4589842" y="2449657"/>
                </a:cubicBezTo>
                <a:cubicBezTo>
                  <a:pt x="4583097" y="2448428"/>
                  <a:pt x="4578017" y="2447110"/>
                  <a:pt x="4572855" y="2444212"/>
                </a:cubicBezTo>
                <a:cubicBezTo>
                  <a:pt x="4567776" y="2442895"/>
                  <a:pt x="4564361" y="2441490"/>
                  <a:pt x="4559282" y="2440173"/>
                </a:cubicBezTo>
                <a:cubicBezTo>
                  <a:pt x="4562115" y="2430517"/>
                  <a:pt x="4575354" y="2428235"/>
                  <a:pt x="4573108" y="2417263"/>
                </a:cubicBezTo>
                <a:cubicBezTo>
                  <a:pt x="4576438" y="2417087"/>
                  <a:pt x="4581434" y="2416824"/>
                  <a:pt x="4586347" y="2414982"/>
                </a:cubicBezTo>
                <a:cubicBezTo>
                  <a:pt x="4588428" y="2422794"/>
                  <a:pt x="4589010" y="2433856"/>
                  <a:pt x="4600169" y="2423762"/>
                </a:cubicBezTo>
                <a:cubicBezTo>
                  <a:pt x="4596673" y="2420776"/>
                  <a:pt x="4591509" y="2417879"/>
                  <a:pt x="4586347" y="2414982"/>
                </a:cubicBezTo>
                <a:cubicBezTo>
                  <a:pt x="4585350" y="2396020"/>
                  <a:pt x="4584352" y="2377058"/>
                  <a:pt x="4583272" y="2356516"/>
                </a:cubicBezTo>
                <a:cubicBezTo>
                  <a:pt x="4579775" y="2353531"/>
                  <a:pt x="4576277" y="2350546"/>
                  <a:pt x="4572781" y="2347561"/>
                </a:cubicBezTo>
                <a:cubicBezTo>
                  <a:pt x="4570866" y="2342908"/>
                  <a:pt x="4569035" y="2339835"/>
                  <a:pt x="4568785" y="2335095"/>
                </a:cubicBezTo>
                <a:cubicBezTo>
                  <a:pt x="4566122" y="2316221"/>
                  <a:pt x="4566707" y="2295591"/>
                  <a:pt x="4565293" y="2268729"/>
                </a:cubicBezTo>
                <a:cubicBezTo>
                  <a:pt x="4571707" y="2263638"/>
                  <a:pt x="4583031" y="2256704"/>
                  <a:pt x="4600851" y="2246260"/>
                </a:cubicBezTo>
                <a:cubicBezTo>
                  <a:pt x="4583949" y="2242395"/>
                  <a:pt x="4577288" y="2242746"/>
                  <a:pt x="4567129" y="2240111"/>
                </a:cubicBezTo>
                <a:cubicBezTo>
                  <a:pt x="4564964" y="2230717"/>
                  <a:pt x="4560969" y="2218252"/>
                  <a:pt x="4558638" y="2205698"/>
                </a:cubicBezTo>
                <a:cubicBezTo>
                  <a:pt x="4550229" y="2204557"/>
                  <a:pt x="4541736" y="2201834"/>
                  <a:pt x="4533241" y="2199112"/>
                </a:cubicBezTo>
                <a:cubicBezTo>
                  <a:pt x="4535908" y="2186296"/>
                  <a:pt x="4547899" y="2192003"/>
                  <a:pt x="4557558" y="2185157"/>
                </a:cubicBezTo>
                <a:cubicBezTo>
                  <a:pt x="4565054" y="2168917"/>
                  <a:pt x="4553980" y="2148902"/>
                  <a:pt x="4557980" y="2129676"/>
                </a:cubicBezTo>
                <a:cubicBezTo>
                  <a:pt x="4552650" y="2123618"/>
                  <a:pt x="4547406" y="2119141"/>
                  <a:pt x="4542159" y="2114663"/>
                </a:cubicBezTo>
                <a:cubicBezTo>
                  <a:pt x="4545324" y="2111327"/>
                  <a:pt x="4548489" y="2107993"/>
                  <a:pt x="4554900" y="2102902"/>
                </a:cubicBezTo>
                <a:cubicBezTo>
                  <a:pt x="4553987" y="2085520"/>
                  <a:pt x="4552989" y="2066558"/>
                  <a:pt x="4551992" y="2047596"/>
                </a:cubicBezTo>
                <a:cubicBezTo>
                  <a:pt x="4563317" y="2040663"/>
                  <a:pt x="4565900" y="2026266"/>
                  <a:pt x="4579140" y="2023986"/>
                </a:cubicBezTo>
                <a:cubicBezTo>
                  <a:pt x="4582969" y="2033291"/>
                  <a:pt x="4581802" y="2042860"/>
                  <a:pt x="4594627" y="2032677"/>
                </a:cubicBezTo>
                <a:cubicBezTo>
                  <a:pt x="4589465" y="2029781"/>
                  <a:pt x="4585967" y="2026796"/>
                  <a:pt x="4579140" y="2023986"/>
                </a:cubicBezTo>
                <a:cubicBezTo>
                  <a:pt x="4580057" y="2009677"/>
                  <a:pt x="4579309" y="1995455"/>
                  <a:pt x="4578394" y="1978074"/>
                </a:cubicBezTo>
                <a:cubicBezTo>
                  <a:pt x="4568236" y="1975439"/>
                  <a:pt x="4557994" y="1971224"/>
                  <a:pt x="4546088" y="1967096"/>
                </a:cubicBezTo>
                <a:cubicBezTo>
                  <a:pt x="4555831" y="1961831"/>
                  <a:pt x="4564073" y="1959812"/>
                  <a:pt x="4573900" y="1956127"/>
                </a:cubicBezTo>
                <a:cubicBezTo>
                  <a:pt x="4581646" y="1944627"/>
                  <a:pt x="4576151" y="1935409"/>
                  <a:pt x="4565825" y="1929615"/>
                </a:cubicBezTo>
                <a:cubicBezTo>
                  <a:pt x="4564078" y="1928122"/>
                  <a:pt x="4560581" y="1925137"/>
                  <a:pt x="4560497" y="1923557"/>
                </a:cubicBezTo>
                <a:cubicBezTo>
                  <a:pt x="4558169" y="1879313"/>
                  <a:pt x="4555843" y="1835069"/>
                  <a:pt x="4553598" y="1792406"/>
                </a:cubicBezTo>
                <a:cubicBezTo>
                  <a:pt x="4548269" y="1786347"/>
                  <a:pt x="4544689" y="1781782"/>
                  <a:pt x="4539526" y="1778884"/>
                </a:cubicBezTo>
                <a:cubicBezTo>
                  <a:pt x="4542608" y="1773969"/>
                  <a:pt x="4545772" y="1770634"/>
                  <a:pt x="4550602" y="1767210"/>
                </a:cubicBezTo>
                <a:cubicBezTo>
                  <a:pt x="4546939" y="1761065"/>
                  <a:pt x="4543276" y="1754920"/>
                  <a:pt x="4539613" y="1748774"/>
                </a:cubicBezTo>
                <a:cubicBezTo>
                  <a:pt x="4545859" y="1740522"/>
                  <a:pt x="4557848" y="1746230"/>
                  <a:pt x="4566176" y="1745792"/>
                </a:cubicBezTo>
                <a:cubicBezTo>
                  <a:pt x="4566508" y="1752114"/>
                  <a:pt x="4566924" y="1760014"/>
                  <a:pt x="4569171" y="1770987"/>
                </a:cubicBezTo>
                <a:cubicBezTo>
                  <a:pt x="4579080" y="1768881"/>
                  <a:pt x="4587408" y="1768443"/>
                  <a:pt x="4600647" y="1766163"/>
                </a:cubicBezTo>
                <a:cubicBezTo>
                  <a:pt x="4589907" y="1752466"/>
                  <a:pt x="4602482" y="1737545"/>
                  <a:pt x="4586994" y="1728851"/>
                </a:cubicBezTo>
                <a:cubicBezTo>
                  <a:pt x="4580665" y="1735523"/>
                  <a:pt x="4574254" y="1740614"/>
                  <a:pt x="4566176" y="1745792"/>
                </a:cubicBezTo>
                <a:cubicBezTo>
                  <a:pt x="4565678" y="1736312"/>
                  <a:pt x="4565344" y="1729991"/>
                  <a:pt x="4565013" y="1723670"/>
                </a:cubicBezTo>
                <a:cubicBezTo>
                  <a:pt x="4559767" y="1719193"/>
                  <a:pt x="4554522" y="1714715"/>
                  <a:pt x="4549276" y="1710238"/>
                </a:cubicBezTo>
                <a:cubicBezTo>
                  <a:pt x="4548777" y="1700756"/>
                  <a:pt x="4548278" y="1691275"/>
                  <a:pt x="4547863" y="1683375"/>
                </a:cubicBezTo>
                <a:cubicBezTo>
                  <a:pt x="4569014" y="1672756"/>
                  <a:pt x="4572179" y="1669420"/>
                  <a:pt x="4589583" y="1651074"/>
                </a:cubicBezTo>
                <a:cubicBezTo>
                  <a:pt x="4581174" y="1649932"/>
                  <a:pt x="4574429" y="1648703"/>
                  <a:pt x="4566018" y="1647561"/>
                </a:cubicBezTo>
                <a:cubicBezTo>
                  <a:pt x="4553198" y="1626052"/>
                  <a:pt x="4563609" y="1601736"/>
                  <a:pt x="4553868" y="1575313"/>
                </a:cubicBezTo>
                <a:cubicBezTo>
                  <a:pt x="4566775" y="1566710"/>
                  <a:pt x="4578101" y="1559776"/>
                  <a:pt x="4584514" y="1554686"/>
                </a:cubicBezTo>
                <a:cubicBezTo>
                  <a:pt x="4580606" y="1480419"/>
                  <a:pt x="4577032" y="1412473"/>
                  <a:pt x="4573541" y="1346106"/>
                </a:cubicBezTo>
                <a:cubicBezTo>
                  <a:pt x="4578288" y="1341104"/>
                  <a:pt x="4583035" y="1336100"/>
                  <a:pt x="4587781" y="1331097"/>
                </a:cubicBezTo>
                <a:cubicBezTo>
                  <a:pt x="4584457" y="1267891"/>
                  <a:pt x="4581132" y="1204686"/>
                  <a:pt x="4577973" y="1144641"/>
                </a:cubicBezTo>
                <a:cubicBezTo>
                  <a:pt x="4593464" y="1121642"/>
                  <a:pt x="4598628" y="1092849"/>
                  <a:pt x="4636267" y="1078194"/>
                </a:cubicBezTo>
                <a:cubicBezTo>
                  <a:pt x="4634603" y="1078281"/>
                  <a:pt x="4644595" y="1077756"/>
                  <a:pt x="4654587" y="1077230"/>
                </a:cubicBezTo>
                <a:cubicBezTo>
                  <a:pt x="4676988" y="1058622"/>
                  <a:pt x="4678491" y="1023683"/>
                  <a:pt x="4712716" y="1007622"/>
                </a:cubicBezTo>
                <a:cubicBezTo>
                  <a:pt x="4716046" y="1007447"/>
                  <a:pt x="4726038" y="1006922"/>
                  <a:pt x="4737695" y="1006308"/>
                </a:cubicBezTo>
                <a:cubicBezTo>
                  <a:pt x="4741442" y="1014034"/>
                  <a:pt x="4746938" y="1023252"/>
                  <a:pt x="4752432" y="1032469"/>
                </a:cubicBezTo>
                <a:cubicBezTo>
                  <a:pt x="4762425" y="1031944"/>
                  <a:pt x="4770751" y="1031506"/>
                  <a:pt x="4780744" y="1030980"/>
                </a:cubicBezTo>
                <a:cubicBezTo>
                  <a:pt x="4796314" y="1041253"/>
                  <a:pt x="4808637" y="1053281"/>
                  <a:pt x="4824373" y="1066714"/>
                </a:cubicBezTo>
                <a:cubicBezTo>
                  <a:pt x="4818211" y="1076545"/>
                  <a:pt x="4811882" y="1083216"/>
                  <a:pt x="4807301" y="1091380"/>
                </a:cubicBezTo>
                <a:cubicBezTo>
                  <a:pt x="4815960" y="1097263"/>
                  <a:pt x="4824702" y="1104725"/>
                  <a:pt x="4833445" y="1112188"/>
                </a:cubicBezTo>
                <a:cubicBezTo>
                  <a:pt x="4838774" y="1118245"/>
                  <a:pt x="4839272" y="1127726"/>
                  <a:pt x="4844934" y="1140105"/>
                </a:cubicBezTo>
                <a:cubicBezTo>
                  <a:pt x="4857928" y="1101393"/>
                  <a:pt x="4842693" y="1065750"/>
                  <a:pt x="4849107" y="1028969"/>
                </a:cubicBezTo>
                <a:cubicBezTo>
                  <a:pt x="4859350" y="1033184"/>
                  <a:pt x="4869507" y="1035818"/>
                  <a:pt x="4878001" y="1038541"/>
                </a:cubicBezTo>
                <a:cubicBezTo>
                  <a:pt x="4888326" y="1044335"/>
                  <a:pt x="4896985" y="1050218"/>
                  <a:pt x="4907309" y="1056013"/>
                </a:cubicBezTo>
                <a:cubicBezTo>
                  <a:pt x="4900981" y="1062684"/>
                  <a:pt x="4897900" y="1067599"/>
                  <a:pt x="4893152" y="1072603"/>
                </a:cubicBezTo>
                <a:cubicBezTo>
                  <a:pt x="4896650" y="1075588"/>
                  <a:pt x="4900146" y="1078572"/>
                  <a:pt x="4903643" y="1081558"/>
                </a:cubicBezTo>
                <a:cubicBezTo>
                  <a:pt x="4916132" y="1096747"/>
                  <a:pt x="4900477" y="1116584"/>
                  <a:pt x="4916295" y="1131597"/>
                </a:cubicBezTo>
                <a:cubicBezTo>
                  <a:pt x="4917878" y="1129929"/>
                  <a:pt x="4921126" y="1128174"/>
                  <a:pt x="4921043" y="1126594"/>
                </a:cubicBezTo>
                <a:cubicBezTo>
                  <a:pt x="4921128" y="1096483"/>
                  <a:pt x="4921132" y="1064793"/>
                  <a:pt x="4920969" y="1029943"/>
                </a:cubicBezTo>
                <a:cubicBezTo>
                  <a:pt x="4922550" y="1028274"/>
                  <a:pt x="4927298" y="1023271"/>
                  <a:pt x="4933461" y="1013441"/>
                </a:cubicBezTo>
                <a:cubicBezTo>
                  <a:pt x="4932463" y="994479"/>
                  <a:pt x="4931216" y="970777"/>
                  <a:pt x="4930052" y="948654"/>
                </a:cubicBezTo>
                <a:cubicBezTo>
                  <a:pt x="4934716" y="942071"/>
                  <a:pt x="4937881" y="938735"/>
                  <a:pt x="4942711" y="935312"/>
                </a:cubicBezTo>
                <a:cubicBezTo>
                  <a:pt x="4941795" y="917931"/>
                  <a:pt x="4940881" y="900549"/>
                  <a:pt x="4939968" y="883168"/>
                </a:cubicBezTo>
                <a:cubicBezTo>
                  <a:pt x="4951127" y="873074"/>
                  <a:pt x="4953792" y="860257"/>
                  <a:pt x="4958040" y="845773"/>
                </a:cubicBezTo>
                <a:cubicBezTo>
                  <a:pt x="4973029" y="844984"/>
                  <a:pt x="4989683" y="844108"/>
                  <a:pt x="5004671" y="843320"/>
                </a:cubicBezTo>
                <a:cubicBezTo>
                  <a:pt x="5016748" y="818917"/>
                  <a:pt x="5022079" y="793284"/>
                  <a:pt x="5042814" y="774764"/>
                </a:cubicBezTo>
                <a:cubicBezTo>
                  <a:pt x="5052806" y="774238"/>
                  <a:pt x="5062800" y="773712"/>
                  <a:pt x="5074457" y="773099"/>
                </a:cubicBezTo>
                <a:close/>
                <a:moveTo>
                  <a:pt x="3734788" y="784"/>
                </a:moveTo>
                <a:cubicBezTo>
                  <a:pt x="3746759" y="10729"/>
                  <a:pt x="3758729" y="22664"/>
                  <a:pt x="3770701" y="32608"/>
                </a:cubicBezTo>
                <a:cubicBezTo>
                  <a:pt x="3784668" y="24652"/>
                  <a:pt x="3772697" y="-5183"/>
                  <a:pt x="3808611" y="784"/>
                </a:cubicBezTo>
                <a:cubicBezTo>
                  <a:pt x="3812601" y="6752"/>
                  <a:pt x="3820581" y="16696"/>
                  <a:pt x="3828563" y="26642"/>
                </a:cubicBezTo>
                <a:cubicBezTo>
                  <a:pt x="3824572" y="32609"/>
                  <a:pt x="3818587" y="38575"/>
                  <a:pt x="3818587" y="38575"/>
                </a:cubicBezTo>
                <a:cubicBezTo>
                  <a:pt x="3806614" y="62443"/>
                  <a:pt x="3828562" y="66422"/>
                  <a:pt x="3832552" y="92278"/>
                </a:cubicBezTo>
                <a:cubicBezTo>
                  <a:pt x="3832552" y="96256"/>
                  <a:pt x="3832553" y="114158"/>
                  <a:pt x="3832552" y="130070"/>
                </a:cubicBezTo>
                <a:cubicBezTo>
                  <a:pt x="3842528" y="138026"/>
                  <a:pt x="3850510" y="143993"/>
                  <a:pt x="3862480" y="157916"/>
                </a:cubicBezTo>
                <a:cubicBezTo>
                  <a:pt x="3872456" y="142004"/>
                  <a:pt x="3882433" y="128081"/>
                  <a:pt x="3892409" y="112169"/>
                </a:cubicBezTo>
                <a:cubicBezTo>
                  <a:pt x="3908370" y="122114"/>
                  <a:pt x="3916352" y="128081"/>
                  <a:pt x="3928323" y="134048"/>
                </a:cubicBezTo>
                <a:cubicBezTo>
                  <a:pt x="3938298" y="134047"/>
                  <a:pt x="3952264" y="140015"/>
                  <a:pt x="3968227" y="130070"/>
                </a:cubicBezTo>
                <a:cubicBezTo>
                  <a:pt x="3968226" y="112169"/>
                  <a:pt x="3970221" y="92278"/>
                  <a:pt x="3970222" y="82333"/>
                </a:cubicBezTo>
                <a:cubicBezTo>
                  <a:pt x="3980197" y="60454"/>
                  <a:pt x="3988178" y="48520"/>
                  <a:pt x="3996159" y="34598"/>
                </a:cubicBezTo>
                <a:cubicBezTo>
                  <a:pt x="4018107" y="44543"/>
                  <a:pt x="4026087" y="4762"/>
                  <a:pt x="4044045" y="16697"/>
                </a:cubicBezTo>
                <a:cubicBezTo>
                  <a:pt x="4056016" y="26642"/>
                  <a:pt x="4065991" y="34597"/>
                  <a:pt x="4071977" y="40564"/>
                </a:cubicBezTo>
                <a:cubicBezTo>
                  <a:pt x="4073972" y="50509"/>
                  <a:pt x="4075967" y="58465"/>
                  <a:pt x="4077963" y="68410"/>
                </a:cubicBezTo>
                <a:cubicBezTo>
                  <a:pt x="4085944" y="62444"/>
                  <a:pt x="4091930" y="56476"/>
                  <a:pt x="4099910" y="50510"/>
                </a:cubicBezTo>
                <a:cubicBezTo>
                  <a:pt x="4137819" y="50509"/>
                  <a:pt x="4177724" y="50509"/>
                  <a:pt x="4217628" y="50509"/>
                </a:cubicBezTo>
                <a:cubicBezTo>
                  <a:pt x="4219622" y="50509"/>
                  <a:pt x="4223614" y="54487"/>
                  <a:pt x="4225608" y="56476"/>
                </a:cubicBezTo>
                <a:cubicBezTo>
                  <a:pt x="4219622" y="66421"/>
                  <a:pt x="4215633" y="78355"/>
                  <a:pt x="4209647" y="88300"/>
                </a:cubicBezTo>
                <a:cubicBezTo>
                  <a:pt x="4215632" y="96256"/>
                  <a:pt x="4221619" y="102224"/>
                  <a:pt x="4227604" y="110179"/>
                </a:cubicBezTo>
                <a:cubicBezTo>
                  <a:pt x="4227603" y="120125"/>
                  <a:pt x="4227604" y="130070"/>
                  <a:pt x="4227604" y="142004"/>
                </a:cubicBezTo>
                <a:cubicBezTo>
                  <a:pt x="4233589" y="147971"/>
                  <a:pt x="4239574" y="153938"/>
                  <a:pt x="4245560" y="161894"/>
                </a:cubicBezTo>
                <a:cubicBezTo>
                  <a:pt x="4245561" y="171839"/>
                  <a:pt x="4245561" y="183773"/>
                  <a:pt x="4245560" y="193717"/>
                </a:cubicBezTo>
                <a:cubicBezTo>
                  <a:pt x="4239574" y="199685"/>
                  <a:pt x="4235584" y="205652"/>
                  <a:pt x="4219623" y="221563"/>
                </a:cubicBezTo>
                <a:cubicBezTo>
                  <a:pt x="4235585" y="229520"/>
                  <a:pt x="4249551" y="235486"/>
                  <a:pt x="4265513" y="243443"/>
                </a:cubicBezTo>
                <a:cubicBezTo>
                  <a:pt x="4257532" y="251399"/>
                  <a:pt x="4253542" y="255377"/>
                  <a:pt x="4247556" y="259355"/>
                </a:cubicBezTo>
                <a:cubicBezTo>
                  <a:pt x="4255537" y="271288"/>
                  <a:pt x="4261522" y="281234"/>
                  <a:pt x="4265512" y="291179"/>
                </a:cubicBezTo>
                <a:cubicBezTo>
                  <a:pt x="4257532" y="301124"/>
                  <a:pt x="4251547" y="307090"/>
                  <a:pt x="4247556" y="313057"/>
                </a:cubicBezTo>
                <a:cubicBezTo>
                  <a:pt x="4251547" y="319025"/>
                  <a:pt x="4257531" y="324992"/>
                  <a:pt x="4263517" y="330959"/>
                </a:cubicBezTo>
                <a:cubicBezTo>
                  <a:pt x="4263517" y="392619"/>
                  <a:pt x="4263517" y="454277"/>
                  <a:pt x="4263517" y="515936"/>
                </a:cubicBezTo>
                <a:cubicBezTo>
                  <a:pt x="4269504" y="521904"/>
                  <a:pt x="4275488" y="527871"/>
                  <a:pt x="4277483" y="531848"/>
                </a:cubicBezTo>
                <a:cubicBezTo>
                  <a:pt x="4271499" y="543782"/>
                  <a:pt x="4265513" y="551739"/>
                  <a:pt x="4261523" y="559694"/>
                </a:cubicBezTo>
                <a:cubicBezTo>
                  <a:pt x="4269504" y="571628"/>
                  <a:pt x="4275488" y="579585"/>
                  <a:pt x="4281474" y="591519"/>
                </a:cubicBezTo>
                <a:cubicBezTo>
                  <a:pt x="4281475" y="651188"/>
                  <a:pt x="4281475" y="712848"/>
                  <a:pt x="4281474" y="772518"/>
                </a:cubicBezTo>
                <a:cubicBezTo>
                  <a:pt x="4287460" y="778485"/>
                  <a:pt x="4293445" y="782463"/>
                  <a:pt x="4297436" y="788430"/>
                </a:cubicBezTo>
                <a:cubicBezTo>
                  <a:pt x="4297436" y="842134"/>
                  <a:pt x="4297437" y="897826"/>
                  <a:pt x="4297437" y="955506"/>
                </a:cubicBezTo>
                <a:cubicBezTo>
                  <a:pt x="4297436" y="957495"/>
                  <a:pt x="4301426" y="959484"/>
                  <a:pt x="4303421" y="961473"/>
                </a:cubicBezTo>
                <a:cubicBezTo>
                  <a:pt x="4307413" y="965452"/>
                  <a:pt x="4311402" y="969430"/>
                  <a:pt x="4315393" y="973408"/>
                </a:cubicBezTo>
                <a:cubicBezTo>
                  <a:pt x="4309408" y="979374"/>
                  <a:pt x="4303421" y="985341"/>
                  <a:pt x="4303422" y="987331"/>
                </a:cubicBezTo>
                <a:cubicBezTo>
                  <a:pt x="4289456" y="1009210"/>
                  <a:pt x="4309408" y="1015177"/>
                  <a:pt x="4313398" y="1025122"/>
                </a:cubicBezTo>
                <a:cubicBezTo>
                  <a:pt x="4313398" y="1039044"/>
                  <a:pt x="4313397" y="1048990"/>
                  <a:pt x="4313398" y="1058935"/>
                </a:cubicBezTo>
                <a:cubicBezTo>
                  <a:pt x="4307412" y="1066891"/>
                  <a:pt x="4301427" y="1072858"/>
                  <a:pt x="4297437" y="1078824"/>
                </a:cubicBezTo>
                <a:cubicBezTo>
                  <a:pt x="4297436" y="1106671"/>
                  <a:pt x="4299432" y="1134517"/>
                  <a:pt x="4301426" y="1162363"/>
                </a:cubicBezTo>
                <a:cubicBezTo>
                  <a:pt x="4325368" y="1174297"/>
                  <a:pt x="4309407" y="1198165"/>
                  <a:pt x="4319384" y="1214077"/>
                </a:cubicBezTo>
                <a:cubicBezTo>
                  <a:pt x="4323374" y="1220044"/>
                  <a:pt x="4327365" y="1222033"/>
                  <a:pt x="4331355" y="1228000"/>
                </a:cubicBezTo>
                <a:cubicBezTo>
                  <a:pt x="4331354" y="1243912"/>
                  <a:pt x="4331354" y="1259824"/>
                  <a:pt x="4331355" y="1277725"/>
                </a:cubicBezTo>
                <a:cubicBezTo>
                  <a:pt x="4327365" y="1283692"/>
                  <a:pt x="4321379" y="1289659"/>
                  <a:pt x="4317388" y="1293638"/>
                </a:cubicBezTo>
                <a:cubicBezTo>
                  <a:pt x="4329359" y="1315516"/>
                  <a:pt x="4339336" y="1335407"/>
                  <a:pt x="4351307" y="1355296"/>
                </a:cubicBezTo>
                <a:cubicBezTo>
                  <a:pt x="4345320" y="1365242"/>
                  <a:pt x="4339335" y="1375187"/>
                  <a:pt x="4335345" y="1383142"/>
                </a:cubicBezTo>
                <a:cubicBezTo>
                  <a:pt x="4339335" y="1387120"/>
                  <a:pt x="4343326" y="1391099"/>
                  <a:pt x="4347316" y="1395077"/>
                </a:cubicBezTo>
                <a:cubicBezTo>
                  <a:pt x="4347316" y="1452758"/>
                  <a:pt x="4347317" y="1512428"/>
                  <a:pt x="4347316" y="1568120"/>
                </a:cubicBezTo>
                <a:cubicBezTo>
                  <a:pt x="4341330" y="1574087"/>
                  <a:pt x="4337341" y="1578065"/>
                  <a:pt x="4333349" y="1582043"/>
                </a:cubicBezTo>
                <a:cubicBezTo>
                  <a:pt x="4343326" y="1593977"/>
                  <a:pt x="4355297" y="1605911"/>
                  <a:pt x="4365273" y="1617845"/>
                </a:cubicBezTo>
                <a:cubicBezTo>
                  <a:pt x="4359287" y="1623812"/>
                  <a:pt x="4355297" y="1629779"/>
                  <a:pt x="4355297" y="1629779"/>
                </a:cubicBezTo>
                <a:cubicBezTo>
                  <a:pt x="4343326" y="1655636"/>
                  <a:pt x="4365273" y="1659614"/>
                  <a:pt x="4365274" y="1661602"/>
                </a:cubicBezTo>
                <a:cubicBezTo>
                  <a:pt x="4365274" y="1689449"/>
                  <a:pt x="4365273" y="1705361"/>
                  <a:pt x="4365273" y="1713317"/>
                </a:cubicBezTo>
                <a:cubicBezTo>
                  <a:pt x="4357292" y="1729229"/>
                  <a:pt x="4351306" y="1739173"/>
                  <a:pt x="4347317" y="1747131"/>
                </a:cubicBezTo>
                <a:cubicBezTo>
                  <a:pt x="4355297" y="1757075"/>
                  <a:pt x="4361283" y="1763042"/>
                  <a:pt x="4369263" y="1772988"/>
                </a:cubicBezTo>
                <a:cubicBezTo>
                  <a:pt x="4369263" y="1792877"/>
                  <a:pt x="4369263" y="1818735"/>
                  <a:pt x="4369264" y="1840613"/>
                </a:cubicBezTo>
                <a:cubicBezTo>
                  <a:pt x="4375249" y="1846581"/>
                  <a:pt x="4381235" y="1850558"/>
                  <a:pt x="4385225" y="1854536"/>
                </a:cubicBezTo>
                <a:cubicBezTo>
                  <a:pt x="4385225" y="1872438"/>
                  <a:pt x="4385225" y="1888350"/>
                  <a:pt x="4385225" y="1904261"/>
                </a:cubicBezTo>
                <a:cubicBezTo>
                  <a:pt x="4379239" y="1910228"/>
                  <a:pt x="4373254" y="1916196"/>
                  <a:pt x="4369264" y="1922163"/>
                </a:cubicBezTo>
                <a:cubicBezTo>
                  <a:pt x="4375250" y="1930118"/>
                  <a:pt x="4381234" y="1940063"/>
                  <a:pt x="4387221" y="1948019"/>
                </a:cubicBezTo>
                <a:cubicBezTo>
                  <a:pt x="4379239" y="1959954"/>
                  <a:pt x="4373253" y="1967909"/>
                  <a:pt x="4365273" y="1979844"/>
                </a:cubicBezTo>
                <a:cubicBezTo>
                  <a:pt x="4371259" y="1989789"/>
                  <a:pt x="4377245" y="2001723"/>
                  <a:pt x="4385225" y="2011668"/>
                </a:cubicBezTo>
                <a:cubicBezTo>
                  <a:pt x="4385226" y="2021613"/>
                  <a:pt x="4385226" y="2029570"/>
                  <a:pt x="4385226" y="2039514"/>
                </a:cubicBezTo>
                <a:cubicBezTo>
                  <a:pt x="4389216" y="2045481"/>
                  <a:pt x="4395202" y="2051448"/>
                  <a:pt x="4401186" y="2057416"/>
                </a:cubicBezTo>
                <a:cubicBezTo>
                  <a:pt x="4395201" y="2065371"/>
                  <a:pt x="4387221" y="2073327"/>
                  <a:pt x="4381235" y="2081283"/>
                </a:cubicBezTo>
                <a:cubicBezTo>
                  <a:pt x="4389216" y="2095206"/>
                  <a:pt x="4397197" y="2107140"/>
                  <a:pt x="4403183" y="2117085"/>
                </a:cubicBezTo>
                <a:cubicBezTo>
                  <a:pt x="4395202" y="2131009"/>
                  <a:pt x="4389215" y="2140953"/>
                  <a:pt x="4383230" y="2152887"/>
                </a:cubicBezTo>
                <a:cubicBezTo>
                  <a:pt x="4389216" y="2162832"/>
                  <a:pt x="4395201" y="2172777"/>
                  <a:pt x="4399191" y="2178744"/>
                </a:cubicBezTo>
                <a:cubicBezTo>
                  <a:pt x="4399192" y="2214546"/>
                  <a:pt x="4399192" y="2248360"/>
                  <a:pt x="4399192" y="2280183"/>
                </a:cubicBezTo>
                <a:cubicBezTo>
                  <a:pt x="4393207" y="2284162"/>
                  <a:pt x="4389216" y="2288139"/>
                  <a:pt x="4385226" y="2294107"/>
                </a:cubicBezTo>
                <a:cubicBezTo>
                  <a:pt x="4391211" y="2300073"/>
                  <a:pt x="4395202" y="2306040"/>
                  <a:pt x="4401186" y="2312007"/>
                </a:cubicBezTo>
                <a:cubicBezTo>
                  <a:pt x="4395202" y="2315986"/>
                  <a:pt x="4391211" y="2321953"/>
                  <a:pt x="4385225" y="2327920"/>
                </a:cubicBezTo>
                <a:cubicBezTo>
                  <a:pt x="4391211" y="2333886"/>
                  <a:pt x="4397197" y="2341843"/>
                  <a:pt x="4403183" y="2347810"/>
                </a:cubicBezTo>
                <a:cubicBezTo>
                  <a:pt x="4403183" y="2363722"/>
                  <a:pt x="4403183" y="2381622"/>
                  <a:pt x="4403182" y="2395546"/>
                </a:cubicBezTo>
                <a:cubicBezTo>
                  <a:pt x="4409167" y="2403501"/>
                  <a:pt x="4415153" y="2409469"/>
                  <a:pt x="4417149" y="2413447"/>
                </a:cubicBezTo>
                <a:cubicBezTo>
                  <a:pt x="4417149" y="2433337"/>
                  <a:pt x="4417149" y="2449249"/>
                  <a:pt x="4417149" y="2465161"/>
                </a:cubicBezTo>
                <a:cubicBezTo>
                  <a:pt x="4413158" y="2471128"/>
                  <a:pt x="4407172" y="2475106"/>
                  <a:pt x="4403183" y="2479084"/>
                </a:cubicBezTo>
                <a:cubicBezTo>
                  <a:pt x="4403183" y="2487040"/>
                  <a:pt x="4399192" y="2494996"/>
                  <a:pt x="4401187" y="2502952"/>
                </a:cubicBezTo>
                <a:cubicBezTo>
                  <a:pt x="4411163" y="2524831"/>
                  <a:pt x="4423135" y="2544721"/>
                  <a:pt x="4435105" y="2572567"/>
                </a:cubicBezTo>
                <a:cubicBezTo>
                  <a:pt x="4435106" y="2616324"/>
                  <a:pt x="4435106" y="2666050"/>
                  <a:pt x="4435106" y="2717764"/>
                </a:cubicBezTo>
                <a:cubicBezTo>
                  <a:pt x="4431115" y="2723731"/>
                  <a:pt x="4425130" y="2729698"/>
                  <a:pt x="4419144" y="2735666"/>
                </a:cubicBezTo>
                <a:cubicBezTo>
                  <a:pt x="4419144" y="2747599"/>
                  <a:pt x="4419143" y="2757544"/>
                  <a:pt x="4419144" y="2775445"/>
                </a:cubicBezTo>
                <a:cubicBezTo>
                  <a:pt x="4429119" y="2783402"/>
                  <a:pt x="4443087" y="2793346"/>
                  <a:pt x="4451068" y="2797325"/>
                </a:cubicBezTo>
                <a:cubicBezTo>
                  <a:pt x="4459048" y="2825170"/>
                  <a:pt x="4445081" y="2841083"/>
                  <a:pt x="4439096" y="2856994"/>
                </a:cubicBezTo>
                <a:cubicBezTo>
                  <a:pt x="4445081" y="2860972"/>
                  <a:pt x="4449072" y="2864951"/>
                  <a:pt x="4453062" y="2868929"/>
                </a:cubicBezTo>
                <a:cubicBezTo>
                  <a:pt x="4453063" y="2908709"/>
                  <a:pt x="4453062" y="2948489"/>
                  <a:pt x="4453062" y="2988269"/>
                </a:cubicBezTo>
                <a:cubicBezTo>
                  <a:pt x="4447077" y="2996225"/>
                  <a:pt x="4441090" y="3004182"/>
                  <a:pt x="4431115" y="3014126"/>
                </a:cubicBezTo>
                <a:cubicBezTo>
                  <a:pt x="4439096" y="3024071"/>
                  <a:pt x="4447076" y="3032027"/>
                  <a:pt x="4453063" y="3039983"/>
                </a:cubicBezTo>
                <a:cubicBezTo>
                  <a:pt x="4453063" y="3073796"/>
                  <a:pt x="4453063" y="3107610"/>
                  <a:pt x="4453062" y="3141422"/>
                </a:cubicBezTo>
                <a:cubicBezTo>
                  <a:pt x="4447077" y="3147390"/>
                  <a:pt x="4441091" y="3153356"/>
                  <a:pt x="4441091" y="3153356"/>
                </a:cubicBezTo>
                <a:cubicBezTo>
                  <a:pt x="4429119" y="3179214"/>
                  <a:pt x="4451068" y="3183192"/>
                  <a:pt x="4455057" y="3205070"/>
                </a:cubicBezTo>
                <a:cubicBezTo>
                  <a:pt x="4455057" y="3286620"/>
                  <a:pt x="4455058" y="3376125"/>
                  <a:pt x="4455058" y="3457674"/>
                </a:cubicBezTo>
                <a:cubicBezTo>
                  <a:pt x="4463039" y="3473586"/>
                  <a:pt x="4469023" y="3483531"/>
                  <a:pt x="4473015" y="3491487"/>
                </a:cubicBezTo>
                <a:cubicBezTo>
                  <a:pt x="4465033" y="3501432"/>
                  <a:pt x="4461043" y="3507399"/>
                  <a:pt x="4455057" y="3513366"/>
                </a:cubicBezTo>
                <a:cubicBezTo>
                  <a:pt x="4459047" y="3519333"/>
                  <a:pt x="4465034" y="3525300"/>
                  <a:pt x="4471020" y="3531267"/>
                </a:cubicBezTo>
                <a:cubicBezTo>
                  <a:pt x="4471020" y="3642652"/>
                  <a:pt x="4471019" y="3756024"/>
                  <a:pt x="4471020" y="3869398"/>
                </a:cubicBezTo>
                <a:cubicBezTo>
                  <a:pt x="4477005" y="3875365"/>
                  <a:pt x="4482990" y="3881332"/>
                  <a:pt x="4486980" y="3887299"/>
                </a:cubicBezTo>
                <a:cubicBezTo>
                  <a:pt x="4486981" y="3905200"/>
                  <a:pt x="4486980" y="3921112"/>
                  <a:pt x="4486980" y="3937024"/>
                </a:cubicBezTo>
                <a:cubicBezTo>
                  <a:pt x="4480995" y="3942990"/>
                  <a:pt x="4477004" y="3948958"/>
                  <a:pt x="4473014" y="3954925"/>
                </a:cubicBezTo>
                <a:cubicBezTo>
                  <a:pt x="4479000" y="3960892"/>
                  <a:pt x="4482991" y="3968848"/>
                  <a:pt x="4488976" y="3974815"/>
                </a:cubicBezTo>
                <a:cubicBezTo>
                  <a:pt x="4488977" y="4042441"/>
                  <a:pt x="4488977" y="4110067"/>
                  <a:pt x="4488977" y="4175705"/>
                </a:cubicBezTo>
                <a:cubicBezTo>
                  <a:pt x="4494962" y="4181671"/>
                  <a:pt x="4498952" y="4185649"/>
                  <a:pt x="4502943" y="4189627"/>
                </a:cubicBezTo>
                <a:cubicBezTo>
                  <a:pt x="4502942" y="4213495"/>
                  <a:pt x="4502942" y="4237363"/>
                  <a:pt x="4502943" y="4261232"/>
                </a:cubicBezTo>
                <a:cubicBezTo>
                  <a:pt x="4496956" y="4267199"/>
                  <a:pt x="4492967" y="4271177"/>
                  <a:pt x="4488976" y="4275155"/>
                </a:cubicBezTo>
                <a:cubicBezTo>
                  <a:pt x="4494962" y="4281122"/>
                  <a:pt x="4498953" y="4287089"/>
                  <a:pt x="4504938" y="4293056"/>
                </a:cubicBezTo>
                <a:cubicBezTo>
                  <a:pt x="4504938" y="4326869"/>
                  <a:pt x="4504938" y="4360681"/>
                  <a:pt x="4504937" y="4394495"/>
                </a:cubicBezTo>
                <a:cubicBezTo>
                  <a:pt x="4510924" y="4400462"/>
                  <a:pt x="4516909" y="4406429"/>
                  <a:pt x="4520900" y="4410407"/>
                </a:cubicBezTo>
                <a:cubicBezTo>
                  <a:pt x="4514914" y="4418363"/>
                  <a:pt x="4510924" y="4424330"/>
                  <a:pt x="4506932" y="4428308"/>
                </a:cubicBezTo>
                <a:cubicBezTo>
                  <a:pt x="4506933" y="4442231"/>
                  <a:pt x="4506933" y="4452176"/>
                  <a:pt x="4506932" y="4462121"/>
                </a:cubicBezTo>
                <a:cubicBezTo>
                  <a:pt x="4512919" y="4470077"/>
                  <a:pt x="4518904" y="4476044"/>
                  <a:pt x="4524889" y="4484000"/>
                </a:cubicBezTo>
                <a:cubicBezTo>
                  <a:pt x="4524890" y="4527758"/>
                  <a:pt x="4524889" y="4573505"/>
                  <a:pt x="4524889" y="4615274"/>
                </a:cubicBezTo>
                <a:cubicBezTo>
                  <a:pt x="4530876" y="4623230"/>
                  <a:pt x="4534866" y="4627208"/>
                  <a:pt x="4538857" y="4633175"/>
                </a:cubicBezTo>
                <a:cubicBezTo>
                  <a:pt x="4530875" y="4639142"/>
                  <a:pt x="4526885" y="4643121"/>
                  <a:pt x="4522894" y="4647099"/>
                </a:cubicBezTo>
                <a:cubicBezTo>
                  <a:pt x="4528881" y="4653065"/>
                  <a:pt x="4534866" y="4659032"/>
                  <a:pt x="4540851" y="4664999"/>
                </a:cubicBezTo>
                <a:cubicBezTo>
                  <a:pt x="4540851" y="4692846"/>
                  <a:pt x="4540851" y="4722681"/>
                  <a:pt x="4540852" y="4748537"/>
                </a:cubicBezTo>
                <a:cubicBezTo>
                  <a:pt x="4534865" y="4756494"/>
                  <a:pt x="4528881" y="4762460"/>
                  <a:pt x="4522894" y="4766438"/>
                </a:cubicBezTo>
                <a:cubicBezTo>
                  <a:pt x="4528881" y="4772406"/>
                  <a:pt x="4532871" y="4776384"/>
                  <a:pt x="4538856" y="4782351"/>
                </a:cubicBezTo>
                <a:cubicBezTo>
                  <a:pt x="4538856" y="4844010"/>
                  <a:pt x="4538857" y="4907658"/>
                  <a:pt x="4538856" y="4963350"/>
                </a:cubicBezTo>
                <a:cubicBezTo>
                  <a:pt x="4548833" y="4979262"/>
                  <a:pt x="4554817" y="4989207"/>
                  <a:pt x="4560804" y="4997163"/>
                </a:cubicBezTo>
                <a:cubicBezTo>
                  <a:pt x="4552823" y="5007108"/>
                  <a:pt x="4546837" y="5013075"/>
                  <a:pt x="4538857" y="5023020"/>
                </a:cubicBezTo>
                <a:cubicBezTo>
                  <a:pt x="4542847" y="5054844"/>
                  <a:pt x="4536860" y="5090646"/>
                  <a:pt x="4540852" y="5124459"/>
                </a:cubicBezTo>
                <a:cubicBezTo>
                  <a:pt x="4548832" y="5130426"/>
                  <a:pt x="4552823" y="5134404"/>
                  <a:pt x="4556813" y="5138382"/>
                </a:cubicBezTo>
                <a:cubicBezTo>
                  <a:pt x="4556814" y="5144349"/>
                  <a:pt x="4556813" y="5150317"/>
                  <a:pt x="4556814" y="5156284"/>
                </a:cubicBezTo>
                <a:cubicBezTo>
                  <a:pt x="4550828" y="5162251"/>
                  <a:pt x="4546838" y="5168217"/>
                  <a:pt x="4540852" y="5172195"/>
                </a:cubicBezTo>
                <a:cubicBezTo>
                  <a:pt x="4546838" y="5180152"/>
                  <a:pt x="4552823" y="5186119"/>
                  <a:pt x="4558808" y="5192086"/>
                </a:cubicBezTo>
                <a:cubicBezTo>
                  <a:pt x="4558808" y="5253745"/>
                  <a:pt x="4558808" y="5315404"/>
                  <a:pt x="4558809" y="5375074"/>
                </a:cubicBezTo>
                <a:cubicBezTo>
                  <a:pt x="4564794" y="5383030"/>
                  <a:pt x="4568785" y="5388997"/>
                  <a:pt x="4570780" y="5392975"/>
                </a:cubicBezTo>
                <a:cubicBezTo>
                  <a:pt x="4564794" y="5402920"/>
                  <a:pt x="4558809" y="5412865"/>
                  <a:pt x="4556814" y="5418832"/>
                </a:cubicBezTo>
                <a:cubicBezTo>
                  <a:pt x="4560803" y="5436734"/>
                  <a:pt x="4580756" y="5440711"/>
                  <a:pt x="4574769" y="5460601"/>
                </a:cubicBezTo>
                <a:cubicBezTo>
                  <a:pt x="4568784" y="5464579"/>
                  <a:pt x="4562798" y="5470546"/>
                  <a:pt x="4556814" y="5478502"/>
                </a:cubicBezTo>
                <a:cubicBezTo>
                  <a:pt x="4556814" y="5514304"/>
                  <a:pt x="4556813" y="5550107"/>
                  <a:pt x="4556814" y="5587898"/>
                </a:cubicBezTo>
                <a:cubicBezTo>
                  <a:pt x="4556814" y="5591875"/>
                  <a:pt x="4560804" y="5597843"/>
                  <a:pt x="4562798" y="5601821"/>
                </a:cubicBezTo>
                <a:cubicBezTo>
                  <a:pt x="4566790" y="5605798"/>
                  <a:pt x="4570779" y="5609776"/>
                  <a:pt x="4572774" y="5611765"/>
                </a:cubicBezTo>
                <a:cubicBezTo>
                  <a:pt x="4566790" y="5621710"/>
                  <a:pt x="4560803" y="5629667"/>
                  <a:pt x="4554818" y="5637622"/>
                </a:cubicBezTo>
                <a:cubicBezTo>
                  <a:pt x="4562799" y="5649557"/>
                  <a:pt x="4566789" y="5657513"/>
                  <a:pt x="4570780" y="5665469"/>
                </a:cubicBezTo>
                <a:cubicBezTo>
                  <a:pt x="4566789" y="5673425"/>
                  <a:pt x="4560803" y="5679392"/>
                  <a:pt x="4558808" y="5681381"/>
                </a:cubicBezTo>
                <a:cubicBezTo>
                  <a:pt x="4558808" y="5703260"/>
                  <a:pt x="4558808" y="5719172"/>
                  <a:pt x="4558809" y="5725140"/>
                </a:cubicBezTo>
                <a:cubicBezTo>
                  <a:pt x="4568785" y="5743040"/>
                  <a:pt x="4572775" y="5752985"/>
                  <a:pt x="4576765" y="5760941"/>
                </a:cubicBezTo>
                <a:cubicBezTo>
                  <a:pt x="4568785" y="5770886"/>
                  <a:pt x="4562799" y="5776853"/>
                  <a:pt x="4558809" y="5782820"/>
                </a:cubicBezTo>
                <a:cubicBezTo>
                  <a:pt x="4562799" y="5788787"/>
                  <a:pt x="4568784" y="5794754"/>
                  <a:pt x="4574770" y="5800721"/>
                </a:cubicBezTo>
                <a:cubicBezTo>
                  <a:pt x="4574770" y="5918072"/>
                  <a:pt x="4574770" y="6037412"/>
                  <a:pt x="4574769" y="6154764"/>
                </a:cubicBezTo>
                <a:cubicBezTo>
                  <a:pt x="4580755" y="6162720"/>
                  <a:pt x="4586742" y="6168687"/>
                  <a:pt x="4590731" y="6172665"/>
                </a:cubicBezTo>
                <a:cubicBezTo>
                  <a:pt x="4590731" y="6184599"/>
                  <a:pt x="4590731" y="6196533"/>
                  <a:pt x="4590732" y="6202500"/>
                </a:cubicBezTo>
                <a:cubicBezTo>
                  <a:pt x="4582750" y="6216423"/>
                  <a:pt x="4576766" y="6224380"/>
                  <a:pt x="4572775" y="6230346"/>
                </a:cubicBezTo>
                <a:cubicBezTo>
                  <a:pt x="4576766" y="6248247"/>
                  <a:pt x="4598713" y="6252225"/>
                  <a:pt x="4590732" y="6272115"/>
                </a:cubicBezTo>
                <a:cubicBezTo>
                  <a:pt x="4586741" y="6278082"/>
                  <a:pt x="4580756" y="6284049"/>
                  <a:pt x="4574769" y="6292005"/>
                </a:cubicBezTo>
                <a:cubicBezTo>
                  <a:pt x="4574770" y="6313884"/>
                  <a:pt x="4574770" y="6339741"/>
                  <a:pt x="4574769" y="6365598"/>
                </a:cubicBezTo>
                <a:cubicBezTo>
                  <a:pt x="4574769" y="6369576"/>
                  <a:pt x="4578760" y="6375543"/>
                  <a:pt x="4578760" y="6379521"/>
                </a:cubicBezTo>
                <a:cubicBezTo>
                  <a:pt x="4582751" y="6383499"/>
                  <a:pt x="4586741" y="6387477"/>
                  <a:pt x="4592726" y="6391455"/>
                </a:cubicBezTo>
                <a:cubicBezTo>
                  <a:pt x="4592727" y="6409356"/>
                  <a:pt x="4592727" y="6425268"/>
                  <a:pt x="4592727" y="6443169"/>
                </a:cubicBezTo>
                <a:cubicBezTo>
                  <a:pt x="4586741" y="6449137"/>
                  <a:pt x="4580755" y="6455103"/>
                  <a:pt x="4574769" y="6461070"/>
                </a:cubicBezTo>
                <a:cubicBezTo>
                  <a:pt x="4574770" y="6506817"/>
                  <a:pt x="4574769" y="6550576"/>
                  <a:pt x="4574769" y="6596323"/>
                </a:cubicBezTo>
                <a:cubicBezTo>
                  <a:pt x="4578761" y="6600301"/>
                  <a:pt x="4582750" y="6604279"/>
                  <a:pt x="4590732" y="6610246"/>
                </a:cubicBezTo>
                <a:cubicBezTo>
                  <a:pt x="4590732" y="6644059"/>
                  <a:pt x="4590732" y="6679861"/>
                  <a:pt x="4590731" y="6715663"/>
                </a:cubicBezTo>
                <a:cubicBezTo>
                  <a:pt x="4586742" y="6719641"/>
                  <a:pt x="4582750" y="6723619"/>
                  <a:pt x="4574769" y="6731575"/>
                </a:cubicBezTo>
                <a:cubicBezTo>
                  <a:pt x="4574770" y="6751465"/>
                  <a:pt x="4574769" y="6777322"/>
                  <a:pt x="4574770" y="6797212"/>
                </a:cubicBezTo>
                <a:cubicBezTo>
                  <a:pt x="4566789" y="6807157"/>
                  <a:pt x="4562799" y="6811135"/>
                  <a:pt x="4558809" y="6817102"/>
                </a:cubicBezTo>
                <a:cubicBezTo>
                  <a:pt x="4564794" y="6823069"/>
                  <a:pt x="4568785" y="6827047"/>
                  <a:pt x="4572774" y="6831025"/>
                </a:cubicBezTo>
                <a:cubicBezTo>
                  <a:pt x="4576766" y="6866828"/>
                  <a:pt x="4572775" y="6902630"/>
                  <a:pt x="4576765" y="6934454"/>
                </a:cubicBezTo>
                <a:cubicBezTo>
                  <a:pt x="4584746" y="6942410"/>
                  <a:pt x="4588737" y="6946388"/>
                  <a:pt x="4590731" y="6950365"/>
                </a:cubicBezTo>
                <a:cubicBezTo>
                  <a:pt x="4584747" y="6958322"/>
                  <a:pt x="4578761" y="6966278"/>
                  <a:pt x="4570780" y="6976223"/>
                </a:cubicBezTo>
                <a:cubicBezTo>
                  <a:pt x="4578760" y="6986167"/>
                  <a:pt x="4584746" y="6996113"/>
                  <a:pt x="4588737" y="7004068"/>
                </a:cubicBezTo>
                <a:cubicBezTo>
                  <a:pt x="4584747" y="7010036"/>
                  <a:pt x="4578761" y="7016003"/>
                  <a:pt x="4576766" y="7019981"/>
                </a:cubicBezTo>
                <a:cubicBezTo>
                  <a:pt x="4576765" y="7045838"/>
                  <a:pt x="4576765" y="7067717"/>
                  <a:pt x="4576766" y="7085618"/>
                </a:cubicBezTo>
                <a:cubicBezTo>
                  <a:pt x="4582751" y="7093574"/>
                  <a:pt x="4586742" y="7099541"/>
                  <a:pt x="4586742" y="7101531"/>
                </a:cubicBezTo>
                <a:cubicBezTo>
                  <a:pt x="4580756" y="7115453"/>
                  <a:pt x="4576766" y="7125399"/>
                  <a:pt x="4572775" y="7133354"/>
                </a:cubicBezTo>
                <a:cubicBezTo>
                  <a:pt x="4580756" y="7141310"/>
                  <a:pt x="4586741" y="7149266"/>
                  <a:pt x="4592727" y="7155233"/>
                </a:cubicBezTo>
                <a:cubicBezTo>
                  <a:pt x="4592727" y="7204958"/>
                  <a:pt x="4592726" y="7256672"/>
                  <a:pt x="4592726" y="7306397"/>
                </a:cubicBezTo>
                <a:cubicBezTo>
                  <a:pt x="4586742" y="7312364"/>
                  <a:pt x="4580756" y="7318331"/>
                  <a:pt x="4574770" y="7324298"/>
                </a:cubicBezTo>
                <a:cubicBezTo>
                  <a:pt x="4580756" y="7330265"/>
                  <a:pt x="4586741" y="7336232"/>
                  <a:pt x="4590731" y="7342199"/>
                </a:cubicBezTo>
                <a:cubicBezTo>
                  <a:pt x="4584746" y="7346177"/>
                  <a:pt x="4580756" y="7350155"/>
                  <a:pt x="4576766" y="7356122"/>
                </a:cubicBezTo>
                <a:cubicBezTo>
                  <a:pt x="4576766" y="7374024"/>
                  <a:pt x="4576765" y="7391925"/>
                  <a:pt x="4576766" y="7409825"/>
                </a:cubicBezTo>
                <a:cubicBezTo>
                  <a:pt x="4582750" y="7415792"/>
                  <a:pt x="4586742" y="7419771"/>
                  <a:pt x="4590731" y="7423749"/>
                </a:cubicBezTo>
                <a:cubicBezTo>
                  <a:pt x="4590732" y="7459550"/>
                  <a:pt x="4590732" y="7495353"/>
                  <a:pt x="4590732" y="7529166"/>
                </a:cubicBezTo>
                <a:cubicBezTo>
                  <a:pt x="4582750" y="7535133"/>
                  <a:pt x="4578761" y="7539111"/>
                  <a:pt x="4574769" y="7543089"/>
                </a:cubicBezTo>
                <a:cubicBezTo>
                  <a:pt x="4580756" y="7549056"/>
                  <a:pt x="4586742" y="7555022"/>
                  <a:pt x="4592726" y="7560990"/>
                </a:cubicBezTo>
                <a:cubicBezTo>
                  <a:pt x="4592727" y="7616682"/>
                  <a:pt x="4592727" y="7674363"/>
                  <a:pt x="4592726" y="7730055"/>
                </a:cubicBezTo>
                <a:cubicBezTo>
                  <a:pt x="4598712" y="7736021"/>
                  <a:pt x="4604699" y="7741989"/>
                  <a:pt x="4610684" y="7747956"/>
                </a:cubicBezTo>
                <a:cubicBezTo>
                  <a:pt x="4610683" y="7759890"/>
                  <a:pt x="4610684" y="7769834"/>
                  <a:pt x="4610683" y="7779780"/>
                </a:cubicBezTo>
                <a:cubicBezTo>
                  <a:pt x="4616669" y="7787736"/>
                  <a:pt x="4622654" y="7793702"/>
                  <a:pt x="4626645" y="7799670"/>
                </a:cubicBezTo>
                <a:cubicBezTo>
                  <a:pt x="4624651" y="7813593"/>
                  <a:pt x="4632631" y="7829505"/>
                  <a:pt x="4616670" y="7839450"/>
                </a:cubicBezTo>
                <a:cubicBezTo>
                  <a:pt x="4612679" y="7829505"/>
                  <a:pt x="4606694" y="7817571"/>
                  <a:pt x="4600708" y="7805637"/>
                </a:cubicBezTo>
                <a:cubicBezTo>
                  <a:pt x="4590731" y="7815582"/>
                  <a:pt x="4582750" y="7823538"/>
                  <a:pt x="4574769" y="7831494"/>
                </a:cubicBezTo>
                <a:cubicBezTo>
                  <a:pt x="4580756" y="7837461"/>
                  <a:pt x="4586742" y="7843428"/>
                  <a:pt x="4590732" y="7849395"/>
                </a:cubicBezTo>
                <a:cubicBezTo>
                  <a:pt x="4582750" y="7857350"/>
                  <a:pt x="4574769" y="7865307"/>
                  <a:pt x="4566789" y="7873263"/>
                </a:cubicBezTo>
                <a:cubicBezTo>
                  <a:pt x="4560804" y="7867296"/>
                  <a:pt x="4554817" y="7863318"/>
                  <a:pt x="4548833" y="7857351"/>
                </a:cubicBezTo>
                <a:cubicBezTo>
                  <a:pt x="4528880" y="7875252"/>
                  <a:pt x="4528880" y="7875252"/>
                  <a:pt x="4522895" y="7899119"/>
                </a:cubicBezTo>
                <a:cubicBezTo>
                  <a:pt x="4536860" y="7907076"/>
                  <a:pt x="4552823" y="7913043"/>
                  <a:pt x="4568785" y="7921000"/>
                </a:cubicBezTo>
                <a:cubicBezTo>
                  <a:pt x="4590731" y="7905087"/>
                  <a:pt x="4590731" y="7905087"/>
                  <a:pt x="4606693" y="7917022"/>
                </a:cubicBezTo>
                <a:cubicBezTo>
                  <a:pt x="4602703" y="7922988"/>
                  <a:pt x="4598713" y="7928956"/>
                  <a:pt x="4592726" y="7934923"/>
                </a:cubicBezTo>
                <a:cubicBezTo>
                  <a:pt x="4604698" y="7944867"/>
                  <a:pt x="4616670" y="7954813"/>
                  <a:pt x="4604698" y="7970725"/>
                </a:cubicBezTo>
                <a:cubicBezTo>
                  <a:pt x="4594723" y="7974703"/>
                  <a:pt x="4584746" y="7976691"/>
                  <a:pt x="4574769" y="7980670"/>
                </a:cubicBezTo>
                <a:cubicBezTo>
                  <a:pt x="4574769" y="7992603"/>
                  <a:pt x="4576766" y="8004538"/>
                  <a:pt x="4560803" y="8010505"/>
                </a:cubicBezTo>
                <a:cubicBezTo>
                  <a:pt x="4538856" y="8002549"/>
                  <a:pt x="4518905" y="7986637"/>
                  <a:pt x="4490971" y="7990615"/>
                </a:cubicBezTo>
                <a:cubicBezTo>
                  <a:pt x="4469024" y="7968735"/>
                  <a:pt x="4447077" y="7946857"/>
                  <a:pt x="4427124" y="7924978"/>
                </a:cubicBezTo>
                <a:cubicBezTo>
                  <a:pt x="4419143" y="7924978"/>
                  <a:pt x="4415154" y="7922988"/>
                  <a:pt x="4409168" y="7922987"/>
                </a:cubicBezTo>
                <a:cubicBezTo>
                  <a:pt x="4401187" y="7907076"/>
                  <a:pt x="4393207" y="7891164"/>
                  <a:pt x="4385226" y="7873262"/>
                </a:cubicBezTo>
                <a:cubicBezTo>
                  <a:pt x="4375250" y="7855362"/>
                  <a:pt x="4361283" y="7837461"/>
                  <a:pt x="4367269" y="7807626"/>
                </a:cubicBezTo>
                <a:cubicBezTo>
                  <a:pt x="4357292" y="7799670"/>
                  <a:pt x="4341331" y="7789725"/>
                  <a:pt x="4333349" y="7783758"/>
                </a:cubicBezTo>
                <a:cubicBezTo>
                  <a:pt x="4333350" y="7765857"/>
                  <a:pt x="4331354" y="7753923"/>
                  <a:pt x="4331354" y="7745967"/>
                </a:cubicBezTo>
                <a:cubicBezTo>
                  <a:pt x="4319384" y="7734033"/>
                  <a:pt x="4309408" y="7724088"/>
                  <a:pt x="4295440" y="7710165"/>
                </a:cubicBezTo>
                <a:cubicBezTo>
                  <a:pt x="4295441" y="7688286"/>
                  <a:pt x="4295441" y="7664418"/>
                  <a:pt x="4295441" y="7642538"/>
                </a:cubicBezTo>
                <a:cubicBezTo>
                  <a:pt x="4289456" y="7636571"/>
                  <a:pt x="4285464" y="7632594"/>
                  <a:pt x="4281475" y="7628616"/>
                </a:cubicBezTo>
                <a:cubicBezTo>
                  <a:pt x="4281475" y="7610715"/>
                  <a:pt x="4281475" y="7594803"/>
                  <a:pt x="4281474" y="7576901"/>
                </a:cubicBezTo>
                <a:cubicBezTo>
                  <a:pt x="4275489" y="7570935"/>
                  <a:pt x="4269504" y="7564968"/>
                  <a:pt x="4263517" y="7559001"/>
                </a:cubicBezTo>
                <a:cubicBezTo>
                  <a:pt x="4263518" y="7537122"/>
                  <a:pt x="4263517" y="7513254"/>
                  <a:pt x="4263517" y="7493364"/>
                </a:cubicBezTo>
                <a:cubicBezTo>
                  <a:pt x="4257531" y="7485408"/>
                  <a:pt x="4251546" y="7479440"/>
                  <a:pt x="4247556" y="7475462"/>
                </a:cubicBezTo>
                <a:cubicBezTo>
                  <a:pt x="4253541" y="7467507"/>
                  <a:pt x="4257532" y="7463529"/>
                  <a:pt x="4261523" y="7457562"/>
                </a:cubicBezTo>
                <a:cubicBezTo>
                  <a:pt x="4255536" y="7451594"/>
                  <a:pt x="4251547" y="7447616"/>
                  <a:pt x="4245561" y="7441649"/>
                </a:cubicBezTo>
                <a:cubicBezTo>
                  <a:pt x="4245561" y="7419770"/>
                  <a:pt x="4245560" y="7393914"/>
                  <a:pt x="4245561" y="7374023"/>
                </a:cubicBezTo>
                <a:cubicBezTo>
                  <a:pt x="4237580" y="7366067"/>
                  <a:pt x="4233589" y="7362089"/>
                  <a:pt x="4229599" y="7358112"/>
                </a:cubicBezTo>
                <a:cubicBezTo>
                  <a:pt x="4229599" y="7338221"/>
                  <a:pt x="4223613" y="7320320"/>
                  <a:pt x="4233589" y="7300430"/>
                </a:cubicBezTo>
                <a:cubicBezTo>
                  <a:pt x="4237580" y="7296452"/>
                  <a:pt x="4241570" y="7292474"/>
                  <a:pt x="4245560" y="7290485"/>
                </a:cubicBezTo>
                <a:cubicBezTo>
                  <a:pt x="4239574" y="7282529"/>
                  <a:pt x="4233589" y="7276562"/>
                  <a:pt x="4227604" y="7270595"/>
                </a:cubicBezTo>
                <a:cubicBezTo>
                  <a:pt x="4227603" y="7214903"/>
                  <a:pt x="4227604" y="7159211"/>
                  <a:pt x="4227603" y="7103519"/>
                </a:cubicBezTo>
                <a:cubicBezTo>
                  <a:pt x="4221618" y="7097552"/>
                  <a:pt x="4217627" y="7091585"/>
                  <a:pt x="4213638" y="7087607"/>
                </a:cubicBezTo>
                <a:cubicBezTo>
                  <a:pt x="4221618" y="7075673"/>
                  <a:pt x="4225609" y="7067716"/>
                  <a:pt x="4231595" y="7059761"/>
                </a:cubicBezTo>
                <a:cubicBezTo>
                  <a:pt x="4223613" y="7043848"/>
                  <a:pt x="4205657" y="7037881"/>
                  <a:pt x="4211642" y="7017991"/>
                </a:cubicBezTo>
                <a:cubicBezTo>
                  <a:pt x="4215633" y="7014013"/>
                  <a:pt x="4221619" y="7008046"/>
                  <a:pt x="4227603" y="7002080"/>
                </a:cubicBezTo>
                <a:cubicBezTo>
                  <a:pt x="4227603" y="6992134"/>
                  <a:pt x="4227603" y="6980201"/>
                  <a:pt x="4227603" y="6968266"/>
                </a:cubicBezTo>
                <a:cubicBezTo>
                  <a:pt x="4223613" y="6962300"/>
                  <a:pt x="4217628" y="6956333"/>
                  <a:pt x="4211643" y="6950366"/>
                </a:cubicBezTo>
                <a:cubicBezTo>
                  <a:pt x="4211643" y="6938431"/>
                  <a:pt x="4211643" y="6928487"/>
                  <a:pt x="4211643" y="6916552"/>
                </a:cubicBezTo>
                <a:cubicBezTo>
                  <a:pt x="4217627" y="6910586"/>
                  <a:pt x="4223613" y="6904619"/>
                  <a:pt x="4227603" y="6898651"/>
                </a:cubicBezTo>
                <a:cubicBezTo>
                  <a:pt x="4223614" y="6894673"/>
                  <a:pt x="4219622" y="6890695"/>
                  <a:pt x="4213638" y="6884728"/>
                </a:cubicBezTo>
                <a:cubicBezTo>
                  <a:pt x="4213638" y="6844949"/>
                  <a:pt x="4213638" y="6803179"/>
                  <a:pt x="4213637" y="6763399"/>
                </a:cubicBezTo>
                <a:cubicBezTo>
                  <a:pt x="4217627" y="6757432"/>
                  <a:pt x="4221619" y="6753454"/>
                  <a:pt x="4227603" y="6749476"/>
                </a:cubicBezTo>
                <a:cubicBezTo>
                  <a:pt x="4227604" y="6731575"/>
                  <a:pt x="4227604" y="6711685"/>
                  <a:pt x="4227604" y="6697762"/>
                </a:cubicBezTo>
                <a:cubicBezTo>
                  <a:pt x="4219622" y="6687817"/>
                  <a:pt x="4215632" y="6681850"/>
                  <a:pt x="4211642" y="6675883"/>
                </a:cubicBezTo>
                <a:cubicBezTo>
                  <a:pt x="4211642" y="6659971"/>
                  <a:pt x="4211643" y="6646048"/>
                  <a:pt x="4211642" y="6630136"/>
                </a:cubicBezTo>
                <a:cubicBezTo>
                  <a:pt x="4217628" y="6624169"/>
                  <a:pt x="4221619" y="6618202"/>
                  <a:pt x="4227604" y="6612235"/>
                </a:cubicBezTo>
                <a:cubicBezTo>
                  <a:pt x="4227603" y="6602290"/>
                  <a:pt x="4227603" y="6590355"/>
                  <a:pt x="4227604" y="6578422"/>
                </a:cubicBezTo>
                <a:cubicBezTo>
                  <a:pt x="4223614" y="6572454"/>
                  <a:pt x="4217628" y="6566487"/>
                  <a:pt x="4211642" y="6560521"/>
                </a:cubicBezTo>
                <a:cubicBezTo>
                  <a:pt x="4211642" y="6548586"/>
                  <a:pt x="4211643" y="6538641"/>
                  <a:pt x="4211643" y="6526708"/>
                </a:cubicBezTo>
                <a:lnTo>
                  <a:pt x="4163078" y="6480232"/>
                </a:lnTo>
                <a:lnTo>
                  <a:pt x="4172237" y="6461319"/>
                </a:lnTo>
                <a:cubicBezTo>
                  <a:pt x="4175229" y="6455601"/>
                  <a:pt x="4177724" y="6451125"/>
                  <a:pt x="4179719" y="6447147"/>
                </a:cubicBezTo>
                <a:cubicBezTo>
                  <a:pt x="4171738" y="6439191"/>
                  <a:pt x="4165753" y="6433224"/>
                  <a:pt x="4159767" y="6425268"/>
                </a:cubicBezTo>
                <a:cubicBezTo>
                  <a:pt x="4159767" y="6409356"/>
                  <a:pt x="4159767" y="6393444"/>
                  <a:pt x="4159767" y="6375543"/>
                </a:cubicBezTo>
                <a:cubicBezTo>
                  <a:pt x="4137819" y="6363609"/>
                  <a:pt x="4143805" y="6335763"/>
                  <a:pt x="4123852" y="6321840"/>
                </a:cubicBezTo>
                <a:cubicBezTo>
                  <a:pt x="4111881" y="6315873"/>
                  <a:pt x="4103901" y="6313884"/>
                  <a:pt x="4093924" y="6319851"/>
                </a:cubicBezTo>
                <a:cubicBezTo>
                  <a:pt x="4083949" y="6337752"/>
                  <a:pt x="4093925" y="6345708"/>
                  <a:pt x="4105896" y="6355653"/>
                </a:cubicBezTo>
                <a:cubicBezTo>
                  <a:pt x="4105897" y="6381510"/>
                  <a:pt x="4105897" y="6405378"/>
                  <a:pt x="4105897" y="6427257"/>
                </a:cubicBezTo>
                <a:cubicBezTo>
                  <a:pt x="4099910" y="6433224"/>
                  <a:pt x="4095920" y="6437202"/>
                  <a:pt x="4091929" y="6443169"/>
                </a:cubicBezTo>
                <a:cubicBezTo>
                  <a:pt x="4095921" y="6447148"/>
                  <a:pt x="4101906" y="6453115"/>
                  <a:pt x="4107892" y="6461070"/>
                </a:cubicBezTo>
                <a:cubicBezTo>
                  <a:pt x="4107891" y="6486927"/>
                  <a:pt x="4107891" y="6516762"/>
                  <a:pt x="4107891" y="6544609"/>
                </a:cubicBezTo>
                <a:cubicBezTo>
                  <a:pt x="4107892" y="6546597"/>
                  <a:pt x="4103901" y="6548587"/>
                  <a:pt x="4099911" y="6550575"/>
                </a:cubicBezTo>
                <a:cubicBezTo>
                  <a:pt x="4091929" y="6554554"/>
                  <a:pt x="4081953" y="6556543"/>
                  <a:pt x="4073972" y="6560520"/>
                </a:cubicBezTo>
                <a:cubicBezTo>
                  <a:pt x="4073973" y="6574444"/>
                  <a:pt x="4073973" y="6584388"/>
                  <a:pt x="4073972" y="6594333"/>
                </a:cubicBezTo>
                <a:cubicBezTo>
                  <a:pt x="4079959" y="6602290"/>
                  <a:pt x="4083949" y="6608257"/>
                  <a:pt x="4087940" y="6612235"/>
                </a:cubicBezTo>
                <a:cubicBezTo>
                  <a:pt x="4081954" y="6620191"/>
                  <a:pt x="4077964" y="6626158"/>
                  <a:pt x="4071978" y="6632125"/>
                </a:cubicBezTo>
                <a:cubicBezTo>
                  <a:pt x="4073972" y="6644059"/>
                  <a:pt x="4073972" y="6655993"/>
                  <a:pt x="4073973" y="6665938"/>
                </a:cubicBezTo>
                <a:cubicBezTo>
                  <a:pt x="4085943" y="6669916"/>
                  <a:pt x="4095921" y="6673894"/>
                  <a:pt x="4107891" y="6677872"/>
                </a:cubicBezTo>
                <a:cubicBezTo>
                  <a:pt x="4101906" y="6683839"/>
                  <a:pt x="4095921" y="6689806"/>
                  <a:pt x="4091930" y="6695773"/>
                </a:cubicBezTo>
                <a:cubicBezTo>
                  <a:pt x="4095921" y="6701741"/>
                  <a:pt x="4101905" y="6707707"/>
                  <a:pt x="4105897" y="6711685"/>
                </a:cubicBezTo>
                <a:cubicBezTo>
                  <a:pt x="4093924" y="6731575"/>
                  <a:pt x="4081954" y="6749476"/>
                  <a:pt x="4073972" y="6767377"/>
                </a:cubicBezTo>
                <a:cubicBezTo>
                  <a:pt x="4069982" y="6777322"/>
                  <a:pt x="4073973" y="6789256"/>
                  <a:pt x="4073973" y="6797212"/>
                </a:cubicBezTo>
                <a:cubicBezTo>
                  <a:pt x="4079958" y="6807157"/>
                  <a:pt x="4085944" y="6813124"/>
                  <a:pt x="4087939" y="6815113"/>
                </a:cubicBezTo>
                <a:cubicBezTo>
                  <a:pt x="4087939" y="6852904"/>
                  <a:pt x="4087940" y="6886717"/>
                  <a:pt x="4087939" y="6918541"/>
                </a:cubicBezTo>
                <a:cubicBezTo>
                  <a:pt x="4083948" y="6924509"/>
                  <a:pt x="4079959" y="6928486"/>
                  <a:pt x="4071977" y="6934454"/>
                </a:cubicBezTo>
                <a:cubicBezTo>
                  <a:pt x="4071978" y="7002080"/>
                  <a:pt x="4071978" y="7071695"/>
                  <a:pt x="4071977" y="7137332"/>
                </a:cubicBezTo>
                <a:cubicBezTo>
                  <a:pt x="4063996" y="7145288"/>
                  <a:pt x="4060007" y="7149266"/>
                  <a:pt x="4056015" y="7153244"/>
                </a:cubicBezTo>
                <a:cubicBezTo>
                  <a:pt x="4056016" y="7220870"/>
                  <a:pt x="4056015" y="7288496"/>
                  <a:pt x="4056016" y="7356122"/>
                </a:cubicBezTo>
                <a:cubicBezTo>
                  <a:pt x="4056016" y="7358112"/>
                  <a:pt x="4052026" y="7360100"/>
                  <a:pt x="4050030" y="7364079"/>
                </a:cubicBezTo>
                <a:cubicBezTo>
                  <a:pt x="4046039" y="7366068"/>
                  <a:pt x="4042050" y="7370045"/>
                  <a:pt x="4038058" y="7374023"/>
                </a:cubicBezTo>
                <a:cubicBezTo>
                  <a:pt x="4038058" y="7431705"/>
                  <a:pt x="4038059" y="7487397"/>
                  <a:pt x="4038058" y="7543088"/>
                </a:cubicBezTo>
                <a:cubicBezTo>
                  <a:pt x="4032073" y="7549056"/>
                  <a:pt x="4028082" y="7555023"/>
                  <a:pt x="4022097" y="7560990"/>
                </a:cubicBezTo>
                <a:cubicBezTo>
                  <a:pt x="4028082" y="7566956"/>
                  <a:pt x="4032073" y="7572924"/>
                  <a:pt x="4038059" y="7578891"/>
                </a:cubicBezTo>
                <a:cubicBezTo>
                  <a:pt x="4032074" y="7582869"/>
                  <a:pt x="4028083" y="7586847"/>
                  <a:pt x="4020103" y="7594803"/>
                </a:cubicBezTo>
                <a:cubicBezTo>
                  <a:pt x="4020102" y="7632594"/>
                  <a:pt x="4020102" y="7674363"/>
                  <a:pt x="4020102" y="7712154"/>
                </a:cubicBezTo>
                <a:cubicBezTo>
                  <a:pt x="4014116" y="7720110"/>
                  <a:pt x="4010127" y="7724088"/>
                  <a:pt x="4002146" y="7730055"/>
                </a:cubicBezTo>
                <a:cubicBezTo>
                  <a:pt x="4002146" y="7757900"/>
                  <a:pt x="4002146" y="7787736"/>
                  <a:pt x="4002146" y="7815582"/>
                </a:cubicBezTo>
                <a:cubicBezTo>
                  <a:pt x="3996159" y="7823538"/>
                  <a:pt x="3992170" y="7827516"/>
                  <a:pt x="3986184" y="7831494"/>
                </a:cubicBezTo>
                <a:cubicBezTo>
                  <a:pt x="3986184" y="7865307"/>
                  <a:pt x="3986184" y="7899120"/>
                  <a:pt x="3986184" y="7930945"/>
                </a:cubicBezTo>
                <a:cubicBezTo>
                  <a:pt x="3980197" y="7938900"/>
                  <a:pt x="3974213" y="7944868"/>
                  <a:pt x="3968227" y="7950835"/>
                </a:cubicBezTo>
                <a:cubicBezTo>
                  <a:pt x="3968227" y="7966747"/>
                  <a:pt x="3968227" y="7984647"/>
                  <a:pt x="3968227" y="8000559"/>
                </a:cubicBezTo>
                <a:cubicBezTo>
                  <a:pt x="3962241" y="8006527"/>
                  <a:pt x="3958251" y="8012494"/>
                  <a:pt x="3952265" y="8020450"/>
                </a:cubicBezTo>
                <a:cubicBezTo>
                  <a:pt x="3952264" y="8048296"/>
                  <a:pt x="3952264" y="8076142"/>
                  <a:pt x="3952264" y="8094043"/>
                </a:cubicBezTo>
                <a:cubicBezTo>
                  <a:pt x="3944285" y="8111944"/>
                  <a:pt x="3940294" y="8121889"/>
                  <a:pt x="3934309" y="8131834"/>
                </a:cubicBezTo>
                <a:cubicBezTo>
                  <a:pt x="3930317" y="8139790"/>
                  <a:pt x="3920341" y="8147746"/>
                  <a:pt x="3918346" y="8157690"/>
                </a:cubicBezTo>
                <a:cubicBezTo>
                  <a:pt x="3914357" y="8167636"/>
                  <a:pt x="3916352" y="8179569"/>
                  <a:pt x="3916352" y="8187525"/>
                </a:cubicBezTo>
                <a:cubicBezTo>
                  <a:pt x="3906375" y="8197471"/>
                  <a:pt x="3898394" y="8205426"/>
                  <a:pt x="3890414" y="8211394"/>
                </a:cubicBezTo>
                <a:cubicBezTo>
                  <a:pt x="3870462" y="8215371"/>
                  <a:pt x="3848515" y="8203438"/>
                  <a:pt x="3832553" y="8219349"/>
                </a:cubicBezTo>
                <a:cubicBezTo>
                  <a:pt x="3830557" y="8233272"/>
                  <a:pt x="3832552" y="8251173"/>
                  <a:pt x="3824571" y="8259130"/>
                </a:cubicBezTo>
                <a:cubicBezTo>
                  <a:pt x="3810605" y="8273052"/>
                  <a:pt x="3816591" y="8298910"/>
                  <a:pt x="3794644" y="8306866"/>
                </a:cubicBezTo>
                <a:cubicBezTo>
                  <a:pt x="3784668" y="8310844"/>
                  <a:pt x="3774692" y="8314822"/>
                  <a:pt x="3764715" y="8318800"/>
                </a:cubicBezTo>
                <a:cubicBezTo>
                  <a:pt x="3762721" y="8328745"/>
                  <a:pt x="3758730" y="8338690"/>
                  <a:pt x="3754740" y="8348634"/>
                </a:cubicBezTo>
                <a:cubicBezTo>
                  <a:pt x="3744764" y="8348634"/>
                  <a:pt x="3734788" y="8348634"/>
                  <a:pt x="3726807" y="8348635"/>
                </a:cubicBezTo>
                <a:cubicBezTo>
                  <a:pt x="3724812" y="8334711"/>
                  <a:pt x="3740773" y="8330733"/>
                  <a:pt x="3742768" y="8320789"/>
                </a:cubicBezTo>
                <a:cubicBezTo>
                  <a:pt x="3738778" y="8316811"/>
                  <a:pt x="3732792" y="8310844"/>
                  <a:pt x="3728801" y="8304877"/>
                </a:cubicBezTo>
                <a:cubicBezTo>
                  <a:pt x="3734788" y="8298910"/>
                  <a:pt x="3738778" y="8292943"/>
                  <a:pt x="3742768" y="8286976"/>
                </a:cubicBezTo>
                <a:cubicBezTo>
                  <a:pt x="3724812" y="8277031"/>
                  <a:pt x="3708850" y="8277031"/>
                  <a:pt x="3692887" y="8286975"/>
                </a:cubicBezTo>
                <a:cubicBezTo>
                  <a:pt x="3698874" y="8292943"/>
                  <a:pt x="3702864" y="8298910"/>
                  <a:pt x="3708849" y="8306865"/>
                </a:cubicBezTo>
                <a:cubicBezTo>
                  <a:pt x="3698873" y="8310844"/>
                  <a:pt x="3686902" y="8316811"/>
                  <a:pt x="3674932" y="8320788"/>
                </a:cubicBezTo>
                <a:cubicBezTo>
                  <a:pt x="3672936" y="8336701"/>
                  <a:pt x="3680916" y="8350624"/>
                  <a:pt x="3666950" y="8364547"/>
                </a:cubicBezTo>
                <a:cubicBezTo>
                  <a:pt x="3656974" y="8364547"/>
                  <a:pt x="3645002" y="8362558"/>
                  <a:pt x="3635026" y="8364547"/>
                </a:cubicBezTo>
                <a:cubicBezTo>
                  <a:pt x="3623056" y="8368525"/>
                  <a:pt x="3613079" y="8378470"/>
                  <a:pt x="3601108" y="8384438"/>
                </a:cubicBezTo>
                <a:cubicBezTo>
                  <a:pt x="3593127" y="8376480"/>
                  <a:pt x="3587141" y="8370514"/>
                  <a:pt x="3581157" y="8364547"/>
                </a:cubicBezTo>
                <a:cubicBezTo>
                  <a:pt x="3575171" y="8370513"/>
                  <a:pt x="3567189" y="8376481"/>
                  <a:pt x="3561204" y="8380459"/>
                </a:cubicBezTo>
                <a:cubicBezTo>
                  <a:pt x="3545243" y="8380458"/>
                  <a:pt x="3527285" y="8380459"/>
                  <a:pt x="3517309" y="8380459"/>
                </a:cubicBezTo>
                <a:cubicBezTo>
                  <a:pt x="3485387" y="8366535"/>
                  <a:pt x="3459449" y="8352613"/>
                  <a:pt x="3433511" y="8338690"/>
                </a:cubicBezTo>
                <a:cubicBezTo>
                  <a:pt x="3439496" y="8332723"/>
                  <a:pt x="3445482" y="8326756"/>
                  <a:pt x="3449473" y="8322777"/>
                </a:cubicBezTo>
                <a:cubicBezTo>
                  <a:pt x="3449472" y="8286976"/>
                  <a:pt x="3449473" y="8253162"/>
                  <a:pt x="3449473" y="8219350"/>
                </a:cubicBezTo>
                <a:cubicBezTo>
                  <a:pt x="3445482" y="8215372"/>
                  <a:pt x="3441492" y="8211394"/>
                  <a:pt x="3433511" y="8203438"/>
                </a:cubicBezTo>
                <a:cubicBezTo>
                  <a:pt x="3433511" y="8169625"/>
                  <a:pt x="3433511" y="8129845"/>
                  <a:pt x="3433510" y="8090065"/>
                </a:cubicBezTo>
                <a:cubicBezTo>
                  <a:pt x="3433510" y="8086087"/>
                  <a:pt x="3427525" y="8082109"/>
                  <a:pt x="3425531" y="8076142"/>
                </a:cubicBezTo>
                <a:cubicBezTo>
                  <a:pt x="3413558" y="8076142"/>
                  <a:pt x="3401588" y="8076141"/>
                  <a:pt x="3389616" y="8076142"/>
                </a:cubicBezTo>
                <a:cubicBezTo>
                  <a:pt x="3383630" y="8072164"/>
                  <a:pt x="3377644" y="8066196"/>
                  <a:pt x="3371660" y="8060230"/>
                </a:cubicBezTo>
                <a:cubicBezTo>
                  <a:pt x="3357692" y="8056252"/>
                  <a:pt x="3343727" y="8066197"/>
                  <a:pt x="3331755" y="8054262"/>
                </a:cubicBezTo>
                <a:cubicBezTo>
                  <a:pt x="3329760" y="8046307"/>
                  <a:pt x="3327765" y="8038351"/>
                  <a:pt x="3325769" y="8030395"/>
                </a:cubicBezTo>
                <a:cubicBezTo>
                  <a:pt x="3315793" y="8026417"/>
                  <a:pt x="3305817" y="8024428"/>
                  <a:pt x="3295841" y="8020449"/>
                </a:cubicBezTo>
                <a:cubicBezTo>
                  <a:pt x="3293847" y="8004538"/>
                  <a:pt x="3293847" y="7992604"/>
                  <a:pt x="3293847" y="7980670"/>
                </a:cubicBezTo>
                <a:cubicBezTo>
                  <a:pt x="3281874" y="7976692"/>
                  <a:pt x="3273895" y="7974703"/>
                  <a:pt x="3265913" y="7972714"/>
                </a:cubicBezTo>
                <a:cubicBezTo>
                  <a:pt x="3261922" y="7962768"/>
                  <a:pt x="3259927" y="7952824"/>
                  <a:pt x="3253942" y="7944868"/>
                </a:cubicBezTo>
                <a:cubicBezTo>
                  <a:pt x="3245961" y="7932934"/>
                  <a:pt x="3233991" y="7924978"/>
                  <a:pt x="3226010" y="7917022"/>
                </a:cubicBezTo>
                <a:cubicBezTo>
                  <a:pt x="3231994" y="7909064"/>
                  <a:pt x="3235986" y="7905086"/>
                  <a:pt x="3241970" y="7899120"/>
                </a:cubicBezTo>
                <a:cubicBezTo>
                  <a:pt x="3233991" y="7889175"/>
                  <a:pt x="3222019" y="7881219"/>
                  <a:pt x="3216034" y="7871274"/>
                </a:cubicBezTo>
                <a:cubicBezTo>
                  <a:pt x="3206057" y="7859339"/>
                  <a:pt x="3200071" y="7843428"/>
                  <a:pt x="3190096" y="7825527"/>
                </a:cubicBezTo>
                <a:cubicBezTo>
                  <a:pt x="3190096" y="7819560"/>
                  <a:pt x="3190096" y="7807625"/>
                  <a:pt x="3190095" y="7789725"/>
                </a:cubicBezTo>
                <a:cubicBezTo>
                  <a:pt x="3200072" y="7783757"/>
                  <a:pt x="3214037" y="7773813"/>
                  <a:pt x="3233990" y="7761878"/>
                </a:cubicBezTo>
                <a:cubicBezTo>
                  <a:pt x="3216033" y="7757901"/>
                  <a:pt x="3208053" y="7755912"/>
                  <a:pt x="3198077" y="7753923"/>
                </a:cubicBezTo>
                <a:cubicBezTo>
                  <a:pt x="3192091" y="7747956"/>
                  <a:pt x="3184110" y="7739999"/>
                  <a:pt x="3176129" y="7730055"/>
                </a:cubicBezTo>
                <a:cubicBezTo>
                  <a:pt x="3170144" y="7696242"/>
                  <a:pt x="3178125" y="7658451"/>
                  <a:pt x="3172139" y="7626627"/>
                </a:cubicBezTo>
                <a:cubicBezTo>
                  <a:pt x="3164157" y="7620660"/>
                  <a:pt x="3160168" y="7616682"/>
                  <a:pt x="3156176" y="7612704"/>
                </a:cubicBezTo>
                <a:cubicBezTo>
                  <a:pt x="3162162" y="7606736"/>
                  <a:pt x="3168148" y="7600770"/>
                  <a:pt x="3172138" y="7594803"/>
                </a:cubicBezTo>
                <a:cubicBezTo>
                  <a:pt x="3168148" y="7588836"/>
                  <a:pt x="3162162" y="7582868"/>
                  <a:pt x="3156176" y="7574913"/>
                </a:cubicBezTo>
                <a:cubicBezTo>
                  <a:pt x="3156176" y="7559001"/>
                  <a:pt x="3156176" y="7541100"/>
                  <a:pt x="3156176" y="7525188"/>
                </a:cubicBezTo>
                <a:cubicBezTo>
                  <a:pt x="3150192" y="7521210"/>
                  <a:pt x="3146201" y="7517232"/>
                  <a:pt x="3140216" y="7511265"/>
                </a:cubicBezTo>
                <a:cubicBezTo>
                  <a:pt x="3140215" y="7489385"/>
                  <a:pt x="3140215" y="7463529"/>
                  <a:pt x="3140215" y="7451594"/>
                </a:cubicBezTo>
                <a:cubicBezTo>
                  <a:pt x="3124253" y="7423748"/>
                  <a:pt x="3116272" y="7405848"/>
                  <a:pt x="3108291" y="7393914"/>
                </a:cubicBezTo>
                <a:cubicBezTo>
                  <a:pt x="3116272" y="7378001"/>
                  <a:pt x="3120264" y="7368057"/>
                  <a:pt x="3124253" y="7360100"/>
                </a:cubicBezTo>
                <a:cubicBezTo>
                  <a:pt x="3116272" y="7352145"/>
                  <a:pt x="3110287" y="7346177"/>
                  <a:pt x="3104302" y="7340210"/>
                </a:cubicBezTo>
                <a:cubicBezTo>
                  <a:pt x="3104301" y="7322309"/>
                  <a:pt x="3104301" y="7306397"/>
                  <a:pt x="3104302" y="7290485"/>
                </a:cubicBezTo>
                <a:cubicBezTo>
                  <a:pt x="3098315" y="7282529"/>
                  <a:pt x="3092331" y="7276562"/>
                  <a:pt x="3088339" y="7272584"/>
                </a:cubicBezTo>
                <a:cubicBezTo>
                  <a:pt x="3088340" y="7254683"/>
                  <a:pt x="3088339" y="7236782"/>
                  <a:pt x="3088339" y="7222860"/>
                </a:cubicBezTo>
                <a:cubicBezTo>
                  <a:pt x="3094325" y="7214903"/>
                  <a:pt x="3100310" y="7208936"/>
                  <a:pt x="3106297" y="7200980"/>
                </a:cubicBezTo>
                <a:cubicBezTo>
                  <a:pt x="3102306" y="7189046"/>
                  <a:pt x="3110287" y="7173134"/>
                  <a:pt x="3096321" y="7163189"/>
                </a:cubicBezTo>
                <a:cubicBezTo>
                  <a:pt x="3084349" y="7155233"/>
                  <a:pt x="3088340" y="7143299"/>
                  <a:pt x="3086345" y="7133354"/>
                </a:cubicBezTo>
                <a:cubicBezTo>
                  <a:pt x="3086344" y="7119432"/>
                  <a:pt x="3094326" y="7105508"/>
                  <a:pt x="3072379" y="7093574"/>
                </a:cubicBezTo>
                <a:cubicBezTo>
                  <a:pt x="3066393" y="7127387"/>
                  <a:pt x="3074374" y="7161200"/>
                  <a:pt x="3068387" y="7189046"/>
                </a:cubicBezTo>
                <a:cubicBezTo>
                  <a:pt x="3060406" y="7197002"/>
                  <a:pt x="3056417" y="7200980"/>
                  <a:pt x="3052426" y="7204958"/>
                </a:cubicBezTo>
                <a:cubicBezTo>
                  <a:pt x="3052427" y="7232804"/>
                  <a:pt x="3052427" y="7260650"/>
                  <a:pt x="3052426" y="7288496"/>
                </a:cubicBezTo>
                <a:cubicBezTo>
                  <a:pt x="3052427" y="7290485"/>
                  <a:pt x="3048436" y="7292474"/>
                  <a:pt x="3046441" y="7294463"/>
                </a:cubicBezTo>
                <a:cubicBezTo>
                  <a:pt x="3042450" y="7298441"/>
                  <a:pt x="3038460" y="7302419"/>
                  <a:pt x="3034470" y="7306397"/>
                </a:cubicBezTo>
                <a:cubicBezTo>
                  <a:pt x="3034469" y="7340210"/>
                  <a:pt x="3034469" y="7374023"/>
                  <a:pt x="3034470" y="7407837"/>
                </a:cubicBezTo>
                <a:cubicBezTo>
                  <a:pt x="3028484" y="7413803"/>
                  <a:pt x="3022497" y="7419770"/>
                  <a:pt x="3016513" y="7427726"/>
                </a:cubicBezTo>
                <a:cubicBezTo>
                  <a:pt x="3016513" y="7449606"/>
                  <a:pt x="3016512" y="7471485"/>
                  <a:pt x="3016513" y="7493363"/>
                </a:cubicBezTo>
                <a:cubicBezTo>
                  <a:pt x="3012521" y="7497341"/>
                  <a:pt x="3008532" y="7501319"/>
                  <a:pt x="3000550" y="7509276"/>
                </a:cubicBezTo>
                <a:cubicBezTo>
                  <a:pt x="3000550" y="7541100"/>
                  <a:pt x="3000551" y="7576902"/>
                  <a:pt x="3000550" y="7610714"/>
                </a:cubicBezTo>
                <a:cubicBezTo>
                  <a:pt x="2994564" y="7616682"/>
                  <a:pt x="2990575" y="7620660"/>
                  <a:pt x="2982594" y="7628615"/>
                </a:cubicBezTo>
                <a:cubicBezTo>
                  <a:pt x="2982594" y="7644527"/>
                  <a:pt x="2982594" y="7662429"/>
                  <a:pt x="2982593" y="7680330"/>
                </a:cubicBezTo>
                <a:cubicBezTo>
                  <a:pt x="2976608" y="7686296"/>
                  <a:pt x="2972618" y="7690275"/>
                  <a:pt x="2964637" y="7698231"/>
                </a:cubicBezTo>
                <a:cubicBezTo>
                  <a:pt x="2964637" y="7718121"/>
                  <a:pt x="2964637" y="7743978"/>
                  <a:pt x="2964636" y="7765857"/>
                </a:cubicBezTo>
                <a:cubicBezTo>
                  <a:pt x="2956657" y="7771824"/>
                  <a:pt x="2952665" y="7775802"/>
                  <a:pt x="2948676" y="7779780"/>
                </a:cubicBezTo>
                <a:cubicBezTo>
                  <a:pt x="2948675" y="7819560"/>
                  <a:pt x="2948676" y="7859340"/>
                  <a:pt x="2948675" y="7899120"/>
                </a:cubicBezTo>
                <a:cubicBezTo>
                  <a:pt x="2948676" y="7901108"/>
                  <a:pt x="2944685" y="7903098"/>
                  <a:pt x="2940695" y="7909065"/>
                </a:cubicBezTo>
                <a:cubicBezTo>
                  <a:pt x="2938699" y="7909064"/>
                  <a:pt x="2934709" y="7913043"/>
                  <a:pt x="2930719" y="7915032"/>
                </a:cubicBezTo>
                <a:cubicBezTo>
                  <a:pt x="2930719" y="7944868"/>
                  <a:pt x="2930719" y="7972713"/>
                  <a:pt x="2930718" y="8000560"/>
                </a:cubicBezTo>
                <a:cubicBezTo>
                  <a:pt x="2924733" y="8006527"/>
                  <a:pt x="2918748" y="8012494"/>
                  <a:pt x="2912761" y="8020450"/>
                </a:cubicBezTo>
                <a:cubicBezTo>
                  <a:pt x="2912762" y="8042329"/>
                  <a:pt x="2912762" y="8064208"/>
                  <a:pt x="2912762" y="8084098"/>
                </a:cubicBezTo>
                <a:cubicBezTo>
                  <a:pt x="2884829" y="8115922"/>
                  <a:pt x="2884829" y="8163658"/>
                  <a:pt x="2844925" y="8185537"/>
                </a:cubicBezTo>
                <a:cubicBezTo>
                  <a:pt x="2850911" y="8191504"/>
                  <a:pt x="2856896" y="8199459"/>
                  <a:pt x="2862882" y="8203437"/>
                </a:cubicBezTo>
                <a:cubicBezTo>
                  <a:pt x="2862882" y="8215372"/>
                  <a:pt x="2862882" y="8227305"/>
                  <a:pt x="2862881" y="8237251"/>
                </a:cubicBezTo>
                <a:cubicBezTo>
                  <a:pt x="2850911" y="8245207"/>
                  <a:pt x="2846919" y="8259130"/>
                  <a:pt x="2830958" y="8259129"/>
                </a:cubicBezTo>
                <a:cubicBezTo>
                  <a:pt x="2828963" y="8243218"/>
                  <a:pt x="2824972" y="8227306"/>
                  <a:pt x="2820982" y="8209405"/>
                </a:cubicBezTo>
                <a:cubicBezTo>
                  <a:pt x="2813001" y="8217361"/>
                  <a:pt x="2807016" y="8223328"/>
                  <a:pt x="2801030" y="8229294"/>
                </a:cubicBezTo>
                <a:cubicBezTo>
                  <a:pt x="2789059" y="8229295"/>
                  <a:pt x="2777088" y="8229295"/>
                  <a:pt x="2767112" y="8229295"/>
                </a:cubicBezTo>
                <a:cubicBezTo>
                  <a:pt x="2759131" y="8245207"/>
                  <a:pt x="2751149" y="8259130"/>
                  <a:pt x="2741174" y="8277030"/>
                </a:cubicBezTo>
                <a:cubicBezTo>
                  <a:pt x="2741174" y="8288965"/>
                  <a:pt x="2741174" y="8304877"/>
                  <a:pt x="2741174" y="8322778"/>
                </a:cubicBezTo>
                <a:cubicBezTo>
                  <a:pt x="2733193" y="8330734"/>
                  <a:pt x="2725212" y="8336700"/>
                  <a:pt x="2715237" y="8344656"/>
                </a:cubicBezTo>
                <a:cubicBezTo>
                  <a:pt x="2697279" y="8338689"/>
                  <a:pt x="2691294" y="8308855"/>
                  <a:pt x="2663361" y="8314822"/>
                </a:cubicBezTo>
                <a:cubicBezTo>
                  <a:pt x="2657375" y="8324766"/>
                  <a:pt x="2651390" y="8336701"/>
                  <a:pt x="2645404" y="8348635"/>
                </a:cubicBezTo>
                <a:cubicBezTo>
                  <a:pt x="2637423" y="8346646"/>
                  <a:pt x="2629442" y="8344657"/>
                  <a:pt x="2621462" y="8342668"/>
                </a:cubicBezTo>
                <a:cubicBezTo>
                  <a:pt x="2621461" y="8324767"/>
                  <a:pt x="2621461" y="8306866"/>
                  <a:pt x="2621461" y="8290954"/>
                </a:cubicBezTo>
                <a:cubicBezTo>
                  <a:pt x="2607495" y="8279019"/>
                  <a:pt x="2603505" y="8263108"/>
                  <a:pt x="2597519" y="8249185"/>
                </a:cubicBezTo>
                <a:cubicBezTo>
                  <a:pt x="2573576" y="8237251"/>
                  <a:pt x="2555620" y="8253163"/>
                  <a:pt x="2535667" y="8263108"/>
                </a:cubicBezTo>
                <a:cubicBezTo>
                  <a:pt x="2509730" y="8249185"/>
                  <a:pt x="2497759" y="8284987"/>
                  <a:pt x="2471821" y="8279019"/>
                </a:cubicBezTo>
                <a:cubicBezTo>
                  <a:pt x="2465835" y="8273053"/>
                  <a:pt x="2457854" y="8265097"/>
                  <a:pt x="2447878" y="8251174"/>
                </a:cubicBezTo>
                <a:cubicBezTo>
                  <a:pt x="2447878" y="8245206"/>
                  <a:pt x="2449874" y="8235262"/>
                  <a:pt x="2445883" y="8225317"/>
                </a:cubicBezTo>
                <a:cubicBezTo>
                  <a:pt x="2441892" y="8213383"/>
                  <a:pt x="2433911" y="8201449"/>
                  <a:pt x="2425931" y="8191504"/>
                </a:cubicBezTo>
                <a:cubicBezTo>
                  <a:pt x="2427925" y="8189515"/>
                  <a:pt x="2431916" y="8187526"/>
                  <a:pt x="2433912" y="8185537"/>
                </a:cubicBezTo>
                <a:cubicBezTo>
                  <a:pt x="2413959" y="8169625"/>
                  <a:pt x="2394008" y="8153713"/>
                  <a:pt x="2378045" y="8139790"/>
                </a:cubicBezTo>
                <a:cubicBezTo>
                  <a:pt x="2378046" y="8121888"/>
                  <a:pt x="2378046" y="8111944"/>
                  <a:pt x="2378045" y="8101999"/>
                </a:cubicBezTo>
                <a:cubicBezTo>
                  <a:pt x="2370064" y="8094042"/>
                  <a:pt x="2366074" y="8088076"/>
                  <a:pt x="2362084" y="8084098"/>
                </a:cubicBezTo>
                <a:cubicBezTo>
                  <a:pt x="2362085" y="8054263"/>
                  <a:pt x="2362084" y="8026417"/>
                  <a:pt x="2362085" y="8000559"/>
                </a:cubicBezTo>
                <a:cubicBezTo>
                  <a:pt x="2368070" y="7992604"/>
                  <a:pt x="2374056" y="7986636"/>
                  <a:pt x="2380041" y="7978681"/>
                </a:cubicBezTo>
                <a:cubicBezTo>
                  <a:pt x="2380041" y="7871274"/>
                  <a:pt x="2380040" y="7765857"/>
                  <a:pt x="2380041" y="7668396"/>
                </a:cubicBezTo>
                <a:cubicBezTo>
                  <a:pt x="2388021" y="7650495"/>
                  <a:pt x="2394007" y="7640549"/>
                  <a:pt x="2397998" y="7632594"/>
                </a:cubicBezTo>
                <a:cubicBezTo>
                  <a:pt x="2390017" y="7624638"/>
                  <a:pt x="2384032" y="7616682"/>
                  <a:pt x="2378046" y="7610715"/>
                </a:cubicBezTo>
                <a:cubicBezTo>
                  <a:pt x="2378046" y="7560990"/>
                  <a:pt x="2378046" y="7511265"/>
                  <a:pt x="2378045" y="7459550"/>
                </a:cubicBezTo>
                <a:cubicBezTo>
                  <a:pt x="2384032" y="7453584"/>
                  <a:pt x="2390017" y="7447617"/>
                  <a:pt x="2396003" y="7441649"/>
                </a:cubicBezTo>
                <a:cubicBezTo>
                  <a:pt x="2396003" y="7368057"/>
                  <a:pt x="2396003" y="7294463"/>
                  <a:pt x="2396003" y="7222859"/>
                </a:cubicBezTo>
                <a:cubicBezTo>
                  <a:pt x="2401989" y="7214903"/>
                  <a:pt x="2407974" y="7208936"/>
                  <a:pt x="2413959" y="7202969"/>
                </a:cubicBezTo>
                <a:cubicBezTo>
                  <a:pt x="2413960" y="7135343"/>
                  <a:pt x="2413960" y="7067717"/>
                  <a:pt x="2413959" y="7000090"/>
                </a:cubicBezTo>
                <a:cubicBezTo>
                  <a:pt x="2417950" y="6996112"/>
                  <a:pt x="2421940" y="6992134"/>
                  <a:pt x="2427926" y="6986167"/>
                </a:cubicBezTo>
                <a:cubicBezTo>
                  <a:pt x="2427926" y="6964288"/>
                  <a:pt x="2427926" y="6938432"/>
                  <a:pt x="2427926" y="6914564"/>
                </a:cubicBezTo>
                <a:cubicBezTo>
                  <a:pt x="2423935" y="6910586"/>
                  <a:pt x="2419945" y="6906608"/>
                  <a:pt x="2411964" y="6900641"/>
                </a:cubicBezTo>
                <a:cubicBezTo>
                  <a:pt x="2411965" y="6866827"/>
                  <a:pt x="2411964" y="6831025"/>
                  <a:pt x="2411965" y="6801191"/>
                </a:cubicBezTo>
                <a:cubicBezTo>
                  <a:pt x="2403983" y="6789256"/>
                  <a:pt x="2397998" y="6783290"/>
                  <a:pt x="2396003" y="6779311"/>
                </a:cubicBezTo>
                <a:cubicBezTo>
                  <a:pt x="2396002" y="6761410"/>
                  <a:pt x="2396003" y="6747487"/>
                  <a:pt x="2396003" y="6733564"/>
                </a:cubicBezTo>
                <a:cubicBezTo>
                  <a:pt x="2399993" y="6721630"/>
                  <a:pt x="2419945" y="6715663"/>
                  <a:pt x="2411965" y="6697762"/>
                </a:cubicBezTo>
                <a:cubicBezTo>
                  <a:pt x="2405978" y="6691795"/>
                  <a:pt x="2401988" y="6685828"/>
                  <a:pt x="2396003" y="6679862"/>
                </a:cubicBezTo>
                <a:cubicBezTo>
                  <a:pt x="2396002" y="6661960"/>
                  <a:pt x="2396002" y="6646048"/>
                  <a:pt x="2396003" y="6630136"/>
                </a:cubicBezTo>
                <a:cubicBezTo>
                  <a:pt x="2401989" y="6622180"/>
                  <a:pt x="2407974" y="6616213"/>
                  <a:pt x="2413960" y="6610246"/>
                </a:cubicBezTo>
                <a:cubicBezTo>
                  <a:pt x="2413960" y="6463060"/>
                  <a:pt x="2413960" y="6317862"/>
                  <a:pt x="2413960" y="6170676"/>
                </a:cubicBezTo>
                <a:cubicBezTo>
                  <a:pt x="2417949" y="6166698"/>
                  <a:pt x="2421941" y="6162720"/>
                  <a:pt x="2427926" y="6156753"/>
                </a:cubicBezTo>
                <a:cubicBezTo>
                  <a:pt x="2427926" y="6111005"/>
                  <a:pt x="2427926" y="6065259"/>
                  <a:pt x="2427926" y="6021501"/>
                </a:cubicBezTo>
                <a:cubicBezTo>
                  <a:pt x="2419945" y="6009566"/>
                  <a:pt x="2413959" y="5999622"/>
                  <a:pt x="2409969" y="5991665"/>
                </a:cubicBezTo>
                <a:cubicBezTo>
                  <a:pt x="2417950" y="5983709"/>
                  <a:pt x="2421940" y="5975753"/>
                  <a:pt x="2431917" y="5965808"/>
                </a:cubicBezTo>
                <a:cubicBezTo>
                  <a:pt x="2431917" y="5878292"/>
                  <a:pt x="2431916" y="5786798"/>
                  <a:pt x="2431917" y="5707238"/>
                </a:cubicBezTo>
                <a:cubicBezTo>
                  <a:pt x="2441893" y="5685359"/>
                  <a:pt x="2445883" y="5675414"/>
                  <a:pt x="2449873" y="5667458"/>
                </a:cubicBezTo>
                <a:cubicBezTo>
                  <a:pt x="2441892" y="5659502"/>
                  <a:pt x="2435907" y="5653535"/>
                  <a:pt x="2429921" y="5647569"/>
                </a:cubicBezTo>
                <a:cubicBezTo>
                  <a:pt x="2429921" y="5579941"/>
                  <a:pt x="2429921" y="5512315"/>
                  <a:pt x="2429922" y="5444689"/>
                </a:cubicBezTo>
                <a:cubicBezTo>
                  <a:pt x="2435906" y="5438722"/>
                  <a:pt x="2441892" y="5432755"/>
                  <a:pt x="2445882" y="5426788"/>
                </a:cubicBezTo>
                <a:cubicBezTo>
                  <a:pt x="2453863" y="5406899"/>
                  <a:pt x="2433912" y="5402920"/>
                  <a:pt x="2431917" y="5392975"/>
                </a:cubicBezTo>
                <a:cubicBezTo>
                  <a:pt x="2431917" y="5357173"/>
                  <a:pt x="2431917" y="5323360"/>
                  <a:pt x="2431917" y="5289547"/>
                </a:cubicBezTo>
                <a:cubicBezTo>
                  <a:pt x="2435906" y="5285569"/>
                  <a:pt x="2439897" y="5281591"/>
                  <a:pt x="2445883" y="5275625"/>
                </a:cubicBezTo>
                <a:cubicBezTo>
                  <a:pt x="2445882" y="5229877"/>
                  <a:pt x="2445882" y="5184130"/>
                  <a:pt x="2445883" y="5138383"/>
                </a:cubicBezTo>
                <a:cubicBezTo>
                  <a:pt x="2439897" y="5132415"/>
                  <a:pt x="2435907" y="5128437"/>
                  <a:pt x="2429921" y="5122471"/>
                </a:cubicBezTo>
                <a:cubicBezTo>
                  <a:pt x="2435907" y="5116504"/>
                  <a:pt x="2439898" y="5112526"/>
                  <a:pt x="2445883" y="5104569"/>
                </a:cubicBezTo>
                <a:cubicBezTo>
                  <a:pt x="2447879" y="5042910"/>
                  <a:pt x="2445883" y="4977273"/>
                  <a:pt x="2447878" y="4917603"/>
                </a:cubicBezTo>
                <a:cubicBezTo>
                  <a:pt x="2455858" y="4909647"/>
                  <a:pt x="2459850" y="4905669"/>
                  <a:pt x="2463840" y="4901691"/>
                </a:cubicBezTo>
                <a:cubicBezTo>
                  <a:pt x="2457854" y="4895724"/>
                  <a:pt x="2453864" y="4889757"/>
                  <a:pt x="2447879" y="4885778"/>
                </a:cubicBezTo>
                <a:cubicBezTo>
                  <a:pt x="2453864" y="4877823"/>
                  <a:pt x="2457854" y="4871856"/>
                  <a:pt x="2461845" y="4867878"/>
                </a:cubicBezTo>
                <a:cubicBezTo>
                  <a:pt x="2455858" y="4859922"/>
                  <a:pt x="2451868" y="4853955"/>
                  <a:pt x="2447878" y="4849977"/>
                </a:cubicBezTo>
                <a:cubicBezTo>
                  <a:pt x="2447878" y="4818153"/>
                  <a:pt x="2447878" y="4790307"/>
                  <a:pt x="2447879" y="4766439"/>
                </a:cubicBezTo>
                <a:cubicBezTo>
                  <a:pt x="2455859" y="4758482"/>
                  <a:pt x="2459850" y="4752516"/>
                  <a:pt x="2461845" y="4748538"/>
                </a:cubicBezTo>
                <a:cubicBezTo>
                  <a:pt x="2455859" y="4742570"/>
                  <a:pt x="2451869" y="4736604"/>
                  <a:pt x="2447878" y="4732626"/>
                </a:cubicBezTo>
                <a:cubicBezTo>
                  <a:pt x="2447879" y="4716714"/>
                  <a:pt x="2447879" y="4700801"/>
                  <a:pt x="2447878" y="4680912"/>
                </a:cubicBezTo>
                <a:cubicBezTo>
                  <a:pt x="2455859" y="4672955"/>
                  <a:pt x="2469825" y="4665000"/>
                  <a:pt x="2463840" y="4647098"/>
                </a:cubicBezTo>
                <a:cubicBezTo>
                  <a:pt x="2457854" y="4641132"/>
                  <a:pt x="2451869" y="4635165"/>
                  <a:pt x="2445883" y="4629197"/>
                </a:cubicBezTo>
                <a:cubicBezTo>
                  <a:pt x="2445883" y="4567538"/>
                  <a:pt x="2445883" y="4505879"/>
                  <a:pt x="2445883" y="4444220"/>
                </a:cubicBezTo>
                <a:cubicBezTo>
                  <a:pt x="2439897" y="4438253"/>
                  <a:pt x="2433912" y="4432286"/>
                  <a:pt x="2429922" y="4428308"/>
                </a:cubicBezTo>
                <a:cubicBezTo>
                  <a:pt x="2429921" y="4414385"/>
                  <a:pt x="2429921" y="4402451"/>
                  <a:pt x="2429922" y="4394494"/>
                </a:cubicBezTo>
                <a:cubicBezTo>
                  <a:pt x="2437903" y="4386539"/>
                  <a:pt x="2443887" y="4380572"/>
                  <a:pt x="2447878" y="4372616"/>
                </a:cubicBezTo>
                <a:cubicBezTo>
                  <a:pt x="2447879" y="4316924"/>
                  <a:pt x="2447878" y="4261232"/>
                  <a:pt x="2447878" y="4211507"/>
                </a:cubicBezTo>
                <a:cubicBezTo>
                  <a:pt x="2457854" y="4197583"/>
                  <a:pt x="2461844" y="4187639"/>
                  <a:pt x="2467831" y="4179682"/>
                </a:cubicBezTo>
                <a:cubicBezTo>
                  <a:pt x="2459850" y="4169737"/>
                  <a:pt x="2453864" y="4163770"/>
                  <a:pt x="2445883" y="4153826"/>
                </a:cubicBezTo>
                <a:cubicBezTo>
                  <a:pt x="2451869" y="4127969"/>
                  <a:pt x="2441893" y="4096145"/>
                  <a:pt x="2449874" y="4068298"/>
                </a:cubicBezTo>
                <a:cubicBezTo>
                  <a:pt x="2455859" y="4062331"/>
                  <a:pt x="2459850" y="4060342"/>
                  <a:pt x="2463840" y="4056364"/>
                </a:cubicBezTo>
                <a:cubicBezTo>
                  <a:pt x="2463840" y="3998683"/>
                  <a:pt x="2463840" y="3942991"/>
                  <a:pt x="2463840" y="3887299"/>
                </a:cubicBezTo>
                <a:cubicBezTo>
                  <a:pt x="2457854" y="3881332"/>
                  <a:pt x="2453864" y="3875365"/>
                  <a:pt x="2447878" y="3869398"/>
                </a:cubicBezTo>
                <a:cubicBezTo>
                  <a:pt x="2453864" y="3861442"/>
                  <a:pt x="2459850" y="3855475"/>
                  <a:pt x="2465835" y="3849507"/>
                </a:cubicBezTo>
                <a:cubicBezTo>
                  <a:pt x="2465835" y="3754036"/>
                  <a:pt x="2465834" y="3658564"/>
                  <a:pt x="2465835" y="3565080"/>
                </a:cubicBezTo>
                <a:cubicBezTo>
                  <a:pt x="2471821" y="3557124"/>
                  <a:pt x="2475811" y="3551156"/>
                  <a:pt x="2479802" y="3545190"/>
                </a:cubicBezTo>
                <a:cubicBezTo>
                  <a:pt x="2473816" y="3541212"/>
                  <a:pt x="2469825" y="3537234"/>
                  <a:pt x="2463840" y="3529278"/>
                </a:cubicBezTo>
                <a:cubicBezTo>
                  <a:pt x="2463840" y="3417894"/>
                  <a:pt x="2463840" y="3302531"/>
                  <a:pt x="2463840" y="3199103"/>
                </a:cubicBezTo>
                <a:cubicBezTo>
                  <a:pt x="2453864" y="3179214"/>
                  <a:pt x="2447878" y="3171257"/>
                  <a:pt x="2443887" y="3161312"/>
                </a:cubicBezTo>
                <a:cubicBezTo>
                  <a:pt x="2457854" y="3147389"/>
                  <a:pt x="2469826" y="3135455"/>
                  <a:pt x="2481797" y="3123522"/>
                </a:cubicBezTo>
                <a:cubicBezTo>
                  <a:pt x="2475810" y="3119542"/>
                  <a:pt x="2471821" y="3115565"/>
                  <a:pt x="2465835" y="3109598"/>
                </a:cubicBezTo>
                <a:cubicBezTo>
                  <a:pt x="2465835" y="3075785"/>
                  <a:pt x="2465835" y="3039983"/>
                  <a:pt x="2465835" y="3004181"/>
                </a:cubicBezTo>
                <a:cubicBezTo>
                  <a:pt x="2469826" y="3000203"/>
                  <a:pt x="2473816" y="2996225"/>
                  <a:pt x="2481797" y="2988269"/>
                </a:cubicBezTo>
                <a:cubicBezTo>
                  <a:pt x="2481797" y="2938544"/>
                  <a:pt x="2481797" y="2886830"/>
                  <a:pt x="2481797" y="2837104"/>
                </a:cubicBezTo>
                <a:cubicBezTo>
                  <a:pt x="2487782" y="2829149"/>
                  <a:pt x="2493768" y="2825171"/>
                  <a:pt x="2497759" y="2821193"/>
                </a:cubicBezTo>
                <a:cubicBezTo>
                  <a:pt x="2493768" y="2815226"/>
                  <a:pt x="2487782" y="2809258"/>
                  <a:pt x="2481797" y="2803292"/>
                </a:cubicBezTo>
                <a:cubicBezTo>
                  <a:pt x="2481796" y="2785391"/>
                  <a:pt x="2477806" y="2765501"/>
                  <a:pt x="2485788" y="2747600"/>
                </a:cubicBezTo>
                <a:cubicBezTo>
                  <a:pt x="2489777" y="2743622"/>
                  <a:pt x="2495764" y="2739643"/>
                  <a:pt x="2499754" y="2735666"/>
                </a:cubicBezTo>
                <a:cubicBezTo>
                  <a:pt x="2499753" y="2711798"/>
                  <a:pt x="2499754" y="2689919"/>
                  <a:pt x="2499754" y="2668039"/>
                </a:cubicBezTo>
                <a:cubicBezTo>
                  <a:pt x="2493768" y="2662072"/>
                  <a:pt x="2487782" y="2654116"/>
                  <a:pt x="2481797" y="2650138"/>
                </a:cubicBezTo>
                <a:cubicBezTo>
                  <a:pt x="2481797" y="2638204"/>
                  <a:pt x="2481797" y="2626270"/>
                  <a:pt x="2481796" y="2616325"/>
                </a:cubicBezTo>
                <a:cubicBezTo>
                  <a:pt x="2487782" y="2610358"/>
                  <a:pt x="2493768" y="2602402"/>
                  <a:pt x="2497759" y="2598424"/>
                </a:cubicBezTo>
                <a:cubicBezTo>
                  <a:pt x="2497759" y="2574556"/>
                  <a:pt x="2497759" y="2552677"/>
                  <a:pt x="2497759" y="2530798"/>
                </a:cubicBezTo>
                <a:cubicBezTo>
                  <a:pt x="2491773" y="2524831"/>
                  <a:pt x="2487782" y="2518864"/>
                  <a:pt x="2483792" y="2512897"/>
                </a:cubicBezTo>
                <a:cubicBezTo>
                  <a:pt x="2487782" y="2506930"/>
                  <a:pt x="2493767" y="2502952"/>
                  <a:pt x="2499754" y="2496985"/>
                </a:cubicBezTo>
                <a:cubicBezTo>
                  <a:pt x="2499754" y="2459194"/>
                  <a:pt x="2499754" y="2417425"/>
                  <a:pt x="2499754" y="2387589"/>
                </a:cubicBezTo>
                <a:cubicBezTo>
                  <a:pt x="2509730" y="2367700"/>
                  <a:pt x="2515715" y="2357754"/>
                  <a:pt x="2519706" y="2349798"/>
                </a:cubicBezTo>
                <a:cubicBezTo>
                  <a:pt x="2511725" y="2339853"/>
                  <a:pt x="2505739" y="2333887"/>
                  <a:pt x="2499754" y="2327920"/>
                </a:cubicBezTo>
                <a:cubicBezTo>
                  <a:pt x="2505739" y="2321952"/>
                  <a:pt x="2511725" y="2315986"/>
                  <a:pt x="2517711" y="2310019"/>
                </a:cubicBezTo>
                <a:cubicBezTo>
                  <a:pt x="2517710" y="2260293"/>
                  <a:pt x="2517711" y="2208579"/>
                  <a:pt x="2517711" y="2158854"/>
                </a:cubicBezTo>
                <a:cubicBezTo>
                  <a:pt x="2523696" y="2152887"/>
                  <a:pt x="2527687" y="2146920"/>
                  <a:pt x="2531677" y="2140953"/>
                </a:cubicBezTo>
                <a:cubicBezTo>
                  <a:pt x="2531676" y="2123052"/>
                  <a:pt x="2531677" y="2105151"/>
                  <a:pt x="2531677" y="2091228"/>
                </a:cubicBezTo>
                <a:cubicBezTo>
                  <a:pt x="2527687" y="2085261"/>
                  <a:pt x="2523695" y="2081283"/>
                  <a:pt x="2519706" y="2077305"/>
                </a:cubicBezTo>
                <a:cubicBezTo>
                  <a:pt x="2527686" y="2059404"/>
                  <a:pt x="2541652" y="2041503"/>
                  <a:pt x="2529682" y="2019624"/>
                </a:cubicBezTo>
                <a:cubicBezTo>
                  <a:pt x="2525691" y="2015646"/>
                  <a:pt x="2521701" y="2011668"/>
                  <a:pt x="2517711" y="2007691"/>
                </a:cubicBezTo>
                <a:cubicBezTo>
                  <a:pt x="2521701" y="2001723"/>
                  <a:pt x="2527687" y="1995756"/>
                  <a:pt x="2533672" y="1989789"/>
                </a:cubicBezTo>
                <a:cubicBezTo>
                  <a:pt x="2533672" y="1934096"/>
                  <a:pt x="2533672" y="1876416"/>
                  <a:pt x="2533672" y="1820724"/>
                </a:cubicBezTo>
                <a:cubicBezTo>
                  <a:pt x="2539658" y="1814756"/>
                  <a:pt x="2545643" y="1808790"/>
                  <a:pt x="2551629" y="1802822"/>
                </a:cubicBezTo>
                <a:cubicBezTo>
                  <a:pt x="2551628" y="1790889"/>
                  <a:pt x="2551628" y="1778954"/>
                  <a:pt x="2551629" y="1770999"/>
                </a:cubicBezTo>
                <a:cubicBezTo>
                  <a:pt x="2559610" y="1761053"/>
                  <a:pt x="2565595" y="1753097"/>
                  <a:pt x="2569586" y="1745142"/>
                </a:cubicBezTo>
                <a:cubicBezTo>
                  <a:pt x="2563600" y="1733207"/>
                  <a:pt x="2557615" y="1725251"/>
                  <a:pt x="2553624" y="1717295"/>
                </a:cubicBezTo>
                <a:cubicBezTo>
                  <a:pt x="2573576" y="1693427"/>
                  <a:pt x="2581558" y="1721273"/>
                  <a:pt x="2595524" y="1725251"/>
                </a:cubicBezTo>
                <a:cubicBezTo>
                  <a:pt x="2603505" y="1717295"/>
                  <a:pt x="2611485" y="1709339"/>
                  <a:pt x="2619466" y="1701383"/>
                </a:cubicBezTo>
                <a:cubicBezTo>
                  <a:pt x="2619466" y="1687460"/>
                  <a:pt x="2619467" y="1673537"/>
                  <a:pt x="2619467" y="1661602"/>
                </a:cubicBezTo>
                <a:cubicBezTo>
                  <a:pt x="2625452" y="1657626"/>
                  <a:pt x="2631437" y="1653648"/>
                  <a:pt x="2635428" y="1649669"/>
                </a:cubicBezTo>
                <a:cubicBezTo>
                  <a:pt x="2621462" y="1637735"/>
                  <a:pt x="2621461" y="1651658"/>
                  <a:pt x="2619467" y="1661602"/>
                </a:cubicBezTo>
                <a:cubicBezTo>
                  <a:pt x="2615476" y="1661603"/>
                  <a:pt x="2607495" y="1661603"/>
                  <a:pt x="2605499" y="1665580"/>
                </a:cubicBezTo>
                <a:cubicBezTo>
                  <a:pt x="2601510" y="1673537"/>
                  <a:pt x="2599513" y="1683482"/>
                  <a:pt x="2595524" y="1695416"/>
                </a:cubicBezTo>
                <a:cubicBezTo>
                  <a:pt x="2585548" y="1681493"/>
                  <a:pt x="2569586" y="1677516"/>
                  <a:pt x="2567591" y="1655636"/>
                </a:cubicBezTo>
                <a:cubicBezTo>
                  <a:pt x="2571582" y="1649669"/>
                  <a:pt x="2577567" y="1641713"/>
                  <a:pt x="2585548" y="1631768"/>
                </a:cubicBezTo>
                <a:cubicBezTo>
                  <a:pt x="2585548" y="1621823"/>
                  <a:pt x="2585548" y="1611877"/>
                  <a:pt x="2585548" y="1603923"/>
                </a:cubicBezTo>
                <a:cubicBezTo>
                  <a:pt x="2597518" y="1584032"/>
                  <a:pt x="2609490" y="1564142"/>
                  <a:pt x="2621461" y="1544251"/>
                </a:cubicBezTo>
                <a:cubicBezTo>
                  <a:pt x="2623457" y="1528340"/>
                  <a:pt x="2611485" y="1508449"/>
                  <a:pt x="2627447" y="1490549"/>
                </a:cubicBezTo>
                <a:cubicBezTo>
                  <a:pt x="2633433" y="1496516"/>
                  <a:pt x="2639418" y="1500493"/>
                  <a:pt x="2645404" y="1506461"/>
                </a:cubicBezTo>
                <a:cubicBezTo>
                  <a:pt x="2655380" y="1490549"/>
                  <a:pt x="2663361" y="1474637"/>
                  <a:pt x="2673337" y="1454746"/>
                </a:cubicBezTo>
                <a:cubicBezTo>
                  <a:pt x="2673337" y="1442812"/>
                  <a:pt x="2673337" y="1426901"/>
                  <a:pt x="2673337" y="1410988"/>
                </a:cubicBezTo>
                <a:cubicBezTo>
                  <a:pt x="2685308" y="1407010"/>
                  <a:pt x="2695284" y="1403033"/>
                  <a:pt x="2705260" y="1399054"/>
                </a:cubicBezTo>
                <a:cubicBezTo>
                  <a:pt x="2707256" y="1385132"/>
                  <a:pt x="2707255" y="1371209"/>
                  <a:pt x="2707255" y="1361263"/>
                </a:cubicBezTo>
                <a:cubicBezTo>
                  <a:pt x="2715236" y="1355297"/>
                  <a:pt x="2719227" y="1351319"/>
                  <a:pt x="2723217" y="1347341"/>
                </a:cubicBezTo>
                <a:cubicBezTo>
                  <a:pt x="2717231" y="1341374"/>
                  <a:pt x="2713241" y="1335406"/>
                  <a:pt x="2707255" y="1329439"/>
                </a:cubicBezTo>
                <a:cubicBezTo>
                  <a:pt x="2713241" y="1323473"/>
                  <a:pt x="2719227" y="1317506"/>
                  <a:pt x="2725212" y="1309550"/>
                </a:cubicBezTo>
                <a:cubicBezTo>
                  <a:pt x="2725213" y="1299605"/>
                  <a:pt x="2725212" y="1287670"/>
                  <a:pt x="2725212" y="1275736"/>
                </a:cubicBezTo>
                <a:cubicBezTo>
                  <a:pt x="2739179" y="1271758"/>
                  <a:pt x="2741174" y="1251868"/>
                  <a:pt x="2757136" y="1251868"/>
                </a:cubicBezTo>
                <a:cubicBezTo>
                  <a:pt x="2787064" y="1257835"/>
                  <a:pt x="2791054" y="1283692"/>
                  <a:pt x="2803024" y="1301593"/>
                </a:cubicBezTo>
                <a:cubicBezTo>
                  <a:pt x="2816991" y="1291649"/>
                  <a:pt x="2807016" y="1275736"/>
                  <a:pt x="2811006" y="1261813"/>
                </a:cubicBezTo>
                <a:cubicBezTo>
                  <a:pt x="2805021" y="1255846"/>
                  <a:pt x="2799034" y="1249879"/>
                  <a:pt x="2793049" y="1243912"/>
                </a:cubicBezTo>
                <a:cubicBezTo>
                  <a:pt x="2799035" y="1239933"/>
                  <a:pt x="2807015" y="1237945"/>
                  <a:pt x="2811005" y="1235956"/>
                </a:cubicBezTo>
                <a:cubicBezTo>
                  <a:pt x="2824972" y="1249879"/>
                  <a:pt x="2836944" y="1261813"/>
                  <a:pt x="2848915" y="1273747"/>
                </a:cubicBezTo>
                <a:cubicBezTo>
                  <a:pt x="2858890" y="1263802"/>
                  <a:pt x="2864876" y="1257835"/>
                  <a:pt x="2870862" y="1253857"/>
                </a:cubicBezTo>
                <a:cubicBezTo>
                  <a:pt x="2890814" y="1255846"/>
                  <a:pt x="2910766" y="1247890"/>
                  <a:pt x="2930719" y="1259824"/>
                </a:cubicBezTo>
                <a:cubicBezTo>
                  <a:pt x="2924733" y="1265791"/>
                  <a:pt x="2920743" y="1271758"/>
                  <a:pt x="2916752" y="1277726"/>
                </a:cubicBezTo>
                <a:cubicBezTo>
                  <a:pt x="2934708" y="1289659"/>
                  <a:pt x="2960646" y="1293638"/>
                  <a:pt x="2966633" y="1323473"/>
                </a:cubicBezTo>
                <a:cubicBezTo>
                  <a:pt x="2960647" y="1333417"/>
                  <a:pt x="2954661" y="1343362"/>
                  <a:pt x="2946680" y="1357285"/>
                </a:cubicBezTo>
                <a:cubicBezTo>
                  <a:pt x="2952665" y="1365241"/>
                  <a:pt x="2958652" y="1373198"/>
                  <a:pt x="2964637" y="1381153"/>
                </a:cubicBezTo>
                <a:cubicBezTo>
                  <a:pt x="2960646" y="1385131"/>
                  <a:pt x="2956657" y="1389109"/>
                  <a:pt x="2952665" y="1393087"/>
                </a:cubicBezTo>
                <a:cubicBezTo>
                  <a:pt x="2948676" y="1408999"/>
                  <a:pt x="2942689" y="1424911"/>
                  <a:pt x="2956657" y="1438835"/>
                </a:cubicBezTo>
                <a:cubicBezTo>
                  <a:pt x="2966633" y="1438835"/>
                  <a:pt x="2974613" y="1438835"/>
                  <a:pt x="2982594" y="1438835"/>
                </a:cubicBezTo>
                <a:cubicBezTo>
                  <a:pt x="2980599" y="1450768"/>
                  <a:pt x="2988580" y="1454746"/>
                  <a:pt x="2996560" y="1456736"/>
                </a:cubicBezTo>
                <a:cubicBezTo>
                  <a:pt x="3004541" y="1458724"/>
                  <a:pt x="3010527" y="1460714"/>
                  <a:pt x="3016512" y="1462703"/>
                </a:cubicBezTo>
                <a:cubicBezTo>
                  <a:pt x="3006536" y="1478615"/>
                  <a:pt x="3000550" y="1492538"/>
                  <a:pt x="2992570" y="1506461"/>
                </a:cubicBezTo>
                <a:cubicBezTo>
                  <a:pt x="2986584" y="1500493"/>
                  <a:pt x="2980599" y="1496515"/>
                  <a:pt x="2974612" y="1490548"/>
                </a:cubicBezTo>
                <a:cubicBezTo>
                  <a:pt x="2966632" y="1498505"/>
                  <a:pt x="2958652" y="1506461"/>
                  <a:pt x="2948676" y="1516406"/>
                </a:cubicBezTo>
                <a:cubicBezTo>
                  <a:pt x="2960646" y="1520384"/>
                  <a:pt x="2972617" y="1526350"/>
                  <a:pt x="2982593" y="1532318"/>
                </a:cubicBezTo>
                <a:cubicBezTo>
                  <a:pt x="2976609" y="1538285"/>
                  <a:pt x="2970623" y="1544252"/>
                  <a:pt x="2964637" y="1550219"/>
                </a:cubicBezTo>
                <a:cubicBezTo>
                  <a:pt x="2964637" y="1562153"/>
                  <a:pt x="2964637" y="1574087"/>
                  <a:pt x="2964637" y="1582043"/>
                </a:cubicBezTo>
                <a:cubicBezTo>
                  <a:pt x="2958651" y="1589999"/>
                  <a:pt x="2954660" y="1595966"/>
                  <a:pt x="2950671" y="1599944"/>
                </a:cubicBezTo>
                <a:cubicBezTo>
                  <a:pt x="2956657" y="1607901"/>
                  <a:pt x="2962642" y="1613866"/>
                  <a:pt x="2964636" y="1617845"/>
                </a:cubicBezTo>
                <a:cubicBezTo>
                  <a:pt x="2964636" y="1637735"/>
                  <a:pt x="2964636" y="1655636"/>
                  <a:pt x="2964636" y="1663592"/>
                </a:cubicBezTo>
                <a:cubicBezTo>
                  <a:pt x="2954661" y="1679504"/>
                  <a:pt x="2950670" y="1689449"/>
                  <a:pt x="2946681" y="1697405"/>
                </a:cubicBezTo>
                <a:cubicBezTo>
                  <a:pt x="2954661" y="1705361"/>
                  <a:pt x="2958652" y="1711328"/>
                  <a:pt x="2966633" y="1719284"/>
                </a:cubicBezTo>
                <a:cubicBezTo>
                  <a:pt x="2966632" y="1729229"/>
                  <a:pt x="2966633" y="1741162"/>
                  <a:pt x="2966632" y="1751108"/>
                </a:cubicBezTo>
                <a:cubicBezTo>
                  <a:pt x="2960647" y="1757075"/>
                  <a:pt x="2954661" y="1763043"/>
                  <a:pt x="2948676" y="1769009"/>
                </a:cubicBezTo>
                <a:cubicBezTo>
                  <a:pt x="2948676" y="1780944"/>
                  <a:pt x="2948676" y="1792877"/>
                  <a:pt x="2948675" y="1802822"/>
                </a:cubicBezTo>
                <a:cubicBezTo>
                  <a:pt x="2954661" y="1808790"/>
                  <a:pt x="2960646" y="1816745"/>
                  <a:pt x="2964637" y="1820723"/>
                </a:cubicBezTo>
                <a:cubicBezTo>
                  <a:pt x="2964637" y="1838625"/>
                  <a:pt x="2964636" y="1856526"/>
                  <a:pt x="2964637" y="1870449"/>
                </a:cubicBezTo>
                <a:cubicBezTo>
                  <a:pt x="2958651" y="1878404"/>
                  <a:pt x="2952665" y="1884371"/>
                  <a:pt x="2950671" y="1888349"/>
                </a:cubicBezTo>
                <a:cubicBezTo>
                  <a:pt x="2934708" y="1916195"/>
                  <a:pt x="2966633" y="1930118"/>
                  <a:pt x="2966632" y="1951998"/>
                </a:cubicBezTo>
                <a:cubicBezTo>
                  <a:pt x="2960647" y="1959954"/>
                  <a:pt x="2954661" y="1967910"/>
                  <a:pt x="2950670" y="1973876"/>
                </a:cubicBezTo>
                <a:cubicBezTo>
                  <a:pt x="2956657" y="1981833"/>
                  <a:pt x="2960646" y="1985811"/>
                  <a:pt x="2964637" y="1989790"/>
                </a:cubicBezTo>
                <a:cubicBezTo>
                  <a:pt x="2960647" y="1995756"/>
                  <a:pt x="2954661" y="2001723"/>
                  <a:pt x="2948676" y="2007690"/>
                </a:cubicBezTo>
                <a:cubicBezTo>
                  <a:pt x="2942690" y="2023602"/>
                  <a:pt x="2960647" y="2029569"/>
                  <a:pt x="2964636" y="2041503"/>
                </a:cubicBezTo>
                <a:cubicBezTo>
                  <a:pt x="2958651" y="2047469"/>
                  <a:pt x="2952666" y="2053437"/>
                  <a:pt x="2946680" y="2061393"/>
                </a:cubicBezTo>
                <a:cubicBezTo>
                  <a:pt x="2946681" y="2150898"/>
                  <a:pt x="2946681" y="2240404"/>
                  <a:pt x="2946681" y="2327920"/>
                </a:cubicBezTo>
                <a:cubicBezTo>
                  <a:pt x="2940695" y="2335875"/>
                  <a:pt x="2934708" y="2343831"/>
                  <a:pt x="2928723" y="2349798"/>
                </a:cubicBezTo>
                <a:cubicBezTo>
                  <a:pt x="2928723" y="2411457"/>
                  <a:pt x="2928723" y="2473117"/>
                  <a:pt x="2928724" y="2532787"/>
                </a:cubicBezTo>
                <a:cubicBezTo>
                  <a:pt x="2922737" y="2538754"/>
                  <a:pt x="2918748" y="2542732"/>
                  <a:pt x="2914756" y="2548699"/>
                </a:cubicBezTo>
                <a:cubicBezTo>
                  <a:pt x="2914756" y="2564611"/>
                  <a:pt x="2914756" y="2580524"/>
                  <a:pt x="2914756" y="2600413"/>
                </a:cubicBezTo>
                <a:cubicBezTo>
                  <a:pt x="2922738" y="2608370"/>
                  <a:pt x="2936704" y="2616325"/>
                  <a:pt x="2930718" y="2634226"/>
                </a:cubicBezTo>
                <a:cubicBezTo>
                  <a:pt x="2924733" y="2638204"/>
                  <a:pt x="2920743" y="2644171"/>
                  <a:pt x="2914756" y="2650138"/>
                </a:cubicBezTo>
                <a:cubicBezTo>
                  <a:pt x="2914757" y="2662072"/>
                  <a:pt x="2914757" y="2674007"/>
                  <a:pt x="2914756" y="2683951"/>
                </a:cubicBezTo>
                <a:cubicBezTo>
                  <a:pt x="2920742" y="2689918"/>
                  <a:pt x="2926729" y="2695886"/>
                  <a:pt x="2926729" y="2695886"/>
                </a:cubicBezTo>
                <a:cubicBezTo>
                  <a:pt x="2938700" y="2721742"/>
                  <a:pt x="2916751" y="2725721"/>
                  <a:pt x="2914757" y="2739643"/>
                </a:cubicBezTo>
                <a:cubicBezTo>
                  <a:pt x="2916752" y="2757544"/>
                  <a:pt x="2904780" y="2777434"/>
                  <a:pt x="2922738" y="2793347"/>
                </a:cubicBezTo>
                <a:cubicBezTo>
                  <a:pt x="2928723" y="2793346"/>
                  <a:pt x="2934708" y="2793346"/>
                  <a:pt x="2940695" y="2793347"/>
                </a:cubicBezTo>
                <a:cubicBezTo>
                  <a:pt x="2942689" y="2793347"/>
                  <a:pt x="2944684" y="2789368"/>
                  <a:pt x="2948676" y="2785391"/>
                </a:cubicBezTo>
                <a:cubicBezTo>
                  <a:pt x="2948675" y="2763511"/>
                  <a:pt x="2948675" y="2737655"/>
                  <a:pt x="2948675" y="2717765"/>
                </a:cubicBezTo>
                <a:cubicBezTo>
                  <a:pt x="2956656" y="2709808"/>
                  <a:pt x="2960647" y="2705831"/>
                  <a:pt x="2964637" y="2701853"/>
                </a:cubicBezTo>
                <a:cubicBezTo>
                  <a:pt x="2968627" y="2666049"/>
                  <a:pt x="2962641" y="2630247"/>
                  <a:pt x="2966632" y="2598424"/>
                </a:cubicBezTo>
                <a:cubicBezTo>
                  <a:pt x="2974612" y="2590468"/>
                  <a:pt x="2978604" y="2586490"/>
                  <a:pt x="2982593" y="2582512"/>
                </a:cubicBezTo>
                <a:cubicBezTo>
                  <a:pt x="2982593" y="2548699"/>
                  <a:pt x="2982594" y="2514886"/>
                  <a:pt x="2982594" y="2481073"/>
                </a:cubicBezTo>
                <a:cubicBezTo>
                  <a:pt x="2988580" y="2475106"/>
                  <a:pt x="2994564" y="2469139"/>
                  <a:pt x="3000550" y="2463172"/>
                </a:cubicBezTo>
                <a:cubicBezTo>
                  <a:pt x="3000550" y="2439304"/>
                  <a:pt x="3000550" y="2417425"/>
                  <a:pt x="3000551" y="2395545"/>
                </a:cubicBezTo>
                <a:cubicBezTo>
                  <a:pt x="3006537" y="2389578"/>
                  <a:pt x="3012521" y="2383611"/>
                  <a:pt x="3018508" y="2375655"/>
                </a:cubicBezTo>
                <a:cubicBezTo>
                  <a:pt x="3018508" y="2347810"/>
                  <a:pt x="3018507" y="2319964"/>
                  <a:pt x="3018508" y="2294107"/>
                </a:cubicBezTo>
                <a:cubicBezTo>
                  <a:pt x="3024494" y="2288139"/>
                  <a:pt x="3028483" y="2284161"/>
                  <a:pt x="3034469" y="2278195"/>
                </a:cubicBezTo>
                <a:cubicBezTo>
                  <a:pt x="3034469" y="2234436"/>
                  <a:pt x="3034470" y="2186700"/>
                  <a:pt x="3034469" y="2142942"/>
                </a:cubicBezTo>
                <a:cubicBezTo>
                  <a:pt x="3042450" y="2134986"/>
                  <a:pt x="3046441" y="2131008"/>
                  <a:pt x="3052427" y="2125041"/>
                </a:cubicBezTo>
                <a:cubicBezTo>
                  <a:pt x="3052427" y="2097195"/>
                  <a:pt x="3052427" y="2067360"/>
                  <a:pt x="3052427" y="2039514"/>
                </a:cubicBezTo>
                <a:cubicBezTo>
                  <a:pt x="3060406" y="2033547"/>
                  <a:pt x="3064397" y="2029569"/>
                  <a:pt x="3072378" y="2021613"/>
                </a:cubicBezTo>
                <a:cubicBezTo>
                  <a:pt x="3072378" y="1993767"/>
                  <a:pt x="3072378" y="1963931"/>
                  <a:pt x="3072378" y="1936086"/>
                </a:cubicBezTo>
                <a:cubicBezTo>
                  <a:pt x="3078363" y="1930118"/>
                  <a:pt x="3082355" y="1926140"/>
                  <a:pt x="3086344" y="1922162"/>
                </a:cubicBezTo>
                <a:cubicBezTo>
                  <a:pt x="3086344" y="1894317"/>
                  <a:pt x="3086345" y="1866471"/>
                  <a:pt x="3086345" y="1838625"/>
                </a:cubicBezTo>
                <a:cubicBezTo>
                  <a:pt x="3092330" y="1830668"/>
                  <a:pt x="3098315" y="1824701"/>
                  <a:pt x="3104302" y="1818735"/>
                </a:cubicBezTo>
                <a:cubicBezTo>
                  <a:pt x="3104301" y="1778955"/>
                  <a:pt x="3104301" y="1741163"/>
                  <a:pt x="3104301" y="1701383"/>
                </a:cubicBezTo>
                <a:cubicBezTo>
                  <a:pt x="3110287" y="1695416"/>
                  <a:pt x="3116272" y="1689449"/>
                  <a:pt x="3122258" y="1681493"/>
                </a:cubicBezTo>
                <a:cubicBezTo>
                  <a:pt x="3122259" y="1665581"/>
                  <a:pt x="3122259" y="1649669"/>
                  <a:pt x="3122259" y="1633757"/>
                </a:cubicBezTo>
                <a:cubicBezTo>
                  <a:pt x="3128245" y="1627790"/>
                  <a:pt x="3132234" y="1623812"/>
                  <a:pt x="3138221" y="1617845"/>
                </a:cubicBezTo>
                <a:cubicBezTo>
                  <a:pt x="3138220" y="1589999"/>
                  <a:pt x="3138221" y="1560164"/>
                  <a:pt x="3138220" y="1532319"/>
                </a:cubicBezTo>
                <a:cubicBezTo>
                  <a:pt x="3146201" y="1526351"/>
                  <a:pt x="3150191" y="1522373"/>
                  <a:pt x="3158172" y="1514417"/>
                </a:cubicBezTo>
                <a:cubicBezTo>
                  <a:pt x="3158172" y="1492538"/>
                  <a:pt x="3158172" y="1468669"/>
                  <a:pt x="3158173" y="1446790"/>
                </a:cubicBezTo>
                <a:cubicBezTo>
                  <a:pt x="3164158" y="1440824"/>
                  <a:pt x="3168148" y="1436846"/>
                  <a:pt x="3172138" y="1430879"/>
                </a:cubicBezTo>
                <a:cubicBezTo>
                  <a:pt x="3172139" y="1403032"/>
                  <a:pt x="3172139" y="1375186"/>
                  <a:pt x="3172138" y="1347341"/>
                </a:cubicBezTo>
                <a:cubicBezTo>
                  <a:pt x="3180120" y="1341374"/>
                  <a:pt x="3184110" y="1335406"/>
                  <a:pt x="3190096" y="1329440"/>
                </a:cubicBezTo>
                <a:cubicBezTo>
                  <a:pt x="3190095" y="1311539"/>
                  <a:pt x="3190095" y="1295627"/>
                  <a:pt x="3190096" y="1279715"/>
                </a:cubicBezTo>
                <a:cubicBezTo>
                  <a:pt x="3184109" y="1271758"/>
                  <a:pt x="3178125" y="1265790"/>
                  <a:pt x="3174133" y="1261812"/>
                </a:cubicBezTo>
                <a:cubicBezTo>
                  <a:pt x="3166152" y="1241922"/>
                  <a:pt x="3186105" y="1237945"/>
                  <a:pt x="3192090" y="1222033"/>
                </a:cubicBezTo>
                <a:cubicBezTo>
                  <a:pt x="3192090" y="1202143"/>
                  <a:pt x="3192090" y="1180264"/>
                  <a:pt x="3192091" y="1158384"/>
                </a:cubicBezTo>
                <a:cubicBezTo>
                  <a:pt x="3198076" y="1154406"/>
                  <a:pt x="3202067" y="1150429"/>
                  <a:pt x="3208053" y="1142473"/>
                </a:cubicBezTo>
                <a:cubicBezTo>
                  <a:pt x="3208053" y="1104682"/>
                  <a:pt x="3208053" y="1062913"/>
                  <a:pt x="3208052" y="1025121"/>
                </a:cubicBezTo>
                <a:cubicBezTo>
                  <a:pt x="3216034" y="1017166"/>
                  <a:pt x="3220023" y="1013188"/>
                  <a:pt x="3224015" y="1009210"/>
                </a:cubicBezTo>
                <a:cubicBezTo>
                  <a:pt x="3224015" y="969430"/>
                  <a:pt x="3224015" y="931638"/>
                  <a:pt x="3224014" y="891858"/>
                </a:cubicBezTo>
                <a:cubicBezTo>
                  <a:pt x="3230000" y="885892"/>
                  <a:pt x="3235985" y="877935"/>
                  <a:pt x="3241970" y="871969"/>
                </a:cubicBezTo>
                <a:cubicBezTo>
                  <a:pt x="3241971" y="862023"/>
                  <a:pt x="3241971" y="850089"/>
                  <a:pt x="3241970" y="840145"/>
                </a:cubicBezTo>
                <a:cubicBezTo>
                  <a:pt x="3247956" y="834177"/>
                  <a:pt x="3253943" y="826222"/>
                  <a:pt x="3259928" y="822244"/>
                </a:cubicBezTo>
                <a:cubicBezTo>
                  <a:pt x="3253943" y="814287"/>
                  <a:pt x="3247957" y="808319"/>
                  <a:pt x="3247957" y="808319"/>
                </a:cubicBezTo>
                <a:cubicBezTo>
                  <a:pt x="3233991" y="784452"/>
                  <a:pt x="3255937" y="780474"/>
                  <a:pt x="3257933" y="770529"/>
                </a:cubicBezTo>
                <a:cubicBezTo>
                  <a:pt x="3257932" y="716826"/>
                  <a:pt x="3259927" y="667101"/>
                  <a:pt x="3257932" y="617376"/>
                </a:cubicBezTo>
                <a:cubicBezTo>
                  <a:pt x="3253942" y="611409"/>
                  <a:pt x="3249952" y="607431"/>
                  <a:pt x="3241970" y="601464"/>
                </a:cubicBezTo>
                <a:cubicBezTo>
                  <a:pt x="3247957" y="581574"/>
                  <a:pt x="3229999" y="553727"/>
                  <a:pt x="3257932" y="535826"/>
                </a:cubicBezTo>
                <a:cubicBezTo>
                  <a:pt x="3251946" y="507980"/>
                  <a:pt x="3275889" y="490080"/>
                  <a:pt x="3277884" y="466211"/>
                </a:cubicBezTo>
                <a:cubicBezTo>
                  <a:pt x="3291851" y="442343"/>
                  <a:pt x="3317789" y="430409"/>
                  <a:pt x="3331756" y="404552"/>
                </a:cubicBezTo>
                <a:cubicBezTo>
                  <a:pt x="3341731" y="378695"/>
                  <a:pt x="3367668" y="358805"/>
                  <a:pt x="3381635" y="317036"/>
                </a:cubicBezTo>
                <a:cubicBezTo>
                  <a:pt x="3381635" y="313058"/>
                  <a:pt x="3381635" y="297145"/>
                  <a:pt x="3381635" y="285212"/>
                </a:cubicBezTo>
                <a:cubicBezTo>
                  <a:pt x="3391612" y="267311"/>
                  <a:pt x="3397598" y="253388"/>
                  <a:pt x="3405577" y="239465"/>
                </a:cubicBezTo>
                <a:cubicBezTo>
                  <a:pt x="3413559" y="237476"/>
                  <a:pt x="3421539" y="235487"/>
                  <a:pt x="3427525" y="233498"/>
                </a:cubicBezTo>
                <a:cubicBezTo>
                  <a:pt x="3443487" y="219575"/>
                  <a:pt x="3455458" y="201674"/>
                  <a:pt x="3471420" y="191729"/>
                </a:cubicBezTo>
                <a:cubicBezTo>
                  <a:pt x="3489377" y="183773"/>
                  <a:pt x="3507334" y="177806"/>
                  <a:pt x="3519305" y="161894"/>
                </a:cubicBezTo>
                <a:cubicBezTo>
                  <a:pt x="3519304" y="155927"/>
                  <a:pt x="3519305" y="149959"/>
                  <a:pt x="3519304" y="143993"/>
                </a:cubicBezTo>
                <a:cubicBezTo>
                  <a:pt x="3543247" y="132059"/>
                  <a:pt x="3565195" y="120125"/>
                  <a:pt x="3589137" y="110179"/>
                </a:cubicBezTo>
                <a:cubicBezTo>
                  <a:pt x="3589137" y="96256"/>
                  <a:pt x="3589138" y="86311"/>
                  <a:pt x="3589137" y="76366"/>
                </a:cubicBezTo>
                <a:cubicBezTo>
                  <a:pt x="3601109" y="64432"/>
                  <a:pt x="3611084" y="54487"/>
                  <a:pt x="3621061" y="44543"/>
                </a:cubicBezTo>
                <a:cubicBezTo>
                  <a:pt x="3625051" y="34597"/>
                  <a:pt x="3621060" y="22663"/>
                  <a:pt x="3633031" y="16696"/>
                </a:cubicBezTo>
                <a:cubicBezTo>
                  <a:pt x="3645003" y="16696"/>
                  <a:pt x="3656974" y="16697"/>
                  <a:pt x="3668946" y="16697"/>
                </a:cubicBezTo>
                <a:cubicBezTo>
                  <a:pt x="3672936" y="26641"/>
                  <a:pt x="3676927" y="36586"/>
                  <a:pt x="3680917" y="46531"/>
                </a:cubicBezTo>
                <a:cubicBezTo>
                  <a:pt x="3682912" y="48520"/>
                  <a:pt x="3684908" y="48520"/>
                  <a:pt x="3686902" y="48520"/>
                </a:cubicBezTo>
                <a:cubicBezTo>
                  <a:pt x="3702864" y="32608"/>
                  <a:pt x="3718826" y="16696"/>
                  <a:pt x="3734788" y="784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64771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075420" cy="10287000"/>
          </a:xfrm>
          <a:custGeom>
            <a:avLst/>
            <a:gdLst>
              <a:gd name="connsiteX0" fmla="*/ 0 w 9075420"/>
              <a:gd name="connsiteY0" fmla="*/ 0 h 10287000"/>
              <a:gd name="connsiteX1" fmla="*/ 9075420 w 9075420"/>
              <a:gd name="connsiteY1" fmla="*/ 0 h 10287000"/>
              <a:gd name="connsiteX2" fmla="*/ 9075420 w 9075420"/>
              <a:gd name="connsiteY2" fmla="*/ 10287000 h 10287000"/>
              <a:gd name="connsiteX3" fmla="*/ 0 w 9075420"/>
              <a:gd name="connsiteY3" fmla="*/ 1028700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75420" h="10287000">
                <a:moveTo>
                  <a:pt x="0" y="0"/>
                </a:moveTo>
                <a:lnTo>
                  <a:pt x="9075420" y="0"/>
                </a:lnTo>
                <a:lnTo>
                  <a:pt x="9075420" y="10287000"/>
                </a:lnTo>
                <a:lnTo>
                  <a:pt x="0" y="10287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86980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 userDrawn="1">
            <p:ph type="pic" sz="quarter" idx="11"/>
          </p:nvPr>
        </p:nvSpPr>
        <p:spPr>
          <a:xfrm>
            <a:off x="3733128" y="0"/>
            <a:ext cx="14554872" cy="10287000"/>
          </a:xfrm>
          <a:custGeom>
            <a:avLst/>
            <a:gdLst>
              <a:gd name="connsiteX0" fmla="*/ 12191771 w 14554872"/>
              <a:gd name="connsiteY0" fmla="*/ 4187177 h 10287000"/>
              <a:gd name="connsiteX1" fmla="*/ 14554872 w 14554872"/>
              <a:gd name="connsiteY1" fmla="*/ 6550279 h 10287000"/>
              <a:gd name="connsiteX2" fmla="*/ 14554872 w 14554872"/>
              <a:gd name="connsiteY2" fmla="*/ 9833383 h 10287000"/>
              <a:gd name="connsiteX3" fmla="*/ 14101254 w 14554872"/>
              <a:gd name="connsiteY3" fmla="*/ 10287000 h 10287000"/>
              <a:gd name="connsiteX4" fmla="*/ 10282288 w 14554872"/>
              <a:gd name="connsiteY4" fmla="*/ 10287000 h 10287000"/>
              <a:gd name="connsiteX5" fmla="*/ 8187119 w 14554872"/>
              <a:gd name="connsiteY5" fmla="*/ 8191830 h 10287000"/>
              <a:gd name="connsiteX6" fmla="*/ 14554872 w 14554872"/>
              <a:gd name="connsiteY6" fmla="*/ 1824077 h 10287000"/>
              <a:gd name="connsiteX7" fmla="*/ 14554872 w 14554872"/>
              <a:gd name="connsiteY7" fmla="*/ 6395660 h 10287000"/>
              <a:gd name="connsiteX8" fmla="*/ 12269080 w 14554872"/>
              <a:gd name="connsiteY8" fmla="*/ 4109868 h 10287000"/>
              <a:gd name="connsiteX9" fmla="*/ 8094343 w 14554872"/>
              <a:gd name="connsiteY9" fmla="*/ 89754 h 10287000"/>
              <a:gd name="connsiteX10" fmla="*/ 12098998 w 14554872"/>
              <a:gd name="connsiteY10" fmla="*/ 4094407 h 10287000"/>
              <a:gd name="connsiteX11" fmla="*/ 8094345 w 14554872"/>
              <a:gd name="connsiteY11" fmla="*/ 8099060 h 10287000"/>
              <a:gd name="connsiteX12" fmla="*/ 4089692 w 14554872"/>
              <a:gd name="connsiteY12" fmla="*/ 4094407 h 10287000"/>
              <a:gd name="connsiteX13" fmla="*/ 8184097 w 14554872"/>
              <a:gd name="connsiteY13" fmla="*/ 0 h 10287000"/>
              <a:gd name="connsiteX14" fmla="*/ 14554872 w 14554872"/>
              <a:gd name="connsiteY14" fmla="*/ 0 h 10287000"/>
              <a:gd name="connsiteX15" fmla="*/ 14554872 w 14554872"/>
              <a:gd name="connsiteY15" fmla="*/ 1638533 h 10287000"/>
              <a:gd name="connsiteX16" fmla="*/ 12176307 w 14554872"/>
              <a:gd name="connsiteY16" fmla="*/ 4017098 h 10287000"/>
              <a:gd name="connsiteX17" fmla="*/ 8171652 w 14554872"/>
              <a:gd name="connsiteY17" fmla="*/ 12445 h 10287000"/>
              <a:gd name="connsiteX18" fmla="*/ 4713 w 14554872"/>
              <a:gd name="connsiteY18" fmla="*/ 0 h 10287000"/>
              <a:gd name="connsiteX19" fmla="*/ 8004594 w 14554872"/>
              <a:gd name="connsiteY19" fmla="*/ 0 h 10287000"/>
              <a:gd name="connsiteX20" fmla="*/ 8009307 w 14554872"/>
              <a:gd name="connsiteY20" fmla="*/ 4713 h 10287000"/>
              <a:gd name="connsiteX21" fmla="*/ 4004655 w 14554872"/>
              <a:gd name="connsiteY21" fmla="*/ 4009367 h 10287000"/>
              <a:gd name="connsiteX22" fmla="*/ 0 w 14554872"/>
              <a:gd name="connsiteY22" fmla="*/ 4713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4554872" h="10287000">
                <a:moveTo>
                  <a:pt x="12191771" y="4187177"/>
                </a:moveTo>
                <a:lnTo>
                  <a:pt x="14554872" y="6550279"/>
                </a:lnTo>
                <a:lnTo>
                  <a:pt x="14554872" y="9833383"/>
                </a:lnTo>
                <a:lnTo>
                  <a:pt x="14101254" y="10287000"/>
                </a:lnTo>
                <a:lnTo>
                  <a:pt x="10282288" y="10287000"/>
                </a:lnTo>
                <a:lnTo>
                  <a:pt x="8187119" y="8191830"/>
                </a:lnTo>
                <a:close/>
                <a:moveTo>
                  <a:pt x="14554872" y="1824077"/>
                </a:moveTo>
                <a:lnTo>
                  <a:pt x="14554872" y="6395660"/>
                </a:lnTo>
                <a:lnTo>
                  <a:pt x="12269080" y="4109868"/>
                </a:lnTo>
                <a:close/>
                <a:moveTo>
                  <a:pt x="8094343" y="89754"/>
                </a:moveTo>
                <a:lnTo>
                  <a:pt x="12098998" y="4094407"/>
                </a:lnTo>
                <a:lnTo>
                  <a:pt x="8094345" y="8099060"/>
                </a:lnTo>
                <a:lnTo>
                  <a:pt x="4089692" y="4094407"/>
                </a:lnTo>
                <a:close/>
                <a:moveTo>
                  <a:pt x="8184097" y="0"/>
                </a:moveTo>
                <a:lnTo>
                  <a:pt x="14554872" y="0"/>
                </a:lnTo>
                <a:lnTo>
                  <a:pt x="14554872" y="1638533"/>
                </a:lnTo>
                <a:lnTo>
                  <a:pt x="12176307" y="4017098"/>
                </a:lnTo>
                <a:lnTo>
                  <a:pt x="8171652" y="12445"/>
                </a:lnTo>
                <a:close/>
                <a:moveTo>
                  <a:pt x="4713" y="0"/>
                </a:moveTo>
                <a:lnTo>
                  <a:pt x="8004594" y="0"/>
                </a:lnTo>
                <a:lnTo>
                  <a:pt x="8009307" y="4713"/>
                </a:lnTo>
                <a:lnTo>
                  <a:pt x="4004655" y="4009367"/>
                </a:lnTo>
                <a:lnTo>
                  <a:pt x="0" y="4713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13072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3801426" y="1"/>
            <a:ext cx="7972702" cy="4067951"/>
          </a:xfrm>
          <a:custGeom>
            <a:avLst/>
            <a:gdLst>
              <a:gd name="connsiteX0" fmla="*/ 7821 w 7972702"/>
              <a:gd name="connsiteY0" fmla="*/ 0 h 4067951"/>
              <a:gd name="connsiteX1" fmla="*/ 7964881 w 7972702"/>
              <a:gd name="connsiteY1" fmla="*/ 0 h 4067951"/>
              <a:gd name="connsiteX2" fmla="*/ 7972702 w 7972702"/>
              <a:gd name="connsiteY2" fmla="*/ 81601 h 4067951"/>
              <a:gd name="connsiteX3" fmla="*/ 7667720 w 7972702"/>
              <a:gd name="connsiteY3" fmla="*/ 817892 h 4067951"/>
              <a:gd name="connsiteX4" fmla="*/ 4722642 w 7972702"/>
              <a:gd name="connsiteY4" fmla="*/ 3762970 h 4067951"/>
              <a:gd name="connsiteX5" fmla="*/ 3250060 w 7972702"/>
              <a:gd name="connsiteY5" fmla="*/ 3762970 h 4067951"/>
              <a:gd name="connsiteX6" fmla="*/ 304982 w 7972702"/>
              <a:gd name="connsiteY6" fmla="*/ 817892 h 4067951"/>
              <a:gd name="connsiteX7" fmla="*/ 0 w 7972702"/>
              <a:gd name="connsiteY7" fmla="*/ 81601 h 4067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972702" h="4067951">
                <a:moveTo>
                  <a:pt x="7821" y="0"/>
                </a:moveTo>
                <a:lnTo>
                  <a:pt x="7964881" y="0"/>
                </a:lnTo>
                <a:lnTo>
                  <a:pt x="7972702" y="81601"/>
                </a:lnTo>
                <a:cubicBezTo>
                  <a:pt x="7972702" y="348086"/>
                  <a:pt x="7871041" y="614571"/>
                  <a:pt x="7667720" y="817892"/>
                </a:cubicBezTo>
                <a:lnTo>
                  <a:pt x="4722642" y="3762970"/>
                </a:lnTo>
                <a:cubicBezTo>
                  <a:pt x="4316000" y="4169612"/>
                  <a:pt x="3656702" y="4169612"/>
                  <a:pt x="3250060" y="3762970"/>
                </a:cubicBezTo>
                <a:lnTo>
                  <a:pt x="304982" y="817892"/>
                </a:lnTo>
                <a:cubicBezTo>
                  <a:pt x="101661" y="614571"/>
                  <a:pt x="0" y="348086"/>
                  <a:pt x="0" y="81601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12832894" y="5126720"/>
            <a:ext cx="5455106" cy="5160281"/>
          </a:xfrm>
          <a:custGeom>
            <a:avLst/>
            <a:gdLst>
              <a:gd name="connsiteX0" fmla="*/ 3986352 w 5455106"/>
              <a:gd name="connsiteY0" fmla="*/ 0 h 5160281"/>
              <a:gd name="connsiteX1" fmla="*/ 4722642 w 5455106"/>
              <a:gd name="connsiteY1" fmla="*/ 304982 h 5160281"/>
              <a:gd name="connsiteX2" fmla="*/ 5455106 w 5455106"/>
              <a:gd name="connsiteY2" fmla="*/ 1037446 h 5160281"/>
              <a:gd name="connsiteX3" fmla="*/ 5455106 w 5455106"/>
              <a:gd name="connsiteY3" fmla="*/ 5160281 h 5160281"/>
              <a:gd name="connsiteX4" fmla="*/ 742621 w 5455106"/>
              <a:gd name="connsiteY4" fmla="*/ 5160281 h 5160281"/>
              <a:gd name="connsiteX5" fmla="*/ 304982 w 5455106"/>
              <a:gd name="connsiteY5" fmla="*/ 4722642 h 5160281"/>
              <a:gd name="connsiteX6" fmla="*/ 304982 w 5455106"/>
              <a:gd name="connsiteY6" fmla="*/ 3250060 h 5160281"/>
              <a:gd name="connsiteX7" fmla="*/ 3250060 w 5455106"/>
              <a:gd name="connsiteY7" fmla="*/ 304982 h 5160281"/>
              <a:gd name="connsiteX8" fmla="*/ 3986352 w 5455106"/>
              <a:gd name="connsiteY8" fmla="*/ 0 h 5160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55106" h="5160281">
                <a:moveTo>
                  <a:pt x="3986352" y="0"/>
                </a:moveTo>
                <a:cubicBezTo>
                  <a:pt x="4252836" y="0"/>
                  <a:pt x="4519320" y="101661"/>
                  <a:pt x="4722642" y="304982"/>
                </a:cubicBezTo>
                <a:lnTo>
                  <a:pt x="5455106" y="1037446"/>
                </a:lnTo>
                <a:lnTo>
                  <a:pt x="5455106" y="5160281"/>
                </a:lnTo>
                <a:lnTo>
                  <a:pt x="742621" y="5160281"/>
                </a:lnTo>
                <a:lnTo>
                  <a:pt x="304982" y="4722642"/>
                </a:lnTo>
                <a:cubicBezTo>
                  <a:pt x="-101660" y="4315999"/>
                  <a:pt x="-101660" y="3656702"/>
                  <a:pt x="304982" y="3250060"/>
                </a:cubicBezTo>
                <a:lnTo>
                  <a:pt x="3250060" y="304982"/>
                </a:lnTo>
                <a:cubicBezTo>
                  <a:pt x="3453381" y="101661"/>
                  <a:pt x="3719867" y="0"/>
                  <a:pt x="3986352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8312895" y="606718"/>
            <a:ext cx="7972702" cy="7972701"/>
          </a:xfrm>
          <a:custGeom>
            <a:avLst/>
            <a:gdLst>
              <a:gd name="connsiteX0" fmla="*/ 3986352 w 7972702"/>
              <a:gd name="connsiteY0" fmla="*/ 0 h 7972701"/>
              <a:gd name="connsiteX1" fmla="*/ 4722643 w 7972702"/>
              <a:gd name="connsiteY1" fmla="*/ 304982 h 7972701"/>
              <a:gd name="connsiteX2" fmla="*/ 7667721 w 7972702"/>
              <a:gd name="connsiteY2" fmla="*/ 3250060 h 7972701"/>
              <a:gd name="connsiteX3" fmla="*/ 7667721 w 7972702"/>
              <a:gd name="connsiteY3" fmla="*/ 4722642 h 7972701"/>
              <a:gd name="connsiteX4" fmla="*/ 4722643 w 7972702"/>
              <a:gd name="connsiteY4" fmla="*/ 7667720 h 7972701"/>
              <a:gd name="connsiteX5" fmla="*/ 3250060 w 7972702"/>
              <a:gd name="connsiteY5" fmla="*/ 7667720 h 7972701"/>
              <a:gd name="connsiteX6" fmla="*/ 304982 w 7972702"/>
              <a:gd name="connsiteY6" fmla="*/ 4722642 h 7972701"/>
              <a:gd name="connsiteX7" fmla="*/ 304982 w 7972702"/>
              <a:gd name="connsiteY7" fmla="*/ 3250060 h 7972701"/>
              <a:gd name="connsiteX8" fmla="*/ 3250060 w 7972702"/>
              <a:gd name="connsiteY8" fmla="*/ 304982 h 7972701"/>
              <a:gd name="connsiteX9" fmla="*/ 3986352 w 7972702"/>
              <a:gd name="connsiteY9" fmla="*/ 0 h 7972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72702" h="7972701">
                <a:moveTo>
                  <a:pt x="3986352" y="0"/>
                </a:moveTo>
                <a:cubicBezTo>
                  <a:pt x="4252837" y="0"/>
                  <a:pt x="4519322" y="101661"/>
                  <a:pt x="4722643" y="304982"/>
                </a:cubicBezTo>
                <a:lnTo>
                  <a:pt x="7667721" y="3250060"/>
                </a:lnTo>
                <a:cubicBezTo>
                  <a:pt x="8074363" y="3656702"/>
                  <a:pt x="8074363" y="4316000"/>
                  <a:pt x="7667721" y="4722642"/>
                </a:cubicBezTo>
                <a:lnTo>
                  <a:pt x="4722643" y="7667720"/>
                </a:lnTo>
                <a:cubicBezTo>
                  <a:pt x="4316000" y="8074362"/>
                  <a:pt x="3656703" y="8074362"/>
                  <a:pt x="3250060" y="7667720"/>
                </a:cubicBezTo>
                <a:lnTo>
                  <a:pt x="304982" y="4722642"/>
                </a:lnTo>
                <a:cubicBezTo>
                  <a:pt x="-101660" y="4316000"/>
                  <a:pt x="-101660" y="3656702"/>
                  <a:pt x="304982" y="3250060"/>
                </a:cubicBezTo>
                <a:lnTo>
                  <a:pt x="3250060" y="304982"/>
                </a:lnTo>
                <a:cubicBezTo>
                  <a:pt x="3453382" y="101661"/>
                  <a:pt x="3719867" y="0"/>
                  <a:pt x="3986352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08520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12" grpId="0" animBg="1"/>
      <p:bldP spid="12" grpId="1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71E8B-6CA5-40B2-8038-0E112F3DAC1C}" type="datetimeFigureOut">
              <a:rPr lang="es-ES" smtClean="0"/>
              <a:t>08/09/2024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556C4-DFC3-4611-A7CC-780699185E26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56476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title"/>
          </p:nvPr>
        </p:nvSpPr>
        <p:spPr>
          <a:xfrm>
            <a:off x="623400" y="4301700"/>
            <a:ext cx="17041200" cy="168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7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1227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93047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ntenu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146" y="397939"/>
            <a:ext cx="17002125" cy="78483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375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62DA86-A326-DE43-ACED-94DB48A4C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493996" y="9619291"/>
            <a:ext cx="455574" cy="27699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23A81388-8FD3-A548-8487-58380675D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932507" y="9619293"/>
            <a:ext cx="1742849" cy="27699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r">
              <a:defRPr sz="12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DANIEL CAMAC -</a:t>
            </a:r>
          </a:p>
        </p:txBody>
      </p:sp>
    </p:spTree>
    <p:extLst>
      <p:ext uri="{BB962C8B-B14F-4D97-AF65-F5344CB8AC3E}">
        <p14:creationId xmlns:p14="http://schemas.microsoft.com/office/powerpoint/2010/main" val="869895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320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C9A02-B0ED-FB0B-ED60-A5C0CE2F4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F2B32C-2DAB-4187-1BAE-DD317702E4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7BA14D-C006-8041-9A67-D529835158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80BCCB-13D6-4F43-981E-DCF03D8C99A3}" type="datetimeFigureOut">
              <a:rPr lang="en-US" smtClean="0"/>
              <a:t>9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FD892D-C943-7C16-E2F8-04BA927CF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4F6133-8A75-0980-F2A1-1DF13D1B4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A62A4-A786-4569-90B8-F8B47DA2B5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3532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8191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3189480" y="5133702"/>
            <a:ext cx="3644596" cy="5153297"/>
          </a:xfrm>
          <a:custGeom>
            <a:avLst/>
            <a:gdLst>
              <a:gd name="connsiteX0" fmla="*/ 0 w 3644596"/>
              <a:gd name="connsiteY0" fmla="*/ 0 h 5153297"/>
              <a:gd name="connsiteX1" fmla="*/ 3644596 w 3644596"/>
              <a:gd name="connsiteY1" fmla="*/ 0 h 5153297"/>
              <a:gd name="connsiteX2" fmla="*/ 3644596 w 3644596"/>
              <a:gd name="connsiteY2" fmla="*/ 5153297 h 5153297"/>
              <a:gd name="connsiteX3" fmla="*/ 0 w 3644596"/>
              <a:gd name="connsiteY3" fmla="*/ 5153297 h 5153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596" h="5153297">
                <a:moveTo>
                  <a:pt x="0" y="0"/>
                </a:moveTo>
                <a:lnTo>
                  <a:pt x="3644596" y="0"/>
                </a:lnTo>
                <a:lnTo>
                  <a:pt x="3644596" y="5153297"/>
                </a:lnTo>
                <a:lnTo>
                  <a:pt x="0" y="515329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3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7321702" y="5133702"/>
            <a:ext cx="3644595" cy="5153297"/>
          </a:xfrm>
          <a:custGeom>
            <a:avLst/>
            <a:gdLst>
              <a:gd name="connsiteX0" fmla="*/ 0 w 3644595"/>
              <a:gd name="connsiteY0" fmla="*/ 0 h 5153297"/>
              <a:gd name="connsiteX1" fmla="*/ 3644595 w 3644595"/>
              <a:gd name="connsiteY1" fmla="*/ 0 h 5153297"/>
              <a:gd name="connsiteX2" fmla="*/ 3644595 w 3644595"/>
              <a:gd name="connsiteY2" fmla="*/ 5153297 h 5153297"/>
              <a:gd name="connsiteX3" fmla="*/ 0 w 3644595"/>
              <a:gd name="connsiteY3" fmla="*/ 5153297 h 5153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595" h="5153297">
                <a:moveTo>
                  <a:pt x="0" y="0"/>
                </a:moveTo>
                <a:lnTo>
                  <a:pt x="3644595" y="0"/>
                </a:lnTo>
                <a:lnTo>
                  <a:pt x="3644595" y="5153297"/>
                </a:lnTo>
                <a:lnTo>
                  <a:pt x="0" y="515329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453925" y="5133702"/>
            <a:ext cx="3644595" cy="5153297"/>
          </a:xfrm>
          <a:custGeom>
            <a:avLst/>
            <a:gdLst>
              <a:gd name="connsiteX0" fmla="*/ 0 w 3644595"/>
              <a:gd name="connsiteY0" fmla="*/ 0 h 5153297"/>
              <a:gd name="connsiteX1" fmla="*/ 3644595 w 3644595"/>
              <a:gd name="connsiteY1" fmla="*/ 0 h 5153297"/>
              <a:gd name="connsiteX2" fmla="*/ 3644595 w 3644595"/>
              <a:gd name="connsiteY2" fmla="*/ 5153297 h 5153297"/>
              <a:gd name="connsiteX3" fmla="*/ 0 w 3644595"/>
              <a:gd name="connsiteY3" fmla="*/ 5153297 h 5153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595" h="5153297">
                <a:moveTo>
                  <a:pt x="0" y="0"/>
                </a:moveTo>
                <a:lnTo>
                  <a:pt x="3644595" y="0"/>
                </a:lnTo>
                <a:lnTo>
                  <a:pt x="3644595" y="5153297"/>
                </a:lnTo>
                <a:lnTo>
                  <a:pt x="0" y="515329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48616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22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0539663" y="1645130"/>
            <a:ext cx="5578241" cy="8641871"/>
          </a:xfrm>
          <a:custGeom>
            <a:avLst/>
            <a:gdLst>
              <a:gd name="connsiteX0" fmla="*/ 0 w 5578241"/>
              <a:gd name="connsiteY0" fmla="*/ 0 h 8641871"/>
              <a:gd name="connsiteX1" fmla="*/ 5578241 w 5578241"/>
              <a:gd name="connsiteY1" fmla="*/ 0 h 8641871"/>
              <a:gd name="connsiteX2" fmla="*/ 5578241 w 5578241"/>
              <a:gd name="connsiteY2" fmla="*/ 8641871 h 8641871"/>
              <a:gd name="connsiteX3" fmla="*/ 0 w 5578241"/>
              <a:gd name="connsiteY3" fmla="*/ 8641871 h 8641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8241" h="8641871">
                <a:moveTo>
                  <a:pt x="0" y="0"/>
                </a:moveTo>
                <a:lnTo>
                  <a:pt x="5578241" y="0"/>
                </a:lnTo>
                <a:lnTo>
                  <a:pt x="5578241" y="8641871"/>
                </a:lnTo>
                <a:lnTo>
                  <a:pt x="0" y="8641871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10838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490502" y="6043580"/>
            <a:ext cx="5067471" cy="3172091"/>
          </a:xfrm>
          <a:custGeom>
            <a:avLst/>
            <a:gdLst>
              <a:gd name="connsiteX0" fmla="*/ 0 w 5067471"/>
              <a:gd name="connsiteY0" fmla="*/ 0 h 3172091"/>
              <a:gd name="connsiteX1" fmla="*/ 5067471 w 5067471"/>
              <a:gd name="connsiteY1" fmla="*/ 0 h 3172091"/>
              <a:gd name="connsiteX2" fmla="*/ 5067471 w 5067471"/>
              <a:gd name="connsiteY2" fmla="*/ 3172091 h 3172091"/>
              <a:gd name="connsiteX3" fmla="*/ 0 w 5067471"/>
              <a:gd name="connsiteY3" fmla="*/ 3172091 h 3172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67471" h="3172091">
                <a:moveTo>
                  <a:pt x="0" y="0"/>
                </a:moveTo>
                <a:lnTo>
                  <a:pt x="5067471" y="0"/>
                </a:lnTo>
                <a:lnTo>
                  <a:pt x="5067471" y="3172091"/>
                </a:lnTo>
                <a:lnTo>
                  <a:pt x="0" y="3172091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9144000" y="0"/>
            <a:ext cx="9144000" cy="10287000"/>
          </a:xfrm>
          <a:custGeom>
            <a:avLst/>
            <a:gdLst>
              <a:gd name="connsiteX0" fmla="*/ 0 w 9144000"/>
              <a:gd name="connsiteY0" fmla="*/ 0 h 10287000"/>
              <a:gd name="connsiteX1" fmla="*/ 9144000 w 9144000"/>
              <a:gd name="connsiteY1" fmla="*/ 0 h 10287000"/>
              <a:gd name="connsiteX2" fmla="*/ 9144000 w 9144000"/>
              <a:gd name="connsiteY2" fmla="*/ 10287000 h 10287000"/>
              <a:gd name="connsiteX3" fmla="*/ 0 w 9144000"/>
              <a:gd name="connsiteY3" fmla="*/ 1028700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287000">
                <a:moveTo>
                  <a:pt x="0" y="0"/>
                </a:moveTo>
                <a:lnTo>
                  <a:pt x="9144000" y="0"/>
                </a:lnTo>
                <a:lnTo>
                  <a:pt x="9144000" y="10287000"/>
                </a:lnTo>
                <a:lnTo>
                  <a:pt x="0" y="10287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60568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7" grpId="0" animBg="1"/>
      <p:bldP spid="7" grpId="1" animBg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0539663" y="1645130"/>
            <a:ext cx="5578241" cy="8641871"/>
          </a:xfrm>
          <a:custGeom>
            <a:avLst/>
            <a:gdLst>
              <a:gd name="connsiteX0" fmla="*/ 0 w 5578241"/>
              <a:gd name="connsiteY0" fmla="*/ 0 h 8641871"/>
              <a:gd name="connsiteX1" fmla="*/ 5578241 w 5578241"/>
              <a:gd name="connsiteY1" fmla="*/ 0 h 8641871"/>
              <a:gd name="connsiteX2" fmla="*/ 5578241 w 5578241"/>
              <a:gd name="connsiteY2" fmla="*/ 8641871 h 8641871"/>
              <a:gd name="connsiteX3" fmla="*/ 0 w 5578241"/>
              <a:gd name="connsiteY3" fmla="*/ 8641871 h 8641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8241" h="8641871">
                <a:moveTo>
                  <a:pt x="0" y="0"/>
                </a:moveTo>
                <a:lnTo>
                  <a:pt x="5578241" y="0"/>
                </a:lnTo>
                <a:lnTo>
                  <a:pt x="5578241" y="8641871"/>
                </a:lnTo>
                <a:lnTo>
                  <a:pt x="0" y="8641871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65245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6.77083E-7 1.01852E-6 L 6.77083E-7 0.07248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7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5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4" grpId="0" animBg="1"/>
      <p:bldP spid="4" grpId="1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32561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9130937" y="0"/>
            <a:ext cx="0" cy="1028700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 userDrawn="1"/>
        </p:nvCxnSpPr>
        <p:spPr>
          <a:xfrm flipH="1">
            <a:off x="1" y="5080364"/>
            <a:ext cx="18288001" cy="1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25490" y="1919694"/>
            <a:ext cx="5610894" cy="6321339"/>
          </a:xfrm>
          <a:custGeom>
            <a:avLst/>
            <a:gdLst>
              <a:gd name="connsiteX0" fmla="*/ 2804913 w 5610894"/>
              <a:gd name="connsiteY0" fmla="*/ 0 h 6321339"/>
              <a:gd name="connsiteX1" fmla="*/ 3071844 w 5610894"/>
              <a:gd name="connsiteY1" fmla="*/ 73715 h 6321339"/>
              <a:gd name="connsiteX2" fmla="*/ 4207904 w 5610894"/>
              <a:gd name="connsiteY2" fmla="*/ 729673 h 6321339"/>
              <a:gd name="connsiteX3" fmla="*/ 5343963 w 5610894"/>
              <a:gd name="connsiteY3" fmla="*/ 1385631 h 6321339"/>
              <a:gd name="connsiteX4" fmla="*/ 5610894 w 5610894"/>
              <a:gd name="connsiteY4" fmla="*/ 1848220 h 6321339"/>
              <a:gd name="connsiteX5" fmla="*/ 5610894 w 5610894"/>
              <a:gd name="connsiteY5" fmla="*/ 3160135 h 6321339"/>
              <a:gd name="connsiteX6" fmla="*/ 5610894 w 5610894"/>
              <a:gd name="connsiteY6" fmla="*/ 4473120 h 6321339"/>
              <a:gd name="connsiteX7" fmla="*/ 5343963 w 5610894"/>
              <a:gd name="connsiteY7" fmla="*/ 4935709 h 6321339"/>
              <a:gd name="connsiteX8" fmla="*/ 4207904 w 5610894"/>
              <a:gd name="connsiteY8" fmla="*/ 5591667 h 6321339"/>
              <a:gd name="connsiteX9" fmla="*/ 3071844 w 5610894"/>
              <a:gd name="connsiteY9" fmla="*/ 6247624 h 6321339"/>
              <a:gd name="connsiteX10" fmla="*/ 2537982 w 5610894"/>
              <a:gd name="connsiteY10" fmla="*/ 6247624 h 6321339"/>
              <a:gd name="connsiteX11" fmla="*/ 1402991 w 5610894"/>
              <a:gd name="connsiteY11" fmla="*/ 5591667 h 6321339"/>
              <a:gd name="connsiteX12" fmla="*/ 266932 w 5610894"/>
              <a:gd name="connsiteY12" fmla="*/ 4935709 h 6321339"/>
              <a:gd name="connsiteX13" fmla="*/ 0 w 5610894"/>
              <a:gd name="connsiteY13" fmla="*/ 4473120 h 6321339"/>
              <a:gd name="connsiteX14" fmla="*/ 0 w 5610894"/>
              <a:gd name="connsiteY14" fmla="*/ 3160135 h 6321339"/>
              <a:gd name="connsiteX15" fmla="*/ 0 w 5610894"/>
              <a:gd name="connsiteY15" fmla="*/ 1848220 h 6321339"/>
              <a:gd name="connsiteX16" fmla="*/ 266932 w 5610894"/>
              <a:gd name="connsiteY16" fmla="*/ 1385631 h 6321339"/>
              <a:gd name="connsiteX17" fmla="*/ 1402991 w 5610894"/>
              <a:gd name="connsiteY17" fmla="*/ 729673 h 6321339"/>
              <a:gd name="connsiteX18" fmla="*/ 2537982 w 5610894"/>
              <a:gd name="connsiteY18" fmla="*/ 73715 h 6321339"/>
              <a:gd name="connsiteX19" fmla="*/ 2804913 w 5610894"/>
              <a:gd name="connsiteY19" fmla="*/ 0 h 6321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610894" h="6321339">
                <a:moveTo>
                  <a:pt x="2804913" y="0"/>
                </a:moveTo>
                <a:cubicBezTo>
                  <a:pt x="2895937" y="0"/>
                  <a:pt x="2986960" y="24572"/>
                  <a:pt x="3071844" y="73715"/>
                </a:cubicBezTo>
                <a:lnTo>
                  <a:pt x="4207904" y="729673"/>
                </a:lnTo>
                <a:lnTo>
                  <a:pt x="5343963" y="1385631"/>
                </a:lnTo>
                <a:cubicBezTo>
                  <a:pt x="5513731" y="1483918"/>
                  <a:pt x="5610894" y="1652715"/>
                  <a:pt x="5610894" y="1848220"/>
                </a:cubicBezTo>
                <a:lnTo>
                  <a:pt x="5610894" y="3160135"/>
                </a:lnTo>
                <a:lnTo>
                  <a:pt x="5610894" y="4473120"/>
                </a:lnTo>
                <a:cubicBezTo>
                  <a:pt x="5610894" y="4668625"/>
                  <a:pt x="5513731" y="4837422"/>
                  <a:pt x="5343963" y="4935709"/>
                </a:cubicBezTo>
                <a:lnTo>
                  <a:pt x="4207904" y="5591667"/>
                </a:lnTo>
                <a:lnTo>
                  <a:pt x="3071844" y="6247624"/>
                </a:lnTo>
                <a:cubicBezTo>
                  <a:pt x="2902076" y="6345911"/>
                  <a:pt x="2707750" y="6345911"/>
                  <a:pt x="2537982" y="6247624"/>
                </a:cubicBezTo>
                <a:lnTo>
                  <a:pt x="1402991" y="5591667"/>
                </a:lnTo>
                <a:lnTo>
                  <a:pt x="266932" y="4935709"/>
                </a:lnTo>
                <a:cubicBezTo>
                  <a:pt x="97163" y="4837422"/>
                  <a:pt x="0" y="4668625"/>
                  <a:pt x="0" y="4473120"/>
                </a:cubicBezTo>
                <a:lnTo>
                  <a:pt x="0" y="3160135"/>
                </a:lnTo>
                <a:lnTo>
                  <a:pt x="0" y="1848220"/>
                </a:lnTo>
                <a:cubicBezTo>
                  <a:pt x="0" y="1652715"/>
                  <a:pt x="97163" y="1483918"/>
                  <a:pt x="266932" y="1385631"/>
                </a:cubicBezTo>
                <a:lnTo>
                  <a:pt x="1402991" y="729673"/>
                </a:lnTo>
                <a:lnTo>
                  <a:pt x="2537982" y="73715"/>
                </a:lnTo>
                <a:cubicBezTo>
                  <a:pt x="2622866" y="24572"/>
                  <a:pt x="2713890" y="0"/>
                  <a:pt x="2804913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84083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3" presetClass="entr" presetSubtype="27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path" presetSubtype="0" accel="49333" decel="50667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22" dur="5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7089585" y="1645920"/>
            <a:ext cx="4914900" cy="8641080"/>
          </a:xfrm>
          <a:custGeom>
            <a:avLst/>
            <a:gdLst>
              <a:gd name="connsiteX0" fmla="*/ 0 w 4914900"/>
              <a:gd name="connsiteY0" fmla="*/ 0 h 8641080"/>
              <a:gd name="connsiteX1" fmla="*/ 4914900 w 4914900"/>
              <a:gd name="connsiteY1" fmla="*/ 0 h 8641080"/>
              <a:gd name="connsiteX2" fmla="*/ 4914900 w 4914900"/>
              <a:gd name="connsiteY2" fmla="*/ 8641080 h 8641080"/>
              <a:gd name="connsiteX3" fmla="*/ 0 w 4914900"/>
              <a:gd name="connsiteY3" fmla="*/ 8641080 h 8641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4900" h="8641080">
                <a:moveTo>
                  <a:pt x="0" y="0"/>
                </a:moveTo>
                <a:lnTo>
                  <a:pt x="4914900" y="0"/>
                </a:lnTo>
                <a:lnTo>
                  <a:pt x="4914900" y="8641080"/>
                </a:lnTo>
                <a:lnTo>
                  <a:pt x="0" y="864108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20171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9144000" y="0"/>
            <a:ext cx="9144000" cy="10287000"/>
          </a:xfrm>
          <a:custGeom>
            <a:avLst/>
            <a:gdLst>
              <a:gd name="connsiteX0" fmla="*/ 0 w 9144000"/>
              <a:gd name="connsiteY0" fmla="*/ 0 h 10287000"/>
              <a:gd name="connsiteX1" fmla="*/ 9144000 w 9144000"/>
              <a:gd name="connsiteY1" fmla="*/ 0 h 10287000"/>
              <a:gd name="connsiteX2" fmla="*/ 9144000 w 9144000"/>
              <a:gd name="connsiteY2" fmla="*/ 10287000 h 10287000"/>
              <a:gd name="connsiteX3" fmla="*/ 0 w 9144000"/>
              <a:gd name="connsiteY3" fmla="*/ 1028700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287000">
                <a:moveTo>
                  <a:pt x="0" y="0"/>
                </a:moveTo>
                <a:lnTo>
                  <a:pt x="9144000" y="0"/>
                </a:lnTo>
                <a:lnTo>
                  <a:pt x="9144000" y="10287000"/>
                </a:lnTo>
                <a:lnTo>
                  <a:pt x="0" y="10287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7493453" y="3492953"/>
            <a:ext cx="3301094" cy="3301094"/>
          </a:xfrm>
          <a:custGeom>
            <a:avLst/>
            <a:gdLst>
              <a:gd name="connsiteX0" fmla="*/ 1650547 w 3301094"/>
              <a:gd name="connsiteY0" fmla="*/ 0 h 3301094"/>
              <a:gd name="connsiteX1" fmla="*/ 3301094 w 3301094"/>
              <a:gd name="connsiteY1" fmla="*/ 1650547 h 3301094"/>
              <a:gd name="connsiteX2" fmla="*/ 1650547 w 3301094"/>
              <a:gd name="connsiteY2" fmla="*/ 3301094 h 3301094"/>
              <a:gd name="connsiteX3" fmla="*/ 0 w 3301094"/>
              <a:gd name="connsiteY3" fmla="*/ 1650547 h 3301094"/>
              <a:gd name="connsiteX4" fmla="*/ 1650547 w 3301094"/>
              <a:gd name="connsiteY4" fmla="*/ 0 h 3301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1094" h="3301094">
                <a:moveTo>
                  <a:pt x="1650547" y="0"/>
                </a:moveTo>
                <a:cubicBezTo>
                  <a:pt x="2562119" y="0"/>
                  <a:pt x="3301094" y="738975"/>
                  <a:pt x="3301094" y="1650547"/>
                </a:cubicBezTo>
                <a:cubicBezTo>
                  <a:pt x="3301094" y="2562119"/>
                  <a:pt x="2562119" y="3301094"/>
                  <a:pt x="1650547" y="3301094"/>
                </a:cubicBezTo>
                <a:cubicBezTo>
                  <a:pt x="738975" y="3301094"/>
                  <a:pt x="0" y="2562119"/>
                  <a:pt x="0" y="1650547"/>
                </a:cubicBezTo>
                <a:cubicBezTo>
                  <a:pt x="0" y="738975"/>
                  <a:pt x="738975" y="0"/>
                  <a:pt x="165054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78085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7" grpId="0" animBg="1"/>
      <p:bldP spid="7" grpId="1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144000" y="0"/>
            <a:ext cx="9144000" cy="10287000"/>
          </a:xfrm>
          <a:custGeom>
            <a:avLst/>
            <a:gdLst>
              <a:gd name="connsiteX0" fmla="*/ 0 w 9144000"/>
              <a:gd name="connsiteY0" fmla="*/ 0 h 10287000"/>
              <a:gd name="connsiteX1" fmla="*/ 9144000 w 9144000"/>
              <a:gd name="connsiteY1" fmla="*/ 0 h 10287000"/>
              <a:gd name="connsiteX2" fmla="*/ 9144000 w 9144000"/>
              <a:gd name="connsiteY2" fmla="*/ 10287000 h 10287000"/>
              <a:gd name="connsiteX3" fmla="*/ 0 w 9144000"/>
              <a:gd name="connsiteY3" fmla="*/ 1028700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287000">
                <a:moveTo>
                  <a:pt x="0" y="0"/>
                </a:moveTo>
                <a:lnTo>
                  <a:pt x="9144000" y="0"/>
                </a:lnTo>
                <a:lnTo>
                  <a:pt x="9144000" y="10287000"/>
                </a:lnTo>
                <a:lnTo>
                  <a:pt x="0" y="10287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3225690" y="1730265"/>
            <a:ext cx="2300192" cy="2300192"/>
          </a:xfrm>
          <a:custGeom>
            <a:avLst/>
            <a:gdLst>
              <a:gd name="connsiteX0" fmla="*/ 1150096 w 2300192"/>
              <a:gd name="connsiteY0" fmla="*/ 0 h 2300192"/>
              <a:gd name="connsiteX1" fmla="*/ 2300192 w 2300192"/>
              <a:gd name="connsiteY1" fmla="*/ 1150096 h 2300192"/>
              <a:gd name="connsiteX2" fmla="*/ 1150096 w 2300192"/>
              <a:gd name="connsiteY2" fmla="*/ 2300192 h 2300192"/>
              <a:gd name="connsiteX3" fmla="*/ 0 w 2300192"/>
              <a:gd name="connsiteY3" fmla="*/ 1150096 h 2300192"/>
              <a:gd name="connsiteX4" fmla="*/ 1150096 w 2300192"/>
              <a:gd name="connsiteY4" fmla="*/ 0 h 2300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0192" h="2300192">
                <a:moveTo>
                  <a:pt x="1150096" y="0"/>
                </a:moveTo>
                <a:cubicBezTo>
                  <a:pt x="1785276" y="0"/>
                  <a:pt x="2300192" y="514916"/>
                  <a:pt x="2300192" y="1150096"/>
                </a:cubicBezTo>
                <a:cubicBezTo>
                  <a:pt x="2300192" y="1785276"/>
                  <a:pt x="1785276" y="2300192"/>
                  <a:pt x="1150096" y="2300192"/>
                </a:cubicBezTo>
                <a:cubicBezTo>
                  <a:pt x="514916" y="2300192"/>
                  <a:pt x="0" y="1785276"/>
                  <a:pt x="0" y="1150096"/>
                </a:cubicBezTo>
                <a:cubicBezTo>
                  <a:pt x="0" y="514916"/>
                  <a:pt x="514916" y="0"/>
                  <a:pt x="1150096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2565903" y="1730264"/>
            <a:ext cx="2300192" cy="2300192"/>
          </a:xfrm>
          <a:custGeom>
            <a:avLst/>
            <a:gdLst>
              <a:gd name="connsiteX0" fmla="*/ 1150096 w 2300192"/>
              <a:gd name="connsiteY0" fmla="*/ 0 h 2300192"/>
              <a:gd name="connsiteX1" fmla="*/ 2300192 w 2300192"/>
              <a:gd name="connsiteY1" fmla="*/ 1150096 h 2300192"/>
              <a:gd name="connsiteX2" fmla="*/ 1150096 w 2300192"/>
              <a:gd name="connsiteY2" fmla="*/ 2300192 h 2300192"/>
              <a:gd name="connsiteX3" fmla="*/ 0 w 2300192"/>
              <a:gd name="connsiteY3" fmla="*/ 1150096 h 2300192"/>
              <a:gd name="connsiteX4" fmla="*/ 1150096 w 2300192"/>
              <a:gd name="connsiteY4" fmla="*/ 0 h 2300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0192" h="2300192">
                <a:moveTo>
                  <a:pt x="1150096" y="0"/>
                </a:moveTo>
                <a:cubicBezTo>
                  <a:pt x="1785276" y="0"/>
                  <a:pt x="2300192" y="514916"/>
                  <a:pt x="2300192" y="1150096"/>
                </a:cubicBezTo>
                <a:cubicBezTo>
                  <a:pt x="2300192" y="1785276"/>
                  <a:pt x="1785276" y="2300192"/>
                  <a:pt x="1150096" y="2300192"/>
                </a:cubicBezTo>
                <a:cubicBezTo>
                  <a:pt x="514916" y="2300192"/>
                  <a:pt x="0" y="1785276"/>
                  <a:pt x="0" y="1150096"/>
                </a:cubicBezTo>
                <a:cubicBezTo>
                  <a:pt x="0" y="514916"/>
                  <a:pt x="514916" y="0"/>
                  <a:pt x="1150096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11078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22" dur="5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11" grpId="0" animBg="1"/>
      <p:bldP spid="11" grpId="1" animBg="1"/>
      <p:bldP spid="13" grpId="0" animBg="1"/>
      <p:bldP spid="13" grpId="1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3189480" y="5133702"/>
            <a:ext cx="3644596" cy="5153297"/>
          </a:xfrm>
          <a:custGeom>
            <a:avLst/>
            <a:gdLst>
              <a:gd name="connsiteX0" fmla="*/ 0 w 3644596"/>
              <a:gd name="connsiteY0" fmla="*/ 0 h 5153297"/>
              <a:gd name="connsiteX1" fmla="*/ 3644596 w 3644596"/>
              <a:gd name="connsiteY1" fmla="*/ 0 h 5153297"/>
              <a:gd name="connsiteX2" fmla="*/ 3644596 w 3644596"/>
              <a:gd name="connsiteY2" fmla="*/ 5153297 h 5153297"/>
              <a:gd name="connsiteX3" fmla="*/ 0 w 3644596"/>
              <a:gd name="connsiteY3" fmla="*/ 5153297 h 5153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596" h="5153297">
                <a:moveTo>
                  <a:pt x="0" y="0"/>
                </a:moveTo>
                <a:lnTo>
                  <a:pt x="3644596" y="0"/>
                </a:lnTo>
                <a:lnTo>
                  <a:pt x="3644596" y="5153297"/>
                </a:lnTo>
                <a:lnTo>
                  <a:pt x="0" y="515329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7321702" y="5133702"/>
            <a:ext cx="3644595" cy="5153297"/>
          </a:xfrm>
          <a:custGeom>
            <a:avLst/>
            <a:gdLst>
              <a:gd name="connsiteX0" fmla="*/ 0 w 3644595"/>
              <a:gd name="connsiteY0" fmla="*/ 0 h 5153297"/>
              <a:gd name="connsiteX1" fmla="*/ 3644595 w 3644595"/>
              <a:gd name="connsiteY1" fmla="*/ 0 h 5153297"/>
              <a:gd name="connsiteX2" fmla="*/ 3644595 w 3644595"/>
              <a:gd name="connsiteY2" fmla="*/ 5153297 h 5153297"/>
              <a:gd name="connsiteX3" fmla="*/ 0 w 3644595"/>
              <a:gd name="connsiteY3" fmla="*/ 5153297 h 5153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595" h="5153297">
                <a:moveTo>
                  <a:pt x="0" y="0"/>
                </a:moveTo>
                <a:lnTo>
                  <a:pt x="3644595" y="0"/>
                </a:lnTo>
                <a:lnTo>
                  <a:pt x="3644595" y="5153297"/>
                </a:lnTo>
                <a:lnTo>
                  <a:pt x="0" y="515329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453925" y="5133702"/>
            <a:ext cx="3644595" cy="5153297"/>
          </a:xfrm>
          <a:custGeom>
            <a:avLst/>
            <a:gdLst>
              <a:gd name="connsiteX0" fmla="*/ 0 w 3644595"/>
              <a:gd name="connsiteY0" fmla="*/ 0 h 5153297"/>
              <a:gd name="connsiteX1" fmla="*/ 3644595 w 3644595"/>
              <a:gd name="connsiteY1" fmla="*/ 0 h 5153297"/>
              <a:gd name="connsiteX2" fmla="*/ 3644595 w 3644595"/>
              <a:gd name="connsiteY2" fmla="*/ 5153297 h 5153297"/>
              <a:gd name="connsiteX3" fmla="*/ 0 w 3644595"/>
              <a:gd name="connsiteY3" fmla="*/ 5153297 h 5153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4595" h="5153297">
                <a:moveTo>
                  <a:pt x="0" y="0"/>
                </a:moveTo>
                <a:lnTo>
                  <a:pt x="3644595" y="0"/>
                </a:lnTo>
                <a:lnTo>
                  <a:pt x="3644595" y="5153297"/>
                </a:lnTo>
                <a:lnTo>
                  <a:pt x="0" y="5153297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8649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22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9" grpId="0" animBg="1"/>
      <p:bldP spid="9" grpId="1" animBg="1"/>
      <p:bldP spid="8" grpId="0" animBg="1"/>
      <p:bldP spid="8" grpId="1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79869" y="3429000"/>
            <a:ext cx="5479869" cy="3429000"/>
          </a:xfrm>
          <a:custGeom>
            <a:avLst/>
            <a:gdLst>
              <a:gd name="connsiteX0" fmla="*/ 0 w 5479869"/>
              <a:gd name="connsiteY0" fmla="*/ 0 h 3429000"/>
              <a:gd name="connsiteX1" fmla="*/ 5479869 w 5479869"/>
              <a:gd name="connsiteY1" fmla="*/ 0 h 3429000"/>
              <a:gd name="connsiteX2" fmla="*/ 5479869 w 5479869"/>
              <a:gd name="connsiteY2" fmla="*/ 3429000 h 3429000"/>
              <a:gd name="connsiteX3" fmla="*/ 0 w 5479869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9869" h="3429000">
                <a:moveTo>
                  <a:pt x="0" y="0"/>
                </a:moveTo>
                <a:lnTo>
                  <a:pt x="5479869" y="0"/>
                </a:lnTo>
                <a:lnTo>
                  <a:pt x="5479869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479869" cy="3429000"/>
          </a:xfrm>
          <a:custGeom>
            <a:avLst/>
            <a:gdLst>
              <a:gd name="connsiteX0" fmla="*/ 0 w 5479869"/>
              <a:gd name="connsiteY0" fmla="*/ 0 h 3429000"/>
              <a:gd name="connsiteX1" fmla="*/ 5479869 w 5479869"/>
              <a:gd name="connsiteY1" fmla="*/ 0 h 3429000"/>
              <a:gd name="connsiteX2" fmla="*/ 5479869 w 5479869"/>
              <a:gd name="connsiteY2" fmla="*/ 3429000 h 3429000"/>
              <a:gd name="connsiteX3" fmla="*/ 0 w 5479869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9869" h="3429000">
                <a:moveTo>
                  <a:pt x="0" y="0"/>
                </a:moveTo>
                <a:lnTo>
                  <a:pt x="5479869" y="0"/>
                </a:lnTo>
                <a:lnTo>
                  <a:pt x="5479869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0" y="6858000"/>
            <a:ext cx="5479869" cy="3429000"/>
          </a:xfrm>
          <a:custGeom>
            <a:avLst/>
            <a:gdLst>
              <a:gd name="connsiteX0" fmla="*/ 0 w 5479869"/>
              <a:gd name="connsiteY0" fmla="*/ 0 h 3429000"/>
              <a:gd name="connsiteX1" fmla="*/ 5479869 w 5479869"/>
              <a:gd name="connsiteY1" fmla="*/ 0 h 3429000"/>
              <a:gd name="connsiteX2" fmla="*/ 5479869 w 5479869"/>
              <a:gd name="connsiteY2" fmla="*/ 3429000 h 3429000"/>
              <a:gd name="connsiteX3" fmla="*/ 0 w 5479869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9869" h="3429000">
                <a:moveTo>
                  <a:pt x="0" y="0"/>
                </a:moveTo>
                <a:lnTo>
                  <a:pt x="5479869" y="0"/>
                </a:lnTo>
                <a:lnTo>
                  <a:pt x="5479869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>
            <a:noAutofit/>
          </a:bodyPr>
          <a:lstStyle>
            <a:lvl1pPr>
              <a:defRPr sz="2028">
                <a:solidFill>
                  <a:srgbClr val="00B0F0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62031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16" dur="5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3" presetClass="entr" presetSubtype="27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path" presetSubtype="0" accel="49333" decel="50667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4.30556E-6 4.93827E-6 L -4.30556E-6 0.07237 " pathEditMode="relative" rAng="0" ptsTypes="AA">
                                      <p:cBhvr>
                                        <p:cTn id="22" dur="5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484094" y="9527551"/>
            <a:ext cx="627081" cy="54768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EFD80B7-7431-4453-8AE0-E55C60359C33}" type="slidenum">
              <a:rPr lang="en-US" sz="1600" smtClean="0">
                <a:solidFill>
                  <a:schemeClr val="bg1">
                    <a:lumMod val="95000"/>
                  </a:schemeClr>
                </a:solidFill>
                <a:latin typeface="Sora Light" pitchFamily="2" charset="0"/>
                <a:cs typeface="Sora Light" pitchFamily="2" charset="0"/>
              </a:rPr>
              <a:pPr algn="ctr"/>
              <a:t>‹#›</a:t>
            </a:fld>
            <a:endParaRPr lang="en-US" sz="1600">
              <a:solidFill>
                <a:schemeClr val="bg1">
                  <a:lumMod val="95000"/>
                </a:schemeClr>
              </a:solidFill>
              <a:latin typeface="Sora Light" pitchFamily="2" charset="0"/>
              <a:cs typeface="Sora Light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5891DE-2E78-4BBA-9725-D3355845B2E3}"/>
              </a:ext>
            </a:extLst>
          </p:cNvPr>
          <p:cNvSpPr/>
          <p:nvPr userDrawn="1"/>
        </p:nvSpPr>
        <p:spPr>
          <a:xfrm>
            <a:off x="1111175" y="9607496"/>
            <a:ext cx="1957701" cy="3336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57250">
              <a:lnSpc>
                <a:spcPct val="120000"/>
              </a:lnSpc>
            </a:pPr>
            <a:r>
              <a:rPr lang="en-US" sz="1400" b="0">
                <a:solidFill>
                  <a:schemeClr val="bg1"/>
                </a:solidFill>
                <a:latin typeface="Sora" pitchFamily="2" charset="0"/>
                <a:cs typeface="Sora" pitchFamily="2" charset="0"/>
              </a:rPr>
              <a:t>EXPOMINA PERÚ</a:t>
            </a:r>
            <a:r>
              <a:rPr lang="en-US" sz="1400" b="0" baseline="0">
                <a:solidFill>
                  <a:schemeClr val="bg1"/>
                </a:solidFill>
                <a:latin typeface="Sora" pitchFamily="2" charset="0"/>
                <a:cs typeface="Sora" pitchFamily="2" charset="0"/>
              </a:rPr>
              <a:t> 2024</a:t>
            </a:r>
            <a:endParaRPr lang="en-US" sz="1400" b="0">
              <a:solidFill>
                <a:schemeClr val="bg1"/>
              </a:solidFill>
              <a:latin typeface="Sora" pitchFamily="2" charset="0"/>
              <a:cs typeface="Sora" pitchFamily="2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064878" y="9664235"/>
            <a:ext cx="0" cy="2743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9420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775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09" r:id="rId30"/>
    <p:sldLayoutId id="2147483810" r:id="rId31"/>
    <p:sldLayoutId id="2147483813" r:id="rId32"/>
    <p:sldLayoutId id="2147483814" r:id="rId33"/>
    <p:sldLayoutId id="2147483816" r:id="rId34"/>
    <p:sldLayoutId id="2147483817" r:id="rId35"/>
    <p:sldLayoutId id="2147483818" r:id="rId36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49333" decel="50667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86111E-6 -4.32099E-6 L 4.86111E-6 0.07238 " pathEditMode="relative" rAng="0" ptsTypes="AA">
                                      <p:cBhvr>
                                        <p:cTn id="10" dur="5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10" grpId="2"/>
      <p:bldP spid="10" grpId="3"/>
      <p:bldP spid="10" grpId="4"/>
      <p:bldP spid="10" grpId="5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9939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811" r:id="rId2"/>
    <p:sldLayoutId id="2147483784" r:id="rId3"/>
    <p:sldLayoutId id="2147483812" r:id="rId4"/>
    <p:sldLayoutId id="2147483773" r:id="rId5"/>
    <p:sldLayoutId id="2147483785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91.png"/><Relationship Id="rId5" Type="http://schemas.openxmlformats.org/officeDocument/2006/relationships/image" Target="../media/image66.jpeg"/><Relationship Id="rId4" Type="http://schemas.openxmlformats.org/officeDocument/2006/relationships/image" Target="../media/image9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6.jpeg"/><Relationship Id="rId5" Type="http://schemas.microsoft.com/office/2007/relationships/hdphoto" Target="../media/hdphoto2.wdp"/><Relationship Id="rId4" Type="http://schemas.openxmlformats.org/officeDocument/2006/relationships/image" Target="../media/image9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4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microsoft.com/office/2007/relationships/hdphoto" Target="../media/hdphoto3.wdp"/><Relationship Id="rId9" Type="http://schemas.openxmlformats.org/officeDocument/2006/relationships/image" Target="../media/image6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6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jpeg"/><Relationship Id="rId3" Type="http://schemas.openxmlformats.org/officeDocument/2006/relationships/image" Target="../media/image100.png"/><Relationship Id="rId7" Type="http://schemas.openxmlformats.org/officeDocument/2006/relationships/image" Target="../media/image103.jpeg"/><Relationship Id="rId12" Type="http://schemas.openxmlformats.org/officeDocument/2006/relationships/image" Target="../media/image10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2.jpeg"/><Relationship Id="rId11" Type="http://schemas.openxmlformats.org/officeDocument/2006/relationships/image" Target="../media/image107.jpeg"/><Relationship Id="rId5" Type="http://schemas.openxmlformats.org/officeDocument/2006/relationships/image" Target="../media/image101.jpeg"/><Relationship Id="rId10" Type="http://schemas.openxmlformats.org/officeDocument/2006/relationships/image" Target="../media/image106.jpeg"/><Relationship Id="rId4" Type="http://schemas.openxmlformats.org/officeDocument/2006/relationships/image" Target="../media/image66.jpeg"/><Relationship Id="rId9" Type="http://schemas.openxmlformats.org/officeDocument/2006/relationships/image" Target="../media/image10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66.jpeg"/><Relationship Id="rId7" Type="http://schemas.openxmlformats.org/officeDocument/2006/relationships/image" Target="../media/image112.png"/><Relationship Id="rId12" Type="http://schemas.openxmlformats.org/officeDocument/2006/relationships/image" Target="../media/image1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1.png"/><Relationship Id="rId11" Type="http://schemas.openxmlformats.org/officeDocument/2006/relationships/image" Target="../media/image116.png"/><Relationship Id="rId5" Type="http://schemas.openxmlformats.org/officeDocument/2006/relationships/image" Target="../media/image110.png"/><Relationship Id="rId10" Type="http://schemas.openxmlformats.org/officeDocument/2006/relationships/image" Target="../media/image115.png"/><Relationship Id="rId4" Type="http://schemas.openxmlformats.org/officeDocument/2006/relationships/image" Target="../media/image109.png"/><Relationship Id="rId9" Type="http://schemas.openxmlformats.org/officeDocument/2006/relationships/image" Target="../media/image11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svg"/><Relationship Id="rId13" Type="http://schemas.openxmlformats.org/officeDocument/2006/relationships/image" Target="../media/image127.png"/><Relationship Id="rId3" Type="http://schemas.openxmlformats.org/officeDocument/2006/relationships/image" Target="../media/image118.jpeg"/><Relationship Id="rId7" Type="http://schemas.openxmlformats.org/officeDocument/2006/relationships/image" Target="../media/image121.png"/><Relationship Id="rId12" Type="http://schemas.openxmlformats.org/officeDocument/2006/relationships/image" Target="../media/image126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129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20.svg"/><Relationship Id="rId11" Type="http://schemas.openxmlformats.org/officeDocument/2006/relationships/image" Target="../media/image125.png"/><Relationship Id="rId5" Type="http://schemas.openxmlformats.org/officeDocument/2006/relationships/image" Target="../media/image119.png"/><Relationship Id="rId15" Type="http://schemas.openxmlformats.org/officeDocument/2006/relationships/image" Target="../media/image128.jpeg"/><Relationship Id="rId10" Type="http://schemas.openxmlformats.org/officeDocument/2006/relationships/image" Target="../media/image124.svg"/><Relationship Id="rId4" Type="http://schemas.openxmlformats.org/officeDocument/2006/relationships/hyperlink" Target="mailto:contacto@h2.pe" TargetMode="External"/><Relationship Id="rId9" Type="http://schemas.openxmlformats.org/officeDocument/2006/relationships/image" Target="../media/image123.png"/><Relationship Id="rId14" Type="http://schemas.microsoft.com/office/2007/relationships/hdphoto" Target="../media/hdphoto4.wdp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jpe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29" Type="http://schemas.openxmlformats.org/officeDocument/2006/relationships/image" Target="../media/image29.jpe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32" Type="http://schemas.openxmlformats.org/officeDocument/2006/relationships/image" Target="../media/image32.jpeg"/><Relationship Id="rId37" Type="http://schemas.openxmlformats.org/officeDocument/2006/relationships/image" Target="../media/image37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5" Type="http://schemas.openxmlformats.org/officeDocument/2006/relationships/image" Target="../media/image6.png"/><Relationship Id="rId19" Type="http://schemas.openxmlformats.org/officeDocument/2006/relationships/image" Target="../media/image19.pn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14.jpeg"/><Relationship Id="rId22" Type="http://schemas.openxmlformats.org/officeDocument/2006/relationships/image" Target="../media/image22.jpeg"/><Relationship Id="rId27" Type="http://schemas.openxmlformats.org/officeDocument/2006/relationships/image" Target="../media/image27.png"/><Relationship Id="rId30" Type="http://schemas.openxmlformats.org/officeDocument/2006/relationships/image" Target="../media/image30.jpeg"/><Relationship Id="rId35" Type="http://schemas.openxmlformats.org/officeDocument/2006/relationships/image" Target="../media/image35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56" Type="http://schemas.openxmlformats.org/officeDocument/2006/relationships/image" Target="../media/image56.png"/><Relationship Id="rId8" Type="http://schemas.openxmlformats.org/officeDocument/2006/relationships/image" Target="../media/image9.png"/><Relationship Id="rId51" Type="http://schemas.openxmlformats.org/officeDocument/2006/relationships/image" Target="../media/image51.png"/><Relationship Id="rId3" Type="http://schemas.openxmlformats.org/officeDocument/2006/relationships/image" Target="../media/image4.jpeg"/><Relationship Id="rId12" Type="http://schemas.openxmlformats.org/officeDocument/2006/relationships/image" Target="../media/image12.png"/><Relationship Id="rId17" Type="http://schemas.openxmlformats.org/officeDocument/2006/relationships/image" Target="../media/image17.jpe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jpe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20" Type="http://schemas.openxmlformats.org/officeDocument/2006/relationships/image" Target="../media/image20.png"/><Relationship Id="rId41" Type="http://schemas.openxmlformats.org/officeDocument/2006/relationships/image" Target="../media/image41.jpeg"/><Relationship Id="rId54" Type="http://schemas.openxmlformats.org/officeDocument/2006/relationships/image" Target="../media/image54.jpe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7.pn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jpeg"/><Relationship Id="rId36" Type="http://schemas.openxmlformats.org/officeDocument/2006/relationships/image" Target="../media/image36.png"/><Relationship Id="rId49" Type="http://schemas.openxmlformats.org/officeDocument/2006/relationships/image" Target="../media/image49.jpeg"/><Relationship Id="rId57" Type="http://schemas.openxmlformats.org/officeDocument/2006/relationships/image" Target="../media/image57.png"/><Relationship Id="rId10" Type="http://schemas.openxmlformats.org/officeDocument/2006/relationships/hyperlink" Target="https://h2.pe/" TargetMode="External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rena.org/-/media/Files/IRENA/Agency/Publication/2022/Mar/IRENA_World_Energy_Transitions_Outlook_2022.pdf" TargetMode="External"/><Relationship Id="rId3" Type="http://schemas.openxmlformats.org/officeDocument/2006/relationships/slideLayout" Target="../slideLayouts/slideLayout32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5.jpeg"/><Relationship Id="rId4" Type="http://schemas.openxmlformats.org/officeDocument/2006/relationships/notesSlide" Target="../notesSlides/notesSlide4.xml"/><Relationship Id="rId9" Type="http://schemas.openxmlformats.org/officeDocument/2006/relationships/hyperlink" Target="https://report.ipcc.ch/ar6wg3/pdf/IPCC_AR6_WGIII_FinalDraft_FullReport.pdf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78.jpeg"/><Relationship Id="rId5" Type="http://schemas.openxmlformats.org/officeDocument/2006/relationships/image" Target="../media/image77.png"/><Relationship Id="rId4" Type="http://schemas.openxmlformats.org/officeDocument/2006/relationships/image" Target="../media/image7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12" Type="http://schemas.openxmlformats.org/officeDocument/2006/relationships/image" Target="../media/image88.png"/><Relationship Id="rId2" Type="http://schemas.microsoft.com/office/2018/10/relationships/comments" Target="../comments/modernComment_7FFFD227_E8B03098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2.jpeg"/><Relationship Id="rId11" Type="http://schemas.openxmlformats.org/officeDocument/2006/relationships/image" Target="../media/image87.png"/><Relationship Id="rId5" Type="http://schemas.openxmlformats.org/officeDocument/2006/relationships/image" Target="../media/image81.png"/><Relationship Id="rId10" Type="http://schemas.openxmlformats.org/officeDocument/2006/relationships/image" Target="../media/image86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GA unveils dedicated hydrogen membership | Hydrogen | gasworld">
            <a:extLst>
              <a:ext uri="{FF2B5EF4-FFF2-40B4-BE49-F238E27FC236}">
                <a16:creationId xmlns:a16="http://schemas.microsoft.com/office/drawing/2014/main" id="{9BB37784-3A53-4822-86CF-31193397AB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13329"/>
            <a:ext cx="18288000" cy="5145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n 2" descr="Logotipo&#10;&#10;Descripción generada automáticamente">
            <a:extLst>
              <a:ext uri="{FF2B5EF4-FFF2-40B4-BE49-F238E27FC236}">
                <a16:creationId xmlns:a16="http://schemas.microsoft.com/office/drawing/2014/main" id="{3EA48B8E-121E-A640-1DF8-7F0247C686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77405" y="0"/>
            <a:ext cx="3310184" cy="2800383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57DA4291-E807-B024-92F8-948BFB965D31}"/>
              </a:ext>
            </a:extLst>
          </p:cNvPr>
          <p:cNvSpPr/>
          <p:nvPr/>
        </p:nvSpPr>
        <p:spPr>
          <a:xfrm>
            <a:off x="0" y="5331147"/>
            <a:ext cx="18288000" cy="5145121"/>
          </a:xfrm>
          <a:prstGeom prst="rect">
            <a:avLst/>
          </a:prstGeom>
          <a:solidFill>
            <a:srgbClr val="29C9C9">
              <a:alpha val="1098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endParaRPr lang="es-PE" sz="3734"/>
          </a:p>
        </p:txBody>
      </p:sp>
      <p:sp>
        <p:nvSpPr>
          <p:cNvPr id="2" name="Google Shape;46;p15">
            <a:extLst>
              <a:ext uri="{FF2B5EF4-FFF2-40B4-BE49-F238E27FC236}">
                <a16:creationId xmlns:a16="http://schemas.microsoft.com/office/drawing/2014/main" id="{9F7780C7-A69C-9E89-0A62-21E019914C3F}"/>
              </a:ext>
            </a:extLst>
          </p:cNvPr>
          <p:cNvSpPr txBox="1">
            <a:spLocks/>
          </p:cNvSpPr>
          <p:nvPr/>
        </p:nvSpPr>
        <p:spPr>
          <a:xfrm>
            <a:off x="400411" y="1272209"/>
            <a:ext cx="13871403" cy="4041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50" tIns="182850" rIns="182850" bIns="18285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PE" sz="6600" b="1" dirty="0">
                <a:solidFill>
                  <a:srgbClr val="28659C"/>
                </a:solidFill>
                <a:latin typeface="Arial Narrow"/>
              </a:rPr>
              <a:t>Fortalezas del H2 de bajas emisiones para descarbonizar la minería en el Perú</a:t>
            </a:r>
          </a:p>
          <a:p>
            <a:r>
              <a:rPr lang="es-PE" sz="2400" dirty="0"/>
              <a:t> </a:t>
            </a:r>
          </a:p>
          <a:p>
            <a:endParaRPr lang="es-PE" sz="2800" b="1" dirty="0">
              <a:solidFill>
                <a:srgbClr val="5EC6C8"/>
              </a:solidFill>
              <a:latin typeface="Arial Narrow"/>
            </a:endParaRPr>
          </a:p>
          <a:p>
            <a:r>
              <a:rPr lang="es-PE" sz="4000" b="1" dirty="0">
                <a:solidFill>
                  <a:srgbClr val="2D92AD"/>
                </a:solidFill>
                <a:latin typeface="Aptos"/>
              </a:rPr>
              <a:t>Daniel Cámac</a:t>
            </a:r>
          </a:p>
          <a:p>
            <a:r>
              <a:rPr lang="es-PE" sz="1800" b="1" dirty="0">
                <a:solidFill>
                  <a:srgbClr val="2D92AD"/>
                </a:solidFill>
                <a:latin typeface="Aptos"/>
              </a:rPr>
              <a:t>Presidente H2 Perú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A967CD-2161-E4CC-4DA1-6689BD5EC3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8582"/>
            <a:ext cx="3505689" cy="129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4403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151AF45-B18E-83F3-2993-53515140F2C2}"/>
              </a:ext>
            </a:extLst>
          </p:cNvPr>
          <p:cNvSpPr/>
          <p:nvPr/>
        </p:nvSpPr>
        <p:spPr>
          <a:xfrm>
            <a:off x="-23945" y="10524"/>
            <a:ext cx="18287999" cy="2470335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27">
              <a:defRPr/>
            </a:pPr>
            <a:endParaRPr lang="en-US" sz="324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B92E33F6-2CB7-A05C-A2D5-51E5E4302D58}"/>
              </a:ext>
            </a:extLst>
          </p:cNvPr>
          <p:cNvSpPr txBox="1">
            <a:spLocks/>
          </p:cNvSpPr>
          <p:nvPr/>
        </p:nvSpPr>
        <p:spPr>
          <a:xfrm>
            <a:off x="378925" y="44537"/>
            <a:ext cx="15907514" cy="2162708"/>
          </a:xfrm>
          <a:prstGeom prst="rect">
            <a:avLst/>
          </a:prstGeom>
        </p:spPr>
        <p:txBody>
          <a:bodyPr vert="horz" wrap="square" lIns="0" tIns="109728" rIns="0" bIns="0" rtlCol="0" anchor="t">
            <a:spAutoFit/>
          </a:bodyPr>
          <a:lstStyle>
            <a:lvl1pPr algn="l" defTabSz="7619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67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marL="22860" marR="8573" algn="ctr" defTabSz="1142955">
              <a:lnSpc>
                <a:spcPts val="5436"/>
              </a:lnSpc>
              <a:spcBef>
                <a:spcPts val="864"/>
              </a:spcBef>
              <a:defRPr/>
            </a:pPr>
            <a:r>
              <a:rPr lang="es-ES" sz="4000" b="1" dirty="0">
                <a:solidFill>
                  <a:prstClr val="white"/>
                </a:solidFill>
                <a:latin typeface="Aptos"/>
                <a:cs typeface="Arial"/>
              </a:rPr>
              <a:t>Hay consenso global para el uso de diferentes fuentes de producción de hidrogeno, de bajas emisiones, para apoyar la transición energética</a:t>
            </a:r>
            <a:endParaRPr lang="en-US" sz="5400" dirty="0">
              <a:solidFill>
                <a:prstClr val="black"/>
              </a:solidFill>
            </a:endParaRPr>
          </a:p>
        </p:txBody>
      </p:sp>
      <p:sp>
        <p:nvSpPr>
          <p:cNvPr id="8" name="TextBox 23">
            <a:extLst>
              <a:ext uri="{FF2B5EF4-FFF2-40B4-BE49-F238E27FC236}">
                <a16:creationId xmlns:a16="http://schemas.microsoft.com/office/drawing/2014/main" id="{BA9B8F78-09AC-E332-8328-9DD109D409A8}"/>
              </a:ext>
            </a:extLst>
          </p:cNvPr>
          <p:cNvSpPr txBox="1"/>
          <p:nvPr/>
        </p:nvSpPr>
        <p:spPr>
          <a:xfrm>
            <a:off x="1589708" y="2861429"/>
            <a:ext cx="4589868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ES" sz="2100" b="1">
                <a:solidFill>
                  <a:srgbClr val="7175D8"/>
                </a:solidFill>
                <a:latin typeface="Arial Nova"/>
                <a:cs typeface="Times New Roman" panose="02020603050405020304" pitchFamily="18" charset="0"/>
              </a:rPr>
              <a:t>Intensidad de emisiones para la producción de hidrógeno por escenario, 2021-2050</a:t>
            </a:r>
            <a:endParaRPr lang="en-US" sz="2100" b="1">
              <a:solidFill>
                <a:srgbClr val="7175D8"/>
              </a:solidFill>
              <a:latin typeface="Arial Nova"/>
              <a:cs typeface="Arial" panose="020B0604020202020204" pitchFamily="34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0368654A-FE18-C6D8-DC61-6D01CBC01F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87" y="3037577"/>
            <a:ext cx="1360256" cy="755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1">
            <a:extLst>
              <a:ext uri="{FF2B5EF4-FFF2-40B4-BE49-F238E27FC236}">
                <a16:creationId xmlns:a16="http://schemas.microsoft.com/office/drawing/2014/main" id="{EA004D59-6B35-B025-D93E-6B02386F4F1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31771"/>
          <a:stretch/>
        </p:blipFill>
        <p:spPr>
          <a:xfrm>
            <a:off x="213716" y="4002814"/>
            <a:ext cx="6452426" cy="519579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082DC71D-8611-5208-CC95-20E2626A4627}"/>
              </a:ext>
            </a:extLst>
          </p:cNvPr>
          <p:cNvSpPr txBox="1"/>
          <p:nvPr/>
        </p:nvSpPr>
        <p:spPr>
          <a:xfrm>
            <a:off x="7051140" y="7630924"/>
            <a:ext cx="1091771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7175" indent="-257175" algn="just">
              <a:buFont typeface="Arial" panose="020B0604020202020204" pitchFamily="34" charset="0"/>
              <a:buChar char="•"/>
              <a:defRPr/>
            </a:pPr>
            <a:r>
              <a:rPr lang="es-ES" sz="1800">
                <a:solidFill>
                  <a:srgbClr val="28659C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La adopción global del hidrógeno permitirá una drástica reducción en la intensidad de emisiones asociadas a su producción, disminuyendo de </a:t>
            </a:r>
            <a:r>
              <a:rPr lang="es-ES" sz="1800" b="1">
                <a:solidFill>
                  <a:srgbClr val="28659C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12 kg CO2eq/kg H2 a solo 1 kg CO2eq/kg H2</a:t>
            </a:r>
            <a:r>
              <a:rPr lang="es-ES" sz="1800">
                <a:solidFill>
                  <a:srgbClr val="28659C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. </a:t>
            </a:r>
          </a:p>
          <a:p>
            <a:pPr marL="257175" indent="-257175" algn="just">
              <a:buFont typeface="Arial" panose="020B0604020202020204" pitchFamily="34" charset="0"/>
              <a:buChar char="•"/>
              <a:defRPr/>
            </a:pPr>
            <a:r>
              <a:rPr lang="es-MX" sz="1800">
                <a:solidFill>
                  <a:srgbClr val="28659C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Las fuentes renovables, como la biomasa, la energía fotovoltaica, la energía solar concentrada, la geotermia, la energía hidroeléctrica, oceánica y eólica, presentan emisiones significativamente más bajas en comparación con las fuentes no renovables, </a:t>
            </a:r>
            <a:r>
              <a:rPr lang="es-MX" sz="1800" b="1">
                <a:solidFill>
                  <a:srgbClr val="28659C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no logran que la producción de hidrógeno sea completamente libre de emisiones.</a:t>
            </a:r>
          </a:p>
          <a:p>
            <a:pPr algn="just">
              <a:defRPr/>
            </a:pPr>
            <a:endParaRPr lang="es-ES" sz="1800">
              <a:solidFill>
                <a:srgbClr val="28659C"/>
              </a:solidFill>
              <a:latin typeface="Arial Nova" panose="020B0504020202020204" pitchFamily="34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es-ES" sz="1800">
              <a:solidFill>
                <a:srgbClr val="28659C"/>
              </a:solidFill>
              <a:latin typeface="Arial Nova" panose="020B05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75C904E1-75D9-5B4E-C92E-5D87025F212C}"/>
              </a:ext>
            </a:extLst>
          </p:cNvPr>
          <p:cNvSpPr txBox="1"/>
          <p:nvPr/>
        </p:nvSpPr>
        <p:spPr>
          <a:xfrm>
            <a:off x="464372" y="7919391"/>
            <a:ext cx="595111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1800">
                <a:solidFill>
                  <a:srgbClr val="434343"/>
                </a:solidFill>
                <a:latin typeface="Arial Nova"/>
                <a:cs typeface="Arial" panose="020B0604020202020204" pitchFamily="34" charset="0"/>
              </a:rPr>
              <a:t>NZE = Escenario de cero emisiones netas para 2050</a:t>
            </a:r>
          </a:p>
          <a:p>
            <a:pPr>
              <a:defRPr/>
            </a:pPr>
            <a:r>
              <a:rPr lang="es-ES" sz="1800">
                <a:solidFill>
                  <a:srgbClr val="434343"/>
                </a:solidFill>
                <a:latin typeface="Arial Nova"/>
                <a:cs typeface="Arial" panose="020B0604020202020204" pitchFamily="34" charset="0"/>
              </a:rPr>
              <a:t>APS = Escenario de Promesas Anunciadas</a:t>
            </a:r>
          </a:p>
          <a:p>
            <a:pPr>
              <a:defRPr/>
            </a:pPr>
            <a:r>
              <a:rPr lang="es-ES" sz="1800">
                <a:solidFill>
                  <a:srgbClr val="434343"/>
                </a:solidFill>
                <a:latin typeface="Arial Nova"/>
                <a:cs typeface="Arial" panose="020B0604020202020204" pitchFamily="34" charset="0"/>
              </a:rPr>
              <a:t>STEPS = Escenario Políticas Establecidas</a:t>
            </a:r>
            <a:endParaRPr lang="en-US" sz="1800">
              <a:solidFill>
                <a:srgbClr val="434343"/>
              </a:solidFill>
              <a:latin typeface="Arial Nova"/>
              <a:cs typeface="Arial" panose="020B0604020202020204" pitchFamily="34" charset="0"/>
            </a:endParaRPr>
          </a:p>
        </p:txBody>
      </p:sp>
      <p:pic>
        <p:nvPicPr>
          <p:cNvPr id="67" name="Picture 7">
            <a:extLst>
              <a:ext uri="{FF2B5EF4-FFF2-40B4-BE49-F238E27FC236}">
                <a16:creationId xmlns:a16="http://schemas.microsoft.com/office/drawing/2014/main" id="{3B1EB95F-3431-DDAB-B267-BC4B9D567C3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425849" y="254586"/>
            <a:ext cx="1698795" cy="15393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F97CB7F-5A2F-9FC3-095A-DBEEDB2F8506}"/>
              </a:ext>
            </a:extLst>
          </p:cNvPr>
          <p:cNvSpPr txBox="1"/>
          <p:nvPr/>
        </p:nvSpPr>
        <p:spPr>
          <a:xfrm>
            <a:off x="14521831" y="9587228"/>
            <a:ext cx="3286985" cy="352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714433">
              <a:defRPr/>
            </a:pPr>
            <a:r>
              <a:rPr lang="en-US" sz="1688" dirty="0">
                <a:solidFill>
                  <a:schemeClr val="bg1">
                    <a:lumMod val="65000"/>
                  </a:schemeClr>
                </a:solidFill>
                <a:latin typeface="Arial"/>
              </a:rPr>
              <a:t>Fuente [13]: EIA; IRENA</a:t>
            </a:r>
          </a:p>
        </p:txBody>
      </p:sp>
      <p:sp>
        <p:nvSpPr>
          <p:cNvPr id="11" name="TextBox 18">
            <a:extLst>
              <a:ext uri="{FF2B5EF4-FFF2-40B4-BE49-F238E27FC236}">
                <a16:creationId xmlns:a16="http://schemas.microsoft.com/office/drawing/2014/main" id="{6CA09C35-1FD2-092F-0B77-8ECA806408FF}"/>
              </a:ext>
            </a:extLst>
          </p:cNvPr>
          <p:cNvSpPr txBox="1"/>
          <p:nvPr/>
        </p:nvSpPr>
        <p:spPr>
          <a:xfrm>
            <a:off x="18658883" y="2762659"/>
            <a:ext cx="6176370" cy="4385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spAutoFit/>
          </a:bodyPr>
          <a:lstStyle/>
          <a:p>
            <a:pPr algn="just">
              <a:defRPr/>
            </a:pPr>
            <a:endParaRPr lang="es-ES" sz="2250" b="1">
              <a:solidFill>
                <a:srgbClr val="28659C"/>
              </a:solidFill>
              <a:latin typeface="Arial Nova" panose="020B05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73" name="Grupo 72">
            <a:extLst>
              <a:ext uri="{FF2B5EF4-FFF2-40B4-BE49-F238E27FC236}">
                <a16:creationId xmlns:a16="http://schemas.microsoft.com/office/drawing/2014/main" id="{A96E234A-0B54-6E7C-50EA-1A75F76D5516}"/>
              </a:ext>
            </a:extLst>
          </p:cNvPr>
          <p:cNvGrpSpPr/>
          <p:nvPr/>
        </p:nvGrpSpPr>
        <p:grpSpPr>
          <a:xfrm>
            <a:off x="7256207" y="2556579"/>
            <a:ext cx="10957700" cy="4600655"/>
            <a:chOff x="457200" y="1168241"/>
            <a:chExt cx="11760702" cy="5584558"/>
          </a:xfrm>
        </p:grpSpPr>
        <p:pic>
          <p:nvPicPr>
            <p:cNvPr id="74" name="Imagen 73">
              <a:extLst>
                <a:ext uri="{FF2B5EF4-FFF2-40B4-BE49-F238E27FC236}">
                  <a16:creationId xmlns:a16="http://schemas.microsoft.com/office/drawing/2014/main" id="{E3CCAB38-2015-A481-94AF-94EB9EB5E7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9797"/>
            <a:stretch/>
          </p:blipFill>
          <p:spPr>
            <a:xfrm>
              <a:off x="477826" y="1801556"/>
              <a:ext cx="11236344" cy="4797669"/>
            </a:xfrm>
            <a:prstGeom prst="rect">
              <a:avLst/>
            </a:prstGeom>
          </p:spPr>
        </p:pic>
        <p:sp>
          <p:nvSpPr>
            <p:cNvPr id="75" name="Rectángulo 74">
              <a:extLst>
                <a:ext uri="{FF2B5EF4-FFF2-40B4-BE49-F238E27FC236}">
                  <a16:creationId xmlns:a16="http://schemas.microsoft.com/office/drawing/2014/main" id="{CD8D18FC-B3FB-BED2-D834-0DA319D49EA1}"/>
                </a:ext>
              </a:extLst>
            </p:cNvPr>
            <p:cNvSpPr/>
            <p:nvPr/>
          </p:nvSpPr>
          <p:spPr>
            <a:xfrm>
              <a:off x="1567895" y="5325601"/>
              <a:ext cx="10103284" cy="7529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1350"/>
            </a:p>
          </p:txBody>
        </p:sp>
        <p:sp>
          <p:nvSpPr>
            <p:cNvPr id="76" name="Rectángulo 75">
              <a:extLst>
                <a:ext uri="{FF2B5EF4-FFF2-40B4-BE49-F238E27FC236}">
                  <a16:creationId xmlns:a16="http://schemas.microsoft.com/office/drawing/2014/main" id="{B14FBD67-CC48-2DED-F029-82A11693FE50}"/>
                </a:ext>
              </a:extLst>
            </p:cNvPr>
            <p:cNvSpPr/>
            <p:nvPr/>
          </p:nvSpPr>
          <p:spPr>
            <a:xfrm>
              <a:off x="457200" y="1752105"/>
              <a:ext cx="2075935" cy="5037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2100"/>
            </a:p>
          </p:txBody>
        </p:sp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09A186B7-4A58-59BB-7128-F3459800B1C3}"/>
                </a:ext>
              </a:extLst>
            </p:cNvPr>
            <p:cNvSpPr txBox="1"/>
            <p:nvPr/>
          </p:nvSpPr>
          <p:spPr>
            <a:xfrm>
              <a:off x="1406338" y="5486286"/>
              <a:ext cx="973954" cy="3362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Biomasa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78" name="CuadroTexto 77">
              <a:extLst>
                <a:ext uri="{FF2B5EF4-FFF2-40B4-BE49-F238E27FC236}">
                  <a16:creationId xmlns:a16="http://schemas.microsoft.com/office/drawing/2014/main" id="{C57D0B8D-408B-1EE4-CAC2-1E9B0D025CC1}"/>
                </a:ext>
              </a:extLst>
            </p:cNvPr>
            <p:cNvSpPr txBox="1"/>
            <p:nvPr/>
          </p:nvSpPr>
          <p:spPr>
            <a:xfrm>
              <a:off x="2245932" y="5313007"/>
              <a:ext cx="875141" cy="560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 err="1">
                  <a:solidFill>
                    <a:srgbClr val="28669B"/>
                  </a:solidFill>
                  <a:latin typeface="Arial Nova" panose="020B0504020202020204" pitchFamily="34" charset="0"/>
                </a:rPr>
                <a:t>Fotovol-taica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79" name="CuadroTexto 78">
              <a:extLst>
                <a:ext uri="{FF2B5EF4-FFF2-40B4-BE49-F238E27FC236}">
                  <a16:creationId xmlns:a16="http://schemas.microsoft.com/office/drawing/2014/main" id="{8D342D64-68D8-9A56-22E1-E9029798490A}"/>
                </a:ext>
              </a:extLst>
            </p:cNvPr>
            <p:cNvSpPr txBox="1"/>
            <p:nvPr/>
          </p:nvSpPr>
          <p:spPr>
            <a:xfrm>
              <a:off x="6105275" y="5341161"/>
              <a:ext cx="875141" cy="3362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Viento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0" name="CuadroTexto 79">
              <a:extLst>
                <a:ext uri="{FF2B5EF4-FFF2-40B4-BE49-F238E27FC236}">
                  <a16:creationId xmlns:a16="http://schemas.microsoft.com/office/drawing/2014/main" id="{990CE050-3A76-837E-984B-A62151860895}"/>
                </a:ext>
              </a:extLst>
            </p:cNvPr>
            <p:cNvSpPr txBox="1"/>
            <p:nvPr/>
          </p:nvSpPr>
          <p:spPr>
            <a:xfrm>
              <a:off x="7546903" y="5174650"/>
              <a:ext cx="1098169" cy="700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50" b="1">
                  <a:solidFill>
                    <a:srgbClr val="28669B"/>
                  </a:solidFill>
                  <a:latin typeface="Arial Nova" panose="020B0504020202020204" pitchFamily="34" charset="0"/>
                </a:rPr>
                <a:t>Gas natural (electrólisis de agua)</a:t>
              </a:r>
              <a:endParaRPr lang="es-PE" sz="105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1" name="CuadroTexto 80">
              <a:extLst>
                <a:ext uri="{FF2B5EF4-FFF2-40B4-BE49-F238E27FC236}">
                  <a16:creationId xmlns:a16="http://schemas.microsoft.com/office/drawing/2014/main" id="{1F336B95-A8BC-6E8B-BD5F-F650B38DF25D}"/>
                </a:ext>
              </a:extLst>
            </p:cNvPr>
            <p:cNvSpPr txBox="1"/>
            <p:nvPr/>
          </p:nvSpPr>
          <p:spPr>
            <a:xfrm>
              <a:off x="6871921" y="5370850"/>
              <a:ext cx="938670" cy="3362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Nuclear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2" name="CuadroTexto 81">
              <a:extLst>
                <a:ext uri="{FF2B5EF4-FFF2-40B4-BE49-F238E27FC236}">
                  <a16:creationId xmlns:a16="http://schemas.microsoft.com/office/drawing/2014/main" id="{993D42B9-6404-65CA-4015-6C09DAE6CFEF}"/>
                </a:ext>
              </a:extLst>
            </p:cNvPr>
            <p:cNvSpPr txBox="1"/>
            <p:nvPr/>
          </p:nvSpPr>
          <p:spPr>
            <a:xfrm>
              <a:off x="3008992" y="5211211"/>
              <a:ext cx="1065030" cy="784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Energía solar con-centrada</a:t>
              </a:r>
            </a:p>
          </p:txBody>
        </p:sp>
        <p:sp>
          <p:nvSpPr>
            <p:cNvPr id="83" name="CuadroTexto 82">
              <a:extLst>
                <a:ext uri="{FF2B5EF4-FFF2-40B4-BE49-F238E27FC236}">
                  <a16:creationId xmlns:a16="http://schemas.microsoft.com/office/drawing/2014/main" id="{6157DEC6-C343-4108-578A-C07E1FA113DD}"/>
                </a:ext>
              </a:extLst>
            </p:cNvPr>
            <p:cNvSpPr txBox="1"/>
            <p:nvPr/>
          </p:nvSpPr>
          <p:spPr>
            <a:xfrm>
              <a:off x="4538287" y="5267647"/>
              <a:ext cx="1026753" cy="784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Energía hidro-eléctrica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4" name="CuadroTexto 83">
              <a:extLst>
                <a:ext uri="{FF2B5EF4-FFF2-40B4-BE49-F238E27FC236}">
                  <a16:creationId xmlns:a16="http://schemas.microsoft.com/office/drawing/2014/main" id="{8B81EE19-7192-CACE-B6BA-72A7EE76DE69}"/>
                </a:ext>
              </a:extLst>
            </p:cNvPr>
            <p:cNvSpPr txBox="1"/>
            <p:nvPr/>
          </p:nvSpPr>
          <p:spPr>
            <a:xfrm>
              <a:off x="3891451" y="5234926"/>
              <a:ext cx="730219" cy="560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err="1">
                  <a:solidFill>
                    <a:srgbClr val="28669B"/>
                  </a:solidFill>
                  <a:latin typeface="Arial Nova" panose="020B0504020202020204" pitchFamily="34" charset="0"/>
                </a:rPr>
                <a:t>Geoter-mia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5" name="CuadroTexto 84">
              <a:extLst>
                <a:ext uri="{FF2B5EF4-FFF2-40B4-BE49-F238E27FC236}">
                  <a16:creationId xmlns:a16="http://schemas.microsoft.com/office/drawing/2014/main" id="{1DCC0559-8A84-B059-95F6-11812632CEB8}"/>
                </a:ext>
              </a:extLst>
            </p:cNvPr>
            <p:cNvSpPr txBox="1"/>
            <p:nvPr/>
          </p:nvSpPr>
          <p:spPr>
            <a:xfrm>
              <a:off x="5309225" y="5347788"/>
              <a:ext cx="930800" cy="3362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Océano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6" name="CuadroTexto 85">
              <a:extLst>
                <a:ext uri="{FF2B5EF4-FFF2-40B4-BE49-F238E27FC236}">
                  <a16:creationId xmlns:a16="http://schemas.microsoft.com/office/drawing/2014/main" id="{5578B9B7-2372-4FE5-5BAE-A5220860CC75}"/>
                </a:ext>
              </a:extLst>
            </p:cNvPr>
            <p:cNvSpPr txBox="1"/>
            <p:nvPr/>
          </p:nvSpPr>
          <p:spPr>
            <a:xfrm>
              <a:off x="8495606" y="5154483"/>
              <a:ext cx="1150115" cy="812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Petróleo</a:t>
              </a:r>
            </a:p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(electrólisis de agua</a:t>
              </a:r>
              <a:r>
                <a:rPr lang="es-MX" sz="1350" b="1">
                  <a:solidFill>
                    <a:srgbClr val="28669B"/>
                  </a:solidFill>
                  <a:latin typeface="Arial Nova" panose="020B0504020202020204" pitchFamily="34" charset="0"/>
                </a:rPr>
                <a:t>)</a:t>
              </a:r>
              <a:endParaRPr lang="es-PE" sz="135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7" name="CuadroTexto 86">
              <a:extLst>
                <a:ext uri="{FF2B5EF4-FFF2-40B4-BE49-F238E27FC236}">
                  <a16:creationId xmlns:a16="http://schemas.microsoft.com/office/drawing/2014/main" id="{D3A77FF2-3870-4908-02C7-79F15BE9A066}"/>
                </a:ext>
              </a:extLst>
            </p:cNvPr>
            <p:cNvSpPr txBox="1"/>
            <p:nvPr/>
          </p:nvSpPr>
          <p:spPr>
            <a:xfrm>
              <a:off x="9393617" y="5163121"/>
              <a:ext cx="1070935" cy="812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 dirty="0">
                  <a:solidFill>
                    <a:srgbClr val="28669B"/>
                  </a:solidFill>
                  <a:latin typeface="Arial Nova" panose="020B0504020202020204" pitchFamily="34" charset="0"/>
                </a:rPr>
                <a:t>Carbón</a:t>
              </a:r>
            </a:p>
            <a:p>
              <a:r>
                <a:rPr lang="es-MX" sz="1200" b="1" dirty="0">
                  <a:solidFill>
                    <a:srgbClr val="28669B"/>
                  </a:solidFill>
                  <a:latin typeface="Arial Nova" panose="020B0504020202020204" pitchFamily="34" charset="0"/>
                </a:rPr>
                <a:t>(electrólisis de agua</a:t>
              </a:r>
              <a:r>
                <a:rPr lang="es-MX" sz="1350" b="1" dirty="0">
                  <a:solidFill>
                    <a:srgbClr val="28669B"/>
                  </a:solidFill>
                  <a:latin typeface="Arial Nova" panose="020B0504020202020204" pitchFamily="34" charset="0"/>
                </a:rPr>
                <a:t>)</a:t>
              </a:r>
              <a:endParaRPr lang="es-PE" sz="1350" b="1" dirty="0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8" name="CuadroTexto 87">
              <a:extLst>
                <a:ext uri="{FF2B5EF4-FFF2-40B4-BE49-F238E27FC236}">
                  <a16:creationId xmlns:a16="http://schemas.microsoft.com/office/drawing/2014/main" id="{84956BBA-70FC-F2B1-6BC9-2681776115D1}"/>
                </a:ext>
              </a:extLst>
            </p:cNvPr>
            <p:cNvSpPr txBox="1"/>
            <p:nvPr/>
          </p:nvSpPr>
          <p:spPr>
            <a:xfrm>
              <a:off x="10188972" y="5118610"/>
              <a:ext cx="1217024" cy="8125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Gas natural (reformado con vapor</a:t>
              </a:r>
              <a:r>
                <a:rPr lang="es-MX" sz="1350" b="1">
                  <a:solidFill>
                    <a:srgbClr val="28669B"/>
                  </a:solidFill>
                  <a:latin typeface="Arial Nova" panose="020B0504020202020204" pitchFamily="34" charset="0"/>
                </a:rPr>
                <a:t>)</a:t>
              </a:r>
              <a:endParaRPr lang="es-PE" sz="135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89" name="CuadroTexto 88">
              <a:extLst>
                <a:ext uri="{FF2B5EF4-FFF2-40B4-BE49-F238E27FC236}">
                  <a16:creationId xmlns:a16="http://schemas.microsoft.com/office/drawing/2014/main" id="{4643A37B-255E-CD5A-DABF-17C3E5400A01}"/>
                </a:ext>
              </a:extLst>
            </p:cNvPr>
            <p:cNvSpPr txBox="1"/>
            <p:nvPr/>
          </p:nvSpPr>
          <p:spPr>
            <a:xfrm>
              <a:off x="11210456" y="5118610"/>
              <a:ext cx="1007446" cy="784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Carbón (gasifica-</a:t>
              </a:r>
              <a:r>
                <a:rPr lang="es-MX" sz="1200" b="1" err="1">
                  <a:solidFill>
                    <a:srgbClr val="28669B"/>
                  </a:solidFill>
                  <a:latin typeface="Arial Nova" panose="020B0504020202020204" pitchFamily="34" charset="0"/>
                </a:rPr>
                <a:t>ción</a:t>
              </a:r>
              <a:r>
                <a:rPr lang="es-MX" sz="1200" b="1">
                  <a:solidFill>
                    <a:srgbClr val="28669B"/>
                  </a:solidFill>
                  <a:latin typeface="Arial Nova" panose="020B0504020202020204" pitchFamily="34" charset="0"/>
                </a:rPr>
                <a:t>)</a:t>
              </a:r>
              <a:endParaRPr lang="es-PE" sz="120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90" name="CuadroTexto 89">
              <a:extLst>
                <a:ext uri="{FF2B5EF4-FFF2-40B4-BE49-F238E27FC236}">
                  <a16:creationId xmlns:a16="http://schemas.microsoft.com/office/drawing/2014/main" id="{AE21BD1B-8134-BED4-3C90-EF1E99334034}"/>
                </a:ext>
              </a:extLst>
            </p:cNvPr>
            <p:cNvSpPr txBox="1"/>
            <p:nvPr/>
          </p:nvSpPr>
          <p:spPr>
            <a:xfrm>
              <a:off x="594784" y="1168241"/>
              <a:ext cx="2605699" cy="10367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650" b="1">
                  <a:solidFill>
                    <a:srgbClr val="28669B"/>
                  </a:solidFill>
                  <a:latin typeface="Arial Nova" panose="020B0504020202020204" pitchFamily="34" charset="0"/>
                </a:rPr>
                <a:t>Emisiones de hidrógeno verde (kg CO2e/kg H2)</a:t>
              </a:r>
              <a:endParaRPr lang="es-PE" sz="1650" b="1">
                <a:solidFill>
                  <a:srgbClr val="28669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91" name="Rectángulo 90">
              <a:extLst>
                <a:ext uri="{FF2B5EF4-FFF2-40B4-BE49-F238E27FC236}">
                  <a16:creationId xmlns:a16="http://schemas.microsoft.com/office/drawing/2014/main" id="{0927D4D5-A4CF-FB44-D947-6FF02A289779}"/>
                </a:ext>
              </a:extLst>
            </p:cNvPr>
            <p:cNvSpPr/>
            <p:nvPr/>
          </p:nvSpPr>
          <p:spPr>
            <a:xfrm>
              <a:off x="3608173" y="6216122"/>
              <a:ext cx="6650806" cy="2865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2100"/>
            </a:p>
          </p:txBody>
        </p:sp>
        <p:sp>
          <p:nvSpPr>
            <p:cNvPr id="92" name="CuadroTexto 91">
              <a:extLst>
                <a:ext uri="{FF2B5EF4-FFF2-40B4-BE49-F238E27FC236}">
                  <a16:creationId xmlns:a16="http://schemas.microsoft.com/office/drawing/2014/main" id="{A6D77269-45ED-F867-3CF6-540F5BA16DCF}"/>
                </a:ext>
              </a:extLst>
            </p:cNvPr>
            <p:cNvSpPr txBox="1"/>
            <p:nvPr/>
          </p:nvSpPr>
          <p:spPr>
            <a:xfrm>
              <a:off x="3461165" y="6192402"/>
              <a:ext cx="1843444" cy="50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2100" b="1">
                  <a:solidFill>
                    <a:srgbClr val="00B050"/>
                  </a:solidFill>
                  <a:latin typeface="Arial Nova" panose="020B0504020202020204" pitchFamily="34" charset="0"/>
                </a:rPr>
                <a:t>Renovable</a:t>
              </a:r>
              <a:endParaRPr lang="es-PE" sz="2100" b="1">
                <a:solidFill>
                  <a:srgbClr val="00B050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93" name="CuadroTexto 92">
              <a:extLst>
                <a:ext uri="{FF2B5EF4-FFF2-40B4-BE49-F238E27FC236}">
                  <a16:creationId xmlns:a16="http://schemas.microsoft.com/office/drawing/2014/main" id="{F6BDEDCC-82AB-34D8-4AC2-B371B44840AE}"/>
                </a:ext>
              </a:extLst>
            </p:cNvPr>
            <p:cNvSpPr txBox="1"/>
            <p:nvPr/>
          </p:nvSpPr>
          <p:spPr>
            <a:xfrm>
              <a:off x="7955573" y="6192402"/>
              <a:ext cx="2876089" cy="560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2400" b="1">
                  <a:solidFill>
                    <a:srgbClr val="00B050"/>
                  </a:solidFill>
                  <a:latin typeface="Arial Nova" panose="020B0504020202020204" pitchFamily="34" charset="0"/>
                </a:rPr>
                <a:t>No renovable</a:t>
              </a:r>
              <a:endParaRPr lang="es-PE" sz="2400" b="1">
                <a:solidFill>
                  <a:srgbClr val="00B050"/>
                </a:solidFill>
                <a:latin typeface="Arial Nova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0273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screenshot, diagram, plot&#10;&#10;Description automatically generated">
            <a:extLst>
              <a:ext uri="{FF2B5EF4-FFF2-40B4-BE49-F238E27FC236}">
                <a16:creationId xmlns:a16="http://schemas.microsoft.com/office/drawing/2014/main" id="{C5737B2A-A5D6-D9E1-E495-6C34CE5601A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048" y="3381515"/>
            <a:ext cx="7998613" cy="666551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55E5F7D-D0A7-1C83-A089-FF5C4BA22E61}"/>
              </a:ext>
            </a:extLst>
          </p:cNvPr>
          <p:cNvSpPr txBox="1"/>
          <p:nvPr/>
        </p:nvSpPr>
        <p:spPr>
          <a:xfrm>
            <a:off x="1139710" y="2432210"/>
            <a:ext cx="7003287" cy="11633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2D92AD"/>
                </a:solidFill>
                <a:latin typeface="Aptos" panose="020B0004020202020204" pitchFamily="34" charset="0"/>
              </a:rPr>
              <a:t>Producción mundial de hidrógeno en el escenario de desarrollo sostenible, 2019-2070</a:t>
            </a:r>
            <a:r>
              <a:rPr lang="es-ES" sz="2160" b="1" dirty="0">
                <a:solidFill>
                  <a:srgbClr val="2D92AD"/>
                </a:solidFill>
              </a:rPr>
              <a:t>
</a:t>
            </a:r>
            <a:endParaRPr lang="en-US" sz="2160" b="1" dirty="0">
              <a:solidFill>
                <a:srgbClr val="2D92AD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31398D7-C18B-ABC4-B0DD-4D2BEB6962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496697"/>
              </p:ext>
            </p:extLst>
          </p:nvPr>
        </p:nvGraphicFramePr>
        <p:xfrm>
          <a:off x="1727147" y="3809695"/>
          <a:ext cx="2369759" cy="11161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4499">
                  <a:extLst>
                    <a:ext uri="{9D8B030D-6E8A-4147-A177-3AD203B41FA5}">
                      <a16:colId xmlns:a16="http://schemas.microsoft.com/office/drawing/2014/main" val="1043299346"/>
                    </a:ext>
                  </a:extLst>
                </a:gridCol>
                <a:gridCol w="1945260">
                  <a:extLst>
                    <a:ext uri="{9D8B030D-6E8A-4147-A177-3AD203B41FA5}">
                      <a16:colId xmlns:a16="http://schemas.microsoft.com/office/drawing/2014/main" val="2090766449"/>
                    </a:ext>
                  </a:extLst>
                </a:gridCol>
              </a:tblGrid>
              <a:tr h="27904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21" marR="6921" marT="6921" marB="0" anchor="ctr">
                    <a:solidFill>
                      <a:srgbClr val="49D3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 </a:t>
                      </a:r>
                      <a:r>
                        <a:rPr lang="en-US" sz="1400" u="none" strike="noStrike" err="1">
                          <a:effectLst/>
                        </a:rPr>
                        <a:t>Fósil</a:t>
                      </a:r>
                      <a:r>
                        <a:rPr lang="en-US" sz="1400" u="none" strike="noStrike">
                          <a:effectLst/>
                        </a:rPr>
                        <a:t> sin CCU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921" marR="6921" marT="692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251134"/>
                  </a:ext>
                </a:extLst>
              </a:tr>
              <a:tr h="27904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21" marR="6921" marT="6921" marB="0" anchor="ctr">
                    <a:solidFill>
                      <a:srgbClr val="2B7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 </a:t>
                      </a:r>
                      <a:r>
                        <a:rPr lang="en-US" sz="1400" u="none" strike="noStrike" err="1">
                          <a:effectLst/>
                        </a:rPr>
                        <a:t>Fósil</a:t>
                      </a:r>
                      <a:r>
                        <a:rPr lang="en-US" sz="1400" u="none" strike="noStrike">
                          <a:effectLst/>
                        </a:rPr>
                        <a:t> con CCU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921" marR="6921" marT="692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527198"/>
                  </a:ext>
                </a:extLst>
              </a:tr>
              <a:tr h="27904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21" marR="6921" marT="6921" marB="0" anchor="ctr">
                    <a:solidFill>
                      <a:srgbClr val="62F99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 </a:t>
                      </a:r>
                      <a:r>
                        <a:rPr lang="en-US" sz="1400" u="none" strike="noStrike" err="1">
                          <a:effectLst/>
                        </a:rPr>
                        <a:t>Renovab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921" marR="6921" marT="692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1527391"/>
                  </a:ext>
                </a:extLst>
              </a:tr>
              <a:tr h="27904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21" marR="6921" marT="6921" marB="0" anchor="ctr">
                    <a:solidFill>
                      <a:srgbClr val="00AEA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 % H2 Verd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921" marR="6921" marT="692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929746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87172555-4152-3F74-5967-B484A84436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29251" y="3979322"/>
            <a:ext cx="8825117" cy="483936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AA5C31-C3C9-1A89-DFD1-FE316787D22D}"/>
              </a:ext>
            </a:extLst>
          </p:cNvPr>
          <p:cNvSpPr txBox="1"/>
          <p:nvPr/>
        </p:nvSpPr>
        <p:spPr>
          <a:xfrm>
            <a:off x="9845577" y="2432210"/>
            <a:ext cx="7443319" cy="11633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2D92AD"/>
                </a:solidFill>
                <a:latin typeface="Aptos" panose="020B0004020202020204" pitchFamily="34" charset="0"/>
              </a:rPr>
              <a:t>Costos de producción de hidrógeno a partir de energía solar y eólica vs. combustibles fósiles</a:t>
            </a:r>
            <a:r>
              <a:rPr lang="es-ES" sz="2160" b="1" dirty="0">
                <a:solidFill>
                  <a:srgbClr val="2D92AD"/>
                </a:solidFill>
              </a:rPr>
              <a:t>
</a:t>
            </a:r>
            <a:endParaRPr lang="en-US" sz="2160" b="1" dirty="0">
              <a:solidFill>
                <a:srgbClr val="2D92AD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1471AD6-5F35-3579-389D-2632A63C203F}"/>
              </a:ext>
            </a:extLst>
          </p:cNvPr>
          <p:cNvSpPr txBox="1"/>
          <p:nvPr/>
        </p:nvSpPr>
        <p:spPr>
          <a:xfrm>
            <a:off x="13341927" y="9852110"/>
            <a:ext cx="5261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546">
              <a:defRPr/>
            </a:pP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Arial Nova" panose="020B0504020202020204" pitchFamily="34" charset="0"/>
              </a:rPr>
              <a:t>Fuente [14]: EIA; </a:t>
            </a:r>
            <a:r>
              <a:rPr lang="es-ES" sz="900" dirty="0">
                <a:solidFill>
                  <a:schemeClr val="bg1">
                    <a:lumMod val="50000"/>
                  </a:schemeClr>
                </a:solidFill>
                <a:latin typeface="Aptos" panose="020B0004020202020204" pitchFamily="34" charset="0"/>
              </a:rPr>
              <a:t>Producción mundial de hidrógeno en el escenario de desarrollo sostenible, 2019-2070. [15]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Arial Nova" panose="020B0504020202020204" pitchFamily="34" charset="0"/>
              </a:rPr>
              <a:t> IRENA.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1F2353C6-1972-14D7-4646-A955F418C674}"/>
              </a:ext>
            </a:extLst>
          </p:cNvPr>
          <p:cNvSpPr/>
          <p:nvPr/>
        </p:nvSpPr>
        <p:spPr>
          <a:xfrm>
            <a:off x="-35169" y="0"/>
            <a:ext cx="18323168" cy="2048493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27">
              <a:defRPr/>
            </a:pPr>
            <a:endParaRPr lang="en-US" sz="324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01C3A4A5-4A6B-72F2-F182-4C60A698D5CD}"/>
              </a:ext>
            </a:extLst>
          </p:cNvPr>
          <p:cNvSpPr txBox="1">
            <a:spLocks/>
          </p:cNvSpPr>
          <p:nvPr/>
        </p:nvSpPr>
        <p:spPr>
          <a:xfrm>
            <a:off x="939245" y="284849"/>
            <a:ext cx="15034857" cy="1450525"/>
          </a:xfrm>
          <a:prstGeom prst="rect">
            <a:avLst/>
          </a:prstGeom>
        </p:spPr>
        <p:txBody>
          <a:bodyPr vert="horz" wrap="square" lIns="0" tIns="109728" rIns="0" bIns="0" rtlCol="0" anchor="t">
            <a:spAutoFit/>
          </a:bodyPr>
          <a:lstStyle>
            <a:lvl1pPr algn="l" defTabSz="7619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67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marL="22860" marR="8573" algn="ctr">
              <a:lnSpc>
                <a:spcPts val="5436"/>
              </a:lnSpc>
              <a:spcBef>
                <a:spcPts val="864"/>
              </a:spcBef>
              <a:defRPr/>
            </a:pPr>
            <a:r>
              <a:rPr lang="es-ES" sz="3600" b="1" dirty="0">
                <a:solidFill>
                  <a:prstClr val="white"/>
                </a:solidFill>
                <a:latin typeface="Aptos"/>
                <a:cs typeface="Arial"/>
              </a:rPr>
              <a:t>Para el 2030, se proyecta que el consumo global de hidrógeno alcance las 100 Mt por año y se triplique al 2050 </a:t>
            </a:r>
            <a:endParaRPr lang="en-US" sz="3600" b="1" dirty="0">
              <a:solidFill>
                <a:prstClr val="white"/>
              </a:solidFill>
              <a:latin typeface="Aptos"/>
              <a:cs typeface="Arial"/>
            </a:endParaRPr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id="{0C54DA31-BFE5-87DB-B210-79CAE52ACD6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425849" y="254586"/>
            <a:ext cx="1698795" cy="153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966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>
            <a:extLst>
              <a:ext uri="{FF2B5EF4-FFF2-40B4-BE49-F238E27FC236}">
                <a16:creationId xmlns:a16="http://schemas.microsoft.com/office/drawing/2014/main" id="{2E638AE0-EA2C-F219-A59F-10BC7C8FB5B9}"/>
              </a:ext>
            </a:extLst>
          </p:cNvPr>
          <p:cNvSpPr/>
          <p:nvPr/>
        </p:nvSpPr>
        <p:spPr>
          <a:xfrm>
            <a:off x="1256" y="-6280"/>
            <a:ext cx="18287999" cy="2118197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27">
              <a:defRPr/>
            </a:pPr>
            <a:endParaRPr lang="en-US" sz="324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9DE41E5D-967F-92D5-6939-9A893D1CB93A}"/>
              </a:ext>
            </a:extLst>
          </p:cNvPr>
          <p:cNvSpPr txBox="1"/>
          <p:nvPr/>
        </p:nvSpPr>
        <p:spPr>
          <a:xfrm>
            <a:off x="1096068" y="2441270"/>
            <a:ext cx="7255026" cy="1107996"/>
          </a:xfrm>
          <a:prstGeom prst="rect">
            <a:avLst/>
          </a:prstGeom>
          <a:noFill/>
        </p:spPr>
        <p:txBody>
          <a:bodyPr wrap="square" lIns="137160" tIns="68580" rIns="137160" bIns="68580" anchor="t">
            <a:spAutoFit/>
          </a:bodyPr>
          <a:lstStyle/>
          <a:p>
            <a:pPr algn="just" defTabSz="822960">
              <a:defRPr/>
            </a:pPr>
            <a:r>
              <a:rPr lang="es-ES" sz="2100">
                <a:solidFill>
                  <a:srgbClr val="28659C"/>
                </a:solidFill>
                <a:latin typeface="Arial Nova"/>
                <a:cs typeface="Arial"/>
              </a:rPr>
              <a:t>A la fecha, hay más de </a:t>
            </a:r>
            <a:r>
              <a:rPr lang="es-ES" sz="2100" b="1">
                <a:solidFill>
                  <a:srgbClr val="00B2BB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25.477</a:t>
            </a:r>
            <a:r>
              <a:rPr lang="es-ES" sz="2100">
                <a:solidFill>
                  <a:srgbClr val="28659C"/>
                </a:solidFill>
                <a:latin typeface="Arial Nova"/>
                <a:cs typeface="Arial"/>
              </a:rPr>
              <a:t> megavatios de proyectos renovables que tienen nombre propio y han presentado su OEP al COES*</a:t>
            </a:r>
            <a:endParaRPr lang="en-US" sz="2100">
              <a:solidFill>
                <a:srgbClr val="28659C"/>
              </a:solidFill>
              <a:latin typeface="Arial Nova"/>
              <a:cs typeface="Arial"/>
            </a:endParaRPr>
          </a:p>
        </p:txBody>
      </p:sp>
      <p:sp>
        <p:nvSpPr>
          <p:cNvPr id="10" name="object 100">
            <a:extLst>
              <a:ext uri="{FF2B5EF4-FFF2-40B4-BE49-F238E27FC236}">
                <a16:creationId xmlns:a16="http://schemas.microsoft.com/office/drawing/2014/main" id="{72CA0443-099F-850E-EA35-A43096C1C547}"/>
              </a:ext>
            </a:extLst>
          </p:cNvPr>
          <p:cNvSpPr txBox="1"/>
          <p:nvPr/>
        </p:nvSpPr>
        <p:spPr>
          <a:xfrm>
            <a:off x="14306257" y="9984234"/>
            <a:ext cx="4239183" cy="204865"/>
          </a:xfrm>
          <a:prstGeom prst="rect">
            <a:avLst/>
          </a:prstGeom>
        </p:spPr>
        <p:txBody>
          <a:bodyPr vert="horz" wrap="square" lIns="0" tIns="20004" rIns="0" bIns="0" rtlCol="0" anchor="t">
            <a:spAutoFit/>
          </a:bodyPr>
          <a:lstStyle/>
          <a:p>
            <a:pPr marL="19050" marR="7620" defTabSz="822960">
              <a:defRPr/>
            </a:pPr>
            <a:r>
              <a:rPr lang="es-ES" sz="12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: [16] Ministerio de Energía y Minas, COES, SPR</a:t>
            </a:r>
            <a:endParaRPr lang="en-US" sz="1200" kern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8">
            <a:extLst>
              <a:ext uri="{FF2B5EF4-FFF2-40B4-BE49-F238E27FC236}">
                <a16:creationId xmlns:a16="http://schemas.microsoft.com/office/drawing/2014/main" id="{744B6FBE-2A62-228B-04BD-A22A041B5BF8}"/>
              </a:ext>
            </a:extLst>
          </p:cNvPr>
          <p:cNvSpPr txBox="1"/>
          <p:nvPr/>
        </p:nvSpPr>
        <p:spPr>
          <a:xfrm>
            <a:off x="3519123" y="5052590"/>
            <a:ext cx="510980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22960">
              <a:defRPr/>
            </a:pPr>
            <a:r>
              <a:rPr lang="es-ES" sz="1800" dirty="0">
                <a:solidFill>
                  <a:srgbClr val="28659C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Hasta el momento </a:t>
            </a:r>
            <a:r>
              <a:rPr lang="es-ES" sz="1800" b="1" dirty="0">
                <a:solidFill>
                  <a:srgbClr val="00B2BB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"no hay ni un solo nuevo gran proyecto industrial que se sume al crecimiento de la demanda de más energía hasta 2034"</a:t>
            </a:r>
            <a:r>
              <a:rPr lang="es-ES" sz="1800" dirty="0">
                <a:solidFill>
                  <a:srgbClr val="28659C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, y esto es resultado de "la inestabilidad política y todo lo que sabemos". </a:t>
            </a:r>
            <a:r>
              <a:rPr lang="es-ES" sz="1800" b="1" dirty="0">
                <a:solidFill>
                  <a:srgbClr val="00B2BB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"Y el crecimiento vegetativo tampoco está tan bien, porque la economía no está creciendo como solíamos hacerlo"</a:t>
            </a:r>
            <a:r>
              <a:rPr lang="es-ES" sz="1800" dirty="0">
                <a:solidFill>
                  <a:srgbClr val="28659C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5" name="Picture 8" descr="Reeligen a César Butrón como Presidente del COES Sinac – Energiminas">
            <a:extLst>
              <a:ext uri="{FF2B5EF4-FFF2-40B4-BE49-F238E27FC236}">
                <a16:creationId xmlns:a16="http://schemas.microsoft.com/office/drawing/2014/main" id="{2C1FBFD7-E8B0-3C05-3210-39EEF47D31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665" t="1" r="45135" b="43049"/>
          <a:stretch/>
        </p:blipFill>
        <p:spPr bwMode="auto">
          <a:xfrm>
            <a:off x="1096068" y="4896689"/>
            <a:ext cx="1635995" cy="162588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30">
            <a:extLst>
              <a:ext uri="{FF2B5EF4-FFF2-40B4-BE49-F238E27FC236}">
                <a16:creationId xmlns:a16="http://schemas.microsoft.com/office/drawing/2014/main" id="{D352853A-2445-7203-1562-2CB4D7A583FF}"/>
              </a:ext>
            </a:extLst>
          </p:cNvPr>
          <p:cNvSpPr txBox="1"/>
          <p:nvPr/>
        </p:nvSpPr>
        <p:spPr>
          <a:xfrm>
            <a:off x="1156693" y="6589681"/>
            <a:ext cx="2243699" cy="630942"/>
          </a:xfrm>
          <a:prstGeom prst="rect">
            <a:avLst/>
          </a:prstGeom>
          <a:noFill/>
        </p:spPr>
        <p:txBody>
          <a:bodyPr wrap="square" lIns="137160" tIns="68580" rIns="137160" bIns="68580" anchor="t">
            <a:spAutoFit/>
          </a:bodyPr>
          <a:lstStyle/>
          <a:p>
            <a:pPr defTabSz="822960">
              <a:defRPr/>
            </a:pPr>
            <a:r>
              <a:rPr lang="en-US" sz="1600" dirty="0">
                <a:solidFill>
                  <a:srgbClr val="28659C"/>
                </a:solidFill>
                <a:latin typeface="Arial Nova"/>
                <a:cs typeface="Arial"/>
              </a:rPr>
              <a:t>César </a:t>
            </a:r>
            <a:r>
              <a:rPr lang="en-US" sz="1600" dirty="0" err="1">
                <a:solidFill>
                  <a:srgbClr val="28659C"/>
                </a:solidFill>
                <a:latin typeface="Arial Nova"/>
                <a:cs typeface="Arial"/>
              </a:rPr>
              <a:t>Butrón</a:t>
            </a:r>
            <a:endParaRPr lang="en-US" sz="1600" dirty="0">
              <a:solidFill>
                <a:srgbClr val="28659C"/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  <a:p>
            <a:pPr defTabSz="822960">
              <a:defRPr/>
            </a:pPr>
            <a:r>
              <a:rPr lang="en-US" sz="1600" b="1" dirty="0">
                <a:solidFill>
                  <a:srgbClr val="00B2BB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Presidente COES</a:t>
            </a:r>
          </a:p>
        </p:txBody>
      </p:sp>
      <p:grpSp>
        <p:nvGrpSpPr>
          <p:cNvPr id="27" name="Grupo 26">
            <a:extLst>
              <a:ext uri="{FF2B5EF4-FFF2-40B4-BE49-F238E27FC236}">
                <a16:creationId xmlns:a16="http://schemas.microsoft.com/office/drawing/2014/main" id="{5D2905D1-F769-B9C5-529D-37FD0FF4C830}"/>
              </a:ext>
            </a:extLst>
          </p:cNvPr>
          <p:cNvGrpSpPr/>
          <p:nvPr/>
        </p:nvGrpSpPr>
        <p:grpSpPr>
          <a:xfrm>
            <a:off x="902123" y="3668054"/>
            <a:ext cx="659666" cy="741383"/>
            <a:chOff x="5364369" y="2346629"/>
            <a:chExt cx="689099" cy="689099"/>
          </a:xfrm>
        </p:grpSpPr>
        <p:pic>
          <p:nvPicPr>
            <p:cNvPr id="37" name="Imagen 36" descr="Icono&#10;&#10;Descripción generada automáticamente">
              <a:extLst>
                <a:ext uri="{FF2B5EF4-FFF2-40B4-BE49-F238E27FC236}">
                  <a16:creationId xmlns:a16="http://schemas.microsoft.com/office/drawing/2014/main" id="{C356F351-2981-9148-CAEB-013E9027C8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0148" y="2458392"/>
              <a:ext cx="465574" cy="465574"/>
            </a:xfrm>
            <a:prstGeom prst="rect">
              <a:avLst/>
            </a:prstGeom>
          </p:spPr>
        </p:pic>
        <p:sp>
          <p:nvSpPr>
            <p:cNvPr id="38" name="Elipse 37">
              <a:extLst>
                <a:ext uri="{FF2B5EF4-FFF2-40B4-BE49-F238E27FC236}">
                  <a16:creationId xmlns:a16="http://schemas.microsoft.com/office/drawing/2014/main" id="{882F384D-B8A6-2089-100E-3BF0EFB05E04}"/>
                </a:ext>
              </a:extLst>
            </p:cNvPr>
            <p:cNvSpPr/>
            <p:nvPr/>
          </p:nvSpPr>
          <p:spPr>
            <a:xfrm>
              <a:off x="5364369" y="2346629"/>
              <a:ext cx="689099" cy="689099"/>
            </a:xfrm>
            <a:prstGeom prst="ellipse">
              <a:avLst/>
            </a:prstGeom>
            <a:noFill/>
            <a:ln>
              <a:solidFill>
                <a:srgbClr val="3BA1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PE">
                <a:solidFill>
                  <a:prstClr val="white"/>
                </a:solidFill>
                <a:latin typeface="Calibri" panose="020F0502020204030204"/>
                <a:sym typeface="Arial"/>
              </a:endParaRPr>
            </a:p>
          </p:txBody>
        </p:sp>
      </p:grpSp>
      <p:sp>
        <p:nvSpPr>
          <p:cNvPr id="39" name="TextBox 25">
            <a:extLst>
              <a:ext uri="{FF2B5EF4-FFF2-40B4-BE49-F238E27FC236}">
                <a16:creationId xmlns:a16="http://schemas.microsoft.com/office/drawing/2014/main" id="{839EF906-6B76-A872-6829-87C56BD38D19}"/>
              </a:ext>
            </a:extLst>
          </p:cNvPr>
          <p:cNvSpPr txBox="1"/>
          <p:nvPr/>
        </p:nvSpPr>
        <p:spPr>
          <a:xfrm>
            <a:off x="1478982" y="3852832"/>
            <a:ext cx="22437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PE" sz="1800">
                <a:solidFill>
                  <a:srgbClr val="28659C"/>
                </a:solidFill>
                <a:latin typeface="Arial Nova" panose="020B0504020202020204" pitchFamily="34" charset="0"/>
                <a:cs typeface="Arial" panose="020B0604020202020204" pitchFamily="34" charset="0"/>
                <a:sym typeface="Arial"/>
              </a:rPr>
              <a:t>Solar 12.449 MW </a:t>
            </a:r>
          </a:p>
        </p:txBody>
      </p:sp>
      <p:sp>
        <p:nvSpPr>
          <p:cNvPr id="40" name="TextBox 25">
            <a:extLst>
              <a:ext uri="{FF2B5EF4-FFF2-40B4-BE49-F238E27FC236}">
                <a16:creationId xmlns:a16="http://schemas.microsoft.com/office/drawing/2014/main" id="{5175AE12-847E-E140-4DA7-95A694B9FD7F}"/>
              </a:ext>
            </a:extLst>
          </p:cNvPr>
          <p:cNvSpPr txBox="1"/>
          <p:nvPr/>
        </p:nvSpPr>
        <p:spPr>
          <a:xfrm>
            <a:off x="4162703" y="3881981"/>
            <a:ext cx="22437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PE" sz="1800">
                <a:solidFill>
                  <a:srgbClr val="28659C"/>
                </a:solidFill>
                <a:latin typeface="Arial Nova" panose="020B0504020202020204" pitchFamily="34" charset="0"/>
                <a:cs typeface="Arial" panose="020B0604020202020204" pitchFamily="34" charset="0"/>
                <a:sym typeface="Arial"/>
              </a:rPr>
              <a:t>Eólico 9.703 MW </a:t>
            </a: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F5D86356-94A7-D1D1-242D-38397F28F71B}"/>
              </a:ext>
            </a:extLst>
          </p:cNvPr>
          <p:cNvGrpSpPr/>
          <p:nvPr/>
        </p:nvGrpSpPr>
        <p:grpSpPr>
          <a:xfrm>
            <a:off x="3485250" y="3676592"/>
            <a:ext cx="705765" cy="703260"/>
            <a:chOff x="323500" y="2536025"/>
            <a:chExt cx="689099" cy="689099"/>
          </a:xfrm>
        </p:grpSpPr>
        <p:pic>
          <p:nvPicPr>
            <p:cNvPr id="42" name="Imagen 41" descr="Icono&#10;&#10;Descripción generada automáticamente">
              <a:extLst>
                <a:ext uri="{FF2B5EF4-FFF2-40B4-BE49-F238E27FC236}">
                  <a16:creationId xmlns:a16="http://schemas.microsoft.com/office/drawing/2014/main" id="{F696DDFB-729E-E455-B4FE-A02EB80E8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339" y="2692287"/>
              <a:ext cx="395419" cy="395419"/>
            </a:xfrm>
            <a:prstGeom prst="rect">
              <a:avLst/>
            </a:prstGeom>
          </p:spPr>
        </p:pic>
        <p:sp>
          <p:nvSpPr>
            <p:cNvPr id="43" name="Elipse 42">
              <a:extLst>
                <a:ext uri="{FF2B5EF4-FFF2-40B4-BE49-F238E27FC236}">
                  <a16:creationId xmlns:a16="http://schemas.microsoft.com/office/drawing/2014/main" id="{86BE9C7B-BC32-3795-D88A-969234157B6D}"/>
                </a:ext>
              </a:extLst>
            </p:cNvPr>
            <p:cNvSpPr/>
            <p:nvPr/>
          </p:nvSpPr>
          <p:spPr>
            <a:xfrm>
              <a:off x="323500" y="2536025"/>
              <a:ext cx="689099" cy="689099"/>
            </a:xfrm>
            <a:prstGeom prst="ellipse">
              <a:avLst/>
            </a:prstGeom>
            <a:noFill/>
            <a:ln>
              <a:solidFill>
                <a:srgbClr val="3BA1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PE">
                <a:solidFill>
                  <a:prstClr val="white"/>
                </a:solidFill>
                <a:latin typeface="Calibri" panose="020F0502020204030204"/>
                <a:sym typeface="Arial"/>
              </a:endParaRPr>
            </a:p>
          </p:txBody>
        </p:sp>
      </p:grpSp>
      <p:sp>
        <p:nvSpPr>
          <p:cNvPr id="44" name="TextBox 25">
            <a:extLst>
              <a:ext uri="{FF2B5EF4-FFF2-40B4-BE49-F238E27FC236}">
                <a16:creationId xmlns:a16="http://schemas.microsoft.com/office/drawing/2014/main" id="{ECA4B85C-8392-295B-3641-140E1B338004}"/>
              </a:ext>
            </a:extLst>
          </p:cNvPr>
          <p:cNvSpPr txBox="1"/>
          <p:nvPr/>
        </p:nvSpPr>
        <p:spPr>
          <a:xfrm>
            <a:off x="6683352" y="3796556"/>
            <a:ext cx="22437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PE" sz="1800">
                <a:solidFill>
                  <a:srgbClr val="28659C"/>
                </a:solidFill>
                <a:latin typeface="Arial Nova" panose="020B0504020202020204" pitchFamily="34" charset="0"/>
                <a:cs typeface="Arial" panose="020B0604020202020204" pitchFamily="34" charset="0"/>
                <a:sym typeface="Arial"/>
              </a:rPr>
              <a:t>Hidro 3.324 MW </a:t>
            </a:r>
          </a:p>
        </p:txBody>
      </p:sp>
      <p:grpSp>
        <p:nvGrpSpPr>
          <p:cNvPr id="45" name="Grupo 44">
            <a:extLst>
              <a:ext uri="{FF2B5EF4-FFF2-40B4-BE49-F238E27FC236}">
                <a16:creationId xmlns:a16="http://schemas.microsoft.com/office/drawing/2014/main" id="{AC76B100-4870-8C09-F35E-0D9B1B2EC3A3}"/>
              </a:ext>
            </a:extLst>
          </p:cNvPr>
          <p:cNvGrpSpPr/>
          <p:nvPr/>
        </p:nvGrpSpPr>
        <p:grpSpPr>
          <a:xfrm>
            <a:off x="6074025" y="3661079"/>
            <a:ext cx="659664" cy="670982"/>
            <a:chOff x="295503" y="3367798"/>
            <a:chExt cx="689099" cy="689099"/>
          </a:xfrm>
        </p:grpSpPr>
        <p:sp>
          <p:nvSpPr>
            <p:cNvPr id="46" name="Elipse 45">
              <a:extLst>
                <a:ext uri="{FF2B5EF4-FFF2-40B4-BE49-F238E27FC236}">
                  <a16:creationId xmlns:a16="http://schemas.microsoft.com/office/drawing/2014/main" id="{2B92D727-0B86-7033-FD59-F4E97721474B}"/>
                </a:ext>
              </a:extLst>
            </p:cNvPr>
            <p:cNvSpPr/>
            <p:nvPr/>
          </p:nvSpPr>
          <p:spPr>
            <a:xfrm>
              <a:off x="295503" y="3367798"/>
              <a:ext cx="689099" cy="689099"/>
            </a:xfrm>
            <a:prstGeom prst="ellipse">
              <a:avLst/>
            </a:prstGeom>
            <a:noFill/>
            <a:ln>
              <a:solidFill>
                <a:srgbClr val="3BA1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PE">
                <a:solidFill>
                  <a:prstClr val="white"/>
                </a:solidFill>
                <a:latin typeface="Calibri" panose="020F0502020204030204"/>
                <a:sym typeface="Arial"/>
              </a:endParaRPr>
            </a:p>
          </p:txBody>
        </p:sp>
        <p:pic>
          <p:nvPicPr>
            <p:cNvPr id="47" name="Imagen 46" descr="Imagen que contiene dibujo, alimentos&#10;&#10;Descripción generada automáticamente">
              <a:extLst>
                <a:ext uri="{FF2B5EF4-FFF2-40B4-BE49-F238E27FC236}">
                  <a16:creationId xmlns:a16="http://schemas.microsoft.com/office/drawing/2014/main" id="{66B09172-5FE1-F9B8-943B-420B409FAB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518" y="3444536"/>
              <a:ext cx="475069" cy="475069"/>
            </a:xfrm>
            <a:prstGeom prst="rect">
              <a:avLst/>
            </a:prstGeom>
          </p:spPr>
        </p:pic>
      </p:grpSp>
      <p:pic>
        <p:nvPicPr>
          <p:cNvPr id="48" name="Picture 31">
            <a:extLst>
              <a:ext uri="{FF2B5EF4-FFF2-40B4-BE49-F238E27FC236}">
                <a16:creationId xmlns:a16="http://schemas.microsoft.com/office/drawing/2014/main" id="{3FD352DE-9E0D-9883-A772-9CB617CA48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6015" y="2370538"/>
            <a:ext cx="7255026" cy="7732988"/>
          </a:xfrm>
          <a:prstGeom prst="rect">
            <a:avLst/>
          </a:prstGeom>
        </p:spPr>
      </p:pic>
      <p:sp>
        <p:nvSpPr>
          <p:cNvPr id="50" name="CuadroTexto 49">
            <a:extLst>
              <a:ext uri="{FF2B5EF4-FFF2-40B4-BE49-F238E27FC236}">
                <a16:creationId xmlns:a16="http://schemas.microsoft.com/office/drawing/2014/main" id="{A51F7FD2-36BF-C8E9-1F8F-4F54D0347DE9}"/>
              </a:ext>
            </a:extLst>
          </p:cNvPr>
          <p:cNvSpPr txBox="1"/>
          <p:nvPr/>
        </p:nvSpPr>
        <p:spPr>
          <a:xfrm>
            <a:off x="9144001" y="9641308"/>
            <a:ext cx="4333820" cy="57708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s-PE" sz="1575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(*) Estudio de Pre-Operatividad</a:t>
            </a:r>
          </a:p>
          <a:p>
            <a:endParaRPr lang="es-PE" sz="1575">
              <a:solidFill>
                <a:schemeClr val="tx1">
                  <a:lumMod val="85000"/>
                  <a:lumOff val="15000"/>
                </a:schemeClr>
              </a:solidFill>
              <a:latin typeface="Arial Nova" panose="020B0504020202020204" pitchFamily="34" charset="0"/>
            </a:endParaRPr>
          </a:p>
        </p:txBody>
      </p:sp>
      <p:sp>
        <p:nvSpPr>
          <p:cNvPr id="51" name="object 5">
            <a:extLst>
              <a:ext uri="{FF2B5EF4-FFF2-40B4-BE49-F238E27FC236}">
                <a16:creationId xmlns:a16="http://schemas.microsoft.com/office/drawing/2014/main" id="{F1691113-F0AF-622F-35BE-4D07D7897FF7}"/>
              </a:ext>
            </a:extLst>
          </p:cNvPr>
          <p:cNvSpPr txBox="1">
            <a:spLocks/>
          </p:cNvSpPr>
          <p:nvPr/>
        </p:nvSpPr>
        <p:spPr>
          <a:xfrm>
            <a:off x="502073" y="469878"/>
            <a:ext cx="15347527" cy="1470211"/>
          </a:xfrm>
          <a:prstGeom prst="rect">
            <a:avLst/>
          </a:prstGeom>
        </p:spPr>
        <p:txBody>
          <a:bodyPr vert="horz" wrap="square" lIns="0" tIns="109728" rIns="0" bIns="0" rtlCol="0" anchor="t">
            <a:spAutoFit/>
          </a:bodyPr>
          <a:lstStyle>
            <a:lvl1pPr algn="l" defTabSz="7619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67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marL="22860" marR="8573" algn="ctr" defTabSz="1142955">
              <a:lnSpc>
                <a:spcPts val="5436"/>
              </a:lnSpc>
              <a:spcBef>
                <a:spcPts val="864"/>
              </a:spcBef>
              <a:defRPr/>
            </a:pPr>
            <a:r>
              <a:rPr lang="es-ES" sz="4200" b="1" dirty="0">
                <a:solidFill>
                  <a:prstClr val="white"/>
                </a:solidFill>
                <a:latin typeface="Aptos"/>
                <a:cs typeface="Arial"/>
              </a:rPr>
              <a:t>La demanda de hidrógeno es la única que puede monetizar todos los recursos renovables que están estancados en el Perú</a:t>
            </a:r>
            <a:endParaRPr lang="en-US" sz="5501" dirty="0">
              <a:solidFill>
                <a:prstClr val="black"/>
              </a:solidFill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D89DDB83-114A-91B0-9BDF-83CA7EABAA8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425849" y="254586"/>
            <a:ext cx="1698795" cy="1539321"/>
          </a:xfrm>
          <a:prstGeom prst="rect">
            <a:avLst/>
          </a:prstGeom>
        </p:spPr>
      </p:pic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6DD4AD59-8202-5533-117F-3DD72810EB13}"/>
              </a:ext>
            </a:extLst>
          </p:cNvPr>
          <p:cNvSpPr/>
          <p:nvPr/>
        </p:nvSpPr>
        <p:spPr>
          <a:xfrm>
            <a:off x="902123" y="7811873"/>
            <a:ext cx="7413442" cy="1997599"/>
          </a:xfrm>
          <a:prstGeom prst="wedgeRectCallout">
            <a:avLst>
              <a:gd name="adj1" fmla="val -10958"/>
              <a:gd name="adj2" fmla="val 3868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546"/>
            <a:r>
              <a:rPr lang="es-CL" sz="2400" dirty="0">
                <a:solidFill>
                  <a:srgbClr val="2D92AD"/>
                </a:solidFill>
                <a:latin typeface="Arial Nova" panose="020B0504020202020204" pitchFamily="34" charset="0"/>
              </a:rPr>
              <a:t>El Perú tiene suficiente potencial </a:t>
            </a:r>
            <a:r>
              <a:rPr lang="es-CL" sz="2400" b="1" dirty="0">
                <a:solidFill>
                  <a:srgbClr val="2D92AD"/>
                </a:solidFill>
                <a:latin typeface="Arial Nova" panose="020B0504020202020204" pitchFamily="34" charset="0"/>
              </a:rPr>
              <a:t>de gas natural y fuentes renovables </a:t>
            </a:r>
            <a:r>
              <a:rPr lang="es-CL" sz="2400" dirty="0">
                <a:solidFill>
                  <a:srgbClr val="2D92AD"/>
                </a:solidFill>
                <a:latin typeface="Arial Nova" panose="020B0504020202020204" pitchFamily="34" charset="0"/>
              </a:rPr>
              <a:t>para abastecer completamente las necesidades de H2 del </a:t>
            </a:r>
            <a:r>
              <a:rPr lang="es-CL" sz="2400" b="1" dirty="0">
                <a:solidFill>
                  <a:srgbClr val="2D92AD"/>
                </a:solidFill>
                <a:latin typeface="Arial Nova" panose="020B0504020202020204" pitchFamily="34" charset="0"/>
              </a:rPr>
              <a:t>mercado local </a:t>
            </a:r>
            <a:r>
              <a:rPr lang="es-CL" sz="2400" dirty="0">
                <a:solidFill>
                  <a:srgbClr val="2D92AD"/>
                </a:solidFill>
                <a:latin typeface="Arial Nova" panose="020B0504020202020204" pitchFamily="34" charset="0"/>
              </a:rPr>
              <a:t>y ser un líder en la exportación de grandes niveles de amoniaco a </a:t>
            </a:r>
            <a:r>
              <a:rPr lang="es-CL" sz="2400" b="1" dirty="0">
                <a:solidFill>
                  <a:srgbClr val="2D92AD"/>
                </a:solidFill>
                <a:latin typeface="Arial Nova" panose="020B0504020202020204" pitchFamily="34" charset="0"/>
              </a:rPr>
              <a:t>otras geografías</a:t>
            </a:r>
          </a:p>
        </p:txBody>
      </p:sp>
    </p:spTree>
    <p:extLst>
      <p:ext uri="{BB962C8B-B14F-4D97-AF65-F5344CB8AC3E}">
        <p14:creationId xmlns:p14="http://schemas.microsoft.com/office/powerpoint/2010/main" val="41875696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>
            <a:extLst>
              <a:ext uri="{FF2B5EF4-FFF2-40B4-BE49-F238E27FC236}">
                <a16:creationId xmlns:a16="http://schemas.microsoft.com/office/drawing/2014/main" id="{B5CA2BB5-E6DB-CF7C-258A-530C8755A4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08" t="10580" r="17692" b="1960"/>
          <a:stretch/>
        </p:blipFill>
        <p:spPr>
          <a:xfrm>
            <a:off x="-23446" y="2047630"/>
            <a:ext cx="11373186" cy="7948759"/>
          </a:xfrm>
          <a:prstGeom prst="rect">
            <a:avLst/>
          </a:prstGeom>
        </p:spPr>
      </p:pic>
      <p:sp>
        <p:nvSpPr>
          <p:cNvPr id="2" name="Rectangle 9">
            <a:extLst>
              <a:ext uri="{FF2B5EF4-FFF2-40B4-BE49-F238E27FC236}">
                <a16:creationId xmlns:a16="http://schemas.microsoft.com/office/drawing/2014/main" id="{E94CEF21-3509-15B4-49AD-5F24D5201DB4}"/>
              </a:ext>
            </a:extLst>
          </p:cNvPr>
          <p:cNvSpPr/>
          <p:nvPr/>
        </p:nvSpPr>
        <p:spPr>
          <a:xfrm>
            <a:off x="-23446" y="0"/>
            <a:ext cx="18311446" cy="2275548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48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F41296C-BEFC-4801-4AD4-C06A4B2299E4}"/>
              </a:ext>
            </a:extLst>
          </p:cNvPr>
          <p:cNvSpPr txBox="1">
            <a:spLocks/>
          </p:cNvSpPr>
          <p:nvPr/>
        </p:nvSpPr>
        <p:spPr>
          <a:xfrm>
            <a:off x="11349740" y="2355289"/>
            <a:ext cx="6938260" cy="6346838"/>
          </a:xfrm>
          <a:prstGeom prst="rect">
            <a:avLst/>
          </a:prstGeom>
        </p:spPr>
        <p:txBody>
          <a:bodyPr lIns="137160" tIns="68580" rIns="137160" bIns="6858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71537">
              <a:lnSpc>
                <a:spcPct val="150000"/>
              </a:lnSpc>
              <a:buNone/>
              <a:defRPr/>
            </a:pPr>
            <a:r>
              <a:rPr lang="es-ES" sz="2000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El hidrógeno tiene el potencial de ser utilizado en múltiples actividades del ecosistema minero, por ejemplo:</a:t>
            </a:r>
          </a:p>
          <a:p>
            <a:pPr defTabSz="1371537">
              <a:lnSpc>
                <a:spcPct val="150000"/>
              </a:lnSpc>
              <a:defRPr/>
            </a:pPr>
            <a:r>
              <a:rPr lang="es-ES" sz="2000" b="1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Fabricación de explosivos </a:t>
            </a:r>
            <a:r>
              <a:rPr lang="es-ES" sz="2000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de bajas emisiones a partir de amoníaco renovable (NH3)</a:t>
            </a:r>
          </a:p>
          <a:p>
            <a:pPr defTabSz="1371537">
              <a:lnSpc>
                <a:spcPct val="150000"/>
              </a:lnSpc>
              <a:defRPr/>
            </a:pPr>
            <a:r>
              <a:rPr lang="es-ES" sz="2000" b="1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Camiones mineros </a:t>
            </a:r>
            <a:r>
              <a:rPr lang="es-ES" sz="2000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de gran tonelaje: sustituyen al diésel como combustible para propulsar estos grandes camiones</a:t>
            </a:r>
          </a:p>
          <a:p>
            <a:pPr defTabSz="1371537">
              <a:lnSpc>
                <a:spcPct val="150000"/>
              </a:lnSpc>
              <a:defRPr/>
            </a:pPr>
            <a:r>
              <a:rPr lang="es-ES" sz="2000" b="1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Procesos metalúrgicos </a:t>
            </a:r>
          </a:p>
          <a:p>
            <a:pPr defTabSz="1371537">
              <a:lnSpc>
                <a:spcPct val="150000"/>
              </a:lnSpc>
              <a:defRPr/>
            </a:pPr>
            <a:r>
              <a:rPr lang="es-ES" sz="2000" b="1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Generación de energía de respaldo </a:t>
            </a:r>
            <a:r>
              <a:rPr lang="es-ES" sz="2000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a través del almacenamiento de hidrógeno y celdas de combustible</a:t>
            </a:r>
          </a:p>
          <a:p>
            <a:pPr defTabSz="1371537">
              <a:lnSpc>
                <a:spcPct val="150000"/>
              </a:lnSpc>
              <a:defRPr/>
            </a:pPr>
            <a:r>
              <a:rPr lang="es-ES" sz="2000" b="1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Transporte </a:t>
            </a:r>
            <a:r>
              <a:rPr lang="es-ES" sz="2000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de personal e insumos a la mina</a:t>
            </a:r>
          </a:p>
          <a:p>
            <a:pPr defTabSz="1371537">
              <a:lnSpc>
                <a:spcPct val="150000"/>
              </a:lnSpc>
              <a:defRPr/>
            </a:pPr>
            <a:r>
              <a:rPr lang="es-ES" sz="2000" b="1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Exportación de minerales </a:t>
            </a:r>
            <a:r>
              <a:rPr lang="es-ES" sz="2000" dirty="0">
                <a:solidFill>
                  <a:srgbClr val="28669B"/>
                </a:solidFill>
                <a:latin typeface="Arial Nova"/>
                <a:ea typeface="+mn-lt"/>
                <a:cs typeface="+mn-lt"/>
              </a:rPr>
              <a:t>de forma sostenible, a través de buques que consuman amoniaco verde en lugar de combustibles fósiles.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1040049F-60E7-6997-A11B-4BAE9C2A862F}"/>
              </a:ext>
            </a:extLst>
          </p:cNvPr>
          <p:cNvSpPr txBox="1"/>
          <p:nvPr/>
        </p:nvSpPr>
        <p:spPr>
          <a:xfrm>
            <a:off x="592069" y="9752965"/>
            <a:ext cx="14543964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37160" tIns="68580" rIns="137160" bIns="685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 err="1">
                <a:solidFill>
                  <a:srgbClr val="656565"/>
                </a:solidFill>
                <a:latin typeface="Arial Nova"/>
              </a:rPr>
              <a:t>Adaptado</a:t>
            </a:r>
            <a:r>
              <a:rPr lang="en-US" sz="1200" dirty="0">
                <a:solidFill>
                  <a:srgbClr val="656565"/>
                </a:solidFill>
                <a:latin typeface="Arial Nova"/>
              </a:rPr>
              <a:t> de: H2 Chile [17].</a:t>
            </a:r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265744E9-B8C8-C692-1EEC-2EA0DE47A64B}"/>
              </a:ext>
            </a:extLst>
          </p:cNvPr>
          <p:cNvSpPr txBox="1">
            <a:spLocks/>
          </p:cNvSpPr>
          <p:nvPr/>
        </p:nvSpPr>
        <p:spPr>
          <a:xfrm>
            <a:off x="-23446" y="38752"/>
            <a:ext cx="16142684" cy="2127570"/>
          </a:xfrm>
          <a:prstGeom prst="rect">
            <a:avLst/>
          </a:prstGeom>
        </p:spPr>
        <p:txBody>
          <a:bodyPr vert="horz" wrap="square" lIns="0" tIns="109728" rIns="0" bIns="0" rtlCol="0" anchor="t">
            <a:spAutoFit/>
          </a:bodyPr>
          <a:lstStyle>
            <a:lvl1pPr algn="l" defTabSz="7619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67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marL="22860" marR="8573" algn="ctr" defTabSz="1142955">
              <a:lnSpc>
                <a:spcPts val="5436"/>
              </a:lnSpc>
              <a:spcBef>
                <a:spcPts val="864"/>
              </a:spcBef>
              <a:defRPr/>
            </a:pPr>
            <a:r>
              <a:rPr lang="es-ES" sz="3600" b="1" dirty="0">
                <a:solidFill>
                  <a:prstClr val="white"/>
                </a:solidFill>
                <a:latin typeface="Aptos"/>
                <a:cs typeface="Arial"/>
              </a:rPr>
              <a:t>El hidrógeno puede descarbonizar varios procesos de la actividad minera. En el país, solo el transporte de mineral podría requerir entre 5Gw – 7GW de nueva capacidad renovable</a:t>
            </a:r>
            <a:endParaRPr lang="en-US" sz="4800" dirty="0">
              <a:solidFill>
                <a:prstClr val="black"/>
              </a:solidFill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B6C94612-ECEA-9242-5F67-1042FE16200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4765" y="173446"/>
            <a:ext cx="1697708" cy="1538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788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3" name="Picture 10" descr="Mapa mundial PNG transparente - PNG All">
            <a:extLst>
              <a:ext uri="{FF2B5EF4-FFF2-40B4-BE49-F238E27FC236}">
                <a16:creationId xmlns:a16="http://schemas.microsoft.com/office/drawing/2014/main" id="{8BF79831-F428-6289-4B72-985F9E422F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463" y="2188181"/>
            <a:ext cx="13723975" cy="807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9">
            <a:extLst>
              <a:ext uri="{FF2B5EF4-FFF2-40B4-BE49-F238E27FC236}">
                <a16:creationId xmlns:a16="http://schemas.microsoft.com/office/drawing/2014/main" id="{A9B4939E-8AFD-0033-6981-320F144B28D2}"/>
              </a:ext>
            </a:extLst>
          </p:cNvPr>
          <p:cNvSpPr/>
          <p:nvPr/>
        </p:nvSpPr>
        <p:spPr>
          <a:xfrm>
            <a:off x="-23446" y="0"/>
            <a:ext cx="18311446" cy="2100587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48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EE5B1C-B0C3-93D7-4B46-4690C30D17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4765" y="173446"/>
            <a:ext cx="1697708" cy="153833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6433BB93-4824-60B1-138E-92002104873A}"/>
              </a:ext>
            </a:extLst>
          </p:cNvPr>
          <p:cNvSpPr txBox="1"/>
          <p:nvPr/>
        </p:nvSpPr>
        <p:spPr>
          <a:xfrm>
            <a:off x="700128" y="542461"/>
            <a:ext cx="152066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4200" b="1" dirty="0">
                <a:solidFill>
                  <a:schemeClr val="bg1"/>
                </a:solidFill>
                <a:latin typeface="Aptos" panose="020B0004020202020204" pitchFamily="34" charset="0"/>
              </a:rPr>
              <a:t>En el mundo se vienen implementando varios pilotos claves de uso de hidrógeno en  en la minería</a:t>
            </a:r>
          </a:p>
        </p:txBody>
      </p:sp>
      <p:sp>
        <p:nvSpPr>
          <p:cNvPr id="2" name="CuadroTexto 5">
            <a:extLst>
              <a:ext uri="{FF2B5EF4-FFF2-40B4-BE49-F238E27FC236}">
                <a16:creationId xmlns:a16="http://schemas.microsoft.com/office/drawing/2014/main" id="{11D6D793-B23E-1CB0-EE57-6F33E4F39CD7}"/>
              </a:ext>
            </a:extLst>
          </p:cNvPr>
          <p:cNvSpPr txBox="1"/>
          <p:nvPr/>
        </p:nvSpPr>
        <p:spPr>
          <a:xfrm>
            <a:off x="4824084" y="9950436"/>
            <a:ext cx="134112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PE" sz="1200" dirty="0">
                <a:solidFill>
                  <a:srgbClr val="656565"/>
                </a:solidFill>
                <a:latin typeface="Arial Nova"/>
              </a:rPr>
              <a:t>Fuente: </a:t>
            </a:r>
            <a:r>
              <a:rPr lang="en-US" sz="1200" dirty="0">
                <a:solidFill>
                  <a:srgbClr val="656565"/>
                </a:solidFill>
                <a:latin typeface="Arial Nova"/>
              </a:rPr>
              <a:t>[18] </a:t>
            </a:r>
            <a:r>
              <a:rPr lang="es-PE" sz="1200" dirty="0">
                <a:solidFill>
                  <a:srgbClr val="656565"/>
                </a:solidFill>
                <a:latin typeface="Arial Nova"/>
              </a:rPr>
              <a:t>Usos del hidrógeno en el cemento, minería y acero. </a:t>
            </a:r>
            <a:r>
              <a:rPr lang="es-PE" sz="1200" dirty="0" err="1">
                <a:solidFill>
                  <a:srgbClr val="656565"/>
                </a:solidFill>
                <a:latin typeface="Arial Nova"/>
              </a:rPr>
              <a:t>Hinicio</a:t>
            </a:r>
            <a:endParaRPr lang="es-ES" sz="1200" dirty="0">
              <a:solidFill>
                <a:srgbClr val="656565"/>
              </a:solidFill>
              <a:latin typeface="Arial Nova"/>
            </a:endParaRP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3D8B01B8-D152-FC13-868A-F87AE769C599}"/>
              </a:ext>
            </a:extLst>
          </p:cNvPr>
          <p:cNvGrpSpPr/>
          <p:nvPr/>
        </p:nvGrpSpPr>
        <p:grpSpPr>
          <a:xfrm>
            <a:off x="581809" y="2462996"/>
            <a:ext cx="3814759" cy="3207557"/>
            <a:chOff x="-972821" y="2209913"/>
            <a:chExt cx="3814759" cy="3207557"/>
          </a:xfrm>
        </p:grpSpPr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EF6A4B40-1CB1-6854-FEFB-6C6CEBAE9E3F}"/>
                </a:ext>
              </a:extLst>
            </p:cNvPr>
            <p:cNvSpPr txBox="1"/>
            <p:nvPr/>
          </p:nvSpPr>
          <p:spPr>
            <a:xfrm>
              <a:off x="-972821" y="2209913"/>
              <a:ext cx="3814759" cy="2308324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Es un proyecto que permite el almacenamiento de energía híbrido. Incluye </a:t>
              </a:r>
              <a:r>
                <a:rPr lang="es-PE" sz="1800" b="1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una turbina eólica de 3MW, </a:t>
              </a:r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sistema de almacenaje y sistema de </a:t>
              </a:r>
              <a:r>
                <a:rPr lang="es-PE" sz="1800" b="1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hidrógeno con 315 kW electrolizador</a:t>
              </a:r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, 200kW celdas de combustible y 300kg de capacidad de almacenamiento de gas.</a:t>
              </a:r>
            </a:p>
          </p:txBody>
        </p:sp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2C0D7FC3-BEBC-7F7C-1C32-0DA3C41B4DB7}"/>
                </a:ext>
              </a:extLst>
            </p:cNvPr>
            <p:cNvSpPr/>
            <p:nvPr/>
          </p:nvSpPr>
          <p:spPr>
            <a:xfrm>
              <a:off x="-45255" y="4762151"/>
              <a:ext cx="2706395" cy="655319"/>
            </a:xfrm>
            <a:prstGeom prst="roundRect">
              <a:avLst/>
            </a:prstGeom>
            <a:solidFill>
              <a:srgbClr val="A374F0"/>
            </a:solidFill>
            <a:ln>
              <a:solidFill>
                <a:srgbClr val="A374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3200" b="1">
                  <a:latin typeface="Aptos" panose="020B0004020202020204" pitchFamily="34" charset="0"/>
                </a:rPr>
                <a:t>Mina Raglan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36A6C62C-7AAD-AE19-C8FC-DB939054AA57}"/>
              </a:ext>
            </a:extLst>
          </p:cNvPr>
          <p:cNvGrpSpPr/>
          <p:nvPr/>
        </p:nvGrpSpPr>
        <p:grpSpPr>
          <a:xfrm>
            <a:off x="14409644" y="6358422"/>
            <a:ext cx="3641305" cy="2721253"/>
            <a:chOff x="13029552" y="6200312"/>
            <a:chExt cx="3641305" cy="2721253"/>
          </a:xfrm>
        </p:grpSpPr>
        <p:sp>
          <p:nvSpPr>
            <p:cNvPr id="4" name="Rectángulo: esquinas redondeadas 3">
              <a:extLst>
                <a:ext uri="{FF2B5EF4-FFF2-40B4-BE49-F238E27FC236}">
                  <a16:creationId xmlns:a16="http://schemas.microsoft.com/office/drawing/2014/main" id="{C0DA1635-E53A-BF53-4180-1E0360915860}"/>
                </a:ext>
              </a:extLst>
            </p:cNvPr>
            <p:cNvSpPr/>
            <p:nvPr/>
          </p:nvSpPr>
          <p:spPr>
            <a:xfrm>
              <a:off x="13319289" y="8327956"/>
              <a:ext cx="1944071" cy="593609"/>
            </a:xfrm>
            <a:prstGeom prst="roundRect">
              <a:avLst/>
            </a:prstGeom>
            <a:solidFill>
              <a:srgbClr val="A374F0"/>
            </a:solidFill>
            <a:ln>
              <a:solidFill>
                <a:srgbClr val="A374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3200" b="1" err="1">
                  <a:latin typeface="Aptos" panose="020B0004020202020204" pitchFamily="34" charset="0"/>
                </a:rPr>
                <a:t>nuGen</a:t>
              </a:r>
              <a:endParaRPr lang="es-PE" sz="3200" b="1">
                <a:latin typeface="Aptos" panose="020B0004020202020204" pitchFamily="34" charset="0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80ED646B-12C5-CB6E-477D-E39C90AFECF7}"/>
                </a:ext>
              </a:extLst>
            </p:cNvPr>
            <p:cNvSpPr txBox="1"/>
            <p:nvPr/>
          </p:nvSpPr>
          <p:spPr>
            <a:xfrm>
              <a:off x="13029552" y="6200312"/>
              <a:ext cx="3641305" cy="175432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r>
                <a:rPr lang="es-PE" sz="1800">
                  <a:solidFill>
                    <a:srgbClr val="2464A4"/>
                  </a:solidFill>
                  <a:latin typeface="Arial Nova" panose="020B0504020202020204" pitchFamily="34" charset="0"/>
                </a:rPr>
                <a:t>Piloto de </a:t>
              </a:r>
              <a:r>
                <a:rPr lang="es-PE" sz="1800" b="1" err="1">
                  <a:solidFill>
                    <a:srgbClr val="2464A4"/>
                  </a:solidFill>
                  <a:latin typeface="Arial Nova" panose="020B0504020202020204" pitchFamily="34" charset="0"/>
                </a:rPr>
                <a:t>Angloamerican</a:t>
              </a:r>
              <a:r>
                <a:rPr lang="es-PE" sz="1800">
                  <a:solidFill>
                    <a:srgbClr val="2464A4"/>
                  </a:solidFill>
                  <a:latin typeface="Arial Nova" panose="020B0504020202020204" pitchFamily="34" charset="0"/>
                </a:rPr>
                <a:t> desarrollado en 2022 donde un camión de capacidad de carga de 290t utiliza un sistema de propulsión híbrido basado en hidrógeno y una batería de 2MW.</a:t>
              </a: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E06BCA8A-A9B6-3960-F2E4-1FD48828238E}"/>
              </a:ext>
            </a:extLst>
          </p:cNvPr>
          <p:cNvGrpSpPr/>
          <p:nvPr/>
        </p:nvGrpSpPr>
        <p:grpSpPr>
          <a:xfrm>
            <a:off x="14229468" y="2518122"/>
            <a:ext cx="3641305" cy="2694991"/>
            <a:chOff x="6659874" y="3605329"/>
            <a:chExt cx="3641305" cy="2694991"/>
          </a:xfrm>
        </p:grpSpPr>
        <p:sp>
          <p:nvSpPr>
            <p:cNvPr id="5" name="Rectángulo: esquinas redondeadas 4">
              <a:extLst>
                <a:ext uri="{FF2B5EF4-FFF2-40B4-BE49-F238E27FC236}">
                  <a16:creationId xmlns:a16="http://schemas.microsoft.com/office/drawing/2014/main" id="{4149FB81-5662-6A90-9B9A-9D626B709277}"/>
                </a:ext>
              </a:extLst>
            </p:cNvPr>
            <p:cNvSpPr/>
            <p:nvPr/>
          </p:nvSpPr>
          <p:spPr>
            <a:xfrm>
              <a:off x="6659874" y="5629279"/>
              <a:ext cx="2413984" cy="671041"/>
            </a:xfrm>
            <a:prstGeom prst="roundRect">
              <a:avLst/>
            </a:prstGeom>
            <a:solidFill>
              <a:srgbClr val="A374F0"/>
            </a:solidFill>
            <a:ln>
              <a:solidFill>
                <a:srgbClr val="A374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3200" b="1" err="1">
                  <a:latin typeface="Aptos" panose="020B0004020202020204" pitchFamily="34" charset="0"/>
                </a:rPr>
                <a:t>Arubis</a:t>
              </a:r>
              <a:endParaRPr lang="es-PE" sz="3200" b="1">
                <a:latin typeface="Aptos" panose="020B0004020202020204" pitchFamily="34" charset="0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DB53109C-0E0A-C18A-F89D-0F3167234E51}"/>
                </a:ext>
              </a:extLst>
            </p:cNvPr>
            <p:cNvSpPr txBox="1"/>
            <p:nvPr/>
          </p:nvSpPr>
          <p:spPr>
            <a:xfrm>
              <a:off x="6659874" y="3605329"/>
              <a:ext cx="3641305" cy="2031325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Piloto donde se testea el uso de </a:t>
              </a:r>
              <a:r>
                <a:rPr lang="es-PE" sz="1800" b="1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hidrógeno verde para reemplazar gas natural en los hornos de fundición de cobre. </a:t>
              </a:r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Se espera que haya una reducción de 5.000 t de CO2 al año.</a:t>
              </a:r>
            </a:p>
          </p:txBody>
        </p:sp>
      </p:grpSp>
      <p:sp>
        <p:nvSpPr>
          <p:cNvPr id="27" name="Elipse 26">
            <a:extLst>
              <a:ext uri="{FF2B5EF4-FFF2-40B4-BE49-F238E27FC236}">
                <a16:creationId xmlns:a16="http://schemas.microsoft.com/office/drawing/2014/main" id="{524BACF3-8AB5-A4E9-8A50-6E7E446C58F0}"/>
              </a:ext>
            </a:extLst>
          </p:cNvPr>
          <p:cNvSpPr/>
          <p:nvPr/>
        </p:nvSpPr>
        <p:spPr>
          <a:xfrm>
            <a:off x="9724178" y="7680954"/>
            <a:ext cx="428017" cy="428017"/>
          </a:xfrm>
          <a:prstGeom prst="ellipse">
            <a:avLst/>
          </a:prstGeom>
          <a:solidFill>
            <a:srgbClr val="29C9C9"/>
          </a:solidFill>
          <a:ln>
            <a:solidFill>
              <a:srgbClr val="29C9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17F75669-D2B0-19B2-0A0A-C956AE6854F3}"/>
              </a:ext>
            </a:extLst>
          </p:cNvPr>
          <p:cNvSpPr/>
          <p:nvPr/>
        </p:nvSpPr>
        <p:spPr>
          <a:xfrm>
            <a:off x="8898862" y="5075570"/>
            <a:ext cx="428017" cy="428017"/>
          </a:xfrm>
          <a:prstGeom prst="ellipse">
            <a:avLst/>
          </a:prstGeom>
          <a:solidFill>
            <a:srgbClr val="29C9C9"/>
          </a:solidFill>
          <a:ln>
            <a:solidFill>
              <a:srgbClr val="29C9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A48366D1-91AF-6D07-94DA-665CB2A1F2DF}"/>
              </a:ext>
            </a:extLst>
          </p:cNvPr>
          <p:cNvSpPr/>
          <p:nvPr/>
        </p:nvSpPr>
        <p:spPr>
          <a:xfrm>
            <a:off x="4659488" y="4999105"/>
            <a:ext cx="428017" cy="428017"/>
          </a:xfrm>
          <a:prstGeom prst="ellipse">
            <a:avLst/>
          </a:prstGeom>
          <a:solidFill>
            <a:srgbClr val="29C9C9"/>
          </a:solidFill>
          <a:ln>
            <a:solidFill>
              <a:srgbClr val="29C9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2E2FE54A-26CB-5280-2424-47CC613D5730}"/>
              </a:ext>
            </a:extLst>
          </p:cNvPr>
          <p:cNvSpPr/>
          <p:nvPr/>
        </p:nvSpPr>
        <p:spPr>
          <a:xfrm>
            <a:off x="6114367" y="8553273"/>
            <a:ext cx="428017" cy="428017"/>
          </a:xfrm>
          <a:prstGeom prst="ellipse">
            <a:avLst/>
          </a:prstGeom>
          <a:solidFill>
            <a:srgbClr val="29C9C9"/>
          </a:solidFill>
          <a:ln>
            <a:solidFill>
              <a:srgbClr val="29C9C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cxnSp>
        <p:nvCxnSpPr>
          <p:cNvPr id="33" name="Conector: curvado 32">
            <a:extLst>
              <a:ext uri="{FF2B5EF4-FFF2-40B4-BE49-F238E27FC236}">
                <a16:creationId xmlns:a16="http://schemas.microsoft.com/office/drawing/2014/main" id="{ABAAD4BC-1FA2-A627-5790-522261B51560}"/>
              </a:ext>
            </a:extLst>
          </p:cNvPr>
          <p:cNvCxnSpPr>
            <a:cxnSpLocks/>
            <a:stCxn id="10" idx="2"/>
            <a:endCxn id="29" idx="4"/>
          </p:cNvCxnSpPr>
          <p:nvPr/>
        </p:nvCxnSpPr>
        <p:spPr>
          <a:xfrm rot="5400000" flipH="1" flipV="1">
            <a:off x="3746319" y="4543376"/>
            <a:ext cx="243431" cy="2010924"/>
          </a:xfrm>
          <a:prstGeom prst="curvedConnector3">
            <a:avLst>
              <a:gd name="adj1" fmla="val -93908"/>
            </a:avLst>
          </a:prstGeom>
          <a:ln w="57150">
            <a:solidFill>
              <a:srgbClr val="29C9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: curvado 44">
            <a:extLst>
              <a:ext uri="{FF2B5EF4-FFF2-40B4-BE49-F238E27FC236}">
                <a16:creationId xmlns:a16="http://schemas.microsoft.com/office/drawing/2014/main" id="{746B8A62-415C-12BF-5382-CF99210564E0}"/>
              </a:ext>
            </a:extLst>
          </p:cNvPr>
          <p:cNvCxnSpPr>
            <a:cxnSpLocks/>
            <a:stCxn id="31" idx="7"/>
            <a:endCxn id="16" idx="1"/>
          </p:cNvCxnSpPr>
          <p:nvPr/>
        </p:nvCxnSpPr>
        <p:spPr>
          <a:xfrm rot="16200000" flipH="1" flipV="1">
            <a:off x="3379906" y="6589914"/>
            <a:ext cx="1073756" cy="5125837"/>
          </a:xfrm>
          <a:prstGeom prst="curvedConnector4">
            <a:avLst>
              <a:gd name="adj1" fmla="val 100612"/>
              <a:gd name="adj2" fmla="val 11920"/>
            </a:avLst>
          </a:prstGeom>
          <a:ln w="57150">
            <a:solidFill>
              <a:srgbClr val="29C9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: curvado 48">
            <a:extLst>
              <a:ext uri="{FF2B5EF4-FFF2-40B4-BE49-F238E27FC236}">
                <a16:creationId xmlns:a16="http://schemas.microsoft.com/office/drawing/2014/main" id="{F0E8E00B-911E-4F18-A1EB-6CE7F183B45E}"/>
              </a:ext>
            </a:extLst>
          </p:cNvPr>
          <p:cNvCxnSpPr>
            <a:cxnSpLocks/>
            <a:stCxn id="27" idx="5"/>
            <a:endCxn id="4" idx="1"/>
          </p:cNvCxnSpPr>
          <p:nvPr/>
        </p:nvCxnSpPr>
        <p:spPr>
          <a:xfrm rot="16200000" flipH="1">
            <a:off x="12026156" y="6109646"/>
            <a:ext cx="736582" cy="4609868"/>
          </a:xfrm>
          <a:prstGeom prst="curvedConnector2">
            <a:avLst/>
          </a:prstGeom>
          <a:ln w="57150">
            <a:solidFill>
              <a:srgbClr val="29C9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: curvado 52">
            <a:extLst>
              <a:ext uri="{FF2B5EF4-FFF2-40B4-BE49-F238E27FC236}">
                <a16:creationId xmlns:a16="http://schemas.microsoft.com/office/drawing/2014/main" id="{6DF23565-383E-216B-0933-65B6F81AAA8D}"/>
              </a:ext>
            </a:extLst>
          </p:cNvPr>
          <p:cNvCxnSpPr>
            <a:cxnSpLocks/>
            <a:stCxn id="28" idx="7"/>
          </p:cNvCxnSpPr>
          <p:nvPr/>
        </p:nvCxnSpPr>
        <p:spPr>
          <a:xfrm rot="5400000" flipH="1" flipV="1">
            <a:off x="11616503" y="2525288"/>
            <a:ext cx="260659" cy="4965271"/>
          </a:xfrm>
          <a:prstGeom prst="curvedConnector2">
            <a:avLst/>
          </a:prstGeom>
          <a:ln w="57150">
            <a:solidFill>
              <a:srgbClr val="29C9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6" name="Picture 12" descr="Une deuxième entente de principe est conclue à la mine Raglan | Lia ...">
            <a:extLst>
              <a:ext uri="{FF2B5EF4-FFF2-40B4-BE49-F238E27FC236}">
                <a16:creationId xmlns:a16="http://schemas.microsoft.com/office/drawing/2014/main" id="{B4EF5DC8-327F-C08A-BA39-C73B0EF3FA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333" y="2835051"/>
            <a:ext cx="2048369" cy="1364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9" name="Picture 18" descr="Aurubis plants in Hamburg and Lünen receive internationally recognized ...">
            <a:extLst>
              <a:ext uri="{FF2B5EF4-FFF2-40B4-BE49-F238E27FC236}">
                <a16:creationId xmlns:a16="http://schemas.microsoft.com/office/drawing/2014/main" id="{F60D8A11-CD7E-AEE2-E96C-D38128870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2465" y="2676159"/>
            <a:ext cx="2432083" cy="1364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0" descr="nuGen™ – Anglo American South Africa">
            <a:extLst>
              <a:ext uri="{FF2B5EF4-FFF2-40B4-BE49-F238E27FC236}">
                <a16:creationId xmlns:a16="http://schemas.microsoft.com/office/drawing/2014/main" id="{9DF068D6-6ACC-DE58-7568-C84171A1DE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26102" y="6500313"/>
            <a:ext cx="2203366" cy="1233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1" name="Picture 22" descr="Ohmium y H2 Green Mining lideran proyecto pionero de hidrógeno verde para  la minería en Chile - H2news">
            <a:extLst>
              <a:ext uri="{FF2B5EF4-FFF2-40B4-BE49-F238E27FC236}">
                <a16:creationId xmlns:a16="http://schemas.microsoft.com/office/drawing/2014/main" id="{1DE244D5-3799-E52B-BBEB-BA9C0BBE3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5744" y="8521403"/>
            <a:ext cx="2090188" cy="1393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6" descr="Banderas PNG">
            <a:extLst>
              <a:ext uri="{FF2B5EF4-FFF2-40B4-BE49-F238E27FC236}">
                <a16:creationId xmlns:a16="http://schemas.microsoft.com/office/drawing/2014/main" id="{5B5C835E-6B35-7762-4CEE-A19989865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5772" y="4570294"/>
            <a:ext cx="954322" cy="59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24">
            <a:extLst>
              <a:ext uri="{FF2B5EF4-FFF2-40B4-BE49-F238E27FC236}">
                <a16:creationId xmlns:a16="http://schemas.microsoft.com/office/drawing/2014/main" id="{97564DAB-4F45-E46F-D9AA-FEDBFBE91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45" y="5031412"/>
            <a:ext cx="1191896" cy="59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28" descr="South African Flag Free Stock Photo - Public Domain Pictures">
            <a:extLst>
              <a:ext uri="{FF2B5EF4-FFF2-40B4-BE49-F238E27FC236}">
                <a16:creationId xmlns:a16="http://schemas.microsoft.com/office/drawing/2014/main" id="{5A4420BD-DBD4-F5C0-C330-9194A916C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5914" y="8494426"/>
            <a:ext cx="890412" cy="593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9" name="Picture 26" descr="Bandera de Chile - EcuRed">
            <a:extLst>
              <a:ext uri="{FF2B5EF4-FFF2-40B4-BE49-F238E27FC236}">
                <a16:creationId xmlns:a16="http://schemas.microsoft.com/office/drawing/2014/main" id="{026E1D9C-FBF2-5DAE-4AD9-9F418CAF41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612" y="8371081"/>
            <a:ext cx="890412" cy="59172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upo 24">
            <a:extLst>
              <a:ext uri="{FF2B5EF4-FFF2-40B4-BE49-F238E27FC236}">
                <a16:creationId xmlns:a16="http://schemas.microsoft.com/office/drawing/2014/main" id="{78B143D0-6EA0-7F3B-8DFC-6439148204E2}"/>
              </a:ext>
            </a:extLst>
          </p:cNvPr>
          <p:cNvGrpSpPr/>
          <p:nvPr/>
        </p:nvGrpSpPr>
        <p:grpSpPr>
          <a:xfrm>
            <a:off x="480561" y="6994598"/>
            <a:ext cx="4514609" cy="3035253"/>
            <a:chOff x="946181" y="7752003"/>
            <a:chExt cx="4514609" cy="3035253"/>
          </a:xfrm>
        </p:grpSpPr>
        <p:sp>
          <p:nvSpPr>
            <p:cNvPr id="16" name="Rectángulo: esquinas redondeadas 15">
              <a:extLst>
                <a:ext uri="{FF2B5EF4-FFF2-40B4-BE49-F238E27FC236}">
                  <a16:creationId xmlns:a16="http://schemas.microsoft.com/office/drawing/2014/main" id="{1788851B-5313-86A7-8E99-1DB4FFDDD304}"/>
                </a:ext>
              </a:extLst>
            </p:cNvPr>
            <p:cNvSpPr/>
            <p:nvPr/>
          </p:nvSpPr>
          <p:spPr>
            <a:xfrm>
              <a:off x="1819485" y="10106976"/>
              <a:ext cx="3641305" cy="680280"/>
            </a:xfrm>
            <a:prstGeom prst="roundRect">
              <a:avLst/>
            </a:prstGeom>
            <a:solidFill>
              <a:srgbClr val="A374F0"/>
            </a:solidFill>
            <a:ln>
              <a:solidFill>
                <a:srgbClr val="A374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3200" b="1" dirty="0">
                  <a:latin typeface="Aptos" panose="020B0004020202020204" pitchFamily="34" charset="0"/>
                </a:rPr>
                <a:t>H2 Green </a:t>
              </a:r>
              <a:r>
                <a:rPr lang="es-PE" sz="3200" b="1" dirty="0" err="1">
                  <a:latin typeface="Aptos" panose="020B0004020202020204" pitchFamily="34" charset="0"/>
                </a:rPr>
                <a:t>Mining</a:t>
              </a:r>
              <a:endParaRPr lang="es-PE" sz="3200" b="1" dirty="0">
                <a:latin typeface="Aptos" panose="020B0004020202020204" pitchFamily="34" charset="0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6FD0AA34-7ACA-1F9B-A1D8-4C58A128E704}"/>
                </a:ext>
              </a:extLst>
            </p:cNvPr>
            <p:cNvSpPr txBox="1"/>
            <p:nvPr/>
          </p:nvSpPr>
          <p:spPr>
            <a:xfrm>
              <a:off x="946181" y="7752003"/>
              <a:ext cx="4017254" cy="2031325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>
              <a:spAutoFit/>
            </a:bodyPr>
            <a:lstStyle/>
            <a:p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Consta de una planta que comenzará con un </a:t>
              </a:r>
              <a:r>
                <a:rPr lang="es-PE" sz="1800" b="1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piloto de 20MW de electrólisis </a:t>
              </a:r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con escalabilidad a 200MW. Busca sustituir </a:t>
              </a:r>
              <a:r>
                <a:rPr lang="es-PE" sz="1800" b="1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combustibles fósiles con hidrógeno verde </a:t>
              </a:r>
              <a:r>
                <a:rPr lang="es-PE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en las operaciones mineras nacional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63287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>
            <a:extLst>
              <a:ext uri="{FF2B5EF4-FFF2-40B4-BE49-F238E27FC236}">
                <a16:creationId xmlns:a16="http://schemas.microsoft.com/office/drawing/2014/main" id="{FB6B4A14-E4C8-C3D9-EE13-74E182396C4C}"/>
              </a:ext>
            </a:extLst>
          </p:cNvPr>
          <p:cNvSpPr/>
          <p:nvPr/>
        </p:nvSpPr>
        <p:spPr>
          <a:xfrm>
            <a:off x="-23446" y="0"/>
            <a:ext cx="18311446" cy="2100587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48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6E2826-6D09-CED1-6EA9-9C068CD05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4765" y="173446"/>
            <a:ext cx="1697708" cy="153833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27BB6302-42DA-4060-8C87-A737CC4DF5B2}"/>
              </a:ext>
            </a:extLst>
          </p:cNvPr>
          <p:cNvSpPr txBox="1"/>
          <p:nvPr/>
        </p:nvSpPr>
        <p:spPr>
          <a:xfrm>
            <a:off x="4652682" y="680961"/>
            <a:ext cx="89826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4200" b="1" dirty="0">
                <a:solidFill>
                  <a:schemeClr val="bg1"/>
                </a:solidFill>
                <a:latin typeface="Aptos" panose="020B0004020202020204" pitchFamily="34" charset="0"/>
              </a:rPr>
              <a:t>Key </a:t>
            </a:r>
            <a:r>
              <a:rPr lang="es-PE" sz="4200" b="1" dirty="0" err="1">
                <a:solidFill>
                  <a:schemeClr val="bg1"/>
                </a:solidFill>
                <a:latin typeface="Aptos" panose="020B0004020202020204" pitchFamily="34" charset="0"/>
              </a:rPr>
              <a:t>Challenges</a:t>
            </a:r>
            <a:r>
              <a:rPr lang="es-PE" sz="4200" b="1" dirty="0">
                <a:solidFill>
                  <a:schemeClr val="bg1"/>
                </a:solidFill>
                <a:latin typeface="Aptos" panose="020B0004020202020204" pitchFamily="34" charset="0"/>
              </a:rPr>
              <a:t> y Desafíos</a:t>
            </a:r>
          </a:p>
        </p:txBody>
      </p:sp>
      <p:sp>
        <p:nvSpPr>
          <p:cNvPr id="10" name="Google Shape;2285;p37">
            <a:extLst>
              <a:ext uri="{FF2B5EF4-FFF2-40B4-BE49-F238E27FC236}">
                <a16:creationId xmlns:a16="http://schemas.microsoft.com/office/drawing/2014/main" id="{CC048B20-BA2B-9AAF-4E6F-A5F49C104D7C}"/>
              </a:ext>
            </a:extLst>
          </p:cNvPr>
          <p:cNvSpPr txBox="1"/>
          <p:nvPr/>
        </p:nvSpPr>
        <p:spPr>
          <a:xfrm>
            <a:off x="1591230" y="2770446"/>
            <a:ext cx="3273070" cy="1385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Costos de Producción de Hidrógeno</a:t>
            </a:r>
          </a:p>
        </p:txBody>
      </p:sp>
      <p:sp>
        <p:nvSpPr>
          <p:cNvPr id="12" name="Google Shape;2288;p37">
            <a:extLst>
              <a:ext uri="{FF2B5EF4-FFF2-40B4-BE49-F238E27FC236}">
                <a16:creationId xmlns:a16="http://schemas.microsoft.com/office/drawing/2014/main" id="{4D3B38D9-360E-0F18-96BF-E9CE4ECD7D11}"/>
              </a:ext>
            </a:extLst>
          </p:cNvPr>
          <p:cNvSpPr txBox="1"/>
          <p:nvPr/>
        </p:nvSpPr>
        <p:spPr>
          <a:xfrm>
            <a:off x="1459229" y="4715519"/>
            <a:ext cx="2704397" cy="76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Infraestructura y Cadena de Suministro</a:t>
            </a:r>
          </a:p>
        </p:txBody>
      </p:sp>
      <p:sp>
        <p:nvSpPr>
          <p:cNvPr id="14" name="Google Shape;2291;p37">
            <a:extLst>
              <a:ext uri="{FF2B5EF4-FFF2-40B4-BE49-F238E27FC236}">
                <a16:creationId xmlns:a16="http://schemas.microsoft.com/office/drawing/2014/main" id="{EEEAB013-8D80-3360-1FE2-3DF41A4E394B}"/>
              </a:ext>
            </a:extLst>
          </p:cNvPr>
          <p:cNvSpPr txBox="1"/>
          <p:nvPr/>
        </p:nvSpPr>
        <p:spPr>
          <a:xfrm>
            <a:off x="12703734" y="2843959"/>
            <a:ext cx="3903524" cy="1036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 Adaptación de Equipos y Procesos</a:t>
            </a:r>
          </a:p>
        </p:txBody>
      </p:sp>
      <p:sp>
        <p:nvSpPr>
          <p:cNvPr id="16" name="Google Shape;2294;p37">
            <a:extLst>
              <a:ext uri="{FF2B5EF4-FFF2-40B4-BE49-F238E27FC236}">
                <a16:creationId xmlns:a16="http://schemas.microsoft.com/office/drawing/2014/main" id="{E8481B7F-C9DF-FBFE-6A5F-B135E3CFEE3B}"/>
              </a:ext>
            </a:extLst>
          </p:cNvPr>
          <p:cNvSpPr txBox="1"/>
          <p:nvPr/>
        </p:nvSpPr>
        <p:spPr>
          <a:xfrm>
            <a:off x="13316617" y="4751596"/>
            <a:ext cx="2660488" cy="870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Capacitación del personal</a:t>
            </a:r>
          </a:p>
        </p:txBody>
      </p:sp>
      <p:sp>
        <p:nvSpPr>
          <p:cNvPr id="18" name="Google Shape;2297;p37">
            <a:extLst>
              <a:ext uri="{FF2B5EF4-FFF2-40B4-BE49-F238E27FC236}">
                <a16:creationId xmlns:a16="http://schemas.microsoft.com/office/drawing/2014/main" id="{20F25D02-3833-8C2D-B36E-5045E597404F}"/>
              </a:ext>
            </a:extLst>
          </p:cNvPr>
          <p:cNvSpPr txBox="1"/>
          <p:nvPr/>
        </p:nvSpPr>
        <p:spPr>
          <a:xfrm>
            <a:off x="1391061" y="6587798"/>
            <a:ext cx="3763598" cy="1173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Regulaciones y Normativas</a:t>
            </a:r>
          </a:p>
        </p:txBody>
      </p:sp>
      <p:sp>
        <p:nvSpPr>
          <p:cNvPr id="20" name="Google Shape;2300;p37">
            <a:extLst>
              <a:ext uri="{FF2B5EF4-FFF2-40B4-BE49-F238E27FC236}">
                <a16:creationId xmlns:a16="http://schemas.microsoft.com/office/drawing/2014/main" id="{81671EB7-A123-A217-6321-D95E863AE8B0}"/>
              </a:ext>
            </a:extLst>
          </p:cNvPr>
          <p:cNvSpPr txBox="1"/>
          <p:nvPr/>
        </p:nvSpPr>
        <p:spPr>
          <a:xfrm>
            <a:off x="12910124" y="6493147"/>
            <a:ext cx="3697134" cy="1301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Condiciones del Mercado</a:t>
            </a:r>
          </a:p>
        </p:txBody>
      </p:sp>
      <p:sp>
        <p:nvSpPr>
          <p:cNvPr id="23" name="Google Shape;2288;p37">
            <a:extLst>
              <a:ext uri="{FF2B5EF4-FFF2-40B4-BE49-F238E27FC236}">
                <a16:creationId xmlns:a16="http://schemas.microsoft.com/office/drawing/2014/main" id="{F6C42383-1888-1DC2-2090-F181FFCFB50D}"/>
              </a:ext>
            </a:extLst>
          </p:cNvPr>
          <p:cNvSpPr txBox="1"/>
          <p:nvPr/>
        </p:nvSpPr>
        <p:spPr>
          <a:xfrm>
            <a:off x="2407279" y="8234460"/>
            <a:ext cx="2904488" cy="8682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Escalabilidad de Tecnologías</a:t>
            </a:r>
          </a:p>
        </p:txBody>
      </p:sp>
      <p:grpSp>
        <p:nvGrpSpPr>
          <p:cNvPr id="73" name="Grupo 72">
            <a:extLst>
              <a:ext uri="{FF2B5EF4-FFF2-40B4-BE49-F238E27FC236}">
                <a16:creationId xmlns:a16="http://schemas.microsoft.com/office/drawing/2014/main" id="{9B4E31A1-715A-D26F-B213-0F72F2D9C921}"/>
              </a:ext>
            </a:extLst>
          </p:cNvPr>
          <p:cNvGrpSpPr/>
          <p:nvPr/>
        </p:nvGrpSpPr>
        <p:grpSpPr>
          <a:xfrm>
            <a:off x="4584634" y="3194095"/>
            <a:ext cx="8859521" cy="5721196"/>
            <a:chOff x="4373974" y="3376657"/>
            <a:chExt cx="8859521" cy="5721196"/>
          </a:xfrm>
        </p:grpSpPr>
        <p:grpSp>
          <p:nvGrpSpPr>
            <p:cNvPr id="70" name="Grupo 69">
              <a:extLst>
                <a:ext uri="{FF2B5EF4-FFF2-40B4-BE49-F238E27FC236}">
                  <a16:creationId xmlns:a16="http://schemas.microsoft.com/office/drawing/2014/main" id="{7EE57020-CD76-336A-62B0-87FE2A1BFBE8}"/>
                </a:ext>
              </a:extLst>
            </p:cNvPr>
            <p:cNvGrpSpPr/>
            <p:nvPr/>
          </p:nvGrpSpPr>
          <p:grpSpPr>
            <a:xfrm>
              <a:off x="4373974" y="3376657"/>
              <a:ext cx="8859521" cy="5721196"/>
              <a:chOff x="5548487" y="4206534"/>
              <a:chExt cx="5058343" cy="3266519"/>
            </a:xfrm>
          </p:grpSpPr>
          <p:cxnSp>
            <p:nvCxnSpPr>
              <p:cNvPr id="32" name="Google Shape;2301;p37">
                <a:extLst>
                  <a:ext uri="{FF2B5EF4-FFF2-40B4-BE49-F238E27FC236}">
                    <a16:creationId xmlns:a16="http://schemas.microsoft.com/office/drawing/2014/main" id="{C2950E0D-CF5E-B82B-BFA2-D16CAE9963BA}"/>
                  </a:ext>
                </a:extLst>
              </p:cNvPr>
              <p:cNvCxnSpPr>
                <a:cxnSpLocks/>
                <a:stCxn id="10" idx="3"/>
              </p:cNvCxnSpPr>
              <p:nvPr/>
            </p:nvCxnSpPr>
            <p:spPr>
              <a:xfrm>
                <a:off x="5738874" y="4431926"/>
                <a:ext cx="1668201" cy="525745"/>
              </a:xfrm>
              <a:prstGeom prst="bentConnector3">
                <a:avLst>
                  <a:gd name="adj1" fmla="val 50000"/>
                </a:avLst>
              </a:prstGeom>
              <a:noFill/>
              <a:ln w="28575" cap="flat" cmpd="sng">
                <a:solidFill>
                  <a:srgbClr val="9DC755"/>
                </a:solidFill>
                <a:prstDash val="solid"/>
                <a:round/>
                <a:headEnd type="oval" w="med" len="med"/>
                <a:tailEnd type="none" w="med" len="med"/>
              </a:ln>
            </p:spPr>
          </p:cxnSp>
          <p:cxnSp>
            <p:nvCxnSpPr>
              <p:cNvPr id="34" name="Google Shape;2303;p37">
                <a:extLst>
                  <a:ext uri="{FF2B5EF4-FFF2-40B4-BE49-F238E27FC236}">
                    <a16:creationId xmlns:a16="http://schemas.microsoft.com/office/drawing/2014/main" id="{38BA2A2D-E806-B524-F93D-F3FE29052A8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10827" y="7224848"/>
                <a:ext cx="1924066" cy="166855"/>
              </a:xfrm>
              <a:prstGeom prst="bentConnector3">
                <a:avLst>
                  <a:gd name="adj1" fmla="val 50000"/>
                </a:avLst>
              </a:prstGeom>
              <a:noFill/>
              <a:ln w="28575" cap="flat" cmpd="sng">
                <a:solidFill>
                  <a:srgbClr val="9BC554"/>
                </a:solidFill>
                <a:prstDash val="solid"/>
                <a:round/>
                <a:headEnd type="oval" w="med" len="med"/>
                <a:tailEnd type="none" w="med" len="med"/>
              </a:ln>
            </p:spPr>
          </p:cxnSp>
          <p:cxnSp>
            <p:nvCxnSpPr>
              <p:cNvPr id="35" name="Google Shape;2304;p37">
                <a:extLst>
                  <a:ext uri="{FF2B5EF4-FFF2-40B4-BE49-F238E27FC236}">
                    <a16:creationId xmlns:a16="http://schemas.microsoft.com/office/drawing/2014/main" id="{C25C180F-47C1-9AE9-691C-8DD2C3B4E06E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8786933" y="4206534"/>
                <a:ext cx="1397155" cy="420550"/>
              </a:xfrm>
              <a:prstGeom prst="bentConnector3">
                <a:avLst>
                  <a:gd name="adj1" fmla="val 50000"/>
                </a:avLst>
              </a:prstGeom>
              <a:noFill/>
              <a:ln w="28575" cap="flat" cmpd="sng">
                <a:solidFill>
                  <a:srgbClr val="A374F0"/>
                </a:solidFill>
                <a:prstDash val="solid"/>
                <a:round/>
                <a:headEnd type="oval" w="med" len="med"/>
                <a:tailEnd type="none" w="med" len="med"/>
              </a:ln>
            </p:spPr>
          </p:cxnSp>
          <p:cxnSp>
            <p:nvCxnSpPr>
              <p:cNvPr id="38" name="Google Shape;2302;p37">
                <a:extLst>
                  <a:ext uri="{FF2B5EF4-FFF2-40B4-BE49-F238E27FC236}">
                    <a16:creationId xmlns:a16="http://schemas.microsoft.com/office/drawing/2014/main" id="{C882755A-BEED-77F5-EC7E-03BC129E60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548487" y="6177049"/>
                <a:ext cx="1288431" cy="228011"/>
              </a:xfrm>
              <a:prstGeom prst="bentConnector3">
                <a:avLst>
                  <a:gd name="adj1" fmla="val 50000"/>
                </a:avLst>
              </a:prstGeom>
              <a:noFill/>
              <a:ln w="28575" cap="flat" cmpd="sng">
                <a:solidFill>
                  <a:srgbClr val="A374F0"/>
                </a:solidFill>
                <a:prstDash val="solid"/>
                <a:round/>
                <a:headEnd type="oval" w="med" len="med"/>
                <a:tailEnd type="none" w="med" len="med"/>
              </a:ln>
            </p:spPr>
          </p:cxnSp>
          <p:cxnSp>
            <p:nvCxnSpPr>
              <p:cNvPr id="40" name="Google Shape;2305;p37">
                <a:extLst>
                  <a:ext uri="{FF2B5EF4-FFF2-40B4-BE49-F238E27FC236}">
                    <a16:creationId xmlns:a16="http://schemas.microsoft.com/office/drawing/2014/main" id="{C0D8E134-0994-7F63-7E7E-BB1DD81814DB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9493394" y="6263154"/>
                <a:ext cx="1040619" cy="570077"/>
              </a:xfrm>
              <a:prstGeom prst="bentConnector3">
                <a:avLst>
                  <a:gd name="adj1" fmla="val 50000"/>
                </a:avLst>
              </a:prstGeom>
              <a:noFill/>
              <a:ln w="28575" cap="flat" cmpd="sng">
                <a:solidFill>
                  <a:srgbClr val="A374F0"/>
                </a:solidFill>
                <a:prstDash val="solid"/>
                <a:round/>
                <a:headEnd type="oval" w="med" len="med"/>
                <a:tailEnd type="none" w="med" len="med"/>
              </a:ln>
            </p:spPr>
          </p:cxnSp>
          <p:grpSp>
            <p:nvGrpSpPr>
              <p:cNvPr id="41" name="Grupo 40">
                <a:extLst>
                  <a:ext uri="{FF2B5EF4-FFF2-40B4-BE49-F238E27FC236}">
                    <a16:creationId xmlns:a16="http://schemas.microsoft.com/office/drawing/2014/main" id="{488CAEC8-3E41-75B6-0679-BD4BD5808B1E}"/>
                  </a:ext>
                </a:extLst>
              </p:cNvPr>
              <p:cNvGrpSpPr/>
              <p:nvPr/>
            </p:nvGrpSpPr>
            <p:grpSpPr>
              <a:xfrm>
                <a:off x="6744343" y="4425378"/>
                <a:ext cx="3047650" cy="3047675"/>
                <a:chOff x="4633913" y="2412277"/>
                <a:chExt cx="3047650" cy="3047675"/>
              </a:xfrm>
            </p:grpSpPr>
            <p:sp>
              <p:nvSpPr>
                <p:cNvPr id="42" name="Google Shape;2282;p37">
                  <a:extLst>
                    <a:ext uri="{FF2B5EF4-FFF2-40B4-BE49-F238E27FC236}">
                      <a16:creationId xmlns:a16="http://schemas.microsoft.com/office/drawing/2014/main" id="{61291AEF-3EF2-CBC4-70F1-C1DA3FE0279E}"/>
                    </a:ext>
                  </a:extLst>
                </p:cNvPr>
                <p:cNvSpPr/>
                <p:nvPr/>
              </p:nvSpPr>
              <p:spPr>
                <a:xfrm>
                  <a:off x="5593313" y="4513427"/>
                  <a:ext cx="1129325" cy="551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73" h="22070" fill="none" extrusionOk="0">
                      <a:moveTo>
                        <a:pt x="1" y="16021"/>
                      </a:moveTo>
                      <a:lnTo>
                        <a:pt x="1" y="16021"/>
                      </a:lnTo>
                      <a:lnTo>
                        <a:pt x="1264" y="16730"/>
                      </a:lnTo>
                      <a:lnTo>
                        <a:pt x="1896" y="17055"/>
                      </a:lnTo>
                      <a:lnTo>
                        <a:pt x="2546" y="17380"/>
                      </a:lnTo>
                      <a:lnTo>
                        <a:pt x="3197" y="17706"/>
                      </a:lnTo>
                      <a:lnTo>
                        <a:pt x="3848" y="18012"/>
                      </a:lnTo>
                      <a:lnTo>
                        <a:pt x="4518" y="18299"/>
                      </a:lnTo>
                      <a:lnTo>
                        <a:pt x="5169" y="18586"/>
                      </a:lnTo>
                      <a:lnTo>
                        <a:pt x="5858" y="18873"/>
                      </a:lnTo>
                      <a:lnTo>
                        <a:pt x="6528" y="19122"/>
                      </a:lnTo>
                      <a:lnTo>
                        <a:pt x="7217" y="19390"/>
                      </a:lnTo>
                      <a:lnTo>
                        <a:pt x="7906" y="19620"/>
                      </a:lnTo>
                      <a:lnTo>
                        <a:pt x="8595" y="19869"/>
                      </a:lnTo>
                      <a:lnTo>
                        <a:pt x="9284" y="20079"/>
                      </a:lnTo>
                      <a:lnTo>
                        <a:pt x="9992" y="20290"/>
                      </a:lnTo>
                      <a:lnTo>
                        <a:pt x="10700" y="20500"/>
                      </a:lnTo>
                      <a:lnTo>
                        <a:pt x="11408" y="20672"/>
                      </a:lnTo>
                      <a:lnTo>
                        <a:pt x="12136" y="20864"/>
                      </a:lnTo>
                      <a:lnTo>
                        <a:pt x="12844" y="21017"/>
                      </a:lnTo>
                      <a:lnTo>
                        <a:pt x="13571" y="21170"/>
                      </a:lnTo>
                      <a:lnTo>
                        <a:pt x="14299" y="21323"/>
                      </a:lnTo>
                      <a:lnTo>
                        <a:pt x="15045" y="21438"/>
                      </a:lnTo>
                      <a:lnTo>
                        <a:pt x="15772" y="21572"/>
                      </a:lnTo>
                      <a:lnTo>
                        <a:pt x="16519" y="21668"/>
                      </a:lnTo>
                      <a:lnTo>
                        <a:pt x="17265" y="21763"/>
                      </a:lnTo>
                      <a:lnTo>
                        <a:pt x="18012" y="21840"/>
                      </a:lnTo>
                      <a:lnTo>
                        <a:pt x="18758" y="21917"/>
                      </a:lnTo>
                      <a:lnTo>
                        <a:pt x="19524" y="21974"/>
                      </a:lnTo>
                      <a:lnTo>
                        <a:pt x="20290" y="22012"/>
                      </a:lnTo>
                      <a:lnTo>
                        <a:pt x="21055" y="22051"/>
                      </a:lnTo>
                      <a:lnTo>
                        <a:pt x="21821" y="22070"/>
                      </a:lnTo>
                      <a:lnTo>
                        <a:pt x="22586" y="22070"/>
                      </a:lnTo>
                      <a:lnTo>
                        <a:pt x="22586" y="22070"/>
                      </a:lnTo>
                      <a:lnTo>
                        <a:pt x="23352" y="22070"/>
                      </a:lnTo>
                      <a:lnTo>
                        <a:pt x="24118" y="22051"/>
                      </a:lnTo>
                      <a:lnTo>
                        <a:pt x="24883" y="22012"/>
                      </a:lnTo>
                      <a:lnTo>
                        <a:pt x="25649" y="21974"/>
                      </a:lnTo>
                      <a:lnTo>
                        <a:pt x="26395" y="21917"/>
                      </a:lnTo>
                      <a:lnTo>
                        <a:pt x="27161" y="21840"/>
                      </a:lnTo>
                      <a:lnTo>
                        <a:pt x="27907" y="21763"/>
                      </a:lnTo>
                      <a:lnTo>
                        <a:pt x="28654" y="21668"/>
                      </a:lnTo>
                      <a:lnTo>
                        <a:pt x="29400" y="21572"/>
                      </a:lnTo>
                      <a:lnTo>
                        <a:pt x="30128" y="21438"/>
                      </a:lnTo>
                      <a:lnTo>
                        <a:pt x="30855" y="21323"/>
                      </a:lnTo>
                      <a:lnTo>
                        <a:pt x="31602" y="21170"/>
                      </a:lnTo>
                      <a:lnTo>
                        <a:pt x="32310" y="21017"/>
                      </a:lnTo>
                      <a:lnTo>
                        <a:pt x="33037" y="20864"/>
                      </a:lnTo>
                      <a:lnTo>
                        <a:pt x="33764" y="20672"/>
                      </a:lnTo>
                      <a:lnTo>
                        <a:pt x="34473" y="20500"/>
                      </a:lnTo>
                      <a:lnTo>
                        <a:pt x="35181" y="20290"/>
                      </a:lnTo>
                      <a:lnTo>
                        <a:pt x="35870" y="20079"/>
                      </a:lnTo>
                      <a:lnTo>
                        <a:pt x="36578" y="19869"/>
                      </a:lnTo>
                      <a:lnTo>
                        <a:pt x="37267" y="19620"/>
                      </a:lnTo>
                      <a:lnTo>
                        <a:pt x="37956" y="19390"/>
                      </a:lnTo>
                      <a:lnTo>
                        <a:pt x="38645" y="19122"/>
                      </a:lnTo>
                      <a:lnTo>
                        <a:pt x="39315" y="18873"/>
                      </a:lnTo>
                      <a:lnTo>
                        <a:pt x="39985" y="18586"/>
                      </a:lnTo>
                      <a:lnTo>
                        <a:pt x="40655" y="18299"/>
                      </a:lnTo>
                      <a:lnTo>
                        <a:pt x="41325" y="18012"/>
                      </a:lnTo>
                      <a:lnTo>
                        <a:pt x="41976" y="17706"/>
                      </a:lnTo>
                      <a:lnTo>
                        <a:pt x="42626" y="17380"/>
                      </a:lnTo>
                      <a:lnTo>
                        <a:pt x="43277" y="17055"/>
                      </a:lnTo>
                      <a:lnTo>
                        <a:pt x="43909" y="16730"/>
                      </a:lnTo>
                      <a:lnTo>
                        <a:pt x="45172" y="16021"/>
                      </a:lnTo>
                      <a:lnTo>
                        <a:pt x="35908" y="1"/>
                      </a:lnTo>
                      <a:lnTo>
                        <a:pt x="35908" y="1"/>
                      </a:lnTo>
                      <a:lnTo>
                        <a:pt x="35162" y="403"/>
                      </a:lnTo>
                      <a:lnTo>
                        <a:pt x="34415" y="805"/>
                      </a:lnTo>
                      <a:lnTo>
                        <a:pt x="33650" y="1168"/>
                      </a:lnTo>
                      <a:lnTo>
                        <a:pt x="32865" y="1513"/>
                      </a:lnTo>
                      <a:lnTo>
                        <a:pt x="32061" y="1838"/>
                      </a:lnTo>
                      <a:lnTo>
                        <a:pt x="31257" y="2125"/>
                      </a:lnTo>
                      <a:lnTo>
                        <a:pt x="30434" y="2393"/>
                      </a:lnTo>
                      <a:lnTo>
                        <a:pt x="29592" y="2642"/>
                      </a:lnTo>
                      <a:lnTo>
                        <a:pt x="28750" y="2853"/>
                      </a:lnTo>
                      <a:lnTo>
                        <a:pt x="27907" y="3044"/>
                      </a:lnTo>
                      <a:lnTo>
                        <a:pt x="27046" y="3197"/>
                      </a:lnTo>
                      <a:lnTo>
                        <a:pt x="26166" y="3331"/>
                      </a:lnTo>
                      <a:lnTo>
                        <a:pt x="25285" y="3427"/>
                      </a:lnTo>
                      <a:lnTo>
                        <a:pt x="24386" y="3503"/>
                      </a:lnTo>
                      <a:lnTo>
                        <a:pt x="23486" y="3561"/>
                      </a:lnTo>
                      <a:lnTo>
                        <a:pt x="22586" y="3580"/>
                      </a:lnTo>
                      <a:lnTo>
                        <a:pt x="22586" y="3580"/>
                      </a:lnTo>
                      <a:lnTo>
                        <a:pt x="21668" y="3561"/>
                      </a:lnTo>
                      <a:lnTo>
                        <a:pt x="20768" y="3503"/>
                      </a:lnTo>
                      <a:lnTo>
                        <a:pt x="19888" y="3427"/>
                      </a:lnTo>
                      <a:lnTo>
                        <a:pt x="19007" y="3331"/>
                      </a:lnTo>
                      <a:lnTo>
                        <a:pt x="18127" y="3197"/>
                      </a:lnTo>
                      <a:lnTo>
                        <a:pt x="17265" y="3044"/>
                      </a:lnTo>
                      <a:lnTo>
                        <a:pt x="16404" y="2853"/>
                      </a:lnTo>
                      <a:lnTo>
                        <a:pt x="15562" y="2642"/>
                      </a:lnTo>
                      <a:lnTo>
                        <a:pt x="14739" y="2393"/>
                      </a:lnTo>
                      <a:lnTo>
                        <a:pt x="13916" y="2125"/>
                      </a:lnTo>
                      <a:lnTo>
                        <a:pt x="13112" y="1838"/>
                      </a:lnTo>
                      <a:lnTo>
                        <a:pt x="12308" y="1513"/>
                      </a:lnTo>
                      <a:lnTo>
                        <a:pt x="11523" y="1168"/>
                      </a:lnTo>
                      <a:lnTo>
                        <a:pt x="10758" y="805"/>
                      </a:lnTo>
                      <a:lnTo>
                        <a:pt x="9992" y="403"/>
                      </a:lnTo>
                      <a:lnTo>
                        <a:pt x="9246" y="1"/>
                      </a:lnTo>
                    </a:path>
                  </a:pathLst>
                </a:custGeom>
                <a:noFill/>
                <a:ln w="28575">
                  <a:solidFill>
                    <a:srgbClr val="9DC755"/>
                  </a:solidFill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s-PE" sz="1600">
                    <a:latin typeface="Arial Nova" panose="020B0504020202020204" pitchFamily="34" charset="0"/>
                  </a:endParaRPr>
                </a:p>
              </p:txBody>
            </p:sp>
            <p:grpSp>
              <p:nvGrpSpPr>
                <p:cNvPr id="43" name="Grupo 42">
                  <a:extLst>
                    <a:ext uri="{FF2B5EF4-FFF2-40B4-BE49-F238E27FC236}">
                      <a16:creationId xmlns:a16="http://schemas.microsoft.com/office/drawing/2014/main" id="{13B4EABD-2AF6-6F8C-CA8F-2198532D95DF}"/>
                    </a:ext>
                  </a:extLst>
                </p:cNvPr>
                <p:cNvGrpSpPr/>
                <p:nvPr/>
              </p:nvGrpSpPr>
              <p:grpSpPr>
                <a:xfrm>
                  <a:off x="4633913" y="2412277"/>
                  <a:ext cx="3047650" cy="3047675"/>
                  <a:chOff x="4633913" y="2412277"/>
                  <a:chExt cx="3047650" cy="3047675"/>
                </a:xfrm>
              </p:grpSpPr>
              <p:sp>
                <p:nvSpPr>
                  <p:cNvPr id="53" name="Google Shape;2270;p37">
                    <a:extLst>
                      <a:ext uri="{FF2B5EF4-FFF2-40B4-BE49-F238E27FC236}">
                        <a16:creationId xmlns:a16="http://schemas.microsoft.com/office/drawing/2014/main" id="{45CEBB2F-3419-66A9-92C6-C0D4408B2B6E}"/>
                      </a:ext>
                    </a:extLst>
                  </p:cNvPr>
                  <p:cNvSpPr/>
                  <p:nvPr/>
                </p:nvSpPr>
                <p:spPr>
                  <a:xfrm>
                    <a:off x="4633913" y="3643027"/>
                    <a:ext cx="527325" cy="12963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093" h="51852" extrusionOk="0">
                        <a:moveTo>
                          <a:pt x="1149" y="0"/>
                        </a:moveTo>
                        <a:lnTo>
                          <a:pt x="976" y="842"/>
                        </a:lnTo>
                        <a:lnTo>
                          <a:pt x="842" y="1685"/>
                        </a:lnTo>
                        <a:lnTo>
                          <a:pt x="708" y="2527"/>
                        </a:lnTo>
                        <a:lnTo>
                          <a:pt x="574" y="3388"/>
                        </a:lnTo>
                        <a:lnTo>
                          <a:pt x="460" y="4230"/>
                        </a:lnTo>
                        <a:lnTo>
                          <a:pt x="364" y="5092"/>
                        </a:lnTo>
                        <a:lnTo>
                          <a:pt x="287" y="5934"/>
                        </a:lnTo>
                        <a:lnTo>
                          <a:pt x="211" y="6795"/>
                        </a:lnTo>
                        <a:lnTo>
                          <a:pt x="134" y="7637"/>
                        </a:lnTo>
                        <a:lnTo>
                          <a:pt x="96" y="8499"/>
                        </a:lnTo>
                        <a:lnTo>
                          <a:pt x="58" y="9360"/>
                        </a:lnTo>
                        <a:lnTo>
                          <a:pt x="19" y="10202"/>
                        </a:lnTo>
                        <a:lnTo>
                          <a:pt x="0" y="11063"/>
                        </a:lnTo>
                        <a:lnTo>
                          <a:pt x="0" y="11925"/>
                        </a:lnTo>
                        <a:lnTo>
                          <a:pt x="19" y="12767"/>
                        </a:lnTo>
                        <a:lnTo>
                          <a:pt x="39" y="13628"/>
                        </a:lnTo>
                        <a:lnTo>
                          <a:pt x="58" y="14490"/>
                        </a:lnTo>
                        <a:lnTo>
                          <a:pt x="115" y="15351"/>
                        </a:lnTo>
                        <a:lnTo>
                          <a:pt x="173" y="16193"/>
                        </a:lnTo>
                        <a:lnTo>
                          <a:pt x="230" y="17054"/>
                        </a:lnTo>
                        <a:lnTo>
                          <a:pt x="326" y="17897"/>
                        </a:lnTo>
                        <a:lnTo>
                          <a:pt x="402" y="18758"/>
                        </a:lnTo>
                        <a:lnTo>
                          <a:pt x="517" y="19600"/>
                        </a:lnTo>
                        <a:lnTo>
                          <a:pt x="632" y="20461"/>
                        </a:lnTo>
                        <a:lnTo>
                          <a:pt x="766" y="21304"/>
                        </a:lnTo>
                        <a:lnTo>
                          <a:pt x="900" y="22146"/>
                        </a:lnTo>
                        <a:lnTo>
                          <a:pt x="1053" y="22988"/>
                        </a:lnTo>
                        <a:lnTo>
                          <a:pt x="1206" y="23830"/>
                        </a:lnTo>
                        <a:lnTo>
                          <a:pt x="1398" y="24672"/>
                        </a:lnTo>
                        <a:lnTo>
                          <a:pt x="1570" y="25514"/>
                        </a:lnTo>
                        <a:lnTo>
                          <a:pt x="1780" y="26357"/>
                        </a:lnTo>
                        <a:lnTo>
                          <a:pt x="1991" y="27180"/>
                        </a:lnTo>
                        <a:lnTo>
                          <a:pt x="2221" y="28022"/>
                        </a:lnTo>
                        <a:lnTo>
                          <a:pt x="2450" y="28845"/>
                        </a:lnTo>
                        <a:lnTo>
                          <a:pt x="2699" y="29668"/>
                        </a:lnTo>
                        <a:lnTo>
                          <a:pt x="2948" y="30491"/>
                        </a:lnTo>
                        <a:lnTo>
                          <a:pt x="3216" y="31314"/>
                        </a:lnTo>
                        <a:lnTo>
                          <a:pt x="3503" y="32137"/>
                        </a:lnTo>
                        <a:lnTo>
                          <a:pt x="3809" y="32960"/>
                        </a:lnTo>
                        <a:lnTo>
                          <a:pt x="4115" y="33764"/>
                        </a:lnTo>
                        <a:lnTo>
                          <a:pt x="4422" y="34568"/>
                        </a:lnTo>
                        <a:lnTo>
                          <a:pt x="4766" y="35372"/>
                        </a:lnTo>
                        <a:lnTo>
                          <a:pt x="5111" y="36176"/>
                        </a:lnTo>
                        <a:lnTo>
                          <a:pt x="5455" y="36980"/>
                        </a:lnTo>
                        <a:lnTo>
                          <a:pt x="5819" y="37764"/>
                        </a:lnTo>
                        <a:lnTo>
                          <a:pt x="6202" y="38549"/>
                        </a:lnTo>
                        <a:lnTo>
                          <a:pt x="6604" y="39334"/>
                        </a:lnTo>
                        <a:lnTo>
                          <a:pt x="7006" y="40119"/>
                        </a:lnTo>
                        <a:lnTo>
                          <a:pt x="7408" y="40884"/>
                        </a:lnTo>
                        <a:lnTo>
                          <a:pt x="7848" y="41650"/>
                        </a:lnTo>
                        <a:lnTo>
                          <a:pt x="8288" y="42416"/>
                        </a:lnTo>
                        <a:lnTo>
                          <a:pt x="8728" y="43181"/>
                        </a:lnTo>
                        <a:lnTo>
                          <a:pt x="9188" y="43928"/>
                        </a:lnTo>
                        <a:lnTo>
                          <a:pt x="9666" y="44674"/>
                        </a:lnTo>
                        <a:lnTo>
                          <a:pt x="10145" y="45421"/>
                        </a:lnTo>
                        <a:lnTo>
                          <a:pt x="10661" y="46167"/>
                        </a:lnTo>
                        <a:lnTo>
                          <a:pt x="11159" y="46894"/>
                        </a:lnTo>
                        <a:lnTo>
                          <a:pt x="11676" y="47622"/>
                        </a:lnTo>
                        <a:lnTo>
                          <a:pt x="12212" y="48349"/>
                        </a:lnTo>
                        <a:lnTo>
                          <a:pt x="12767" y="49057"/>
                        </a:lnTo>
                        <a:lnTo>
                          <a:pt x="13322" y="49765"/>
                        </a:lnTo>
                        <a:lnTo>
                          <a:pt x="13896" y="50474"/>
                        </a:lnTo>
                        <a:lnTo>
                          <a:pt x="14470" y="51163"/>
                        </a:lnTo>
                        <a:lnTo>
                          <a:pt x="15064" y="51852"/>
                        </a:lnTo>
                        <a:lnTo>
                          <a:pt x="21093" y="46626"/>
                        </a:lnTo>
                        <a:lnTo>
                          <a:pt x="20576" y="46014"/>
                        </a:lnTo>
                        <a:lnTo>
                          <a:pt x="20079" y="45421"/>
                        </a:lnTo>
                        <a:lnTo>
                          <a:pt x="19581" y="44808"/>
                        </a:lnTo>
                        <a:lnTo>
                          <a:pt x="19102" y="44196"/>
                        </a:lnTo>
                        <a:lnTo>
                          <a:pt x="18624" y="43564"/>
                        </a:lnTo>
                        <a:lnTo>
                          <a:pt x="18165" y="42951"/>
                        </a:lnTo>
                        <a:lnTo>
                          <a:pt x="17265" y="41688"/>
                        </a:lnTo>
                        <a:lnTo>
                          <a:pt x="16404" y="40387"/>
                        </a:lnTo>
                        <a:lnTo>
                          <a:pt x="15581" y="39085"/>
                        </a:lnTo>
                        <a:lnTo>
                          <a:pt x="14815" y="37764"/>
                        </a:lnTo>
                        <a:lnTo>
                          <a:pt x="14088" y="36425"/>
                        </a:lnTo>
                        <a:lnTo>
                          <a:pt x="13399" y="35066"/>
                        </a:lnTo>
                        <a:lnTo>
                          <a:pt x="12748" y="33687"/>
                        </a:lnTo>
                        <a:lnTo>
                          <a:pt x="12135" y="32309"/>
                        </a:lnTo>
                        <a:lnTo>
                          <a:pt x="11580" y="30912"/>
                        </a:lnTo>
                        <a:lnTo>
                          <a:pt x="11044" y="29496"/>
                        </a:lnTo>
                        <a:lnTo>
                          <a:pt x="10566" y="28060"/>
                        </a:lnTo>
                        <a:lnTo>
                          <a:pt x="10126" y="26625"/>
                        </a:lnTo>
                        <a:lnTo>
                          <a:pt x="9724" y="25189"/>
                        </a:lnTo>
                        <a:lnTo>
                          <a:pt x="9360" y="23734"/>
                        </a:lnTo>
                        <a:lnTo>
                          <a:pt x="9054" y="22280"/>
                        </a:lnTo>
                        <a:lnTo>
                          <a:pt x="8786" y="20806"/>
                        </a:lnTo>
                        <a:lnTo>
                          <a:pt x="8537" y="19332"/>
                        </a:lnTo>
                        <a:lnTo>
                          <a:pt x="8345" y="17858"/>
                        </a:lnTo>
                        <a:lnTo>
                          <a:pt x="8211" y="16384"/>
                        </a:lnTo>
                        <a:lnTo>
                          <a:pt x="8097" y="14891"/>
                        </a:lnTo>
                        <a:lnTo>
                          <a:pt x="8020" y="13399"/>
                        </a:lnTo>
                        <a:lnTo>
                          <a:pt x="8001" y="11925"/>
                        </a:lnTo>
                        <a:lnTo>
                          <a:pt x="8020" y="10432"/>
                        </a:lnTo>
                        <a:lnTo>
                          <a:pt x="8078" y="8939"/>
                        </a:lnTo>
                        <a:lnTo>
                          <a:pt x="8173" y="7465"/>
                        </a:lnTo>
                        <a:lnTo>
                          <a:pt x="8326" y="5972"/>
                        </a:lnTo>
                        <a:lnTo>
                          <a:pt x="8499" y="4498"/>
                        </a:lnTo>
                        <a:lnTo>
                          <a:pt x="8728" y="3024"/>
                        </a:lnTo>
                        <a:lnTo>
                          <a:pt x="8996" y="1551"/>
                        </a:lnTo>
                        <a:lnTo>
                          <a:pt x="1149" y="0"/>
                        </a:lnTo>
                        <a:close/>
                      </a:path>
                    </a:pathLst>
                  </a:custGeom>
                  <a:solidFill>
                    <a:srgbClr val="A374F0"/>
                  </a:solidFill>
                  <a:ln w="28575">
                    <a:solidFill>
                      <a:srgbClr val="A374F0"/>
                    </a:solidFill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lang="es-PE" sz="1600">
                      <a:latin typeface="Arial Nova" panose="020B0504020202020204" pitchFamily="34" charset="0"/>
                    </a:endParaRPr>
                  </a:p>
                </p:txBody>
              </p:sp>
              <p:sp>
                <p:nvSpPr>
                  <p:cNvPr id="54" name="Google Shape;2271;p37">
                    <a:extLst>
                      <a:ext uri="{FF2B5EF4-FFF2-40B4-BE49-F238E27FC236}">
                        <a16:creationId xmlns:a16="http://schemas.microsoft.com/office/drawing/2014/main" id="{E17FBDBD-636B-9583-E305-76C3E3BC35FD}"/>
                      </a:ext>
                    </a:extLst>
                  </p:cNvPr>
                  <p:cNvSpPr/>
                  <p:nvPr/>
                </p:nvSpPr>
                <p:spPr>
                  <a:xfrm>
                    <a:off x="4716688" y="2494602"/>
                    <a:ext cx="1011125" cy="10116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445" h="40464" extrusionOk="0">
                        <a:moveTo>
                          <a:pt x="37822" y="0"/>
                        </a:moveTo>
                        <a:lnTo>
                          <a:pt x="37037" y="287"/>
                        </a:lnTo>
                        <a:lnTo>
                          <a:pt x="36233" y="574"/>
                        </a:lnTo>
                        <a:lnTo>
                          <a:pt x="35449" y="880"/>
                        </a:lnTo>
                        <a:lnTo>
                          <a:pt x="34664" y="1187"/>
                        </a:lnTo>
                        <a:lnTo>
                          <a:pt x="33879" y="1512"/>
                        </a:lnTo>
                        <a:lnTo>
                          <a:pt x="33094" y="1857"/>
                        </a:lnTo>
                        <a:lnTo>
                          <a:pt x="32329" y="2201"/>
                        </a:lnTo>
                        <a:lnTo>
                          <a:pt x="31563" y="2546"/>
                        </a:lnTo>
                        <a:lnTo>
                          <a:pt x="30778" y="2929"/>
                        </a:lnTo>
                        <a:lnTo>
                          <a:pt x="30032" y="3311"/>
                        </a:lnTo>
                        <a:lnTo>
                          <a:pt x="29266" y="3694"/>
                        </a:lnTo>
                        <a:lnTo>
                          <a:pt x="28520" y="4096"/>
                        </a:lnTo>
                        <a:lnTo>
                          <a:pt x="27754" y="4517"/>
                        </a:lnTo>
                        <a:lnTo>
                          <a:pt x="27008" y="4938"/>
                        </a:lnTo>
                        <a:lnTo>
                          <a:pt x="26280" y="5379"/>
                        </a:lnTo>
                        <a:lnTo>
                          <a:pt x="25534" y="5838"/>
                        </a:lnTo>
                        <a:lnTo>
                          <a:pt x="24807" y="6297"/>
                        </a:lnTo>
                        <a:lnTo>
                          <a:pt x="24079" y="6757"/>
                        </a:lnTo>
                        <a:lnTo>
                          <a:pt x="23371" y="7254"/>
                        </a:lnTo>
                        <a:lnTo>
                          <a:pt x="22644" y="7733"/>
                        </a:lnTo>
                        <a:lnTo>
                          <a:pt x="21935" y="8250"/>
                        </a:lnTo>
                        <a:lnTo>
                          <a:pt x="21246" y="8766"/>
                        </a:lnTo>
                        <a:lnTo>
                          <a:pt x="20538" y="9283"/>
                        </a:lnTo>
                        <a:lnTo>
                          <a:pt x="19849" y="9838"/>
                        </a:lnTo>
                        <a:lnTo>
                          <a:pt x="19160" y="10374"/>
                        </a:lnTo>
                        <a:lnTo>
                          <a:pt x="18490" y="10948"/>
                        </a:lnTo>
                        <a:lnTo>
                          <a:pt x="17820" y="11523"/>
                        </a:lnTo>
                        <a:lnTo>
                          <a:pt x="17150" y="12097"/>
                        </a:lnTo>
                        <a:lnTo>
                          <a:pt x="16480" y="12690"/>
                        </a:lnTo>
                        <a:lnTo>
                          <a:pt x="15830" y="13303"/>
                        </a:lnTo>
                        <a:lnTo>
                          <a:pt x="15179" y="13934"/>
                        </a:lnTo>
                        <a:lnTo>
                          <a:pt x="14547" y="14566"/>
                        </a:lnTo>
                        <a:lnTo>
                          <a:pt x="13916" y="15198"/>
                        </a:lnTo>
                        <a:lnTo>
                          <a:pt x="13303" y="15848"/>
                        </a:lnTo>
                        <a:lnTo>
                          <a:pt x="12691" y="16499"/>
                        </a:lnTo>
                        <a:lnTo>
                          <a:pt x="12097" y="17150"/>
                        </a:lnTo>
                        <a:lnTo>
                          <a:pt x="11504" y="17820"/>
                        </a:lnTo>
                        <a:lnTo>
                          <a:pt x="10930" y="18490"/>
                        </a:lnTo>
                        <a:lnTo>
                          <a:pt x="10375" y="19179"/>
                        </a:lnTo>
                        <a:lnTo>
                          <a:pt x="9820" y="19868"/>
                        </a:lnTo>
                        <a:lnTo>
                          <a:pt x="9284" y="20557"/>
                        </a:lnTo>
                        <a:lnTo>
                          <a:pt x="8748" y="21246"/>
                        </a:lnTo>
                        <a:lnTo>
                          <a:pt x="8231" y="21954"/>
                        </a:lnTo>
                        <a:lnTo>
                          <a:pt x="7733" y="22662"/>
                        </a:lnTo>
                        <a:lnTo>
                          <a:pt x="7236" y="23371"/>
                        </a:lnTo>
                        <a:lnTo>
                          <a:pt x="6757" y="24098"/>
                        </a:lnTo>
                        <a:lnTo>
                          <a:pt x="6279" y="24825"/>
                        </a:lnTo>
                        <a:lnTo>
                          <a:pt x="5819" y="25553"/>
                        </a:lnTo>
                        <a:lnTo>
                          <a:pt x="5379" y="26280"/>
                        </a:lnTo>
                        <a:lnTo>
                          <a:pt x="4939" y="27026"/>
                        </a:lnTo>
                        <a:lnTo>
                          <a:pt x="4499" y="27773"/>
                        </a:lnTo>
                        <a:lnTo>
                          <a:pt x="4097" y="28519"/>
                        </a:lnTo>
                        <a:lnTo>
                          <a:pt x="3695" y="29285"/>
                        </a:lnTo>
                        <a:lnTo>
                          <a:pt x="3293" y="30031"/>
                        </a:lnTo>
                        <a:lnTo>
                          <a:pt x="2910" y="30797"/>
                        </a:lnTo>
                        <a:lnTo>
                          <a:pt x="2546" y="31563"/>
                        </a:lnTo>
                        <a:lnTo>
                          <a:pt x="2183" y="32328"/>
                        </a:lnTo>
                        <a:lnTo>
                          <a:pt x="1838" y="33113"/>
                        </a:lnTo>
                        <a:lnTo>
                          <a:pt x="1513" y="33898"/>
                        </a:lnTo>
                        <a:lnTo>
                          <a:pt x="1187" y="34683"/>
                        </a:lnTo>
                        <a:lnTo>
                          <a:pt x="862" y="35467"/>
                        </a:lnTo>
                        <a:lnTo>
                          <a:pt x="556" y="36252"/>
                        </a:lnTo>
                        <a:lnTo>
                          <a:pt x="269" y="37037"/>
                        </a:lnTo>
                        <a:lnTo>
                          <a:pt x="1" y="37841"/>
                        </a:lnTo>
                        <a:lnTo>
                          <a:pt x="7561" y="40463"/>
                        </a:lnTo>
                        <a:lnTo>
                          <a:pt x="8059" y="39085"/>
                        </a:lnTo>
                        <a:lnTo>
                          <a:pt x="8595" y="37707"/>
                        </a:lnTo>
                        <a:lnTo>
                          <a:pt x="9150" y="36348"/>
                        </a:lnTo>
                        <a:lnTo>
                          <a:pt x="9762" y="35008"/>
                        </a:lnTo>
                        <a:lnTo>
                          <a:pt x="10413" y="33668"/>
                        </a:lnTo>
                        <a:lnTo>
                          <a:pt x="11121" y="32347"/>
                        </a:lnTo>
                        <a:lnTo>
                          <a:pt x="11848" y="31065"/>
                        </a:lnTo>
                        <a:lnTo>
                          <a:pt x="12614" y="29763"/>
                        </a:lnTo>
                        <a:lnTo>
                          <a:pt x="13418" y="28500"/>
                        </a:lnTo>
                        <a:lnTo>
                          <a:pt x="14279" y="27256"/>
                        </a:lnTo>
                        <a:lnTo>
                          <a:pt x="15160" y="26031"/>
                        </a:lnTo>
                        <a:lnTo>
                          <a:pt x="16078" y="24825"/>
                        </a:lnTo>
                        <a:lnTo>
                          <a:pt x="17055" y="23639"/>
                        </a:lnTo>
                        <a:lnTo>
                          <a:pt x="18069" y="22471"/>
                        </a:lnTo>
                        <a:lnTo>
                          <a:pt x="19103" y="21323"/>
                        </a:lnTo>
                        <a:lnTo>
                          <a:pt x="20194" y="20212"/>
                        </a:lnTo>
                        <a:lnTo>
                          <a:pt x="21323" y="19121"/>
                        </a:lnTo>
                        <a:lnTo>
                          <a:pt x="22452" y="18069"/>
                        </a:lnTo>
                        <a:lnTo>
                          <a:pt x="23620" y="17073"/>
                        </a:lnTo>
                        <a:lnTo>
                          <a:pt x="24807" y="16097"/>
                        </a:lnTo>
                        <a:lnTo>
                          <a:pt x="26012" y="15178"/>
                        </a:lnTo>
                        <a:lnTo>
                          <a:pt x="27237" y="14279"/>
                        </a:lnTo>
                        <a:lnTo>
                          <a:pt x="28501" y="13437"/>
                        </a:lnTo>
                        <a:lnTo>
                          <a:pt x="29764" y="12633"/>
                        </a:lnTo>
                        <a:lnTo>
                          <a:pt x="31046" y="11848"/>
                        </a:lnTo>
                        <a:lnTo>
                          <a:pt x="32348" y="11121"/>
                        </a:lnTo>
                        <a:lnTo>
                          <a:pt x="33649" y="10432"/>
                        </a:lnTo>
                        <a:lnTo>
                          <a:pt x="34989" y="9781"/>
                        </a:lnTo>
                        <a:lnTo>
                          <a:pt x="36329" y="9168"/>
                        </a:lnTo>
                        <a:lnTo>
                          <a:pt x="37688" y="8594"/>
                        </a:lnTo>
                        <a:lnTo>
                          <a:pt x="39066" y="8058"/>
                        </a:lnTo>
                        <a:lnTo>
                          <a:pt x="40444" y="7561"/>
                        </a:lnTo>
                        <a:lnTo>
                          <a:pt x="37822" y="0"/>
                        </a:lnTo>
                        <a:close/>
                      </a:path>
                    </a:pathLst>
                  </a:custGeom>
                  <a:solidFill>
                    <a:srgbClr val="9DC755"/>
                  </a:solidFill>
                  <a:ln w="28575">
                    <a:solidFill>
                      <a:srgbClr val="9DC755"/>
                    </a:solidFill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lang="es-PE" sz="1600">
                      <a:latin typeface="Arial Nova" panose="020B0504020202020204" pitchFamily="34" charset="0"/>
                    </a:endParaRPr>
                  </a:p>
                </p:txBody>
              </p:sp>
              <p:sp>
                <p:nvSpPr>
                  <p:cNvPr id="55" name="Google Shape;2272;p37">
                    <a:extLst>
                      <a:ext uri="{FF2B5EF4-FFF2-40B4-BE49-F238E27FC236}">
                        <a16:creationId xmlns:a16="http://schemas.microsoft.com/office/drawing/2014/main" id="{C971EDC9-471D-438E-8346-E8D74A08170C}"/>
                      </a:ext>
                    </a:extLst>
                  </p:cNvPr>
                  <p:cNvSpPr/>
                  <p:nvPr/>
                </p:nvSpPr>
                <p:spPr>
                  <a:xfrm>
                    <a:off x="5864638" y="2412277"/>
                    <a:ext cx="1296300" cy="5273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1852" h="21094" extrusionOk="0">
                        <a:moveTo>
                          <a:pt x="11064" y="1"/>
                        </a:moveTo>
                        <a:lnTo>
                          <a:pt x="10221" y="20"/>
                        </a:lnTo>
                        <a:lnTo>
                          <a:pt x="9360" y="39"/>
                        </a:lnTo>
                        <a:lnTo>
                          <a:pt x="8499" y="77"/>
                        </a:lnTo>
                        <a:lnTo>
                          <a:pt x="7657" y="135"/>
                        </a:lnTo>
                        <a:lnTo>
                          <a:pt x="6795" y="192"/>
                        </a:lnTo>
                        <a:lnTo>
                          <a:pt x="5934" y="269"/>
                        </a:lnTo>
                        <a:lnTo>
                          <a:pt x="5092" y="365"/>
                        </a:lnTo>
                        <a:lnTo>
                          <a:pt x="4230" y="460"/>
                        </a:lnTo>
                        <a:lnTo>
                          <a:pt x="3388" y="575"/>
                        </a:lnTo>
                        <a:lnTo>
                          <a:pt x="2546" y="690"/>
                        </a:lnTo>
                        <a:lnTo>
                          <a:pt x="1685" y="824"/>
                        </a:lnTo>
                        <a:lnTo>
                          <a:pt x="843" y="977"/>
                        </a:lnTo>
                        <a:lnTo>
                          <a:pt x="0" y="1130"/>
                        </a:lnTo>
                        <a:lnTo>
                          <a:pt x="1570" y="8978"/>
                        </a:lnTo>
                        <a:lnTo>
                          <a:pt x="3025" y="8729"/>
                        </a:lnTo>
                        <a:lnTo>
                          <a:pt x="4498" y="8499"/>
                        </a:lnTo>
                        <a:lnTo>
                          <a:pt x="5991" y="8308"/>
                        </a:lnTo>
                        <a:lnTo>
                          <a:pt x="7465" y="8174"/>
                        </a:lnTo>
                        <a:lnTo>
                          <a:pt x="8958" y="8078"/>
                        </a:lnTo>
                        <a:lnTo>
                          <a:pt x="10432" y="8021"/>
                        </a:lnTo>
                        <a:lnTo>
                          <a:pt x="11925" y="8002"/>
                        </a:lnTo>
                        <a:lnTo>
                          <a:pt x="13418" y="8021"/>
                        </a:lnTo>
                        <a:lnTo>
                          <a:pt x="14892" y="8097"/>
                        </a:lnTo>
                        <a:lnTo>
                          <a:pt x="16385" y="8193"/>
                        </a:lnTo>
                        <a:lnTo>
                          <a:pt x="17858" y="8346"/>
                        </a:lnTo>
                        <a:lnTo>
                          <a:pt x="19351" y="8538"/>
                        </a:lnTo>
                        <a:lnTo>
                          <a:pt x="20825" y="8767"/>
                        </a:lnTo>
                        <a:lnTo>
                          <a:pt x="22280" y="9054"/>
                        </a:lnTo>
                        <a:lnTo>
                          <a:pt x="23734" y="9361"/>
                        </a:lnTo>
                        <a:lnTo>
                          <a:pt x="25189" y="9724"/>
                        </a:lnTo>
                        <a:lnTo>
                          <a:pt x="26644" y="10126"/>
                        </a:lnTo>
                        <a:lnTo>
                          <a:pt x="28079" y="10566"/>
                        </a:lnTo>
                        <a:lnTo>
                          <a:pt x="29496" y="11045"/>
                        </a:lnTo>
                        <a:lnTo>
                          <a:pt x="30912" y="11562"/>
                        </a:lnTo>
                        <a:lnTo>
                          <a:pt x="32309" y="12136"/>
                        </a:lnTo>
                        <a:lnTo>
                          <a:pt x="33707" y="12748"/>
                        </a:lnTo>
                        <a:lnTo>
                          <a:pt x="35066" y="13399"/>
                        </a:lnTo>
                        <a:lnTo>
                          <a:pt x="36425" y="14088"/>
                        </a:lnTo>
                        <a:lnTo>
                          <a:pt x="37764" y="14816"/>
                        </a:lnTo>
                        <a:lnTo>
                          <a:pt x="39085" y="15581"/>
                        </a:lnTo>
                        <a:lnTo>
                          <a:pt x="40406" y="16404"/>
                        </a:lnTo>
                        <a:lnTo>
                          <a:pt x="41688" y="17246"/>
                        </a:lnTo>
                        <a:lnTo>
                          <a:pt x="42951" y="18146"/>
                        </a:lnTo>
                        <a:lnTo>
                          <a:pt x="43583" y="18625"/>
                        </a:lnTo>
                        <a:lnTo>
                          <a:pt x="44196" y="19084"/>
                        </a:lnTo>
                        <a:lnTo>
                          <a:pt x="44808" y="19582"/>
                        </a:lnTo>
                        <a:lnTo>
                          <a:pt x="45421" y="20079"/>
                        </a:lnTo>
                        <a:lnTo>
                          <a:pt x="46033" y="20577"/>
                        </a:lnTo>
                        <a:lnTo>
                          <a:pt x="46626" y="21094"/>
                        </a:lnTo>
                        <a:lnTo>
                          <a:pt x="51852" y="15064"/>
                        </a:lnTo>
                        <a:lnTo>
                          <a:pt x="51163" y="14471"/>
                        </a:lnTo>
                        <a:lnTo>
                          <a:pt x="50474" y="13897"/>
                        </a:lnTo>
                        <a:lnTo>
                          <a:pt x="49765" y="13323"/>
                        </a:lnTo>
                        <a:lnTo>
                          <a:pt x="49057" y="12768"/>
                        </a:lnTo>
                        <a:lnTo>
                          <a:pt x="48349" y="12212"/>
                        </a:lnTo>
                        <a:lnTo>
                          <a:pt x="47622" y="11677"/>
                        </a:lnTo>
                        <a:lnTo>
                          <a:pt x="46894" y="11160"/>
                        </a:lnTo>
                        <a:lnTo>
                          <a:pt x="46167" y="10643"/>
                        </a:lnTo>
                        <a:lnTo>
                          <a:pt x="45440" y="10145"/>
                        </a:lnTo>
                        <a:lnTo>
                          <a:pt x="44693" y="9667"/>
                        </a:lnTo>
                        <a:lnTo>
                          <a:pt x="43947" y="9188"/>
                        </a:lnTo>
                        <a:lnTo>
                          <a:pt x="43181" y="8729"/>
                        </a:lnTo>
                        <a:lnTo>
                          <a:pt x="42435" y="8270"/>
                        </a:lnTo>
                        <a:lnTo>
                          <a:pt x="41669" y="7829"/>
                        </a:lnTo>
                        <a:lnTo>
                          <a:pt x="40884" y="7408"/>
                        </a:lnTo>
                        <a:lnTo>
                          <a:pt x="40119" y="6987"/>
                        </a:lnTo>
                        <a:lnTo>
                          <a:pt x="39334" y="6585"/>
                        </a:lnTo>
                        <a:lnTo>
                          <a:pt x="38549" y="6202"/>
                        </a:lnTo>
                        <a:lnTo>
                          <a:pt x="37764" y="5820"/>
                        </a:lnTo>
                        <a:lnTo>
                          <a:pt x="36980" y="5456"/>
                        </a:lnTo>
                        <a:lnTo>
                          <a:pt x="36176" y="5092"/>
                        </a:lnTo>
                        <a:lnTo>
                          <a:pt x="35372" y="4748"/>
                        </a:lnTo>
                        <a:lnTo>
                          <a:pt x="34568" y="4422"/>
                        </a:lnTo>
                        <a:lnTo>
                          <a:pt x="33764" y="4116"/>
                        </a:lnTo>
                        <a:lnTo>
                          <a:pt x="32960" y="3791"/>
                        </a:lnTo>
                        <a:lnTo>
                          <a:pt x="32137" y="3504"/>
                        </a:lnTo>
                        <a:lnTo>
                          <a:pt x="31333" y="3216"/>
                        </a:lnTo>
                        <a:lnTo>
                          <a:pt x="30510" y="2949"/>
                        </a:lnTo>
                        <a:lnTo>
                          <a:pt x="29687" y="2681"/>
                        </a:lnTo>
                        <a:lnTo>
                          <a:pt x="28864" y="2451"/>
                        </a:lnTo>
                        <a:lnTo>
                          <a:pt x="28022" y="2202"/>
                        </a:lnTo>
                        <a:lnTo>
                          <a:pt x="27199" y="1991"/>
                        </a:lnTo>
                        <a:lnTo>
                          <a:pt x="26357" y="1781"/>
                        </a:lnTo>
                        <a:lnTo>
                          <a:pt x="25515" y="1570"/>
                        </a:lnTo>
                        <a:lnTo>
                          <a:pt x="24692" y="1379"/>
                        </a:lnTo>
                        <a:lnTo>
                          <a:pt x="23849" y="1207"/>
                        </a:lnTo>
                        <a:lnTo>
                          <a:pt x="23007" y="1054"/>
                        </a:lnTo>
                        <a:lnTo>
                          <a:pt x="22146" y="900"/>
                        </a:lnTo>
                        <a:lnTo>
                          <a:pt x="21304" y="747"/>
                        </a:lnTo>
                        <a:lnTo>
                          <a:pt x="20461" y="633"/>
                        </a:lnTo>
                        <a:lnTo>
                          <a:pt x="19619" y="499"/>
                        </a:lnTo>
                        <a:lnTo>
                          <a:pt x="18758" y="403"/>
                        </a:lnTo>
                        <a:lnTo>
                          <a:pt x="17916" y="307"/>
                        </a:lnTo>
                        <a:lnTo>
                          <a:pt x="17054" y="231"/>
                        </a:lnTo>
                        <a:lnTo>
                          <a:pt x="16193" y="154"/>
                        </a:lnTo>
                        <a:lnTo>
                          <a:pt x="15351" y="116"/>
                        </a:lnTo>
                        <a:lnTo>
                          <a:pt x="14490" y="58"/>
                        </a:lnTo>
                        <a:lnTo>
                          <a:pt x="13628" y="39"/>
                        </a:lnTo>
                        <a:lnTo>
                          <a:pt x="12786" y="1"/>
                        </a:lnTo>
                        <a:close/>
                      </a:path>
                    </a:pathLst>
                  </a:custGeom>
                  <a:solidFill>
                    <a:srgbClr val="A374F0"/>
                  </a:solidFill>
                  <a:ln w="28575">
                    <a:solidFill>
                      <a:srgbClr val="A374F0"/>
                    </a:solidFill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lang="es-PE" sz="1600">
                      <a:latin typeface="Arial Nova" panose="020B0504020202020204" pitchFamily="34" charset="0"/>
                    </a:endParaRPr>
                  </a:p>
                </p:txBody>
              </p:sp>
              <p:sp>
                <p:nvSpPr>
                  <p:cNvPr id="56" name="Google Shape;2273;p37">
                    <a:extLst>
                      <a:ext uri="{FF2B5EF4-FFF2-40B4-BE49-F238E27FC236}">
                        <a16:creationId xmlns:a16="http://schemas.microsoft.com/office/drawing/2014/main" id="{7D005D7C-513B-C997-6D06-31610E6D6BFB}"/>
                      </a:ext>
                    </a:extLst>
                  </p:cNvPr>
                  <p:cNvSpPr/>
                  <p:nvPr/>
                </p:nvSpPr>
                <p:spPr>
                  <a:xfrm>
                    <a:off x="7158038" y="2936727"/>
                    <a:ext cx="523525" cy="12915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941" h="51661" extrusionOk="0">
                        <a:moveTo>
                          <a:pt x="6011" y="1"/>
                        </a:moveTo>
                        <a:lnTo>
                          <a:pt x="1" y="5264"/>
                        </a:lnTo>
                        <a:lnTo>
                          <a:pt x="518" y="5858"/>
                        </a:lnTo>
                        <a:lnTo>
                          <a:pt x="1015" y="6451"/>
                        </a:lnTo>
                        <a:lnTo>
                          <a:pt x="1513" y="7064"/>
                        </a:lnTo>
                        <a:lnTo>
                          <a:pt x="1992" y="7676"/>
                        </a:lnTo>
                        <a:lnTo>
                          <a:pt x="2910" y="8920"/>
                        </a:lnTo>
                        <a:lnTo>
                          <a:pt x="3810" y="10184"/>
                        </a:lnTo>
                        <a:lnTo>
                          <a:pt x="4652" y="11466"/>
                        </a:lnTo>
                        <a:lnTo>
                          <a:pt x="5456" y="12768"/>
                        </a:lnTo>
                        <a:lnTo>
                          <a:pt x="6222" y="14088"/>
                        </a:lnTo>
                        <a:lnTo>
                          <a:pt x="6949" y="15428"/>
                        </a:lnTo>
                        <a:lnTo>
                          <a:pt x="7638" y="16787"/>
                        </a:lnTo>
                        <a:lnTo>
                          <a:pt x="8270" y="18146"/>
                        </a:lnTo>
                        <a:lnTo>
                          <a:pt x="8863" y="19524"/>
                        </a:lnTo>
                        <a:lnTo>
                          <a:pt x="9437" y="20921"/>
                        </a:lnTo>
                        <a:lnTo>
                          <a:pt x="9954" y="22338"/>
                        </a:lnTo>
                        <a:lnTo>
                          <a:pt x="10432" y="23754"/>
                        </a:lnTo>
                        <a:lnTo>
                          <a:pt x="10854" y="25190"/>
                        </a:lnTo>
                        <a:lnTo>
                          <a:pt x="11255" y="26625"/>
                        </a:lnTo>
                        <a:lnTo>
                          <a:pt x="11600" y="28061"/>
                        </a:lnTo>
                        <a:lnTo>
                          <a:pt x="11925" y="29515"/>
                        </a:lnTo>
                        <a:lnTo>
                          <a:pt x="12193" y="30989"/>
                        </a:lnTo>
                        <a:lnTo>
                          <a:pt x="12423" y="32444"/>
                        </a:lnTo>
                        <a:lnTo>
                          <a:pt x="12614" y="33918"/>
                        </a:lnTo>
                        <a:lnTo>
                          <a:pt x="12748" y="35392"/>
                        </a:lnTo>
                        <a:lnTo>
                          <a:pt x="12863" y="36865"/>
                        </a:lnTo>
                        <a:lnTo>
                          <a:pt x="12921" y="38358"/>
                        </a:lnTo>
                        <a:lnTo>
                          <a:pt x="12959" y="39832"/>
                        </a:lnTo>
                        <a:lnTo>
                          <a:pt x="12940" y="41306"/>
                        </a:lnTo>
                        <a:lnTo>
                          <a:pt x="12882" y="42799"/>
                        </a:lnTo>
                        <a:lnTo>
                          <a:pt x="12768" y="44273"/>
                        </a:lnTo>
                        <a:lnTo>
                          <a:pt x="12634" y="45747"/>
                        </a:lnTo>
                        <a:lnTo>
                          <a:pt x="12461" y="47220"/>
                        </a:lnTo>
                        <a:lnTo>
                          <a:pt x="12232" y="48694"/>
                        </a:lnTo>
                        <a:lnTo>
                          <a:pt x="11964" y="50149"/>
                        </a:lnTo>
                        <a:lnTo>
                          <a:pt x="19830" y="51661"/>
                        </a:lnTo>
                        <a:lnTo>
                          <a:pt x="19983" y="50819"/>
                        </a:lnTo>
                        <a:lnTo>
                          <a:pt x="20117" y="49977"/>
                        </a:lnTo>
                        <a:lnTo>
                          <a:pt x="20251" y="49134"/>
                        </a:lnTo>
                        <a:lnTo>
                          <a:pt x="20385" y="48292"/>
                        </a:lnTo>
                        <a:lnTo>
                          <a:pt x="20500" y="47450"/>
                        </a:lnTo>
                        <a:lnTo>
                          <a:pt x="20596" y="46589"/>
                        </a:lnTo>
                        <a:lnTo>
                          <a:pt x="20673" y="45747"/>
                        </a:lnTo>
                        <a:lnTo>
                          <a:pt x="20749" y="44904"/>
                        </a:lnTo>
                        <a:lnTo>
                          <a:pt x="20807" y="44043"/>
                        </a:lnTo>
                        <a:lnTo>
                          <a:pt x="20864" y="43201"/>
                        </a:lnTo>
                        <a:lnTo>
                          <a:pt x="20902" y="42340"/>
                        </a:lnTo>
                        <a:lnTo>
                          <a:pt x="20921" y="41497"/>
                        </a:lnTo>
                        <a:lnTo>
                          <a:pt x="20941" y="40636"/>
                        </a:lnTo>
                        <a:lnTo>
                          <a:pt x="20941" y="39794"/>
                        </a:lnTo>
                        <a:lnTo>
                          <a:pt x="20941" y="38933"/>
                        </a:lnTo>
                        <a:lnTo>
                          <a:pt x="20921" y="38090"/>
                        </a:lnTo>
                        <a:lnTo>
                          <a:pt x="20883" y="37229"/>
                        </a:lnTo>
                        <a:lnTo>
                          <a:pt x="20845" y="36387"/>
                        </a:lnTo>
                        <a:lnTo>
                          <a:pt x="20787" y="35526"/>
                        </a:lnTo>
                        <a:lnTo>
                          <a:pt x="20711" y="34683"/>
                        </a:lnTo>
                        <a:lnTo>
                          <a:pt x="20634" y="33822"/>
                        </a:lnTo>
                        <a:lnTo>
                          <a:pt x="20558" y="32980"/>
                        </a:lnTo>
                        <a:lnTo>
                          <a:pt x="20443" y="32138"/>
                        </a:lnTo>
                        <a:lnTo>
                          <a:pt x="20328" y="31296"/>
                        </a:lnTo>
                        <a:lnTo>
                          <a:pt x="20213" y="30434"/>
                        </a:lnTo>
                        <a:lnTo>
                          <a:pt x="20060" y="29592"/>
                        </a:lnTo>
                        <a:lnTo>
                          <a:pt x="19907" y="28750"/>
                        </a:lnTo>
                        <a:lnTo>
                          <a:pt x="19754" y="27927"/>
                        </a:lnTo>
                        <a:lnTo>
                          <a:pt x="19582" y="27085"/>
                        </a:lnTo>
                        <a:lnTo>
                          <a:pt x="19390" y="26242"/>
                        </a:lnTo>
                        <a:lnTo>
                          <a:pt x="19199" y="25419"/>
                        </a:lnTo>
                        <a:lnTo>
                          <a:pt x="18988" y="24577"/>
                        </a:lnTo>
                        <a:lnTo>
                          <a:pt x="18759" y="23754"/>
                        </a:lnTo>
                        <a:lnTo>
                          <a:pt x="18529" y="22931"/>
                        </a:lnTo>
                        <a:lnTo>
                          <a:pt x="18280" y="22108"/>
                        </a:lnTo>
                        <a:lnTo>
                          <a:pt x="18031" y="21285"/>
                        </a:lnTo>
                        <a:lnTo>
                          <a:pt x="17763" y="20462"/>
                        </a:lnTo>
                        <a:lnTo>
                          <a:pt x="17476" y="19639"/>
                        </a:lnTo>
                        <a:lnTo>
                          <a:pt x="17189" y="18835"/>
                        </a:lnTo>
                        <a:lnTo>
                          <a:pt x="16883" y="18031"/>
                        </a:lnTo>
                        <a:lnTo>
                          <a:pt x="16557" y="17227"/>
                        </a:lnTo>
                        <a:lnTo>
                          <a:pt x="16232" y="16423"/>
                        </a:lnTo>
                        <a:lnTo>
                          <a:pt x="15887" y="15619"/>
                        </a:lnTo>
                        <a:lnTo>
                          <a:pt x="15543" y="14835"/>
                        </a:lnTo>
                        <a:lnTo>
                          <a:pt x="15179" y="14050"/>
                        </a:lnTo>
                        <a:lnTo>
                          <a:pt x="14796" y="13265"/>
                        </a:lnTo>
                        <a:lnTo>
                          <a:pt x="14414" y="12480"/>
                        </a:lnTo>
                        <a:lnTo>
                          <a:pt x="14012" y="11696"/>
                        </a:lnTo>
                        <a:lnTo>
                          <a:pt x="13610" y="10930"/>
                        </a:lnTo>
                        <a:lnTo>
                          <a:pt x="13189" y="10164"/>
                        </a:lnTo>
                        <a:lnTo>
                          <a:pt x="12748" y="9399"/>
                        </a:lnTo>
                        <a:lnTo>
                          <a:pt x="12308" y="8652"/>
                        </a:lnTo>
                        <a:lnTo>
                          <a:pt x="11849" y="7887"/>
                        </a:lnTo>
                        <a:lnTo>
                          <a:pt x="11370" y="7140"/>
                        </a:lnTo>
                        <a:lnTo>
                          <a:pt x="10892" y="6413"/>
                        </a:lnTo>
                        <a:lnTo>
                          <a:pt x="10394" y="5666"/>
                        </a:lnTo>
                        <a:lnTo>
                          <a:pt x="9897" y="4939"/>
                        </a:lnTo>
                        <a:lnTo>
                          <a:pt x="9380" y="4212"/>
                        </a:lnTo>
                        <a:lnTo>
                          <a:pt x="8844" y="3504"/>
                        </a:lnTo>
                        <a:lnTo>
                          <a:pt x="8308" y="2776"/>
                        </a:lnTo>
                        <a:lnTo>
                          <a:pt x="7753" y="2087"/>
                        </a:lnTo>
                        <a:lnTo>
                          <a:pt x="7179" y="1379"/>
                        </a:lnTo>
                        <a:lnTo>
                          <a:pt x="6604" y="690"/>
                        </a:lnTo>
                        <a:lnTo>
                          <a:pt x="6011" y="1"/>
                        </a:lnTo>
                        <a:close/>
                      </a:path>
                    </a:pathLst>
                  </a:custGeom>
                  <a:solidFill>
                    <a:srgbClr val="9DC755"/>
                  </a:solidFill>
                  <a:ln w="28575">
                    <a:solidFill>
                      <a:srgbClr val="9DC755"/>
                    </a:solidFill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lang="es-PE" sz="1600">
                      <a:latin typeface="Arial Nova" panose="020B0504020202020204" pitchFamily="34" charset="0"/>
                    </a:endParaRPr>
                  </a:p>
                </p:txBody>
              </p:sp>
              <p:sp>
                <p:nvSpPr>
                  <p:cNvPr id="57" name="Google Shape;2274;p37">
                    <a:extLst>
                      <a:ext uri="{FF2B5EF4-FFF2-40B4-BE49-F238E27FC236}">
                        <a16:creationId xmlns:a16="http://schemas.microsoft.com/office/drawing/2014/main" id="{A2969F39-8B62-45AD-6D92-2B541648C403}"/>
                      </a:ext>
                    </a:extLst>
                  </p:cNvPr>
                  <p:cNvSpPr/>
                  <p:nvPr/>
                </p:nvSpPr>
                <p:spPr>
                  <a:xfrm>
                    <a:off x="6586713" y="4365102"/>
                    <a:ext cx="1013500" cy="1013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540" h="40540" extrusionOk="0">
                        <a:moveTo>
                          <a:pt x="32960" y="0"/>
                        </a:moveTo>
                        <a:lnTo>
                          <a:pt x="32462" y="1378"/>
                        </a:lnTo>
                        <a:lnTo>
                          <a:pt x="31926" y="2756"/>
                        </a:lnTo>
                        <a:lnTo>
                          <a:pt x="31371" y="4115"/>
                        </a:lnTo>
                        <a:lnTo>
                          <a:pt x="30759" y="5455"/>
                        </a:lnTo>
                        <a:lnTo>
                          <a:pt x="30089" y="6795"/>
                        </a:lnTo>
                        <a:lnTo>
                          <a:pt x="29400" y="8116"/>
                        </a:lnTo>
                        <a:lnTo>
                          <a:pt x="28673" y="9417"/>
                        </a:lnTo>
                        <a:lnTo>
                          <a:pt x="27907" y="10719"/>
                        </a:lnTo>
                        <a:lnTo>
                          <a:pt x="27084" y="11982"/>
                        </a:lnTo>
                        <a:lnTo>
                          <a:pt x="26242" y="13226"/>
                        </a:lnTo>
                        <a:lnTo>
                          <a:pt x="25361" y="14470"/>
                        </a:lnTo>
                        <a:lnTo>
                          <a:pt x="24423" y="15676"/>
                        </a:lnTo>
                        <a:lnTo>
                          <a:pt x="23447" y="16863"/>
                        </a:lnTo>
                        <a:lnTo>
                          <a:pt x="22452" y="18031"/>
                        </a:lnTo>
                        <a:lnTo>
                          <a:pt x="21399" y="19179"/>
                        </a:lnTo>
                        <a:lnTo>
                          <a:pt x="20308" y="20289"/>
                        </a:lnTo>
                        <a:lnTo>
                          <a:pt x="19179" y="21380"/>
                        </a:lnTo>
                        <a:lnTo>
                          <a:pt x="18031" y="22433"/>
                        </a:lnTo>
                        <a:lnTo>
                          <a:pt x="16863" y="23447"/>
                        </a:lnTo>
                        <a:lnTo>
                          <a:pt x="15676" y="24423"/>
                        </a:lnTo>
                        <a:lnTo>
                          <a:pt x="14470" y="25342"/>
                        </a:lnTo>
                        <a:lnTo>
                          <a:pt x="13245" y="26242"/>
                        </a:lnTo>
                        <a:lnTo>
                          <a:pt x="11982" y="27084"/>
                        </a:lnTo>
                        <a:lnTo>
                          <a:pt x="10719" y="27907"/>
                        </a:lnTo>
                        <a:lnTo>
                          <a:pt x="9436" y="28673"/>
                        </a:lnTo>
                        <a:lnTo>
                          <a:pt x="8116" y="29400"/>
                        </a:lnTo>
                        <a:lnTo>
                          <a:pt x="6795" y="30089"/>
                        </a:lnTo>
                        <a:lnTo>
                          <a:pt x="5474" y="30740"/>
                        </a:lnTo>
                        <a:lnTo>
                          <a:pt x="4115" y="31352"/>
                        </a:lnTo>
                        <a:lnTo>
                          <a:pt x="2756" y="31927"/>
                        </a:lnTo>
                        <a:lnTo>
                          <a:pt x="1378" y="32462"/>
                        </a:lnTo>
                        <a:lnTo>
                          <a:pt x="0" y="32960"/>
                        </a:lnTo>
                        <a:lnTo>
                          <a:pt x="2584" y="40540"/>
                        </a:lnTo>
                        <a:lnTo>
                          <a:pt x="3369" y="40253"/>
                        </a:lnTo>
                        <a:lnTo>
                          <a:pt x="4173" y="39966"/>
                        </a:lnTo>
                        <a:lnTo>
                          <a:pt x="4958" y="39659"/>
                        </a:lnTo>
                        <a:lnTo>
                          <a:pt x="5762" y="39353"/>
                        </a:lnTo>
                        <a:lnTo>
                          <a:pt x="6546" y="39028"/>
                        </a:lnTo>
                        <a:lnTo>
                          <a:pt x="7312" y="38683"/>
                        </a:lnTo>
                        <a:lnTo>
                          <a:pt x="8097" y="38339"/>
                        </a:lnTo>
                        <a:lnTo>
                          <a:pt x="8881" y="37975"/>
                        </a:lnTo>
                        <a:lnTo>
                          <a:pt x="9647" y="37611"/>
                        </a:lnTo>
                        <a:lnTo>
                          <a:pt x="10413" y="37228"/>
                        </a:lnTo>
                        <a:lnTo>
                          <a:pt x="11178" y="36846"/>
                        </a:lnTo>
                        <a:lnTo>
                          <a:pt x="11925" y="36425"/>
                        </a:lnTo>
                        <a:lnTo>
                          <a:pt x="12690" y="36023"/>
                        </a:lnTo>
                        <a:lnTo>
                          <a:pt x="13437" y="35582"/>
                        </a:lnTo>
                        <a:lnTo>
                          <a:pt x="14164" y="35142"/>
                        </a:lnTo>
                        <a:lnTo>
                          <a:pt x="14911" y="34702"/>
                        </a:lnTo>
                        <a:lnTo>
                          <a:pt x="15638" y="34243"/>
                        </a:lnTo>
                        <a:lnTo>
                          <a:pt x="16365" y="33764"/>
                        </a:lnTo>
                        <a:lnTo>
                          <a:pt x="17093" y="33285"/>
                        </a:lnTo>
                        <a:lnTo>
                          <a:pt x="17820" y="32788"/>
                        </a:lnTo>
                        <a:lnTo>
                          <a:pt x="18528" y="32271"/>
                        </a:lnTo>
                        <a:lnTo>
                          <a:pt x="19236" y="31754"/>
                        </a:lnTo>
                        <a:lnTo>
                          <a:pt x="19925" y="31237"/>
                        </a:lnTo>
                        <a:lnTo>
                          <a:pt x="20634" y="30682"/>
                        </a:lnTo>
                        <a:lnTo>
                          <a:pt x="21323" y="30127"/>
                        </a:lnTo>
                        <a:lnTo>
                          <a:pt x="21993" y="29572"/>
                        </a:lnTo>
                        <a:lnTo>
                          <a:pt x="22682" y="28998"/>
                        </a:lnTo>
                        <a:lnTo>
                          <a:pt x="23352" y="28405"/>
                        </a:lnTo>
                        <a:lnTo>
                          <a:pt x="24002" y="27811"/>
                        </a:lnTo>
                        <a:lnTo>
                          <a:pt x="24653" y="27199"/>
                        </a:lnTo>
                        <a:lnTo>
                          <a:pt x="25304" y="26586"/>
                        </a:lnTo>
                        <a:lnTo>
                          <a:pt x="25955" y="25936"/>
                        </a:lnTo>
                        <a:lnTo>
                          <a:pt x="26586" y="25304"/>
                        </a:lnTo>
                        <a:lnTo>
                          <a:pt x="27199" y="24653"/>
                        </a:lnTo>
                        <a:lnTo>
                          <a:pt x="27811" y="24002"/>
                        </a:lnTo>
                        <a:lnTo>
                          <a:pt x="28424" y="23332"/>
                        </a:lnTo>
                        <a:lnTo>
                          <a:pt x="28998" y="22663"/>
                        </a:lnTo>
                        <a:lnTo>
                          <a:pt x="29572" y="21993"/>
                        </a:lnTo>
                        <a:lnTo>
                          <a:pt x="30146" y="21304"/>
                        </a:lnTo>
                        <a:lnTo>
                          <a:pt x="30701" y="20614"/>
                        </a:lnTo>
                        <a:lnTo>
                          <a:pt x="31237" y="19925"/>
                        </a:lnTo>
                        <a:lnTo>
                          <a:pt x="31773" y="19217"/>
                        </a:lnTo>
                        <a:lnTo>
                          <a:pt x="32290" y="18528"/>
                        </a:lnTo>
                        <a:lnTo>
                          <a:pt x="32788" y="17801"/>
                        </a:lnTo>
                        <a:lnTo>
                          <a:pt x="33285" y="17093"/>
                        </a:lnTo>
                        <a:lnTo>
                          <a:pt x="33764" y="16365"/>
                        </a:lnTo>
                        <a:lnTo>
                          <a:pt x="34242" y="15638"/>
                        </a:lnTo>
                        <a:lnTo>
                          <a:pt x="34702" y="14911"/>
                        </a:lnTo>
                        <a:lnTo>
                          <a:pt x="35161" y="14164"/>
                        </a:lnTo>
                        <a:lnTo>
                          <a:pt x="35601" y="13418"/>
                        </a:lnTo>
                        <a:lnTo>
                          <a:pt x="36023" y="12671"/>
                        </a:lnTo>
                        <a:lnTo>
                          <a:pt x="36444" y="11925"/>
                        </a:lnTo>
                        <a:lnTo>
                          <a:pt x="36846" y="11159"/>
                        </a:lnTo>
                        <a:lnTo>
                          <a:pt x="37228" y="10393"/>
                        </a:lnTo>
                        <a:lnTo>
                          <a:pt x="37611" y="9628"/>
                        </a:lnTo>
                        <a:lnTo>
                          <a:pt x="37994" y="8862"/>
                        </a:lnTo>
                        <a:lnTo>
                          <a:pt x="38339" y="8097"/>
                        </a:lnTo>
                        <a:lnTo>
                          <a:pt x="38702" y="7312"/>
                        </a:lnTo>
                        <a:lnTo>
                          <a:pt x="39028" y="6527"/>
                        </a:lnTo>
                        <a:lnTo>
                          <a:pt x="39353" y="5742"/>
                        </a:lnTo>
                        <a:lnTo>
                          <a:pt x="39659" y="4958"/>
                        </a:lnTo>
                        <a:lnTo>
                          <a:pt x="39965" y="4154"/>
                        </a:lnTo>
                        <a:lnTo>
                          <a:pt x="40253" y="3369"/>
                        </a:lnTo>
                        <a:lnTo>
                          <a:pt x="40540" y="2565"/>
                        </a:lnTo>
                        <a:lnTo>
                          <a:pt x="32960" y="0"/>
                        </a:lnTo>
                        <a:close/>
                      </a:path>
                    </a:pathLst>
                  </a:custGeom>
                  <a:solidFill>
                    <a:srgbClr val="A374F0"/>
                  </a:solidFill>
                  <a:ln w="28575">
                    <a:solidFill>
                      <a:srgbClr val="A374F0"/>
                    </a:solidFill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lang="es-PE" sz="1600">
                      <a:latin typeface="Arial Nova" panose="020B0504020202020204" pitchFamily="34" charset="0"/>
                    </a:endParaRPr>
                  </a:p>
                </p:txBody>
              </p:sp>
              <p:sp>
                <p:nvSpPr>
                  <p:cNvPr id="58" name="Google Shape;2275;p37">
                    <a:extLst>
                      <a:ext uri="{FF2B5EF4-FFF2-40B4-BE49-F238E27FC236}">
                        <a16:creationId xmlns:a16="http://schemas.microsoft.com/office/drawing/2014/main" id="{EA59451D-DCEF-04BD-7139-076344E77E65}"/>
                      </a:ext>
                    </a:extLst>
                  </p:cNvPr>
                  <p:cNvSpPr/>
                  <p:nvPr/>
                </p:nvSpPr>
                <p:spPr>
                  <a:xfrm>
                    <a:off x="5158363" y="4936427"/>
                    <a:ext cx="1291525" cy="5235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1661" h="20941" extrusionOk="0">
                        <a:moveTo>
                          <a:pt x="5264" y="1"/>
                        </a:moveTo>
                        <a:lnTo>
                          <a:pt x="0" y="6011"/>
                        </a:lnTo>
                        <a:lnTo>
                          <a:pt x="689" y="6604"/>
                        </a:lnTo>
                        <a:lnTo>
                          <a:pt x="1378" y="7179"/>
                        </a:lnTo>
                        <a:lnTo>
                          <a:pt x="2086" y="7734"/>
                        </a:lnTo>
                        <a:lnTo>
                          <a:pt x="2795" y="8289"/>
                        </a:lnTo>
                        <a:lnTo>
                          <a:pt x="3503" y="8844"/>
                        </a:lnTo>
                        <a:lnTo>
                          <a:pt x="4211" y="9361"/>
                        </a:lnTo>
                        <a:lnTo>
                          <a:pt x="4938" y="9877"/>
                        </a:lnTo>
                        <a:lnTo>
                          <a:pt x="5666" y="10394"/>
                        </a:lnTo>
                        <a:lnTo>
                          <a:pt x="6412" y="10892"/>
                        </a:lnTo>
                        <a:lnTo>
                          <a:pt x="7159" y="11370"/>
                        </a:lnTo>
                        <a:lnTo>
                          <a:pt x="7905" y="11830"/>
                        </a:lnTo>
                        <a:lnTo>
                          <a:pt x="8652" y="12289"/>
                        </a:lnTo>
                        <a:lnTo>
                          <a:pt x="9398" y="12748"/>
                        </a:lnTo>
                        <a:lnTo>
                          <a:pt x="10164" y="13170"/>
                        </a:lnTo>
                        <a:lnTo>
                          <a:pt x="10929" y="13610"/>
                        </a:lnTo>
                        <a:lnTo>
                          <a:pt x="11714" y="14012"/>
                        </a:lnTo>
                        <a:lnTo>
                          <a:pt x="12480" y="14414"/>
                        </a:lnTo>
                        <a:lnTo>
                          <a:pt x="13264" y="14797"/>
                        </a:lnTo>
                        <a:lnTo>
                          <a:pt x="14049" y="15179"/>
                        </a:lnTo>
                        <a:lnTo>
                          <a:pt x="14834" y="15543"/>
                        </a:lnTo>
                        <a:lnTo>
                          <a:pt x="15638" y="15888"/>
                        </a:lnTo>
                        <a:lnTo>
                          <a:pt x="16423" y="16232"/>
                        </a:lnTo>
                        <a:lnTo>
                          <a:pt x="17227" y="16557"/>
                        </a:lnTo>
                        <a:lnTo>
                          <a:pt x="18030" y="16883"/>
                        </a:lnTo>
                        <a:lnTo>
                          <a:pt x="18834" y="17170"/>
                        </a:lnTo>
                        <a:lnTo>
                          <a:pt x="19657" y="17476"/>
                        </a:lnTo>
                        <a:lnTo>
                          <a:pt x="20461" y="17744"/>
                        </a:lnTo>
                        <a:lnTo>
                          <a:pt x="21284" y="18012"/>
                        </a:lnTo>
                        <a:lnTo>
                          <a:pt x="22107" y="18280"/>
                        </a:lnTo>
                        <a:lnTo>
                          <a:pt x="22930" y="18529"/>
                        </a:lnTo>
                        <a:lnTo>
                          <a:pt x="23753" y="18759"/>
                        </a:lnTo>
                        <a:lnTo>
                          <a:pt x="24576" y="18988"/>
                        </a:lnTo>
                        <a:lnTo>
                          <a:pt x="25419" y="19180"/>
                        </a:lnTo>
                        <a:lnTo>
                          <a:pt x="26242" y="19390"/>
                        </a:lnTo>
                        <a:lnTo>
                          <a:pt x="27084" y="19582"/>
                        </a:lnTo>
                        <a:lnTo>
                          <a:pt x="27926" y="19754"/>
                        </a:lnTo>
                        <a:lnTo>
                          <a:pt x="28768" y="19907"/>
                        </a:lnTo>
                        <a:lnTo>
                          <a:pt x="29610" y="20060"/>
                        </a:lnTo>
                        <a:lnTo>
                          <a:pt x="30453" y="20194"/>
                        </a:lnTo>
                        <a:lnTo>
                          <a:pt x="31295" y="20328"/>
                        </a:lnTo>
                        <a:lnTo>
                          <a:pt x="32137" y="20443"/>
                        </a:lnTo>
                        <a:lnTo>
                          <a:pt x="32979" y="20539"/>
                        </a:lnTo>
                        <a:lnTo>
                          <a:pt x="33840" y="20634"/>
                        </a:lnTo>
                        <a:lnTo>
                          <a:pt x="34683" y="20711"/>
                        </a:lnTo>
                        <a:lnTo>
                          <a:pt x="35525" y="20787"/>
                        </a:lnTo>
                        <a:lnTo>
                          <a:pt x="36386" y="20845"/>
                        </a:lnTo>
                        <a:lnTo>
                          <a:pt x="37228" y="20883"/>
                        </a:lnTo>
                        <a:lnTo>
                          <a:pt x="38090" y="20921"/>
                        </a:lnTo>
                        <a:lnTo>
                          <a:pt x="38932" y="20941"/>
                        </a:lnTo>
                        <a:lnTo>
                          <a:pt x="40654" y="20941"/>
                        </a:lnTo>
                        <a:lnTo>
                          <a:pt x="41497" y="20921"/>
                        </a:lnTo>
                        <a:lnTo>
                          <a:pt x="42358" y="20902"/>
                        </a:lnTo>
                        <a:lnTo>
                          <a:pt x="43200" y="20864"/>
                        </a:lnTo>
                        <a:lnTo>
                          <a:pt x="44061" y="20807"/>
                        </a:lnTo>
                        <a:lnTo>
                          <a:pt x="44904" y="20749"/>
                        </a:lnTo>
                        <a:lnTo>
                          <a:pt x="45746" y="20673"/>
                        </a:lnTo>
                        <a:lnTo>
                          <a:pt x="46607" y="20577"/>
                        </a:lnTo>
                        <a:lnTo>
                          <a:pt x="47449" y="20481"/>
                        </a:lnTo>
                        <a:lnTo>
                          <a:pt x="48291" y="20386"/>
                        </a:lnTo>
                        <a:lnTo>
                          <a:pt x="49134" y="20252"/>
                        </a:lnTo>
                        <a:lnTo>
                          <a:pt x="49995" y="20118"/>
                        </a:lnTo>
                        <a:lnTo>
                          <a:pt x="50837" y="19984"/>
                        </a:lnTo>
                        <a:lnTo>
                          <a:pt x="51660" y="19811"/>
                        </a:lnTo>
                        <a:lnTo>
                          <a:pt x="50148" y="11964"/>
                        </a:lnTo>
                        <a:lnTo>
                          <a:pt x="48693" y="12232"/>
                        </a:lnTo>
                        <a:lnTo>
                          <a:pt x="47220" y="12442"/>
                        </a:lnTo>
                        <a:lnTo>
                          <a:pt x="45746" y="12634"/>
                        </a:lnTo>
                        <a:lnTo>
                          <a:pt x="44272" y="12768"/>
                        </a:lnTo>
                        <a:lnTo>
                          <a:pt x="42798" y="12863"/>
                        </a:lnTo>
                        <a:lnTo>
                          <a:pt x="41324" y="12940"/>
                        </a:lnTo>
                        <a:lnTo>
                          <a:pt x="39831" y="12940"/>
                        </a:lnTo>
                        <a:lnTo>
                          <a:pt x="38358" y="12921"/>
                        </a:lnTo>
                        <a:lnTo>
                          <a:pt x="36884" y="12863"/>
                        </a:lnTo>
                        <a:lnTo>
                          <a:pt x="35391" y="12748"/>
                        </a:lnTo>
                        <a:lnTo>
                          <a:pt x="33917" y="12614"/>
                        </a:lnTo>
                        <a:lnTo>
                          <a:pt x="32462" y="12423"/>
                        </a:lnTo>
                        <a:lnTo>
                          <a:pt x="30988" y="12193"/>
                        </a:lnTo>
                        <a:lnTo>
                          <a:pt x="29534" y="11925"/>
                        </a:lnTo>
                        <a:lnTo>
                          <a:pt x="28079" y="11600"/>
                        </a:lnTo>
                        <a:lnTo>
                          <a:pt x="26624" y="11256"/>
                        </a:lnTo>
                        <a:lnTo>
                          <a:pt x="25189" y="10854"/>
                        </a:lnTo>
                        <a:lnTo>
                          <a:pt x="23753" y="10413"/>
                        </a:lnTo>
                        <a:lnTo>
                          <a:pt x="22337" y="9954"/>
                        </a:lnTo>
                        <a:lnTo>
                          <a:pt x="20940" y="9418"/>
                        </a:lnTo>
                        <a:lnTo>
                          <a:pt x="19543" y="8863"/>
                        </a:lnTo>
                        <a:lnTo>
                          <a:pt x="18164" y="8270"/>
                        </a:lnTo>
                        <a:lnTo>
                          <a:pt x="16786" y="7619"/>
                        </a:lnTo>
                        <a:lnTo>
                          <a:pt x="15427" y="6949"/>
                        </a:lnTo>
                        <a:lnTo>
                          <a:pt x="14107" y="6222"/>
                        </a:lnTo>
                        <a:lnTo>
                          <a:pt x="12786" y="5456"/>
                        </a:lnTo>
                        <a:lnTo>
                          <a:pt x="11484" y="4652"/>
                        </a:lnTo>
                        <a:lnTo>
                          <a:pt x="10202" y="3810"/>
                        </a:lnTo>
                        <a:lnTo>
                          <a:pt x="8939" y="2910"/>
                        </a:lnTo>
                        <a:lnTo>
                          <a:pt x="7695" y="1992"/>
                        </a:lnTo>
                        <a:lnTo>
                          <a:pt x="7082" y="1494"/>
                        </a:lnTo>
                        <a:lnTo>
                          <a:pt x="6470" y="1015"/>
                        </a:lnTo>
                        <a:lnTo>
                          <a:pt x="5857" y="518"/>
                        </a:lnTo>
                        <a:lnTo>
                          <a:pt x="5264" y="1"/>
                        </a:lnTo>
                        <a:close/>
                      </a:path>
                    </a:pathLst>
                  </a:custGeom>
                  <a:solidFill>
                    <a:srgbClr val="9DC755"/>
                  </a:solidFill>
                  <a:ln w="28575">
                    <a:solidFill>
                      <a:srgbClr val="9DC755"/>
                    </a:solidFill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 lang="es-PE" sz="1600">
                      <a:latin typeface="Arial Nova" panose="020B0504020202020204" pitchFamily="34" charset="0"/>
                    </a:endParaRPr>
                  </a:p>
                </p:txBody>
              </p:sp>
            </p:grpSp>
            <p:sp>
              <p:nvSpPr>
                <p:cNvPr id="44" name="Google Shape;2276;p37">
                  <a:extLst>
                    <a:ext uri="{FF2B5EF4-FFF2-40B4-BE49-F238E27FC236}">
                      <a16:creationId xmlns:a16="http://schemas.microsoft.com/office/drawing/2014/main" id="{B82B5FD2-4155-8A98-692E-264B5A862085}"/>
                    </a:ext>
                  </a:extLst>
                </p:cNvPr>
                <p:cNvSpPr/>
                <p:nvPr/>
              </p:nvSpPr>
              <p:spPr>
                <a:xfrm>
                  <a:off x="6491013" y="2958277"/>
                  <a:ext cx="796250" cy="978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50" h="39124" extrusionOk="0">
                      <a:moveTo>
                        <a:pt x="9264" y="0"/>
                      </a:moveTo>
                      <a:lnTo>
                        <a:pt x="0" y="16021"/>
                      </a:lnTo>
                      <a:lnTo>
                        <a:pt x="747" y="16480"/>
                      </a:lnTo>
                      <a:lnTo>
                        <a:pt x="1474" y="16939"/>
                      </a:lnTo>
                      <a:lnTo>
                        <a:pt x="2182" y="17437"/>
                      </a:lnTo>
                      <a:lnTo>
                        <a:pt x="2871" y="17935"/>
                      </a:lnTo>
                      <a:lnTo>
                        <a:pt x="3541" y="18471"/>
                      </a:lnTo>
                      <a:lnTo>
                        <a:pt x="4192" y="19026"/>
                      </a:lnTo>
                      <a:lnTo>
                        <a:pt x="4824" y="19600"/>
                      </a:lnTo>
                      <a:lnTo>
                        <a:pt x="5455" y="20193"/>
                      </a:lnTo>
                      <a:lnTo>
                        <a:pt x="6049" y="20806"/>
                      </a:lnTo>
                      <a:lnTo>
                        <a:pt x="6623" y="21437"/>
                      </a:lnTo>
                      <a:lnTo>
                        <a:pt x="7178" y="22088"/>
                      </a:lnTo>
                      <a:lnTo>
                        <a:pt x="7733" y="22758"/>
                      </a:lnTo>
                      <a:lnTo>
                        <a:pt x="8250" y="23447"/>
                      </a:lnTo>
                      <a:lnTo>
                        <a:pt x="8728" y="24155"/>
                      </a:lnTo>
                      <a:lnTo>
                        <a:pt x="9207" y="24864"/>
                      </a:lnTo>
                      <a:lnTo>
                        <a:pt x="9666" y="25610"/>
                      </a:lnTo>
                      <a:lnTo>
                        <a:pt x="10087" y="26357"/>
                      </a:lnTo>
                      <a:lnTo>
                        <a:pt x="10489" y="27122"/>
                      </a:lnTo>
                      <a:lnTo>
                        <a:pt x="10872" y="27888"/>
                      </a:lnTo>
                      <a:lnTo>
                        <a:pt x="11216" y="28692"/>
                      </a:lnTo>
                      <a:lnTo>
                        <a:pt x="11542" y="29496"/>
                      </a:lnTo>
                      <a:lnTo>
                        <a:pt x="11848" y="30319"/>
                      </a:lnTo>
                      <a:lnTo>
                        <a:pt x="12116" y="31142"/>
                      </a:lnTo>
                      <a:lnTo>
                        <a:pt x="12365" y="32003"/>
                      </a:lnTo>
                      <a:lnTo>
                        <a:pt x="12595" y="32845"/>
                      </a:lnTo>
                      <a:lnTo>
                        <a:pt x="12786" y="33707"/>
                      </a:lnTo>
                      <a:lnTo>
                        <a:pt x="12958" y="34587"/>
                      </a:lnTo>
                      <a:lnTo>
                        <a:pt x="13092" y="35487"/>
                      </a:lnTo>
                      <a:lnTo>
                        <a:pt x="13207" y="36367"/>
                      </a:lnTo>
                      <a:lnTo>
                        <a:pt x="13284" y="37286"/>
                      </a:lnTo>
                      <a:lnTo>
                        <a:pt x="13322" y="38185"/>
                      </a:lnTo>
                      <a:lnTo>
                        <a:pt x="13341" y="39123"/>
                      </a:lnTo>
                      <a:lnTo>
                        <a:pt x="31850" y="39123"/>
                      </a:lnTo>
                      <a:lnTo>
                        <a:pt x="31831" y="38339"/>
                      </a:lnTo>
                      <a:lnTo>
                        <a:pt x="31812" y="37554"/>
                      </a:lnTo>
                      <a:lnTo>
                        <a:pt x="31792" y="36788"/>
                      </a:lnTo>
                      <a:lnTo>
                        <a:pt x="31735" y="36003"/>
                      </a:lnTo>
                      <a:lnTo>
                        <a:pt x="31678" y="35238"/>
                      </a:lnTo>
                      <a:lnTo>
                        <a:pt x="31601" y="34472"/>
                      </a:lnTo>
                      <a:lnTo>
                        <a:pt x="31524" y="33707"/>
                      </a:lnTo>
                      <a:lnTo>
                        <a:pt x="31429" y="32960"/>
                      </a:lnTo>
                      <a:lnTo>
                        <a:pt x="31314" y="32194"/>
                      </a:lnTo>
                      <a:lnTo>
                        <a:pt x="31199" y="31448"/>
                      </a:lnTo>
                      <a:lnTo>
                        <a:pt x="31065" y="30701"/>
                      </a:lnTo>
                      <a:lnTo>
                        <a:pt x="30912" y="29974"/>
                      </a:lnTo>
                      <a:lnTo>
                        <a:pt x="30759" y="29228"/>
                      </a:lnTo>
                      <a:lnTo>
                        <a:pt x="30587" y="28500"/>
                      </a:lnTo>
                      <a:lnTo>
                        <a:pt x="30414" y="27773"/>
                      </a:lnTo>
                      <a:lnTo>
                        <a:pt x="30204" y="27046"/>
                      </a:lnTo>
                      <a:lnTo>
                        <a:pt x="30012" y="26337"/>
                      </a:lnTo>
                      <a:lnTo>
                        <a:pt x="29783" y="25629"/>
                      </a:lnTo>
                      <a:lnTo>
                        <a:pt x="29572" y="24921"/>
                      </a:lnTo>
                      <a:lnTo>
                        <a:pt x="29323" y="24213"/>
                      </a:lnTo>
                      <a:lnTo>
                        <a:pt x="29074" y="23505"/>
                      </a:lnTo>
                      <a:lnTo>
                        <a:pt x="28806" y="22816"/>
                      </a:lnTo>
                      <a:lnTo>
                        <a:pt x="28539" y="22127"/>
                      </a:lnTo>
                      <a:lnTo>
                        <a:pt x="28251" y="21457"/>
                      </a:lnTo>
                      <a:lnTo>
                        <a:pt x="27964" y="20787"/>
                      </a:lnTo>
                      <a:lnTo>
                        <a:pt x="27658" y="20117"/>
                      </a:lnTo>
                      <a:lnTo>
                        <a:pt x="27333" y="19447"/>
                      </a:lnTo>
                      <a:lnTo>
                        <a:pt x="27007" y="18796"/>
                      </a:lnTo>
                      <a:lnTo>
                        <a:pt x="26682" y="18145"/>
                      </a:lnTo>
                      <a:lnTo>
                        <a:pt x="26337" y="17495"/>
                      </a:lnTo>
                      <a:lnTo>
                        <a:pt x="25974" y="16844"/>
                      </a:lnTo>
                      <a:lnTo>
                        <a:pt x="25610" y="16212"/>
                      </a:lnTo>
                      <a:lnTo>
                        <a:pt x="25227" y="15600"/>
                      </a:lnTo>
                      <a:lnTo>
                        <a:pt x="24844" y="14968"/>
                      </a:lnTo>
                      <a:lnTo>
                        <a:pt x="24462" y="14356"/>
                      </a:lnTo>
                      <a:lnTo>
                        <a:pt x="24041" y="13762"/>
                      </a:lnTo>
                      <a:lnTo>
                        <a:pt x="23639" y="13150"/>
                      </a:lnTo>
                      <a:lnTo>
                        <a:pt x="23217" y="12556"/>
                      </a:lnTo>
                      <a:lnTo>
                        <a:pt x="22777" y="11982"/>
                      </a:lnTo>
                      <a:lnTo>
                        <a:pt x="22337" y="11408"/>
                      </a:lnTo>
                      <a:lnTo>
                        <a:pt x="21878" y="10834"/>
                      </a:lnTo>
                      <a:lnTo>
                        <a:pt x="21418" y="10279"/>
                      </a:lnTo>
                      <a:lnTo>
                        <a:pt x="20959" y="9724"/>
                      </a:lnTo>
                      <a:lnTo>
                        <a:pt x="20480" y="9168"/>
                      </a:lnTo>
                      <a:lnTo>
                        <a:pt x="19983" y="8633"/>
                      </a:lnTo>
                      <a:lnTo>
                        <a:pt x="19504" y="8097"/>
                      </a:lnTo>
                      <a:lnTo>
                        <a:pt x="18987" y="7580"/>
                      </a:lnTo>
                      <a:lnTo>
                        <a:pt x="18490" y="7063"/>
                      </a:lnTo>
                      <a:lnTo>
                        <a:pt x="17954" y="6546"/>
                      </a:lnTo>
                      <a:lnTo>
                        <a:pt x="17437" y="6049"/>
                      </a:lnTo>
                      <a:lnTo>
                        <a:pt x="16901" y="5570"/>
                      </a:lnTo>
                      <a:lnTo>
                        <a:pt x="16346" y="5072"/>
                      </a:lnTo>
                      <a:lnTo>
                        <a:pt x="15810" y="4613"/>
                      </a:lnTo>
                      <a:lnTo>
                        <a:pt x="15236" y="4135"/>
                      </a:lnTo>
                      <a:lnTo>
                        <a:pt x="14681" y="3694"/>
                      </a:lnTo>
                      <a:lnTo>
                        <a:pt x="14107" y="3235"/>
                      </a:lnTo>
                      <a:lnTo>
                        <a:pt x="13513" y="2795"/>
                      </a:lnTo>
                      <a:lnTo>
                        <a:pt x="12939" y="2374"/>
                      </a:lnTo>
                      <a:lnTo>
                        <a:pt x="12346" y="1952"/>
                      </a:lnTo>
                      <a:lnTo>
                        <a:pt x="11733" y="1551"/>
                      </a:lnTo>
                      <a:lnTo>
                        <a:pt x="11121" y="1149"/>
                      </a:lnTo>
                      <a:lnTo>
                        <a:pt x="10508" y="747"/>
                      </a:lnTo>
                      <a:lnTo>
                        <a:pt x="9877" y="383"/>
                      </a:lnTo>
                      <a:lnTo>
                        <a:pt x="9264" y="0"/>
                      </a:lnTo>
                      <a:close/>
                    </a:path>
                  </a:pathLst>
                </a:custGeom>
                <a:solidFill>
                  <a:srgbClr val="00B0F0"/>
                </a:solidFill>
                <a:ln w="28575"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s-PE" sz="1600">
                    <a:latin typeface="Arial Nova" panose="020B0504020202020204" pitchFamily="34" charset="0"/>
                  </a:endParaRPr>
                </a:p>
              </p:txBody>
            </p:sp>
            <p:sp>
              <p:nvSpPr>
                <p:cNvPr id="45" name="Google Shape;2277;p37">
                  <a:extLst>
                    <a:ext uri="{FF2B5EF4-FFF2-40B4-BE49-F238E27FC236}">
                      <a16:creationId xmlns:a16="http://schemas.microsoft.com/office/drawing/2014/main" id="{97C2AB29-1AF4-4A7D-FDB8-7625128C4E23}"/>
                    </a:ext>
                  </a:extLst>
                </p:cNvPr>
                <p:cNvSpPr/>
                <p:nvPr/>
              </p:nvSpPr>
              <p:spPr>
                <a:xfrm>
                  <a:off x="5592363" y="2806577"/>
                  <a:ext cx="1130275" cy="5522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211" h="22089" extrusionOk="0">
                      <a:moveTo>
                        <a:pt x="22395" y="1"/>
                      </a:moveTo>
                      <a:lnTo>
                        <a:pt x="21667" y="20"/>
                      </a:lnTo>
                      <a:lnTo>
                        <a:pt x="20940" y="58"/>
                      </a:lnTo>
                      <a:lnTo>
                        <a:pt x="20213" y="96"/>
                      </a:lnTo>
                      <a:lnTo>
                        <a:pt x="19466" y="154"/>
                      </a:lnTo>
                      <a:lnTo>
                        <a:pt x="18012" y="307"/>
                      </a:lnTo>
                      <a:lnTo>
                        <a:pt x="16576" y="498"/>
                      </a:lnTo>
                      <a:lnTo>
                        <a:pt x="15121" y="728"/>
                      </a:lnTo>
                      <a:lnTo>
                        <a:pt x="13686" y="1015"/>
                      </a:lnTo>
                      <a:lnTo>
                        <a:pt x="12250" y="1340"/>
                      </a:lnTo>
                      <a:lnTo>
                        <a:pt x="10834" y="1704"/>
                      </a:lnTo>
                      <a:lnTo>
                        <a:pt x="9437" y="2106"/>
                      </a:lnTo>
                      <a:lnTo>
                        <a:pt x="8039" y="2565"/>
                      </a:lnTo>
                      <a:lnTo>
                        <a:pt x="6661" y="3044"/>
                      </a:lnTo>
                      <a:lnTo>
                        <a:pt x="5283" y="3580"/>
                      </a:lnTo>
                      <a:lnTo>
                        <a:pt x="3943" y="4135"/>
                      </a:lnTo>
                      <a:lnTo>
                        <a:pt x="2604" y="4747"/>
                      </a:lnTo>
                      <a:lnTo>
                        <a:pt x="1283" y="5379"/>
                      </a:lnTo>
                      <a:lnTo>
                        <a:pt x="1" y="6068"/>
                      </a:lnTo>
                      <a:lnTo>
                        <a:pt x="9284" y="22089"/>
                      </a:lnTo>
                      <a:lnTo>
                        <a:pt x="10049" y="21706"/>
                      </a:lnTo>
                      <a:lnTo>
                        <a:pt x="10834" y="21323"/>
                      </a:lnTo>
                      <a:lnTo>
                        <a:pt x="11619" y="20959"/>
                      </a:lnTo>
                      <a:lnTo>
                        <a:pt x="12423" y="20634"/>
                      </a:lnTo>
                      <a:lnTo>
                        <a:pt x="13227" y="20309"/>
                      </a:lnTo>
                      <a:lnTo>
                        <a:pt x="14030" y="20022"/>
                      </a:lnTo>
                      <a:lnTo>
                        <a:pt x="14853" y="19773"/>
                      </a:lnTo>
                      <a:lnTo>
                        <a:pt x="15696" y="19524"/>
                      </a:lnTo>
                      <a:lnTo>
                        <a:pt x="16519" y="19313"/>
                      </a:lnTo>
                      <a:lnTo>
                        <a:pt x="17361" y="19122"/>
                      </a:lnTo>
                      <a:lnTo>
                        <a:pt x="18222" y="18950"/>
                      </a:lnTo>
                      <a:lnTo>
                        <a:pt x="19064" y="18816"/>
                      </a:lnTo>
                      <a:lnTo>
                        <a:pt x="19926" y="18701"/>
                      </a:lnTo>
                      <a:lnTo>
                        <a:pt x="20787" y="18605"/>
                      </a:lnTo>
                      <a:lnTo>
                        <a:pt x="21648" y="18548"/>
                      </a:lnTo>
                      <a:lnTo>
                        <a:pt x="22510" y="18509"/>
                      </a:lnTo>
                      <a:lnTo>
                        <a:pt x="23371" y="18509"/>
                      </a:lnTo>
                      <a:lnTo>
                        <a:pt x="24232" y="18548"/>
                      </a:lnTo>
                      <a:lnTo>
                        <a:pt x="25094" y="18586"/>
                      </a:lnTo>
                      <a:lnTo>
                        <a:pt x="25955" y="18682"/>
                      </a:lnTo>
                      <a:lnTo>
                        <a:pt x="26816" y="18777"/>
                      </a:lnTo>
                      <a:lnTo>
                        <a:pt x="27678" y="18931"/>
                      </a:lnTo>
                      <a:lnTo>
                        <a:pt x="28520" y="19103"/>
                      </a:lnTo>
                      <a:lnTo>
                        <a:pt x="29381" y="19313"/>
                      </a:lnTo>
                      <a:lnTo>
                        <a:pt x="30223" y="19543"/>
                      </a:lnTo>
                      <a:lnTo>
                        <a:pt x="31065" y="19811"/>
                      </a:lnTo>
                      <a:lnTo>
                        <a:pt x="31888" y="20098"/>
                      </a:lnTo>
                      <a:lnTo>
                        <a:pt x="32731" y="20443"/>
                      </a:lnTo>
                      <a:lnTo>
                        <a:pt x="33534" y="20806"/>
                      </a:lnTo>
                      <a:lnTo>
                        <a:pt x="34358" y="21189"/>
                      </a:lnTo>
                      <a:lnTo>
                        <a:pt x="35161" y="21629"/>
                      </a:lnTo>
                      <a:lnTo>
                        <a:pt x="35946" y="22089"/>
                      </a:lnTo>
                      <a:lnTo>
                        <a:pt x="45210" y="6068"/>
                      </a:lnTo>
                      <a:lnTo>
                        <a:pt x="44540" y="5666"/>
                      </a:lnTo>
                      <a:lnTo>
                        <a:pt x="43851" y="5283"/>
                      </a:lnTo>
                      <a:lnTo>
                        <a:pt x="43181" y="4901"/>
                      </a:lnTo>
                      <a:lnTo>
                        <a:pt x="42492" y="4556"/>
                      </a:lnTo>
                      <a:lnTo>
                        <a:pt x="41803" y="4212"/>
                      </a:lnTo>
                      <a:lnTo>
                        <a:pt x="41114" y="3867"/>
                      </a:lnTo>
                      <a:lnTo>
                        <a:pt x="40425" y="3561"/>
                      </a:lnTo>
                      <a:lnTo>
                        <a:pt x="39736" y="3255"/>
                      </a:lnTo>
                      <a:lnTo>
                        <a:pt x="39028" y="2967"/>
                      </a:lnTo>
                      <a:lnTo>
                        <a:pt x="38320" y="2699"/>
                      </a:lnTo>
                      <a:lnTo>
                        <a:pt x="37631" y="2431"/>
                      </a:lnTo>
                      <a:lnTo>
                        <a:pt x="36922" y="2183"/>
                      </a:lnTo>
                      <a:lnTo>
                        <a:pt x="36195" y="1953"/>
                      </a:lnTo>
                      <a:lnTo>
                        <a:pt x="35487" y="1742"/>
                      </a:lnTo>
                      <a:lnTo>
                        <a:pt x="34779" y="1532"/>
                      </a:lnTo>
                      <a:lnTo>
                        <a:pt x="34051" y="1340"/>
                      </a:lnTo>
                      <a:lnTo>
                        <a:pt x="33343" y="1168"/>
                      </a:lnTo>
                      <a:lnTo>
                        <a:pt x="32616" y="996"/>
                      </a:lnTo>
                      <a:lnTo>
                        <a:pt x="31888" y="843"/>
                      </a:lnTo>
                      <a:lnTo>
                        <a:pt x="31161" y="709"/>
                      </a:lnTo>
                      <a:lnTo>
                        <a:pt x="30434" y="575"/>
                      </a:lnTo>
                      <a:lnTo>
                        <a:pt x="29706" y="460"/>
                      </a:lnTo>
                      <a:lnTo>
                        <a:pt x="28979" y="364"/>
                      </a:lnTo>
                      <a:lnTo>
                        <a:pt x="28252" y="269"/>
                      </a:lnTo>
                      <a:lnTo>
                        <a:pt x="27524" y="192"/>
                      </a:lnTo>
                      <a:lnTo>
                        <a:pt x="26797" y="135"/>
                      </a:lnTo>
                      <a:lnTo>
                        <a:pt x="26051" y="77"/>
                      </a:lnTo>
                      <a:lnTo>
                        <a:pt x="25323" y="39"/>
                      </a:lnTo>
                      <a:lnTo>
                        <a:pt x="24596" y="20"/>
                      </a:lnTo>
                      <a:lnTo>
                        <a:pt x="23869" y="1"/>
                      </a:lnTo>
                      <a:close/>
                    </a:path>
                  </a:pathLst>
                </a:custGeom>
                <a:solidFill>
                  <a:srgbClr val="209F9C"/>
                </a:solidFill>
                <a:ln w="28575"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s-PE" sz="1600">
                    <a:solidFill>
                      <a:srgbClr val="209F9C"/>
                    </a:solidFill>
                    <a:latin typeface="Arial Nova" panose="020B0504020202020204" pitchFamily="34" charset="0"/>
                  </a:endParaRPr>
                </a:p>
              </p:txBody>
            </p:sp>
            <p:sp>
              <p:nvSpPr>
                <p:cNvPr id="46" name="Google Shape;2278;p37">
                  <a:extLst>
                    <a:ext uri="{FF2B5EF4-FFF2-40B4-BE49-F238E27FC236}">
                      <a16:creationId xmlns:a16="http://schemas.microsoft.com/office/drawing/2014/main" id="{D0128F8F-F769-2DE3-4B42-DE795310EDCF}"/>
                    </a:ext>
                  </a:extLst>
                </p:cNvPr>
                <p:cNvSpPr/>
                <p:nvPr/>
              </p:nvSpPr>
              <p:spPr>
                <a:xfrm>
                  <a:off x="5028688" y="2958277"/>
                  <a:ext cx="795775" cy="978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31" h="39124" extrusionOk="0">
                      <a:moveTo>
                        <a:pt x="22586" y="0"/>
                      </a:moveTo>
                      <a:lnTo>
                        <a:pt x="21954" y="383"/>
                      </a:lnTo>
                      <a:lnTo>
                        <a:pt x="21342" y="747"/>
                      </a:lnTo>
                      <a:lnTo>
                        <a:pt x="20710" y="1149"/>
                      </a:lnTo>
                      <a:lnTo>
                        <a:pt x="20117" y="1551"/>
                      </a:lnTo>
                      <a:lnTo>
                        <a:pt x="19504" y="1952"/>
                      </a:lnTo>
                      <a:lnTo>
                        <a:pt x="18911" y="2374"/>
                      </a:lnTo>
                      <a:lnTo>
                        <a:pt x="18317" y="2795"/>
                      </a:lnTo>
                      <a:lnTo>
                        <a:pt x="17743" y="3235"/>
                      </a:lnTo>
                      <a:lnTo>
                        <a:pt x="17169" y="3694"/>
                      </a:lnTo>
                      <a:lnTo>
                        <a:pt x="16595" y="4135"/>
                      </a:lnTo>
                      <a:lnTo>
                        <a:pt x="16040" y="4613"/>
                      </a:lnTo>
                      <a:lnTo>
                        <a:pt x="15485" y="5072"/>
                      </a:lnTo>
                      <a:lnTo>
                        <a:pt x="14949" y="5570"/>
                      </a:lnTo>
                      <a:lnTo>
                        <a:pt x="14413" y="6049"/>
                      </a:lnTo>
                      <a:lnTo>
                        <a:pt x="13877" y="6546"/>
                      </a:lnTo>
                      <a:lnTo>
                        <a:pt x="13360" y="7063"/>
                      </a:lnTo>
                      <a:lnTo>
                        <a:pt x="12843" y="7580"/>
                      </a:lnTo>
                      <a:lnTo>
                        <a:pt x="12346" y="8097"/>
                      </a:lnTo>
                      <a:lnTo>
                        <a:pt x="11848" y="8633"/>
                      </a:lnTo>
                      <a:lnTo>
                        <a:pt x="11369" y="9168"/>
                      </a:lnTo>
                      <a:lnTo>
                        <a:pt x="10891" y="9724"/>
                      </a:lnTo>
                      <a:lnTo>
                        <a:pt x="10412" y="10279"/>
                      </a:lnTo>
                      <a:lnTo>
                        <a:pt x="9953" y="10834"/>
                      </a:lnTo>
                      <a:lnTo>
                        <a:pt x="9513" y="11408"/>
                      </a:lnTo>
                      <a:lnTo>
                        <a:pt x="9073" y="11982"/>
                      </a:lnTo>
                      <a:lnTo>
                        <a:pt x="8632" y="12556"/>
                      </a:lnTo>
                      <a:lnTo>
                        <a:pt x="8211" y="13150"/>
                      </a:lnTo>
                      <a:lnTo>
                        <a:pt x="7790" y="13762"/>
                      </a:lnTo>
                      <a:lnTo>
                        <a:pt x="7388" y="14356"/>
                      </a:lnTo>
                      <a:lnTo>
                        <a:pt x="6986" y="14968"/>
                      </a:lnTo>
                      <a:lnTo>
                        <a:pt x="6604" y="15600"/>
                      </a:lnTo>
                      <a:lnTo>
                        <a:pt x="6240" y="16212"/>
                      </a:lnTo>
                      <a:lnTo>
                        <a:pt x="5857" y="16844"/>
                      </a:lnTo>
                      <a:lnTo>
                        <a:pt x="5513" y="17495"/>
                      </a:lnTo>
                      <a:lnTo>
                        <a:pt x="5168" y="18145"/>
                      </a:lnTo>
                      <a:lnTo>
                        <a:pt x="4823" y="18796"/>
                      </a:lnTo>
                      <a:lnTo>
                        <a:pt x="4498" y="19447"/>
                      </a:lnTo>
                      <a:lnTo>
                        <a:pt x="4192" y="20117"/>
                      </a:lnTo>
                      <a:lnTo>
                        <a:pt x="3886" y="20787"/>
                      </a:lnTo>
                      <a:lnTo>
                        <a:pt x="3579" y="21457"/>
                      </a:lnTo>
                      <a:lnTo>
                        <a:pt x="3311" y="22127"/>
                      </a:lnTo>
                      <a:lnTo>
                        <a:pt x="3024" y="22816"/>
                      </a:lnTo>
                      <a:lnTo>
                        <a:pt x="2775" y="23505"/>
                      </a:lnTo>
                      <a:lnTo>
                        <a:pt x="2527" y="24213"/>
                      </a:lnTo>
                      <a:lnTo>
                        <a:pt x="2278" y="24921"/>
                      </a:lnTo>
                      <a:lnTo>
                        <a:pt x="2048" y="25629"/>
                      </a:lnTo>
                      <a:lnTo>
                        <a:pt x="1838" y="26337"/>
                      </a:lnTo>
                      <a:lnTo>
                        <a:pt x="1627" y="27046"/>
                      </a:lnTo>
                      <a:lnTo>
                        <a:pt x="1436" y="27773"/>
                      </a:lnTo>
                      <a:lnTo>
                        <a:pt x="1263" y="28500"/>
                      </a:lnTo>
                      <a:lnTo>
                        <a:pt x="1091" y="29228"/>
                      </a:lnTo>
                      <a:lnTo>
                        <a:pt x="938" y="29974"/>
                      </a:lnTo>
                      <a:lnTo>
                        <a:pt x="785" y="30701"/>
                      </a:lnTo>
                      <a:lnTo>
                        <a:pt x="651" y="31448"/>
                      </a:lnTo>
                      <a:lnTo>
                        <a:pt x="536" y="32194"/>
                      </a:lnTo>
                      <a:lnTo>
                        <a:pt x="421" y="32960"/>
                      </a:lnTo>
                      <a:lnTo>
                        <a:pt x="325" y="33707"/>
                      </a:lnTo>
                      <a:lnTo>
                        <a:pt x="230" y="34472"/>
                      </a:lnTo>
                      <a:lnTo>
                        <a:pt x="172" y="35238"/>
                      </a:lnTo>
                      <a:lnTo>
                        <a:pt x="115" y="36003"/>
                      </a:lnTo>
                      <a:lnTo>
                        <a:pt x="58" y="36788"/>
                      </a:lnTo>
                      <a:lnTo>
                        <a:pt x="19" y="37554"/>
                      </a:lnTo>
                      <a:lnTo>
                        <a:pt x="0" y="38339"/>
                      </a:lnTo>
                      <a:lnTo>
                        <a:pt x="0" y="39123"/>
                      </a:lnTo>
                      <a:lnTo>
                        <a:pt x="18509" y="39123"/>
                      </a:lnTo>
                      <a:lnTo>
                        <a:pt x="18528" y="38185"/>
                      </a:lnTo>
                      <a:lnTo>
                        <a:pt x="18566" y="37286"/>
                      </a:lnTo>
                      <a:lnTo>
                        <a:pt x="18643" y="36367"/>
                      </a:lnTo>
                      <a:lnTo>
                        <a:pt x="18758" y="35487"/>
                      </a:lnTo>
                      <a:lnTo>
                        <a:pt x="18892" y="34587"/>
                      </a:lnTo>
                      <a:lnTo>
                        <a:pt x="19064" y="33707"/>
                      </a:lnTo>
                      <a:lnTo>
                        <a:pt x="19255" y="32845"/>
                      </a:lnTo>
                      <a:lnTo>
                        <a:pt x="19466" y="32003"/>
                      </a:lnTo>
                      <a:lnTo>
                        <a:pt x="19715" y="31142"/>
                      </a:lnTo>
                      <a:lnTo>
                        <a:pt x="20002" y="30319"/>
                      </a:lnTo>
                      <a:lnTo>
                        <a:pt x="20289" y="29496"/>
                      </a:lnTo>
                      <a:lnTo>
                        <a:pt x="20633" y="28692"/>
                      </a:lnTo>
                      <a:lnTo>
                        <a:pt x="20978" y="27888"/>
                      </a:lnTo>
                      <a:lnTo>
                        <a:pt x="21361" y="27122"/>
                      </a:lnTo>
                      <a:lnTo>
                        <a:pt x="21763" y="26357"/>
                      </a:lnTo>
                      <a:lnTo>
                        <a:pt x="22184" y="25610"/>
                      </a:lnTo>
                      <a:lnTo>
                        <a:pt x="22643" y="24864"/>
                      </a:lnTo>
                      <a:lnTo>
                        <a:pt x="23103" y="24155"/>
                      </a:lnTo>
                      <a:lnTo>
                        <a:pt x="23600" y="23447"/>
                      </a:lnTo>
                      <a:lnTo>
                        <a:pt x="24117" y="22758"/>
                      </a:lnTo>
                      <a:lnTo>
                        <a:pt x="24653" y="22088"/>
                      </a:lnTo>
                      <a:lnTo>
                        <a:pt x="25208" y="21437"/>
                      </a:lnTo>
                      <a:lnTo>
                        <a:pt x="25801" y="20806"/>
                      </a:lnTo>
                      <a:lnTo>
                        <a:pt x="26395" y="20193"/>
                      </a:lnTo>
                      <a:lnTo>
                        <a:pt x="27007" y="19600"/>
                      </a:lnTo>
                      <a:lnTo>
                        <a:pt x="27658" y="19026"/>
                      </a:lnTo>
                      <a:lnTo>
                        <a:pt x="28309" y="18471"/>
                      </a:lnTo>
                      <a:lnTo>
                        <a:pt x="28979" y="17935"/>
                      </a:lnTo>
                      <a:lnTo>
                        <a:pt x="29668" y="17437"/>
                      </a:lnTo>
                      <a:lnTo>
                        <a:pt x="30376" y="16939"/>
                      </a:lnTo>
                      <a:lnTo>
                        <a:pt x="31103" y="16480"/>
                      </a:lnTo>
                      <a:lnTo>
                        <a:pt x="31831" y="16021"/>
                      </a:lnTo>
                      <a:lnTo>
                        <a:pt x="22586" y="0"/>
                      </a:lnTo>
                      <a:close/>
                    </a:path>
                  </a:pathLst>
                </a:custGeom>
                <a:solidFill>
                  <a:srgbClr val="00B0F0"/>
                </a:solidFill>
                <a:ln w="28575"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s-PE" sz="1600">
                    <a:latin typeface="Arial Nova" panose="020B0504020202020204" pitchFamily="34" charset="0"/>
                  </a:endParaRPr>
                </a:p>
              </p:txBody>
            </p:sp>
            <p:sp>
              <p:nvSpPr>
                <p:cNvPr id="47" name="Google Shape;2279;p37">
                  <a:extLst>
                    <a:ext uri="{FF2B5EF4-FFF2-40B4-BE49-F238E27FC236}">
                      <a16:creationId xmlns:a16="http://schemas.microsoft.com/office/drawing/2014/main" id="{9441E415-06ED-B33E-4173-612704FE6539}"/>
                    </a:ext>
                  </a:extLst>
                </p:cNvPr>
                <p:cNvSpPr/>
                <p:nvPr/>
              </p:nvSpPr>
              <p:spPr>
                <a:xfrm>
                  <a:off x="6491013" y="3936352"/>
                  <a:ext cx="796250" cy="977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50" h="39105" extrusionOk="0">
                      <a:moveTo>
                        <a:pt x="13341" y="0"/>
                      </a:moveTo>
                      <a:lnTo>
                        <a:pt x="13322" y="919"/>
                      </a:lnTo>
                      <a:lnTo>
                        <a:pt x="13284" y="1819"/>
                      </a:lnTo>
                      <a:lnTo>
                        <a:pt x="13207" y="2737"/>
                      </a:lnTo>
                      <a:lnTo>
                        <a:pt x="13092" y="3637"/>
                      </a:lnTo>
                      <a:lnTo>
                        <a:pt x="12958" y="4517"/>
                      </a:lnTo>
                      <a:lnTo>
                        <a:pt x="12786" y="5398"/>
                      </a:lnTo>
                      <a:lnTo>
                        <a:pt x="12595" y="6259"/>
                      </a:lnTo>
                      <a:lnTo>
                        <a:pt x="12365" y="7121"/>
                      </a:lnTo>
                      <a:lnTo>
                        <a:pt x="12116" y="7963"/>
                      </a:lnTo>
                      <a:lnTo>
                        <a:pt x="11848" y="8786"/>
                      </a:lnTo>
                      <a:lnTo>
                        <a:pt x="11542" y="9609"/>
                      </a:lnTo>
                      <a:lnTo>
                        <a:pt x="11216" y="10413"/>
                      </a:lnTo>
                      <a:lnTo>
                        <a:pt x="10872" y="11217"/>
                      </a:lnTo>
                      <a:lnTo>
                        <a:pt x="10489" y="11982"/>
                      </a:lnTo>
                      <a:lnTo>
                        <a:pt x="10087" y="12748"/>
                      </a:lnTo>
                      <a:lnTo>
                        <a:pt x="9666" y="13513"/>
                      </a:lnTo>
                      <a:lnTo>
                        <a:pt x="9207" y="14241"/>
                      </a:lnTo>
                      <a:lnTo>
                        <a:pt x="8728" y="14968"/>
                      </a:lnTo>
                      <a:lnTo>
                        <a:pt x="8250" y="15657"/>
                      </a:lnTo>
                      <a:lnTo>
                        <a:pt x="7733" y="16346"/>
                      </a:lnTo>
                      <a:lnTo>
                        <a:pt x="7178" y="17016"/>
                      </a:lnTo>
                      <a:lnTo>
                        <a:pt x="6623" y="17667"/>
                      </a:lnTo>
                      <a:lnTo>
                        <a:pt x="6049" y="18299"/>
                      </a:lnTo>
                      <a:lnTo>
                        <a:pt x="5455" y="18911"/>
                      </a:lnTo>
                      <a:lnTo>
                        <a:pt x="4824" y="19504"/>
                      </a:lnTo>
                      <a:lnTo>
                        <a:pt x="4192" y="20079"/>
                      </a:lnTo>
                      <a:lnTo>
                        <a:pt x="3541" y="20634"/>
                      </a:lnTo>
                      <a:lnTo>
                        <a:pt x="2871" y="21170"/>
                      </a:lnTo>
                      <a:lnTo>
                        <a:pt x="2182" y="21686"/>
                      </a:lnTo>
                      <a:lnTo>
                        <a:pt x="1474" y="22165"/>
                      </a:lnTo>
                      <a:lnTo>
                        <a:pt x="747" y="22643"/>
                      </a:lnTo>
                      <a:lnTo>
                        <a:pt x="0" y="23084"/>
                      </a:lnTo>
                      <a:lnTo>
                        <a:pt x="9264" y="39104"/>
                      </a:lnTo>
                      <a:lnTo>
                        <a:pt x="9877" y="38741"/>
                      </a:lnTo>
                      <a:lnTo>
                        <a:pt x="10508" y="38358"/>
                      </a:lnTo>
                      <a:lnTo>
                        <a:pt x="11121" y="37956"/>
                      </a:lnTo>
                      <a:lnTo>
                        <a:pt x="11733" y="37554"/>
                      </a:lnTo>
                      <a:lnTo>
                        <a:pt x="12346" y="37152"/>
                      </a:lnTo>
                      <a:lnTo>
                        <a:pt x="12939" y="36731"/>
                      </a:lnTo>
                      <a:lnTo>
                        <a:pt x="13513" y="36310"/>
                      </a:lnTo>
                      <a:lnTo>
                        <a:pt x="14107" y="35870"/>
                      </a:lnTo>
                      <a:lnTo>
                        <a:pt x="14681" y="35429"/>
                      </a:lnTo>
                      <a:lnTo>
                        <a:pt x="15236" y="34970"/>
                      </a:lnTo>
                      <a:lnTo>
                        <a:pt x="15810" y="34491"/>
                      </a:lnTo>
                      <a:lnTo>
                        <a:pt x="16346" y="34032"/>
                      </a:lnTo>
                      <a:lnTo>
                        <a:pt x="16901" y="33554"/>
                      </a:lnTo>
                      <a:lnTo>
                        <a:pt x="17437" y="33056"/>
                      </a:lnTo>
                      <a:lnTo>
                        <a:pt x="17954" y="32558"/>
                      </a:lnTo>
                      <a:lnTo>
                        <a:pt x="18490" y="32041"/>
                      </a:lnTo>
                      <a:lnTo>
                        <a:pt x="18987" y="31525"/>
                      </a:lnTo>
                      <a:lnTo>
                        <a:pt x="19504" y="31008"/>
                      </a:lnTo>
                      <a:lnTo>
                        <a:pt x="19983" y="30472"/>
                      </a:lnTo>
                      <a:lnTo>
                        <a:pt x="20480" y="29936"/>
                      </a:lnTo>
                      <a:lnTo>
                        <a:pt x="20959" y="29400"/>
                      </a:lnTo>
                      <a:lnTo>
                        <a:pt x="21418" y="28845"/>
                      </a:lnTo>
                      <a:lnTo>
                        <a:pt x="21878" y="28271"/>
                      </a:lnTo>
                      <a:lnTo>
                        <a:pt x="22337" y="27697"/>
                      </a:lnTo>
                      <a:lnTo>
                        <a:pt x="22777" y="27122"/>
                      </a:lnTo>
                      <a:lnTo>
                        <a:pt x="23217" y="26548"/>
                      </a:lnTo>
                      <a:lnTo>
                        <a:pt x="23639" y="25955"/>
                      </a:lnTo>
                      <a:lnTo>
                        <a:pt x="24041" y="25361"/>
                      </a:lnTo>
                      <a:lnTo>
                        <a:pt x="24462" y="24749"/>
                      </a:lnTo>
                      <a:lnTo>
                        <a:pt x="24844" y="24136"/>
                      </a:lnTo>
                      <a:lnTo>
                        <a:pt x="25227" y="23505"/>
                      </a:lnTo>
                      <a:lnTo>
                        <a:pt x="25610" y="22892"/>
                      </a:lnTo>
                      <a:lnTo>
                        <a:pt x="25974" y="22261"/>
                      </a:lnTo>
                      <a:lnTo>
                        <a:pt x="26337" y="21610"/>
                      </a:lnTo>
                      <a:lnTo>
                        <a:pt x="26682" y="20978"/>
                      </a:lnTo>
                      <a:lnTo>
                        <a:pt x="27007" y="20327"/>
                      </a:lnTo>
                      <a:lnTo>
                        <a:pt x="27333" y="19658"/>
                      </a:lnTo>
                      <a:lnTo>
                        <a:pt x="27658" y="19007"/>
                      </a:lnTo>
                      <a:lnTo>
                        <a:pt x="27964" y="18337"/>
                      </a:lnTo>
                      <a:lnTo>
                        <a:pt x="28251" y="17648"/>
                      </a:lnTo>
                      <a:lnTo>
                        <a:pt x="28539" y="16978"/>
                      </a:lnTo>
                      <a:lnTo>
                        <a:pt x="28806" y="16289"/>
                      </a:lnTo>
                      <a:lnTo>
                        <a:pt x="29074" y="15600"/>
                      </a:lnTo>
                      <a:lnTo>
                        <a:pt x="29323" y="14892"/>
                      </a:lnTo>
                      <a:lnTo>
                        <a:pt x="29572" y="14203"/>
                      </a:lnTo>
                      <a:lnTo>
                        <a:pt x="29783" y="13494"/>
                      </a:lnTo>
                      <a:lnTo>
                        <a:pt x="30012" y="12767"/>
                      </a:lnTo>
                      <a:lnTo>
                        <a:pt x="30204" y="12059"/>
                      </a:lnTo>
                      <a:lnTo>
                        <a:pt x="30414" y="11331"/>
                      </a:lnTo>
                      <a:lnTo>
                        <a:pt x="30587" y="10604"/>
                      </a:lnTo>
                      <a:lnTo>
                        <a:pt x="30759" y="9877"/>
                      </a:lnTo>
                      <a:lnTo>
                        <a:pt x="30912" y="9149"/>
                      </a:lnTo>
                      <a:lnTo>
                        <a:pt x="31065" y="8403"/>
                      </a:lnTo>
                      <a:lnTo>
                        <a:pt x="31199" y="7656"/>
                      </a:lnTo>
                      <a:lnTo>
                        <a:pt x="31314" y="6910"/>
                      </a:lnTo>
                      <a:lnTo>
                        <a:pt x="31429" y="6144"/>
                      </a:lnTo>
                      <a:lnTo>
                        <a:pt x="31524" y="5398"/>
                      </a:lnTo>
                      <a:lnTo>
                        <a:pt x="31601" y="4632"/>
                      </a:lnTo>
                      <a:lnTo>
                        <a:pt x="31678" y="3867"/>
                      </a:lnTo>
                      <a:lnTo>
                        <a:pt x="31735" y="3101"/>
                      </a:lnTo>
                      <a:lnTo>
                        <a:pt x="31792" y="2335"/>
                      </a:lnTo>
                      <a:lnTo>
                        <a:pt x="31812" y="1551"/>
                      </a:lnTo>
                      <a:lnTo>
                        <a:pt x="31831" y="766"/>
                      </a:lnTo>
                      <a:lnTo>
                        <a:pt x="31850" y="0"/>
                      </a:lnTo>
                      <a:close/>
                    </a:path>
                  </a:pathLst>
                </a:custGeom>
                <a:solidFill>
                  <a:srgbClr val="209F9C"/>
                </a:solidFill>
                <a:ln w="28575"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s-PE" sz="1600">
                    <a:latin typeface="Arial Nova" panose="020B0504020202020204" pitchFamily="34" charset="0"/>
                  </a:endParaRPr>
                </a:p>
              </p:txBody>
            </p:sp>
            <p:sp>
              <p:nvSpPr>
                <p:cNvPr id="48" name="Google Shape;2280;p37">
                  <a:extLst>
                    <a:ext uri="{FF2B5EF4-FFF2-40B4-BE49-F238E27FC236}">
                      <a16:creationId xmlns:a16="http://schemas.microsoft.com/office/drawing/2014/main" id="{3AE001E9-BA1D-7692-1517-DD052DD82085}"/>
                    </a:ext>
                  </a:extLst>
                </p:cNvPr>
                <p:cNvSpPr/>
                <p:nvPr/>
              </p:nvSpPr>
              <p:spPr>
                <a:xfrm>
                  <a:off x="5028688" y="3936352"/>
                  <a:ext cx="795775" cy="977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31" h="39105" extrusionOk="0">
                      <a:moveTo>
                        <a:pt x="0" y="0"/>
                      </a:moveTo>
                      <a:lnTo>
                        <a:pt x="0" y="766"/>
                      </a:lnTo>
                      <a:lnTo>
                        <a:pt x="19" y="1551"/>
                      </a:lnTo>
                      <a:lnTo>
                        <a:pt x="58" y="2335"/>
                      </a:lnTo>
                      <a:lnTo>
                        <a:pt x="115" y="3101"/>
                      </a:lnTo>
                      <a:lnTo>
                        <a:pt x="172" y="3867"/>
                      </a:lnTo>
                      <a:lnTo>
                        <a:pt x="230" y="4632"/>
                      </a:lnTo>
                      <a:lnTo>
                        <a:pt x="325" y="5398"/>
                      </a:lnTo>
                      <a:lnTo>
                        <a:pt x="421" y="6144"/>
                      </a:lnTo>
                      <a:lnTo>
                        <a:pt x="536" y="6910"/>
                      </a:lnTo>
                      <a:lnTo>
                        <a:pt x="651" y="7656"/>
                      </a:lnTo>
                      <a:lnTo>
                        <a:pt x="785" y="8403"/>
                      </a:lnTo>
                      <a:lnTo>
                        <a:pt x="938" y="9149"/>
                      </a:lnTo>
                      <a:lnTo>
                        <a:pt x="1091" y="9877"/>
                      </a:lnTo>
                      <a:lnTo>
                        <a:pt x="1263" y="10604"/>
                      </a:lnTo>
                      <a:lnTo>
                        <a:pt x="1436" y="11331"/>
                      </a:lnTo>
                      <a:lnTo>
                        <a:pt x="1627" y="12059"/>
                      </a:lnTo>
                      <a:lnTo>
                        <a:pt x="1838" y="12767"/>
                      </a:lnTo>
                      <a:lnTo>
                        <a:pt x="2048" y="13494"/>
                      </a:lnTo>
                      <a:lnTo>
                        <a:pt x="2278" y="14203"/>
                      </a:lnTo>
                      <a:lnTo>
                        <a:pt x="2527" y="14892"/>
                      </a:lnTo>
                      <a:lnTo>
                        <a:pt x="2775" y="15600"/>
                      </a:lnTo>
                      <a:lnTo>
                        <a:pt x="3024" y="16289"/>
                      </a:lnTo>
                      <a:lnTo>
                        <a:pt x="3311" y="16978"/>
                      </a:lnTo>
                      <a:lnTo>
                        <a:pt x="3579" y="17648"/>
                      </a:lnTo>
                      <a:lnTo>
                        <a:pt x="3886" y="18337"/>
                      </a:lnTo>
                      <a:lnTo>
                        <a:pt x="4192" y="19007"/>
                      </a:lnTo>
                      <a:lnTo>
                        <a:pt x="4498" y="19658"/>
                      </a:lnTo>
                      <a:lnTo>
                        <a:pt x="4823" y="20327"/>
                      </a:lnTo>
                      <a:lnTo>
                        <a:pt x="5168" y="20978"/>
                      </a:lnTo>
                      <a:lnTo>
                        <a:pt x="5513" y="21610"/>
                      </a:lnTo>
                      <a:lnTo>
                        <a:pt x="5857" y="22261"/>
                      </a:lnTo>
                      <a:lnTo>
                        <a:pt x="6240" y="22892"/>
                      </a:lnTo>
                      <a:lnTo>
                        <a:pt x="6604" y="23505"/>
                      </a:lnTo>
                      <a:lnTo>
                        <a:pt x="6986" y="24136"/>
                      </a:lnTo>
                      <a:lnTo>
                        <a:pt x="7388" y="24749"/>
                      </a:lnTo>
                      <a:lnTo>
                        <a:pt x="7790" y="25361"/>
                      </a:lnTo>
                      <a:lnTo>
                        <a:pt x="8211" y="25955"/>
                      </a:lnTo>
                      <a:lnTo>
                        <a:pt x="8632" y="26548"/>
                      </a:lnTo>
                      <a:lnTo>
                        <a:pt x="9073" y="27122"/>
                      </a:lnTo>
                      <a:lnTo>
                        <a:pt x="9513" y="27697"/>
                      </a:lnTo>
                      <a:lnTo>
                        <a:pt x="9953" y="28271"/>
                      </a:lnTo>
                      <a:lnTo>
                        <a:pt x="10412" y="28845"/>
                      </a:lnTo>
                      <a:lnTo>
                        <a:pt x="10891" y="29400"/>
                      </a:lnTo>
                      <a:lnTo>
                        <a:pt x="11369" y="29936"/>
                      </a:lnTo>
                      <a:lnTo>
                        <a:pt x="11848" y="30472"/>
                      </a:lnTo>
                      <a:lnTo>
                        <a:pt x="12346" y="31008"/>
                      </a:lnTo>
                      <a:lnTo>
                        <a:pt x="12843" y="31525"/>
                      </a:lnTo>
                      <a:lnTo>
                        <a:pt x="13360" y="32041"/>
                      </a:lnTo>
                      <a:lnTo>
                        <a:pt x="13877" y="32558"/>
                      </a:lnTo>
                      <a:lnTo>
                        <a:pt x="14413" y="33056"/>
                      </a:lnTo>
                      <a:lnTo>
                        <a:pt x="14949" y="33554"/>
                      </a:lnTo>
                      <a:lnTo>
                        <a:pt x="15485" y="34032"/>
                      </a:lnTo>
                      <a:lnTo>
                        <a:pt x="16040" y="34491"/>
                      </a:lnTo>
                      <a:lnTo>
                        <a:pt x="16595" y="34970"/>
                      </a:lnTo>
                      <a:lnTo>
                        <a:pt x="17169" y="35429"/>
                      </a:lnTo>
                      <a:lnTo>
                        <a:pt x="17743" y="35870"/>
                      </a:lnTo>
                      <a:lnTo>
                        <a:pt x="18317" y="36310"/>
                      </a:lnTo>
                      <a:lnTo>
                        <a:pt x="18911" y="36731"/>
                      </a:lnTo>
                      <a:lnTo>
                        <a:pt x="19504" y="37152"/>
                      </a:lnTo>
                      <a:lnTo>
                        <a:pt x="20117" y="37554"/>
                      </a:lnTo>
                      <a:lnTo>
                        <a:pt x="20710" y="37956"/>
                      </a:lnTo>
                      <a:lnTo>
                        <a:pt x="21342" y="38358"/>
                      </a:lnTo>
                      <a:lnTo>
                        <a:pt x="21954" y="38741"/>
                      </a:lnTo>
                      <a:lnTo>
                        <a:pt x="22586" y="39104"/>
                      </a:lnTo>
                      <a:lnTo>
                        <a:pt x="31831" y="23084"/>
                      </a:lnTo>
                      <a:lnTo>
                        <a:pt x="31103" y="22643"/>
                      </a:lnTo>
                      <a:lnTo>
                        <a:pt x="30376" y="22165"/>
                      </a:lnTo>
                      <a:lnTo>
                        <a:pt x="29668" y="21686"/>
                      </a:lnTo>
                      <a:lnTo>
                        <a:pt x="28979" y="21170"/>
                      </a:lnTo>
                      <a:lnTo>
                        <a:pt x="28309" y="20634"/>
                      </a:lnTo>
                      <a:lnTo>
                        <a:pt x="27658" y="20079"/>
                      </a:lnTo>
                      <a:lnTo>
                        <a:pt x="27007" y="19504"/>
                      </a:lnTo>
                      <a:lnTo>
                        <a:pt x="26395" y="18911"/>
                      </a:lnTo>
                      <a:lnTo>
                        <a:pt x="25801" y="18299"/>
                      </a:lnTo>
                      <a:lnTo>
                        <a:pt x="25208" y="17667"/>
                      </a:lnTo>
                      <a:lnTo>
                        <a:pt x="24653" y="17016"/>
                      </a:lnTo>
                      <a:lnTo>
                        <a:pt x="24117" y="16346"/>
                      </a:lnTo>
                      <a:lnTo>
                        <a:pt x="23600" y="15657"/>
                      </a:lnTo>
                      <a:lnTo>
                        <a:pt x="23103" y="14968"/>
                      </a:lnTo>
                      <a:lnTo>
                        <a:pt x="22643" y="14241"/>
                      </a:lnTo>
                      <a:lnTo>
                        <a:pt x="22184" y="13513"/>
                      </a:lnTo>
                      <a:lnTo>
                        <a:pt x="21763" y="12748"/>
                      </a:lnTo>
                      <a:lnTo>
                        <a:pt x="21361" y="11982"/>
                      </a:lnTo>
                      <a:lnTo>
                        <a:pt x="20978" y="11217"/>
                      </a:lnTo>
                      <a:lnTo>
                        <a:pt x="20633" y="10413"/>
                      </a:lnTo>
                      <a:lnTo>
                        <a:pt x="20289" y="9609"/>
                      </a:lnTo>
                      <a:lnTo>
                        <a:pt x="20002" y="8786"/>
                      </a:lnTo>
                      <a:lnTo>
                        <a:pt x="19715" y="7963"/>
                      </a:lnTo>
                      <a:lnTo>
                        <a:pt x="19466" y="7121"/>
                      </a:lnTo>
                      <a:lnTo>
                        <a:pt x="19255" y="6259"/>
                      </a:lnTo>
                      <a:lnTo>
                        <a:pt x="19064" y="5398"/>
                      </a:lnTo>
                      <a:lnTo>
                        <a:pt x="18892" y="4517"/>
                      </a:lnTo>
                      <a:lnTo>
                        <a:pt x="18758" y="3637"/>
                      </a:lnTo>
                      <a:lnTo>
                        <a:pt x="18643" y="2737"/>
                      </a:lnTo>
                      <a:lnTo>
                        <a:pt x="18566" y="1819"/>
                      </a:lnTo>
                      <a:lnTo>
                        <a:pt x="18528" y="919"/>
                      </a:lnTo>
                      <a:lnTo>
                        <a:pt x="18509" y="0"/>
                      </a:lnTo>
                      <a:close/>
                    </a:path>
                  </a:pathLst>
                </a:custGeom>
                <a:solidFill>
                  <a:srgbClr val="209F9C"/>
                </a:solidFill>
                <a:ln w="28575"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s-PE" sz="1600">
                    <a:latin typeface="Arial Nova" panose="020B0504020202020204" pitchFamily="34" charset="0"/>
                  </a:endParaRPr>
                </a:p>
              </p:txBody>
            </p:sp>
            <p:sp>
              <p:nvSpPr>
                <p:cNvPr id="49" name="Google Shape;2281;p37">
                  <a:extLst>
                    <a:ext uri="{FF2B5EF4-FFF2-40B4-BE49-F238E27FC236}">
                      <a16:creationId xmlns:a16="http://schemas.microsoft.com/office/drawing/2014/main" id="{2E224F8A-C221-6748-B8F2-557592FCB4E8}"/>
                    </a:ext>
                  </a:extLst>
                </p:cNvPr>
                <p:cNvSpPr/>
                <p:nvPr/>
              </p:nvSpPr>
              <p:spPr>
                <a:xfrm>
                  <a:off x="5593313" y="4513427"/>
                  <a:ext cx="1129325" cy="551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173" h="22070" extrusionOk="0">
                      <a:moveTo>
                        <a:pt x="9246" y="1"/>
                      </a:moveTo>
                      <a:lnTo>
                        <a:pt x="1" y="16021"/>
                      </a:lnTo>
                      <a:lnTo>
                        <a:pt x="1264" y="16730"/>
                      </a:lnTo>
                      <a:lnTo>
                        <a:pt x="1896" y="17055"/>
                      </a:lnTo>
                      <a:lnTo>
                        <a:pt x="2546" y="17380"/>
                      </a:lnTo>
                      <a:lnTo>
                        <a:pt x="3197" y="17706"/>
                      </a:lnTo>
                      <a:lnTo>
                        <a:pt x="3848" y="18012"/>
                      </a:lnTo>
                      <a:lnTo>
                        <a:pt x="4518" y="18299"/>
                      </a:lnTo>
                      <a:lnTo>
                        <a:pt x="5169" y="18586"/>
                      </a:lnTo>
                      <a:lnTo>
                        <a:pt x="5858" y="18873"/>
                      </a:lnTo>
                      <a:lnTo>
                        <a:pt x="6528" y="19122"/>
                      </a:lnTo>
                      <a:lnTo>
                        <a:pt x="7217" y="19390"/>
                      </a:lnTo>
                      <a:lnTo>
                        <a:pt x="7906" y="19620"/>
                      </a:lnTo>
                      <a:lnTo>
                        <a:pt x="8595" y="19869"/>
                      </a:lnTo>
                      <a:lnTo>
                        <a:pt x="9284" y="20079"/>
                      </a:lnTo>
                      <a:lnTo>
                        <a:pt x="9992" y="20290"/>
                      </a:lnTo>
                      <a:lnTo>
                        <a:pt x="10700" y="20500"/>
                      </a:lnTo>
                      <a:lnTo>
                        <a:pt x="11408" y="20672"/>
                      </a:lnTo>
                      <a:lnTo>
                        <a:pt x="12136" y="20864"/>
                      </a:lnTo>
                      <a:lnTo>
                        <a:pt x="12844" y="21017"/>
                      </a:lnTo>
                      <a:lnTo>
                        <a:pt x="13571" y="21170"/>
                      </a:lnTo>
                      <a:lnTo>
                        <a:pt x="14299" y="21323"/>
                      </a:lnTo>
                      <a:lnTo>
                        <a:pt x="15045" y="21438"/>
                      </a:lnTo>
                      <a:lnTo>
                        <a:pt x="15772" y="21572"/>
                      </a:lnTo>
                      <a:lnTo>
                        <a:pt x="16519" y="21668"/>
                      </a:lnTo>
                      <a:lnTo>
                        <a:pt x="17265" y="21763"/>
                      </a:lnTo>
                      <a:lnTo>
                        <a:pt x="18012" y="21840"/>
                      </a:lnTo>
                      <a:lnTo>
                        <a:pt x="18758" y="21917"/>
                      </a:lnTo>
                      <a:lnTo>
                        <a:pt x="19524" y="21974"/>
                      </a:lnTo>
                      <a:lnTo>
                        <a:pt x="20290" y="22012"/>
                      </a:lnTo>
                      <a:lnTo>
                        <a:pt x="21055" y="22051"/>
                      </a:lnTo>
                      <a:lnTo>
                        <a:pt x="21821" y="22070"/>
                      </a:lnTo>
                      <a:lnTo>
                        <a:pt x="23352" y="22070"/>
                      </a:lnTo>
                      <a:lnTo>
                        <a:pt x="24118" y="22051"/>
                      </a:lnTo>
                      <a:lnTo>
                        <a:pt x="24883" y="22012"/>
                      </a:lnTo>
                      <a:lnTo>
                        <a:pt x="25649" y="21974"/>
                      </a:lnTo>
                      <a:lnTo>
                        <a:pt x="26395" y="21917"/>
                      </a:lnTo>
                      <a:lnTo>
                        <a:pt x="27161" y="21840"/>
                      </a:lnTo>
                      <a:lnTo>
                        <a:pt x="27907" y="21763"/>
                      </a:lnTo>
                      <a:lnTo>
                        <a:pt x="28654" y="21668"/>
                      </a:lnTo>
                      <a:lnTo>
                        <a:pt x="29400" y="21572"/>
                      </a:lnTo>
                      <a:lnTo>
                        <a:pt x="30128" y="21438"/>
                      </a:lnTo>
                      <a:lnTo>
                        <a:pt x="30855" y="21323"/>
                      </a:lnTo>
                      <a:lnTo>
                        <a:pt x="31602" y="21170"/>
                      </a:lnTo>
                      <a:lnTo>
                        <a:pt x="32310" y="21017"/>
                      </a:lnTo>
                      <a:lnTo>
                        <a:pt x="33037" y="20864"/>
                      </a:lnTo>
                      <a:lnTo>
                        <a:pt x="33764" y="20672"/>
                      </a:lnTo>
                      <a:lnTo>
                        <a:pt x="34473" y="20500"/>
                      </a:lnTo>
                      <a:lnTo>
                        <a:pt x="35181" y="20290"/>
                      </a:lnTo>
                      <a:lnTo>
                        <a:pt x="35870" y="20079"/>
                      </a:lnTo>
                      <a:lnTo>
                        <a:pt x="36578" y="19869"/>
                      </a:lnTo>
                      <a:lnTo>
                        <a:pt x="37267" y="19620"/>
                      </a:lnTo>
                      <a:lnTo>
                        <a:pt x="37956" y="19390"/>
                      </a:lnTo>
                      <a:lnTo>
                        <a:pt x="38645" y="19122"/>
                      </a:lnTo>
                      <a:lnTo>
                        <a:pt x="39315" y="18873"/>
                      </a:lnTo>
                      <a:lnTo>
                        <a:pt x="39985" y="18586"/>
                      </a:lnTo>
                      <a:lnTo>
                        <a:pt x="40655" y="18299"/>
                      </a:lnTo>
                      <a:lnTo>
                        <a:pt x="41325" y="18012"/>
                      </a:lnTo>
                      <a:lnTo>
                        <a:pt x="41976" y="17706"/>
                      </a:lnTo>
                      <a:lnTo>
                        <a:pt x="42626" y="17380"/>
                      </a:lnTo>
                      <a:lnTo>
                        <a:pt x="43277" y="17055"/>
                      </a:lnTo>
                      <a:lnTo>
                        <a:pt x="43909" y="16730"/>
                      </a:lnTo>
                      <a:lnTo>
                        <a:pt x="45172" y="16021"/>
                      </a:lnTo>
                      <a:lnTo>
                        <a:pt x="35908" y="1"/>
                      </a:lnTo>
                      <a:lnTo>
                        <a:pt x="35162" y="403"/>
                      </a:lnTo>
                      <a:lnTo>
                        <a:pt x="34415" y="805"/>
                      </a:lnTo>
                      <a:lnTo>
                        <a:pt x="33650" y="1168"/>
                      </a:lnTo>
                      <a:lnTo>
                        <a:pt x="32865" y="1513"/>
                      </a:lnTo>
                      <a:lnTo>
                        <a:pt x="32061" y="1838"/>
                      </a:lnTo>
                      <a:lnTo>
                        <a:pt x="31257" y="2125"/>
                      </a:lnTo>
                      <a:lnTo>
                        <a:pt x="30434" y="2393"/>
                      </a:lnTo>
                      <a:lnTo>
                        <a:pt x="29592" y="2642"/>
                      </a:lnTo>
                      <a:lnTo>
                        <a:pt x="28750" y="2853"/>
                      </a:lnTo>
                      <a:lnTo>
                        <a:pt x="27907" y="3044"/>
                      </a:lnTo>
                      <a:lnTo>
                        <a:pt x="27046" y="3197"/>
                      </a:lnTo>
                      <a:lnTo>
                        <a:pt x="26166" y="3331"/>
                      </a:lnTo>
                      <a:lnTo>
                        <a:pt x="25285" y="3427"/>
                      </a:lnTo>
                      <a:lnTo>
                        <a:pt x="24386" y="3503"/>
                      </a:lnTo>
                      <a:lnTo>
                        <a:pt x="23486" y="3561"/>
                      </a:lnTo>
                      <a:lnTo>
                        <a:pt x="22586" y="3580"/>
                      </a:lnTo>
                      <a:lnTo>
                        <a:pt x="21668" y="3561"/>
                      </a:lnTo>
                      <a:lnTo>
                        <a:pt x="20768" y="3503"/>
                      </a:lnTo>
                      <a:lnTo>
                        <a:pt x="19888" y="3427"/>
                      </a:lnTo>
                      <a:lnTo>
                        <a:pt x="19007" y="3331"/>
                      </a:lnTo>
                      <a:lnTo>
                        <a:pt x="18127" y="3197"/>
                      </a:lnTo>
                      <a:lnTo>
                        <a:pt x="17265" y="3044"/>
                      </a:lnTo>
                      <a:lnTo>
                        <a:pt x="16404" y="2853"/>
                      </a:lnTo>
                      <a:lnTo>
                        <a:pt x="15562" y="2642"/>
                      </a:lnTo>
                      <a:lnTo>
                        <a:pt x="14739" y="2393"/>
                      </a:lnTo>
                      <a:lnTo>
                        <a:pt x="13916" y="2125"/>
                      </a:lnTo>
                      <a:lnTo>
                        <a:pt x="13112" y="1838"/>
                      </a:lnTo>
                      <a:lnTo>
                        <a:pt x="12308" y="1513"/>
                      </a:lnTo>
                      <a:lnTo>
                        <a:pt x="11523" y="1168"/>
                      </a:lnTo>
                      <a:lnTo>
                        <a:pt x="10758" y="805"/>
                      </a:lnTo>
                      <a:lnTo>
                        <a:pt x="9992" y="403"/>
                      </a:lnTo>
                      <a:lnTo>
                        <a:pt x="9246" y="1"/>
                      </a:lnTo>
                      <a:close/>
                    </a:path>
                  </a:pathLst>
                </a:custGeom>
                <a:solidFill>
                  <a:srgbClr val="00B0F0"/>
                </a:solidFill>
                <a:ln w="28575"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lang="es-PE" sz="1600">
                    <a:latin typeface="Arial Nova" panose="020B0504020202020204" pitchFamily="34" charset="0"/>
                  </a:endParaRPr>
                </a:p>
              </p:txBody>
            </p:sp>
            <p:sp>
              <p:nvSpPr>
                <p:cNvPr id="50" name="Diagrama de flujo: conector 49">
                  <a:extLst>
                    <a:ext uri="{FF2B5EF4-FFF2-40B4-BE49-F238E27FC236}">
                      <a16:creationId xmlns:a16="http://schemas.microsoft.com/office/drawing/2014/main" id="{93C4E895-448D-8C53-747D-707E60F19C67}"/>
                    </a:ext>
                  </a:extLst>
                </p:cNvPr>
                <p:cNvSpPr/>
                <p:nvPr/>
              </p:nvSpPr>
              <p:spPr>
                <a:xfrm>
                  <a:off x="5111180" y="2892792"/>
                  <a:ext cx="2086916" cy="2121569"/>
                </a:xfrm>
                <a:prstGeom prst="flowChartConnector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 sz="2800">
                    <a:latin typeface="Arial Nova" panose="020B0504020202020204" pitchFamily="34" charset="0"/>
                  </a:endParaRPr>
                </a:p>
              </p:txBody>
            </p:sp>
          </p:grpSp>
          <p:cxnSp>
            <p:nvCxnSpPr>
              <p:cNvPr id="60" name="Google Shape;2304;p37">
                <a:extLst>
                  <a:ext uri="{FF2B5EF4-FFF2-40B4-BE49-F238E27FC236}">
                    <a16:creationId xmlns:a16="http://schemas.microsoft.com/office/drawing/2014/main" id="{66D2F3F2-20DF-4605-EBDC-4D32D47F4E8D}"/>
                  </a:ext>
                </a:extLst>
              </p:cNvPr>
              <p:cNvCxnSpPr>
                <a:cxnSpLocks/>
                <a:stCxn id="16" idx="1"/>
              </p:cNvCxnSpPr>
              <p:nvPr/>
            </p:nvCxnSpPr>
            <p:spPr>
              <a:xfrm rot="10800000" flipV="1">
                <a:off x="9706907" y="5415891"/>
                <a:ext cx="899923" cy="63309"/>
              </a:xfrm>
              <a:prstGeom prst="bentConnector3">
                <a:avLst>
                  <a:gd name="adj1" fmla="val 50000"/>
                </a:avLst>
              </a:prstGeom>
              <a:noFill/>
              <a:ln w="28575" cap="flat" cmpd="sng">
                <a:solidFill>
                  <a:srgbClr val="9DC755"/>
                </a:solidFill>
                <a:prstDash val="solid"/>
                <a:round/>
                <a:headEnd type="oval" w="med" len="med"/>
                <a:tailEnd type="none" w="med" len="med"/>
              </a:ln>
            </p:spPr>
          </p:cxnSp>
        </p:grpSp>
        <p:pic>
          <p:nvPicPr>
            <p:cNvPr id="72" name="Imagen 71" descr="Icono&#10;&#10;Descripción generada automáticamente">
              <a:extLst>
                <a:ext uri="{FF2B5EF4-FFF2-40B4-BE49-F238E27FC236}">
                  <a16:creationId xmlns:a16="http://schemas.microsoft.com/office/drawing/2014/main" id="{B65F49D3-42BC-54B6-77C6-AF816D0D8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5156" y="5178052"/>
              <a:ext cx="2390583" cy="2390583"/>
            </a:xfrm>
            <a:prstGeom prst="rect">
              <a:avLst/>
            </a:prstGeom>
          </p:spPr>
        </p:pic>
      </p:grpSp>
      <p:sp>
        <p:nvSpPr>
          <p:cNvPr id="81" name="Google Shape;2300;p37">
            <a:extLst>
              <a:ext uri="{FF2B5EF4-FFF2-40B4-BE49-F238E27FC236}">
                <a16:creationId xmlns:a16="http://schemas.microsoft.com/office/drawing/2014/main" id="{8EAF73CA-650B-F53C-1E76-02047F14A389}"/>
              </a:ext>
            </a:extLst>
          </p:cNvPr>
          <p:cNvSpPr txBox="1"/>
          <p:nvPr/>
        </p:nvSpPr>
        <p:spPr>
          <a:xfrm>
            <a:off x="13150593" y="8378921"/>
            <a:ext cx="3903128" cy="11708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PE" altLang="es-PE" sz="2800" b="1" i="0" u="none" strike="noStrike" cap="none" normalizeH="0" baseline="0">
                <a:ln>
                  <a:noFill/>
                </a:ln>
                <a:solidFill>
                  <a:srgbClr val="2D92AD"/>
                </a:solidFill>
                <a:effectLst/>
                <a:latin typeface="Aptos" panose="020B0004020202020204" pitchFamily="34" charset="0"/>
              </a:rPr>
              <a:t>Seguridad del Suministro de Energía</a:t>
            </a:r>
          </a:p>
        </p:txBody>
      </p:sp>
      <p:cxnSp>
        <p:nvCxnSpPr>
          <p:cNvPr id="85" name="Google Shape;2301;p37">
            <a:extLst>
              <a:ext uri="{FF2B5EF4-FFF2-40B4-BE49-F238E27FC236}">
                <a16:creationId xmlns:a16="http://schemas.microsoft.com/office/drawing/2014/main" id="{7E5D1C44-1FDD-CC25-0147-43B760938F52}"/>
              </a:ext>
            </a:extLst>
          </p:cNvPr>
          <p:cNvCxnSpPr>
            <a:cxnSpLocks/>
          </p:cNvCxnSpPr>
          <p:nvPr/>
        </p:nvCxnSpPr>
        <p:spPr>
          <a:xfrm flipV="1">
            <a:off x="4163627" y="5182417"/>
            <a:ext cx="2779298" cy="301890"/>
          </a:xfrm>
          <a:prstGeom prst="bentConnector3">
            <a:avLst>
              <a:gd name="adj1" fmla="val 50000"/>
            </a:avLst>
          </a:prstGeom>
          <a:noFill/>
          <a:ln w="28575" cap="flat" cmpd="sng">
            <a:solidFill>
              <a:srgbClr val="9DC755"/>
            </a:solidFill>
            <a:prstDash val="solid"/>
            <a:round/>
            <a:headEnd type="oval" w="med" len="med"/>
            <a:tailEnd type="none" w="med" len="med"/>
          </a:ln>
        </p:spPr>
      </p:cxnSp>
      <p:cxnSp>
        <p:nvCxnSpPr>
          <p:cNvPr id="99" name="Google Shape;2305;p37">
            <a:extLst>
              <a:ext uri="{FF2B5EF4-FFF2-40B4-BE49-F238E27FC236}">
                <a16:creationId xmlns:a16="http://schemas.microsoft.com/office/drawing/2014/main" id="{9849748A-D96B-0645-6D3E-2F109248DB25}"/>
              </a:ext>
            </a:extLst>
          </p:cNvPr>
          <p:cNvCxnSpPr>
            <a:cxnSpLocks/>
            <a:stCxn id="81" idx="1"/>
          </p:cNvCxnSpPr>
          <p:nvPr/>
        </p:nvCxnSpPr>
        <p:spPr>
          <a:xfrm rot="10800000">
            <a:off x="10902615" y="8256580"/>
            <a:ext cx="2247978" cy="707743"/>
          </a:xfrm>
          <a:prstGeom prst="bentConnector3">
            <a:avLst>
              <a:gd name="adj1" fmla="val 50000"/>
            </a:avLst>
          </a:prstGeom>
          <a:noFill/>
          <a:ln w="28575" cap="flat" cmpd="sng">
            <a:solidFill>
              <a:srgbClr val="A374F0"/>
            </a:solidFill>
            <a:prstDash val="solid"/>
            <a:round/>
            <a:headEnd type="oval" w="med" len="med"/>
            <a:tailEnd type="none" w="med" len="med"/>
          </a:ln>
        </p:spPr>
      </p:cxnSp>
      <p:pic>
        <p:nvPicPr>
          <p:cNvPr id="66" name="Imagen 65" descr="Icono&#10;&#10;Descripción generada automáticamente">
            <a:extLst>
              <a:ext uri="{FF2B5EF4-FFF2-40B4-BE49-F238E27FC236}">
                <a16:creationId xmlns:a16="http://schemas.microsoft.com/office/drawing/2014/main" id="{C3B45318-A5D0-4FEA-D89D-AB275FAD64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451" y="6683502"/>
            <a:ext cx="801221" cy="801221"/>
          </a:xfrm>
          <a:prstGeom prst="rect">
            <a:avLst/>
          </a:prstGeom>
        </p:spPr>
      </p:pic>
      <p:pic>
        <p:nvPicPr>
          <p:cNvPr id="71" name="Imagen 70">
            <a:extLst>
              <a:ext uri="{FF2B5EF4-FFF2-40B4-BE49-F238E27FC236}">
                <a16:creationId xmlns:a16="http://schemas.microsoft.com/office/drawing/2014/main" id="{ED72076A-8038-5EE4-57EE-A6E57D433D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60795" y="4851166"/>
            <a:ext cx="892926" cy="892926"/>
          </a:xfrm>
          <a:prstGeom prst="rect">
            <a:avLst/>
          </a:prstGeom>
        </p:spPr>
      </p:pic>
      <p:pic>
        <p:nvPicPr>
          <p:cNvPr id="95" name="Imagen 94">
            <a:extLst>
              <a:ext uri="{FF2B5EF4-FFF2-40B4-BE49-F238E27FC236}">
                <a16:creationId xmlns:a16="http://schemas.microsoft.com/office/drawing/2014/main" id="{76B2AC30-CA13-3E2A-4E96-2E6737319B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53721" y="8378921"/>
            <a:ext cx="892927" cy="892927"/>
          </a:xfrm>
          <a:prstGeom prst="rect">
            <a:avLst/>
          </a:prstGeom>
        </p:spPr>
      </p:pic>
      <p:pic>
        <p:nvPicPr>
          <p:cNvPr id="17" name="Imagen 16" descr="Icono&#10;&#10;Descripción generada automáticamente">
            <a:extLst>
              <a:ext uri="{FF2B5EF4-FFF2-40B4-BE49-F238E27FC236}">
                <a16:creationId xmlns:a16="http://schemas.microsoft.com/office/drawing/2014/main" id="{CF978F97-2C3B-9B8A-9915-EF99FBCA116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23" y="2783636"/>
            <a:ext cx="892926" cy="892926"/>
          </a:xfrm>
          <a:prstGeom prst="rect">
            <a:avLst/>
          </a:prstGeom>
        </p:spPr>
      </p:pic>
      <p:pic>
        <p:nvPicPr>
          <p:cNvPr id="21" name="Imagen 20" descr="Icono&#10;&#10;Descripción generada automáticamente">
            <a:extLst>
              <a:ext uri="{FF2B5EF4-FFF2-40B4-BE49-F238E27FC236}">
                <a16:creationId xmlns:a16="http://schemas.microsoft.com/office/drawing/2014/main" id="{94BB17BA-4E7A-92F3-4783-63BF99437AC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062" y="4930490"/>
            <a:ext cx="892926" cy="892926"/>
          </a:xfrm>
          <a:prstGeom prst="rect">
            <a:avLst/>
          </a:prstGeom>
        </p:spPr>
      </p:pic>
      <p:pic>
        <p:nvPicPr>
          <p:cNvPr id="24" name="Imagen 23" descr="Icono&#10;&#10;Descripción generada automáticamente">
            <a:extLst>
              <a:ext uri="{FF2B5EF4-FFF2-40B4-BE49-F238E27FC236}">
                <a16:creationId xmlns:a16="http://schemas.microsoft.com/office/drawing/2014/main" id="{883350E9-E4A7-2538-E547-5A0ED4597D3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160" y="8404154"/>
            <a:ext cx="801221" cy="801221"/>
          </a:xfrm>
          <a:prstGeom prst="rect">
            <a:avLst/>
          </a:prstGeom>
        </p:spPr>
      </p:pic>
      <p:pic>
        <p:nvPicPr>
          <p:cNvPr id="27" name="Imagen 26" descr="Una señal de tránsito&#10;&#10;Descripción generada automáticamente con confianza baja">
            <a:extLst>
              <a:ext uri="{FF2B5EF4-FFF2-40B4-BE49-F238E27FC236}">
                <a16:creationId xmlns:a16="http://schemas.microsoft.com/office/drawing/2014/main" id="{BCC2367F-2B8C-729D-A09B-58F5813F05B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8555" y="2814466"/>
            <a:ext cx="920652" cy="920652"/>
          </a:xfrm>
          <a:prstGeom prst="rect">
            <a:avLst/>
          </a:prstGeom>
        </p:spPr>
      </p:pic>
      <p:pic>
        <p:nvPicPr>
          <p:cNvPr id="29" name="Imagen 28" descr="Icono&#10;&#10;Descripción generada automáticamente">
            <a:extLst>
              <a:ext uri="{FF2B5EF4-FFF2-40B4-BE49-F238E27FC236}">
                <a16:creationId xmlns:a16="http://schemas.microsoft.com/office/drawing/2014/main" id="{E41FECE7-9561-800D-3474-241ED648649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64483" y="6551236"/>
            <a:ext cx="892926" cy="892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926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GA unveils dedicated hydrogen membership | Hydrogen | gasworld">
            <a:extLst>
              <a:ext uri="{FF2B5EF4-FFF2-40B4-BE49-F238E27FC236}">
                <a16:creationId xmlns:a16="http://schemas.microsoft.com/office/drawing/2014/main" id="{9BB37784-3A53-4822-86CF-31193397AB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43501"/>
            <a:ext cx="18288000" cy="783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E665916B-4A6A-CF2D-C4B6-111628162C16}"/>
              </a:ext>
            </a:extLst>
          </p:cNvPr>
          <p:cNvGrpSpPr/>
          <p:nvPr/>
        </p:nvGrpSpPr>
        <p:grpSpPr>
          <a:xfrm>
            <a:off x="892751" y="625694"/>
            <a:ext cx="7732302" cy="3929434"/>
            <a:chOff x="2044759" y="57205"/>
            <a:chExt cx="4051188" cy="2058751"/>
          </a:xfrm>
        </p:grpSpPr>
        <p:sp>
          <p:nvSpPr>
            <p:cNvPr id="5" name="Google Shape;303;p15">
              <a:extLst>
                <a:ext uri="{FF2B5EF4-FFF2-40B4-BE49-F238E27FC236}">
                  <a16:creationId xmlns:a16="http://schemas.microsoft.com/office/drawing/2014/main" id="{2A957A1C-F0F5-407F-DD89-8DBEBC2077D0}"/>
                </a:ext>
              </a:extLst>
            </p:cNvPr>
            <p:cNvSpPr/>
            <p:nvPr/>
          </p:nvSpPr>
          <p:spPr>
            <a:xfrm>
              <a:off x="2419860" y="57205"/>
              <a:ext cx="3676087" cy="20317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2850" tIns="91400" rIns="182850" bIns="9140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914378">
                <a:lnSpc>
                  <a:spcPct val="200000"/>
                </a:lnSpc>
                <a:buSzPts val="2400"/>
                <a:defRPr/>
              </a:pPr>
              <a:r>
                <a:rPr lang="en-US" sz="2400" b="1" dirty="0">
                  <a:solidFill>
                    <a:srgbClr val="28669B"/>
                  </a:solidFill>
                  <a:latin typeface="Arial Nova" panose="020B0504020202020204" pitchFamily="34" charset="0"/>
                </a:rPr>
                <a:t>h2.pe</a:t>
              </a:r>
            </a:p>
            <a:p>
              <a:pPr defTabSz="914378">
                <a:lnSpc>
                  <a:spcPct val="200000"/>
                </a:lnSpc>
                <a:buSzPts val="2400"/>
                <a:defRPr/>
              </a:pPr>
              <a:r>
                <a:rPr lang="es-ES" sz="2400" b="1" dirty="0">
                  <a:solidFill>
                    <a:srgbClr val="28669B"/>
                  </a:solidFill>
                  <a:latin typeface="Arial Nova" panose="020B0504020202020204" pitchFamily="34" charset="0"/>
                </a:rPr>
                <a:t>H2 Perú, Asociación Peruana de Hidrógeno</a:t>
              </a:r>
              <a:endParaRPr lang="en-US" sz="2400" b="1" dirty="0">
                <a:solidFill>
                  <a:srgbClr val="28669B"/>
                </a:solidFill>
                <a:latin typeface="Arial Nova" panose="020B0504020202020204" pitchFamily="34" charset="0"/>
              </a:endParaRPr>
            </a:p>
            <a:p>
              <a:pPr defTabSz="914378">
                <a:lnSpc>
                  <a:spcPct val="200000"/>
                </a:lnSpc>
                <a:buSzPts val="2400"/>
                <a:defRPr/>
              </a:pPr>
              <a:r>
                <a:rPr lang="en-US" sz="2400" b="1" dirty="0">
                  <a:solidFill>
                    <a:srgbClr val="28669B"/>
                  </a:solidFill>
                  <a:latin typeface="Arial Nova" panose="020B0504020202020204" pitchFamily="34" charset="0"/>
                </a:rPr>
                <a:t>@h2_pe</a:t>
              </a:r>
              <a:endParaRPr sz="2400" b="1" dirty="0">
                <a:solidFill>
                  <a:srgbClr val="28669B"/>
                </a:solidFill>
                <a:latin typeface="Arial Nova" panose="020B0504020202020204" pitchFamily="34" charset="0"/>
              </a:endParaRPr>
            </a:p>
            <a:p>
              <a:pPr defTabSz="914378">
                <a:lnSpc>
                  <a:spcPct val="200000"/>
                </a:lnSpc>
                <a:buSzPts val="2400"/>
                <a:defRPr/>
              </a:pPr>
              <a:r>
                <a:rPr lang="en-US" sz="2400" b="1" u="sng" dirty="0">
                  <a:solidFill>
                    <a:srgbClr val="28669B"/>
                  </a:solidFill>
                  <a:latin typeface="Arial Nova" panose="020B0504020202020204" pitchFamily="34" charset="0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ontacto</a:t>
              </a:r>
              <a:r>
                <a:rPr lang="en-US" sz="2400" b="1" u="sng" dirty="0">
                  <a:solidFill>
                    <a:srgbClr val="28669B"/>
                  </a:solidFill>
                  <a:latin typeface="Arial Nova" panose="020B0504020202020204" pitchFamily="34" charset="0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@h2.pe</a:t>
              </a:r>
              <a:endParaRPr lang="en-US" sz="2400" b="1" u="sng" dirty="0">
                <a:solidFill>
                  <a:srgbClr val="28669B"/>
                </a:solidFill>
                <a:latin typeface="Arial Nova" panose="020B0504020202020204" pitchFamily="34" charset="0"/>
              </a:endParaRPr>
            </a:p>
            <a:p>
              <a:pPr defTabSz="914378">
                <a:lnSpc>
                  <a:spcPct val="200000"/>
                </a:lnSpc>
                <a:buSzPts val="2400"/>
                <a:defRPr/>
              </a:pPr>
              <a:r>
                <a:rPr lang="en-US" sz="2400" b="1" dirty="0">
                  <a:solidFill>
                    <a:srgbClr val="28669B"/>
                  </a:solidFill>
                  <a:latin typeface="Arial Nova"/>
                </a:rPr>
                <a:t>Calle Begonias 441, San Isidro</a:t>
              </a:r>
            </a:p>
          </p:txBody>
        </p:sp>
        <p:pic>
          <p:nvPicPr>
            <p:cNvPr id="6" name="Gráfico 5" descr="Internet con relleno sólido">
              <a:extLst>
                <a:ext uri="{FF2B5EF4-FFF2-40B4-BE49-F238E27FC236}">
                  <a16:creationId xmlns:a16="http://schemas.microsoft.com/office/drawing/2014/main" id="{4117877C-2940-57C9-87E0-F7E3FC0E3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44759" y="150955"/>
              <a:ext cx="375154" cy="375154"/>
            </a:xfrm>
            <a:prstGeom prst="rect">
              <a:avLst/>
            </a:prstGeom>
          </p:spPr>
        </p:pic>
        <p:pic>
          <p:nvPicPr>
            <p:cNvPr id="7" name="Gráfico 6" descr="Sobre con relleno sólido">
              <a:extLst>
                <a:ext uri="{FF2B5EF4-FFF2-40B4-BE49-F238E27FC236}">
                  <a16:creationId xmlns:a16="http://schemas.microsoft.com/office/drawing/2014/main" id="{23122DAC-700F-5FFB-9027-543953B349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051239" y="1338264"/>
              <a:ext cx="368674" cy="368674"/>
            </a:xfrm>
            <a:prstGeom prst="rect">
              <a:avLst/>
            </a:prstGeom>
          </p:spPr>
        </p:pic>
        <p:pic>
          <p:nvPicPr>
            <p:cNvPr id="8" name="Gráfico 7" descr="Marcador con relleno sólido">
              <a:extLst>
                <a:ext uri="{FF2B5EF4-FFF2-40B4-BE49-F238E27FC236}">
                  <a16:creationId xmlns:a16="http://schemas.microsoft.com/office/drawing/2014/main" id="{C00C8EF3-0690-953D-B28A-4210DA332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051186" y="1747282"/>
              <a:ext cx="368674" cy="368674"/>
            </a:xfrm>
            <a:prstGeom prst="rect">
              <a:avLst/>
            </a:prstGeom>
          </p:spPr>
        </p:pic>
        <p:pic>
          <p:nvPicPr>
            <p:cNvPr id="9" name="Imagen 8" descr="Icono&#10;&#10;Descripción generada automáticamente">
              <a:extLst>
                <a:ext uri="{FF2B5EF4-FFF2-40B4-BE49-F238E27FC236}">
                  <a16:creationId xmlns:a16="http://schemas.microsoft.com/office/drawing/2014/main" id="{6FC8E812-44CA-55F1-A665-5B5C98EF00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081465" y="970174"/>
              <a:ext cx="301742" cy="301742"/>
            </a:xfrm>
            <a:prstGeom prst="rect">
              <a:avLst/>
            </a:prstGeom>
          </p:spPr>
        </p:pic>
        <p:pic>
          <p:nvPicPr>
            <p:cNvPr id="10" name="Imagen 9" descr="Logotipo, Icono&#10;&#10;Descripción generada automáticamente">
              <a:extLst>
                <a:ext uri="{FF2B5EF4-FFF2-40B4-BE49-F238E27FC236}">
                  <a16:creationId xmlns:a16="http://schemas.microsoft.com/office/drawing/2014/main" id="{A762C41C-7271-7574-47A9-31E33A71A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081465" y="558759"/>
              <a:ext cx="301742" cy="301742"/>
            </a:xfrm>
            <a:prstGeom prst="rect">
              <a:avLst/>
            </a:prstGeom>
          </p:spPr>
        </p:pic>
      </p:grpSp>
      <p:sp>
        <p:nvSpPr>
          <p:cNvPr id="11" name="Rectángulo 10">
            <a:extLst>
              <a:ext uri="{FF2B5EF4-FFF2-40B4-BE49-F238E27FC236}">
                <a16:creationId xmlns:a16="http://schemas.microsoft.com/office/drawing/2014/main" id="{57DA4291-E807-B024-92F8-948BFB965D31}"/>
              </a:ext>
            </a:extLst>
          </p:cNvPr>
          <p:cNvSpPr/>
          <p:nvPr/>
        </p:nvSpPr>
        <p:spPr>
          <a:xfrm>
            <a:off x="5024" y="5148757"/>
            <a:ext cx="18288000" cy="5885375"/>
          </a:xfrm>
          <a:prstGeom prst="rect">
            <a:avLst/>
          </a:prstGeom>
          <a:solidFill>
            <a:srgbClr val="29C9C9">
              <a:alpha val="1098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defRPr/>
            </a:pPr>
            <a:endParaRPr lang="es-PE" sz="3734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9C5EF6-53BB-6CF5-1D23-BB91280DD6D5}"/>
              </a:ext>
            </a:extLst>
          </p:cNvPr>
          <p:cNvSpPr txBox="1">
            <a:spLocks/>
          </p:cNvSpPr>
          <p:nvPr/>
        </p:nvSpPr>
        <p:spPr>
          <a:xfrm>
            <a:off x="10924397" y="625694"/>
            <a:ext cx="6251979" cy="1331348"/>
          </a:xfrm>
          <a:prstGeom prst="rect">
            <a:avLst/>
          </a:prstGeom>
        </p:spPr>
        <p:txBody>
          <a:bodyPr vert="horz" lIns="137160" tIns="68580" rIns="137160" bIns="68580" rtlCol="0" anchor="t">
            <a:normAutofit fontScale="92500" lnSpcReduction="20000"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142955">
              <a:lnSpc>
                <a:spcPct val="90000"/>
              </a:lnSpc>
              <a:spcBef>
                <a:spcPct val="0"/>
              </a:spcBef>
              <a:defRPr/>
            </a:pPr>
            <a:r>
              <a:rPr lang="es-MX" sz="3600" b="1">
                <a:solidFill>
                  <a:srgbClr val="288BA5"/>
                </a:solidFill>
                <a:latin typeface="Aptos"/>
                <a:cs typeface="Arial"/>
              </a:rPr>
              <a:t>Fortalezas del H2 bajas emisiones para descarbonizar la minería en el Perú</a:t>
            </a:r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556B0AB0-4482-C895-381E-255F2D3B9D0E}"/>
              </a:ext>
            </a:extLst>
          </p:cNvPr>
          <p:cNvSpPr txBox="1"/>
          <p:nvPr/>
        </p:nvSpPr>
        <p:spPr>
          <a:xfrm>
            <a:off x="12990355" y="2853568"/>
            <a:ext cx="5008085" cy="1554272"/>
          </a:xfrm>
          <a:prstGeom prst="rect">
            <a:avLst/>
          </a:prstGeom>
          <a:noFill/>
        </p:spPr>
        <p:txBody>
          <a:bodyPr wrap="square" lIns="137160" tIns="68580" rIns="137160" bIns="68580" anchor="t">
            <a:sp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00">
              <a:defRPr/>
            </a:pPr>
            <a:r>
              <a:rPr lang="es-PE" sz="2400" b="1" dirty="0">
                <a:solidFill>
                  <a:srgbClr val="484848"/>
                </a:solidFill>
                <a:latin typeface="Aptos"/>
                <a:ea typeface="Times New Roman" panose="02020603050405020304" pitchFamily="18" charset="0"/>
                <a:cs typeface="Times New Roman"/>
              </a:rPr>
              <a:t>Daniel Cámac</a:t>
            </a:r>
            <a:br>
              <a:rPr lang="es-PE" sz="2400" b="1" dirty="0">
                <a:solidFill>
                  <a:srgbClr val="484848"/>
                </a:solidFill>
                <a:latin typeface="Aptos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s-PE" sz="2400" dirty="0">
                <a:solidFill>
                  <a:srgbClr val="484848"/>
                </a:solidFill>
                <a:latin typeface="Aptos"/>
                <a:ea typeface="Times New Roman" panose="02020603050405020304" pitchFamily="18" charset="0"/>
                <a:cs typeface="Times New Roman"/>
              </a:rPr>
              <a:t>Presidente </a:t>
            </a:r>
            <a:br>
              <a:rPr lang="es-PE" sz="2400" dirty="0">
                <a:solidFill>
                  <a:srgbClr val="484848"/>
                </a:solidFill>
                <a:latin typeface="Aptos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s-PE" sz="2400" dirty="0">
                <a:solidFill>
                  <a:srgbClr val="484848"/>
                </a:solidFill>
                <a:latin typeface="Aptos"/>
                <a:ea typeface="Times New Roman" panose="02020603050405020304" pitchFamily="18" charset="0"/>
                <a:cs typeface="Times New Roman" panose="02020603050405020304" pitchFamily="18" charset="0"/>
              </a:rPr>
              <a:t>H2 Perú</a:t>
            </a:r>
          </a:p>
          <a:p>
            <a:pPr defTabSz="1371600">
              <a:defRPr/>
            </a:pPr>
            <a:r>
              <a:rPr lang="es-PE" sz="2000" dirty="0">
                <a:solidFill>
                  <a:srgbClr val="484848"/>
                </a:solidFill>
                <a:latin typeface="Aptos"/>
                <a:ea typeface="Calibri" panose="020F0502020204030204" pitchFamily="34" charset="0"/>
                <a:cs typeface="Times New Roman"/>
              </a:rPr>
              <a:t>https://www.linkedin.com/in/danielcamac/</a:t>
            </a:r>
          </a:p>
        </p:txBody>
      </p:sp>
      <p:pic>
        <p:nvPicPr>
          <p:cNvPr id="13" name="Picture 12" descr="🔵 Presidente de H2 Perú, Daniel Cámac: La minería puede impulsar una  industria de hidrógeno verde en Perú (Exclusivo)">
            <a:extLst>
              <a:ext uri="{FF2B5EF4-FFF2-40B4-BE49-F238E27FC236}">
                <a16:creationId xmlns:a16="http://schemas.microsoft.com/office/drawing/2014/main" id="{8490AC8C-E071-6ED4-525B-86AA564FB5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03" t="3488" r="18588"/>
          <a:stretch/>
        </p:blipFill>
        <p:spPr bwMode="auto">
          <a:xfrm>
            <a:off x="10725742" y="2641869"/>
            <a:ext cx="2048456" cy="204531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E03ED4F-9930-FA9F-B5D2-1E8687EC999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892751" y="6363849"/>
            <a:ext cx="3895355" cy="3469293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356F9E76-0118-B5B3-28B2-BBE62A3B1D6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5655332" y="2529037"/>
            <a:ext cx="1322394" cy="133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874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nicio | PODEROSA">
            <a:extLst>
              <a:ext uri="{FF2B5EF4-FFF2-40B4-BE49-F238E27FC236}">
                <a16:creationId xmlns:a16="http://schemas.microsoft.com/office/drawing/2014/main" id="{C14778F4-2C17-3B53-DEC3-735E53BF45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043" y="6931310"/>
            <a:ext cx="1473080" cy="770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blue and white logo&#10;&#10;Description automatically generated">
            <a:extLst>
              <a:ext uri="{FF2B5EF4-FFF2-40B4-BE49-F238E27FC236}">
                <a16:creationId xmlns:a16="http://schemas.microsoft.com/office/drawing/2014/main" id="{896CD1DB-96D4-8A5E-08B6-F477F4E6F5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6986" y="6688090"/>
            <a:ext cx="1632912" cy="1153490"/>
          </a:xfrm>
          <a:prstGeom prst="rect">
            <a:avLst/>
          </a:prstGeom>
        </p:spPr>
      </p:pic>
      <p:sp>
        <p:nvSpPr>
          <p:cNvPr id="424" name="Google Shape;424;p2"/>
          <p:cNvSpPr/>
          <p:nvPr/>
        </p:nvSpPr>
        <p:spPr>
          <a:xfrm>
            <a:off x="642" y="648515"/>
            <a:ext cx="18286716" cy="2676870"/>
          </a:xfrm>
          <a:prstGeom prst="rect">
            <a:avLst/>
          </a:prstGeom>
          <a:solidFill>
            <a:srgbClr val="00B1B9"/>
          </a:solidFill>
          <a:ln>
            <a:noFill/>
          </a:ln>
        </p:spPr>
        <p:txBody>
          <a:bodyPr spcFirstLastPara="1" wrap="square" lIns="137129" tIns="68546" rIns="137129" bIns="68546" anchor="ctr" anchorCtr="0">
            <a:noAutofit/>
          </a:bodyPr>
          <a:lstStyle/>
          <a:p>
            <a:pPr marL="259539" defTabSz="1371504">
              <a:buClr>
                <a:srgbClr val="FFFFFF"/>
              </a:buClr>
              <a:buSzPts val="1400"/>
              <a:defRPr/>
            </a:pPr>
            <a:endParaRPr sz="21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427" name="Google Shape;427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51960" y="1396166"/>
            <a:ext cx="5815013" cy="1259921"/>
          </a:xfrm>
          <a:prstGeom prst="rect">
            <a:avLst/>
          </a:prstGeom>
          <a:noFill/>
          <a:ln>
            <a:noFill/>
          </a:ln>
        </p:spPr>
      </p:pic>
      <p:pic>
        <p:nvPicPr>
          <p:cNvPr id="428" name="Google Shape;428;p2" descr="Icono&#10;&#10;Descripción generada automáticament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262681" y="1098518"/>
            <a:ext cx="974471" cy="974471"/>
          </a:xfrm>
          <a:prstGeom prst="rect">
            <a:avLst/>
          </a:prstGeom>
          <a:noFill/>
          <a:ln>
            <a:noFill/>
          </a:ln>
        </p:spPr>
      </p:pic>
      <p:sp>
        <p:nvSpPr>
          <p:cNvPr id="430" name="Google Shape;430;p2"/>
          <p:cNvSpPr/>
          <p:nvPr/>
        </p:nvSpPr>
        <p:spPr>
          <a:xfrm>
            <a:off x="2233831" y="3471023"/>
            <a:ext cx="4560182" cy="5539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algn="ctr" defTabSz="1371504">
              <a:buClr>
                <a:srgbClr val="00B0F0"/>
              </a:buClr>
              <a:buSzPts val="1600"/>
              <a:defRPr/>
            </a:pPr>
            <a:r>
              <a:rPr lang="es-MX" b="1" kern="0">
                <a:solidFill>
                  <a:srgbClr val="00B0F0"/>
                </a:solidFill>
                <a:latin typeface="Calibri" panose="020F0502020204030204"/>
                <a:cs typeface="Arial"/>
                <a:sym typeface="Arial"/>
              </a:rPr>
              <a:t>Asociados corporativos</a:t>
            </a:r>
            <a:endParaRPr kern="0">
              <a:solidFill>
                <a:srgbClr val="00B0F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431" name="Google Shape;431;p2"/>
          <p:cNvSpPr/>
          <p:nvPr/>
        </p:nvSpPr>
        <p:spPr>
          <a:xfrm>
            <a:off x="11913458" y="3463127"/>
            <a:ext cx="3773064" cy="5539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algn="ctr" defTabSz="1371504">
              <a:buClr>
                <a:srgbClr val="00B0F0"/>
              </a:buClr>
              <a:buSzPts val="1600"/>
              <a:defRPr/>
            </a:pPr>
            <a:r>
              <a:rPr lang="es-MX" b="1" kern="0">
                <a:solidFill>
                  <a:srgbClr val="00B0F0"/>
                </a:solidFill>
                <a:latin typeface="Calibri" panose="020F0502020204030204"/>
                <a:cs typeface="Arial"/>
                <a:sym typeface="Arial"/>
              </a:rPr>
              <a:t>Aliados</a:t>
            </a:r>
            <a:endParaRPr kern="0">
              <a:solidFill>
                <a:srgbClr val="00B0F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sp>
        <p:nvSpPr>
          <p:cNvPr id="432" name="Google Shape;432;p2"/>
          <p:cNvSpPr/>
          <p:nvPr/>
        </p:nvSpPr>
        <p:spPr>
          <a:xfrm>
            <a:off x="9728549" y="6826576"/>
            <a:ext cx="3773064" cy="5539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algn="ctr" defTabSz="1371504">
              <a:buClr>
                <a:srgbClr val="00B0F0"/>
              </a:buClr>
              <a:buSzPts val="1600"/>
              <a:defRPr/>
            </a:pPr>
            <a:r>
              <a:rPr lang="es-MX" b="1" kern="0">
                <a:solidFill>
                  <a:srgbClr val="00B0F0"/>
                </a:solidFill>
                <a:latin typeface="Calibri" panose="020F0502020204030204"/>
                <a:cs typeface="Arial"/>
                <a:sym typeface="Arial"/>
              </a:rPr>
              <a:t>Socios estratégicos</a:t>
            </a:r>
            <a:endParaRPr kern="0">
              <a:solidFill>
                <a:srgbClr val="00B0F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pic>
        <p:nvPicPr>
          <p:cNvPr id="433" name="Google Shape;433;p2"/>
          <p:cNvPicPr preferRelativeResize="0"/>
          <p:nvPr/>
        </p:nvPicPr>
        <p:blipFill rotWithShape="1">
          <a:blip r:embed="rId7">
            <a:alphaModFix/>
          </a:blip>
          <a:srcRect l="53854" b="-3129"/>
          <a:stretch/>
        </p:blipFill>
        <p:spPr>
          <a:xfrm>
            <a:off x="11060018" y="7349926"/>
            <a:ext cx="1121178" cy="670964"/>
          </a:xfrm>
          <a:prstGeom prst="rect">
            <a:avLst/>
          </a:prstGeom>
          <a:noFill/>
          <a:ln>
            <a:noFill/>
          </a:ln>
        </p:spPr>
      </p:pic>
      <p:sp>
        <p:nvSpPr>
          <p:cNvPr id="434" name="Google Shape;434;p2"/>
          <p:cNvSpPr/>
          <p:nvPr/>
        </p:nvSpPr>
        <p:spPr>
          <a:xfrm>
            <a:off x="14113619" y="6801112"/>
            <a:ext cx="3773064" cy="5539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algn="ctr" defTabSz="1371504">
              <a:buClr>
                <a:srgbClr val="00B0F0"/>
              </a:buClr>
              <a:buSzPts val="1600"/>
              <a:defRPr/>
            </a:pPr>
            <a:r>
              <a:rPr lang="es-MX" b="1" kern="0">
                <a:solidFill>
                  <a:srgbClr val="00B0F0"/>
                </a:solidFill>
                <a:latin typeface="Calibri" panose="020F0502020204030204"/>
                <a:cs typeface="Arial"/>
                <a:sym typeface="Arial"/>
              </a:rPr>
              <a:t>Aliados de prensa</a:t>
            </a:r>
            <a:endParaRPr kern="0">
              <a:solidFill>
                <a:srgbClr val="00B0F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pic>
        <p:nvPicPr>
          <p:cNvPr id="435" name="Google Shape;435;p2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4477666" y="7373675"/>
            <a:ext cx="3624288" cy="676068"/>
          </a:xfrm>
          <a:prstGeom prst="rect">
            <a:avLst/>
          </a:prstGeom>
          <a:noFill/>
          <a:ln>
            <a:noFill/>
          </a:ln>
        </p:spPr>
      </p:pic>
      <p:sp>
        <p:nvSpPr>
          <p:cNvPr id="436" name="Google Shape;436;p2"/>
          <p:cNvSpPr/>
          <p:nvPr/>
        </p:nvSpPr>
        <p:spPr>
          <a:xfrm>
            <a:off x="12074981" y="8080328"/>
            <a:ext cx="3773064" cy="5539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algn="ctr" defTabSz="1371504">
              <a:buClr>
                <a:srgbClr val="00B0F0"/>
              </a:buClr>
              <a:buSzPts val="1600"/>
              <a:defRPr/>
            </a:pPr>
            <a:r>
              <a:rPr lang="es-MX" b="1" kern="0">
                <a:solidFill>
                  <a:srgbClr val="00B0F0"/>
                </a:solidFill>
                <a:latin typeface="Calibri" panose="020F0502020204030204"/>
                <a:cs typeface="Arial"/>
                <a:sym typeface="Arial"/>
              </a:rPr>
              <a:t>Socios profesionales</a:t>
            </a:r>
            <a:endParaRPr kern="0">
              <a:solidFill>
                <a:srgbClr val="00B0F0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pic>
        <p:nvPicPr>
          <p:cNvPr id="448" name="Google Shape;448;p2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801970" y="4357231"/>
            <a:ext cx="348449" cy="361505"/>
          </a:xfrm>
          <a:prstGeom prst="rect">
            <a:avLst/>
          </a:prstGeom>
          <a:noFill/>
          <a:ln>
            <a:noFill/>
          </a:ln>
        </p:spPr>
      </p:pic>
      <p:sp>
        <p:nvSpPr>
          <p:cNvPr id="449" name="Google Shape;449;p2"/>
          <p:cNvSpPr txBox="1"/>
          <p:nvPr/>
        </p:nvSpPr>
        <p:spPr>
          <a:xfrm>
            <a:off x="5202314" y="4371176"/>
            <a:ext cx="2246729" cy="1061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defTabSz="1371504">
              <a:buClr>
                <a:srgbClr val="FFFFFF"/>
              </a:buClr>
              <a:buSzPts val="2000"/>
              <a:defRPr/>
            </a:pPr>
            <a:r>
              <a:rPr lang="es-MX" sz="30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Visitarnos: </a:t>
            </a:r>
            <a:r>
              <a:rPr lang="es-MX" sz="3000" u="sng" kern="0">
                <a:solidFill>
                  <a:srgbClr val="FFFFFF"/>
                </a:solidFill>
                <a:latin typeface="Arial"/>
                <a:cs typeface="Arial"/>
                <a:sym typeface="Arial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h2.pe</a:t>
            </a:r>
            <a:endParaRPr sz="30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451" name="Google Shape;451;p2"/>
          <p:cNvPicPr preferRelativeResize="0"/>
          <p:nvPr/>
        </p:nvPicPr>
        <p:blipFill rotWithShape="1">
          <a:blip r:embed="rId11">
            <a:alphaModFix/>
          </a:blip>
          <a:srcRect l="18524" t="29750" r="17208" b="27147"/>
          <a:stretch/>
        </p:blipFill>
        <p:spPr>
          <a:xfrm>
            <a:off x="4425607" y="4403284"/>
            <a:ext cx="1168676" cy="488471"/>
          </a:xfrm>
          <a:prstGeom prst="rect">
            <a:avLst/>
          </a:prstGeom>
          <a:noFill/>
          <a:ln>
            <a:noFill/>
          </a:ln>
        </p:spPr>
      </p:pic>
      <p:pic>
        <p:nvPicPr>
          <p:cNvPr id="452" name="Google Shape;452;p2" descr="Hunt Oil Company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5629438" y="4421950"/>
            <a:ext cx="1521038" cy="482864"/>
          </a:xfrm>
          <a:prstGeom prst="rect">
            <a:avLst/>
          </a:prstGeom>
          <a:noFill/>
          <a:ln>
            <a:noFill/>
          </a:ln>
        </p:spPr>
      </p:pic>
      <p:pic>
        <p:nvPicPr>
          <p:cNvPr id="453" name="Google Shape;453;p2" descr="Empleados, ubicación y vacantes de Kallpa Generación S.A. | LinkedIn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3933650" y="5038131"/>
            <a:ext cx="699920" cy="7261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54" name="Google Shape;454;p2" descr="A picture containing text, clipart&#10;&#10;Description automatically generated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2509978" y="4411720"/>
            <a:ext cx="913691" cy="450734"/>
          </a:xfrm>
          <a:prstGeom prst="rect">
            <a:avLst/>
          </a:prstGeom>
          <a:noFill/>
          <a:ln>
            <a:noFill/>
          </a:ln>
        </p:spPr>
      </p:pic>
      <p:pic>
        <p:nvPicPr>
          <p:cNvPr id="455" name="Google Shape;455;p2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590208" y="4266610"/>
            <a:ext cx="710906" cy="617123"/>
          </a:xfrm>
          <a:prstGeom prst="rect">
            <a:avLst/>
          </a:prstGeom>
          <a:noFill/>
          <a:ln>
            <a:noFill/>
          </a:ln>
        </p:spPr>
      </p:pic>
      <p:pic>
        <p:nvPicPr>
          <p:cNvPr id="456" name="Google Shape;456;p2"/>
          <p:cNvPicPr preferRelativeResize="0"/>
          <p:nvPr/>
        </p:nvPicPr>
        <p:blipFill rotWithShape="1">
          <a:blip r:embed="rId16">
            <a:alphaModFix/>
          </a:blip>
          <a:srcRect t="31203" b="22749"/>
          <a:stretch/>
        </p:blipFill>
        <p:spPr>
          <a:xfrm>
            <a:off x="6967211" y="4463519"/>
            <a:ext cx="988872" cy="47241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58" name="Google Shape;458;p2"/>
          <p:cNvGrpSpPr/>
          <p:nvPr/>
        </p:nvGrpSpPr>
        <p:grpSpPr>
          <a:xfrm>
            <a:off x="7192856" y="5012116"/>
            <a:ext cx="849185" cy="659170"/>
            <a:chOff x="3040507" y="5448399"/>
            <a:chExt cx="1183864" cy="712535"/>
          </a:xfrm>
        </p:grpSpPr>
        <p:pic>
          <p:nvPicPr>
            <p:cNvPr id="459" name="Google Shape;459;p2" descr="EDF Perú | LinkedIn"/>
            <p:cNvPicPr preferRelativeResize="0"/>
            <p:nvPr/>
          </p:nvPicPr>
          <p:blipFill rotWithShape="1">
            <a:blip r:embed="rId17">
              <a:alphaModFix/>
            </a:blip>
            <a:srcRect r="-1997"/>
            <a:stretch/>
          </p:blipFill>
          <p:spPr>
            <a:xfrm>
              <a:off x="3040507" y="5448399"/>
              <a:ext cx="1114233" cy="45842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60" name="Google Shape;460;p2"/>
            <p:cNvSpPr txBox="1"/>
            <p:nvPr/>
          </p:nvSpPr>
          <p:spPr>
            <a:xfrm>
              <a:off x="3131652" y="5711871"/>
              <a:ext cx="1092719" cy="44906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7129" tIns="68546" rIns="137129" bIns="68546" anchor="t" anchorCtr="0">
              <a:spAutoFit/>
            </a:bodyPr>
            <a:lstStyle/>
            <a:p>
              <a:pPr defTabSz="1371504">
                <a:buClr>
                  <a:srgbClr val="2F5496"/>
                </a:buClr>
                <a:buSzPts val="1200"/>
                <a:defRPr/>
              </a:pPr>
              <a:r>
                <a:rPr lang="es-MX" sz="1800" b="1" kern="0">
                  <a:solidFill>
                    <a:srgbClr val="2F5496"/>
                  </a:solidFill>
                  <a:latin typeface="Calibri"/>
                  <a:ea typeface="Calibri"/>
                  <a:cs typeface="Calibri"/>
                  <a:sym typeface="Calibri"/>
                </a:rPr>
                <a:t>Perú</a:t>
              </a:r>
              <a:endParaRPr sz="1800" b="1" kern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1" name="Google Shape;461;p2"/>
          <p:cNvSpPr txBox="1"/>
          <p:nvPr/>
        </p:nvSpPr>
        <p:spPr>
          <a:xfrm>
            <a:off x="257234" y="3845949"/>
            <a:ext cx="5016266" cy="3811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defTabSz="1371504">
              <a:buClr>
                <a:srgbClr val="28659C"/>
              </a:buClr>
              <a:buSzPts val="1050"/>
              <a:defRPr/>
            </a:pPr>
            <a:r>
              <a:rPr lang="es-MX" sz="1577" b="1" kern="0">
                <a:solidFill>
                  <a:srgbClr val="28659C"/>
                </a:solidFill>
                <a:latin typeface="Calibri" panose="020F0502020204030204"/>
                <a:cs typeface="Arial" panose="020B0604020202020204" pitchFamily="34" charset="0"/>
                <a:sym typeface="Arial"/>
              </a:rPr>
              <a:t>Energía</a:t>
            </a:r>
            <a:endParaRPr sz="1577" kern="0">
              <a:solidFill>
                <a:srgbClr val="000000"/>
              </a:solidFill>
              <a:latin typeface="Calibri" panose="020F0502020204030204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462" name="Google Shape;462;p2"/>
          <p:cNvCxnSpPr/>
          <p:nvPr/>
        </p:nvCxnSpPr>
        <p:spPr>
          <a:xfrm>
            <a:off x="322538" y="5820500"/>
            <a:ext cx="9263522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3" name="Google Shape;463;p2"/>
          <p:cNvSpPr txBox="1"/>
          <p:nvPr/>
        </p:nvSpPr>
        <p:spPr>
          <a:xfrm>
            <a:off x="186049" y="5913246"/>
            <a:ext cx="5016266" cy="3811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defTabSz="1371504">
              <a:buClr>
                <a:srgbClr val="28659C"/>
              </a:buClr>
              <a:buSzPts val="1050"/>
              <a:defRPr/>
            </a:pPr>
            <a:r>
              <a:rPr lang="es-MX" sz="1577" b="1" kern="0">
                <a:solidFill>
                  <a:srgbClr val="28659C"/>
                </a:solidFill>
                <a:latin typeface="Calibri" panose="020F0502020204030204"/>
                <a:cs typeface="Arial" panose="020B0604020202020204" pitchFamily="34" charset="0"/>
                <a:sym typeface="Arial"/>
              </a:rPr>
              <a:t>Industria, minería y transporte</a:t>
            </a:r>
            <a:endParaRPr sz="1577" kern="0">
              <a:solidFill>
                <a:srgbClr val="000000"/>
              </a:solidFill>
              <a:latin typeface="Calibri" panose="020F0502020204030204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464" name="Google Shape;464;p2"/>
          <p:cNvCxnSpPr/>
          <p:nvPr/>
        </p:nvCxnSpPr>
        <p:spPr>
          <a:xfrm>
            <a:off x="458791" y="7707959"/>
            <a:ext cx="9263522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5" name="Google Shape;465;p2"/>
          <p:cNvSpPr txBox="1"/>
          <p:nvPr/>
        </p:nvSpPr>
        <p:spPr>
          <a:xfrm>
            <a:off x="220124" y="7761393"/>
            <a:ext cx="5016266" cy="3811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defTabSz="1371504">
              <a:buClr>
                <a:srgbClr val="28659C"/>
              </a:buClr>
              <a:buSzPts val="1050"/>
              <a:defRPr/>
            </a:pPr>
            <a:r>
              <a:rPr lang="es-MX" sz="1577" b="1" kern="0">
                <a:solidFill>
                  <a:srgbClr val="28659C"/>
                </a:solidFill>
                <a:latin typeface="Calibri" panose="020F0502020204030204"/>
                <a:cs typeface="Arial" panose="020B0604020202020204" pitchFamily="34" charset="0"/>
                <a:sym typeface="Arial"/>
              </a:rPr>
              <a:t>Ingeniería y servicios de tecnología</a:t>
            </a:r>
            <a:endParaRPr sz="1577" kern="0">
              <a:solidFill>
                <a:srgbClr val="000000"/>
              </a:solidFill>
              <a:latin typeface="Calibri" panose="020F0502020204030204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467" name="Google Shape;467;p2"/>
          <p:cNvPicPr preferRelativeResize="0"/>
          <p:nvPr/>
        </p:nvPicPr>
        <p:blipFill rotWithShape="1">
          <a:blip r:embed="rId18">
            <a:alphaModFix/>
          </a:blip>
          <a:srcRect t="18926" b="18927"/>
          <a:stretch/>
        </p:blipFill>
        <p:spPr>
          <a:xfrm>
            <a:off x="6101990" y="9194356"/>
            <a:ext cx="970337" cy="377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469" name="Google Shape;469;p2"/>
          <p:cNvPicPr preferRelativeResize="0"/>
          <p:nvPr/>
        </p:nvPicPr>
        <p:blipFill rotWithShape="1">
          <a:blip r:embed="rId19">
            <a:alphaModFix/>
          </a:blip>
          <a:srcRect l="2000" t="25000" b="23250"/>
          <a:stretch/>
        </p:blipFill>
        <p:spPr>
          <a:xfrm>
            <a:off x="1381141" y="9116108"/>
            <a:ext cx="1222979" cy="446666"/>
          </a:xfrm>
          <a:prstGeom prst="rect">
            <a:avLst/>
          </a:prstGeom>
          <a:noFill/>
          <a:ln>
            <a:noFill/>
          </a:ln>
        </p:spPr>
      </p:pic>
      <p:pic>
        <p:nvPicPr>
          <p:cNvPr id="470" name="Google Shape;470;p2" descr="Gases Medicinales y Terapias respiratorias | Linde Healthcare España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309956" y="9161075"/>
            <a:ext cx="847181" cy="439458"/>
          </a:xfrm>
          <a:prstGeom prst="rect">
            <a:avLst/>
          </a:prstGeom>
          <a:noFill/>
          <a:ln>
            <a:noFill/>
          </a:ln>
        </p:spPr>
      </p:pic>
      <p:pic>
        <p:nvPicPr>
          <p:cNvPr id="471" name="Google Shape;471;p2" descr="Imagen que contiene Logotipo&#10;&#10;Descripción generada automáticamente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7192856" y="8375102"/>
            <a:ext cx="1601087" cy="326516"/>
          </a:xfrm>
          <a:prstGeom prst="rect">
            <a:avLst/>
          </a:prstGeom>
          <a:noFill/>
          <a:ln>
            <a:noFill/>
          </a:ln>
        </p:spPr>
      </p:pic>
      <p:pic>
        <p:nvPicPr>
          <p:cNvPr id="472" name="Google Shape;472;p2" descr="Cummins Logo | Logo Share | Cummins, ? logo, Logos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2113021" y="8331133"/>
            <a:ext cx="502997" cy="45246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3" name="Google Shape;473;p2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5280552" y="9047143"/>
            <a:ext cx="566352" cy="609827"/>
          </a:xfrm>
          <a:prstGeom prst="rect">
            <a:avLst/>
          </a:prstGeom>
          <a:noFill/>
          <a:ln>
            <a:noFill/>
          </a:ln>
        </p:spPr>
      </p:pic>
      <p:pic>
        <p:nvPicPr>
          <p:cNvPr id="474" name="Google Shape;474;p2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4328528" y="8441732"/>
            <a:ext cx="1238507" cy="41317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5" name="Google Shape;475;p2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7290653" y="9145704"/>
            <a:ext cx="889092" cy="483618"/>
          </a:xfrm>
          <a:prstGeom prst="rect">
            <a:avLst/>
          </a:prstGeom>
          <a:noFill/>
          <a:ln>
            <a:noFill/>
          </a:ln>
        </p:spPr>
      </p:pic>
      <p:pic>
        <p:nvPicPr>
          <p:cNvPr id="476" name="Google Shape;476;p2"/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2828426" y="9286004"/>
            <a:ext cx="2162958" cy="2370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7" name="Google Shape;477;p2" descr="Walsh"/>
          <p:cNvPicPr preferRelativeResize="0"/>
          <p:nvPr/>
        </p:nvPicPr>
        <p:blipFill rotWithShape="1">
          <a:blip r:embed="rId27">
            <a:alphaModFix/>
          </a:blip>
          <a:srcRect r="27413" b="14483"/>
          <a:stretch/>
        </p:blipFill>
        <p:spPr>
          <a:xfrm>
            <a:off x="8181779" y="9129224"/>
            <a:ext cx="1441715" cy="42043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9" name="Google Shape;479;p2" descr="Sociedad Minera Cerro Verde - Wikipedia, la enciclopedia libre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5078857" y="6282995"/>
            <a:ext cx="988415" cy="69718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0" name="Google Shape;480;p2" descr="Logotipo, nombre de la empresa&#10;&#10;Descripción generada automáticamente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5153417" y="7028242"/>
            <a:ext cx="1372502" cy="598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81" name="Google Shape;481;p2" descr="Logotipo, nombre de la empresa&#10;&#10;Descripción generada automáticamente"/>
          <p:cNvPicPr preferRelativeResize="0"/>
          <p:nvPr/>
        </p:nvPicPr>
        <p:blipFill rotWithShape="1">
          <a:blip r:embed="rId30">
            <a:alphaModFix/>
          </a:blip>
          <a:srcRect/>
          <a:stretch/>
        </p:blipFill>
        <p:spPr>
          <a:xfrm>
            <a:off x="6372322" y="6487093"/>
            <a:ext cx="1082411" cy="365429"/>
          </a:xfrm>
          <a:prstGeom prst="rect">
            <a:avLst/>
          </a:prstGeom>
          <a:noFill/>
          <a:ln>
            <a:noFill/>
          </a:ln>
        </p:spPr>
      </p:pic>
      <p:pic>
        <p:nvPicPr>
          <p:cNvPr id="482" name="Google Shape;482;p2" descr="Anglo American Brasil"/>
          <p:cNvPicPr preferRelativeResize="0"/>
          <p:nvPr/>
        </p:nvPicPr>
        <p:blipFill rotWithShape="1">
          <a:blip r:embed="rId31">
            <a:alphaModFix/>
          </a:blip>
          <a:srcRect t="38726" b="39940"/>
          <a:stretch/>
        </p:blipFill>
        <p:spPr>
          <a:xfrm>
            <a:off x="648422" y="6434773"/>
            <a:ext cx="1798988" cy="398162"/>
          </a:xfrm>
          <a:prstGeom prst="rect">
            <a:avLst/>
          </a:prstGeom>
          <a:noFill/>
          <a:ln>
            <a:noFill/>
          </a:ln>
        </p:spPr>
      </p:pic>
      <p:pic>
        <p:nvPicPr>
          <p:cNvPr id="483" name="Google Shape;483;p2" descr="Imagen que contiene dibujo&#10;&#10;Descripción generada automáticamente"/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>
            <a:off x="7461647" y="6381524"/>
            <a:ext cx="1332119" cy="551603"/>
          </a:xfrm>
          <a:prstGeom prst="rect">
            <a:avLst/>
          </a:prstGeom>
          <a:noFill/>
          <a:ln>
            <a:noFill/>
          </a:ln>
        </p:spPr>
      </p:pic>
      <p:pic>
        <p:nvPicPr>
          <p:cNvPr id="484" name="Google Shape;484;p2" descr="Emerson Electric Logo, symbol, meaning, history, PNG, brand"/>
          <p:cNvPicPr preferRelativeResize="0"/>
          <p:nvPr/>
        </p:nvPicPr>
        <p:blipFill rotWithShape="1">
          <a:blip r:embed="rId33">
            <a:alphaModFix/>
          </a:blip>
          <a:srcRect/>
          <a:stretch/>
        </p:blipFill>
        <p:spPr>
          <a:xfrm>
            <a:off x="2785411" y="8129216"/>
            <a:ext cx="1337453" cy="752318"/>
          </a:xfrm>
          <a:prstGeom prst="rect">
            <a:avLst/>
          </a:prstGeom>
          <a:noFill/>
          <a:ln>
            <a:noFill/>
          </a:ln>
        </p:spPr>
      </p:pic>
      <p:pic>
        <p:nvPicPr>
          <p:cNvPr id="485" name="Google Shape;485;p2" descr="Logotipo, nombre de la empresa&#10;&#10;Descripción generada automáticamente"/>
          <p:cNvPicPr preferRelativeResize="0"/>
          <p:nvPr/>
        </p:nvPicPr>
        <p:blipFill rotWithShape="1">
          <a:blip r:embed="rId34">
            <a:alphaModFix/>
          </a:blip>
          <a:srcRect/>
          <a:stretch/>
        </p:blipFill>
        <p:spPr>
          <a:xfrm>
            <a:off x="442879" y="6980176"/>
            <a:ext cx="1483979" cy="62088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6" name="Google Shape;486;p2" descr="Logotipo&#10;&#10;Descripción generada automáticamente"/>
          <p:cNvPicPr preferRelativeResize="0"/>
          <p:nvPr/>
        </p:nvPicPr>
        <p:blipFill rotWithShape="1">
          <a:blip r:embed="rId35">
            <a:alphaModFix/>
          </a:blip>
          <a:srcRect/>
          <a:stretch/>
        </p:blipFill>
        <p:spPr>
          <a:xfrm>
            <a:off x="5779460" y="8340186"/>
            <a:ext cx="1200584" cy="485712"/>
          </a:xfrm>
          <a:prstGeom prst="rect">
            <a:avLst/>
          </a:prstGeom>
          <a:noFill/>
          <a:ln>
            <a:noFill/>
          </a:ln>
        </p:spPr>
      </p:pic>
      <p:pic>
        <p:nvPicPr>
          <p:cNvPr id="488" name="Google Shape;488;p2"/>
          <p:cNvPicPr preferRelativeResize="0"/>
          <p:nvPr/>
        </p:nvPicPr>
        <p:blipFill rotWithShape="1">
          <a:blip r:embed="rId36">
            <a:alphaModFix/>
          </a:blip>
          <a:srcRect/>
          <a:stretch/>
        </p:blipFill>
        <p:spPr>
          <a:xfrm>
            <a:off x="5839775" y="5108233"/>
            <a:ext cx="1301666" cy="549512"/>
          </a:xfrm>
          <a:prstGeom prst="rect">
            <a:avLst/>
          </a:prstGeom>
          <a:noFill/>
          <a:ln>
            <a:noFill/>
          </a:ln>
        </p:spPr>
      </p:pic>
      <p:pic>
        <p:nvPicPr>
          <p:cNvPr id="489" name="Google Shape;489;p2"/>
          <p:cNvPicPr preferRelativeResize="0"/>
          <p:nvPr/>
        </p:nvPicPr>
        <p:blipFill rotWithShape="1">
          <a:blip r:embed="rId37">
            <a:alphaModFix/>
          </a:blip>
          <a:srcRect/>
          <a:stretch/>
        </p:blipFill>
        <p:spPr>
          <a:xfrm>
            <a:off x="4606022" y="4935094"/>
            <a:ext cx="1337453" cy="842066"/>
          </a:xfrm>
          <a:prstGeom prst="rect">
            <a:avLst/>
          </a:prstGeom>
          <a:noFill/>
          <a:ln>
            <a:noFill/>
          </a:ln>
        </p:spPr>
      </p:pic>
      <p:sp>
        <p:nvSpPr>
          <p:cNvPr id="490" name="Google Shape;490;p2"/>
          <p:cNvSpPr/>
          <p:nvPr/>
        </p:nvSpPr>
        <p:spPr>
          <a:xfrm>
            <a:off x="13161358" y="8687584"/>
            <a:ext cx="952261" cy="870031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rgbClr val="2F549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37129" tIns="68546" rIns="137129" bIns="68546" anchor="ctr" anchorCtr="0">
            <a:noAutofit/>
          </a:bodyPr>
          <a:lstStyle/>
          <a:p>
            <a:pPr algn="ctr" defTabSz="1371504">
              <a:buClr>
                <a:srgbClr val="000000"/>
              </a:buClr>
              <a:buSzPts val="3600"/>
              <a:defRPr/>
            </a:pPr>
            <a:endParaRPr sz="5400" kern="0">
              <a:solidFill>
                <a:srgbClr val="2F5496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2" name="Google Shape;492;p2"/>
          <p:cNvSpPr txBox="1"/>
          <p:nvPr/>
        </p:nvSpPr>
        <p:spPr>
          <a:xfrm>
            <a:off x="13317333" y="8854903"/>
            <a:ext cx="742059" cy="569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t" anchorCtr="0">
            <a:spAutoFit/>
          </a:bodyPr>
          <a:lstStyle/>
          <a:p>
            <a:pPr defTabSz="1371504">
              <a:buClr>
                <a:srgbClr val="2F5496"/>
              </a:buClr>
              <a:buSzPts val="4000"/>
              <a:defRPr/>
            </a:pPr>
            <a:r>
              <a:rPr lang="es-MX" sz="2800" kern="0" dirty="0">
                <a:solidFill>
                  <a:srgbClr val="2F5496"/>
                </a:solidFill>
                <a:latin typeface="Calibri"/>
                <a:ea typeface="Calibri"/>
                <a:cs typeface="Calibri"/>
                <a:sym typeface="Calibri"/>
              </a:rPr>
              <a:t>17</a:t>
            </a:r>
            <a:endParaRPr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A3BEAA9-BCF2-D27A-B7CE-188B69405A22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164" y="5358007"/>
            <a:ext cx="1153731" cy="122477"/>
          </a:xfrm>
          <a:prstGeom prst="rect">
            <a:avLst/>
          </a:prstGeom>
        </p:spPr>
      </p:pic>
      <p:pic>
        <p:nvPicPr>
          <p:cNvPr id="5" name="Picture 4" descr="A blue rectangle with white text&#10;&#10;Description automatically generated">
            <a:extLst>
              <a:ext uri="{FF2B5EF4-FFF2-40B4-BE49-F238E27FC236}">
                <a16:creationId xmlns:a16="http://schemas.microsoft.com/office/drawing/2014/main" id="{3996AB19-DE2F-EABD-9B43-4A8F3B34C2BE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783" y="8269367"/>
            <a:ext cx="935897" cy="62227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AD36A332-C53F-CF39-D686-34587B4B08A1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64489" y="4962310"/>
            <a:ext cx="1356894" cy="820259"/>
          </a:xfrm>
          <a:prstGeom prst="rect">
            <a:avLst/>
          </a:prstGeom>
        </p:spPr>
      </p:pic>
      <p:pic>
        <p:nvPicPr>
          <p:cNvPr id="9" name="Imagen 8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1AC7025B-36B6-605A-68C5-6369D264143F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5958" y="4199386"/>
            <a:ext cx="946194" cy="795545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F50C1EF6-7907-D435-4E87-C6AA9FA06F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464" y="7100012"/>
            <a:ext cx="1239912" cy="40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26D18B3F-65DB-F093-BD05-BE01D1ECBF24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8144" y="6363424"/>
            <a:ext cx="667104" cy="587807"/>
          </a:xfrm>
          <a:prstGeom prst="rect">
            <a:avLst/>
          </a:prstGeom>
        </p:spPr>
      </p:pic>
      <p:pic>
        <p:nvPicPr>
          <p:cNvPr id="11" name="Imagen 10" descr="Logotipo&#10;&#10;Descripción generada automáticamente con confianza media">
            <a:extLst>
              <a:ext uri="{FF2B5EF4-FFF2-40B4-BE49-F238E27FC236}">
                <a16:creationId xmlns:a16="http://schemas.microsoft.com/office/drawing/2014/main" id="{4D8F5CB7-9E08-C018-EAEE-FEABB82726BE}"/>
              </a:ext>
            </a:extLst>
          </p:cNvPr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547" y="6424920"/>
            <a:ext cx="1203468" cy="354291"/>
          </a:xfrm>
          <a:prstGeom prst="rect">
            <a:avLst/>
          </a:prstGeom>
        </p:spPr>
      </p:pic>
      <p:sp>
        <p:nvSpPr>
          <p:cNvPr id="7" name="Google Shape;425;p2">
            <a:extLst>
              <a:ext uri="{FF2B5EF4-FFF2-40B4-BE49-F238E27FC236}">
                <a16:creationId xmlns:a16="http://schemas.microsoft.com/office/drawing/2014/main" id="{3D800A9D-1E7C-CBF1-9723-5FD528E813D3}"/>
              </a:ext>
            </a:extLst>
          </p:cNvPr>
          <p:cNvSpPr/>
          <p:nvPr/>
        </p:nvSpPr>
        <p:spPr>
          <a:xfrm>
            <a:off x="7038214" y="627737"/>
            <a:ext cx="11249786" cy="2676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37129" tIns="68546" rIns="137129" bIns="68546" anchor="ctr" anchorCtr="0">
            <a:noAutofit/>
          </a:bodyPr>
          <a:lstStyle/>
          <a:p>
            <a:pPr marL="259080" defTabSz="1371504">
              <a:buClr>
                <a:srgbClr val="FFFFFF"/>
              </a:buClr>
              <a:buSzPts val="1600"/>
              <a:defRPr/>
            </a:pPr>
            <a:r>
              <a:rPr lang="es-MX" sz="2400" b="1" kern="0" dirty="0">
                <a:solidFill>
                  <a:srgbClr val="FFFFFF"/>
                </a:solidFill>
                <a:latin typeface="Arial Nova"/>
                <a:cs typeface="Arial"/>
                <a:sym typeface="Arial"/>
              </a:rPr>
              <a:t>En el corazón de la transición energética </a:t>
            </a:r>
            <a:endParaRPr lang="es-ES" sz="2000" kern="0" dirty="0">
              <a:solidFill>
                <a:srgbClr val="000000"/>
              </a:solidFill>
              <a:latin typeface="Arial Nova"/>
              <a:cs typeface="Arial"/>
            </a:endParaRPr>
          </a:p>
          <a:p>
            <a:pPr marL="259080" defTabSz="1371504">
              <a:buClr>
                <a:srgbClr val="FFFFFF"/>
              </a:buClr>
              <a:buSzPts val="1600"/>
              <a:defRPr/>
            </a:pPr>
            <a:endParaRPr sz="2000" b="1" kern="0" dirty="0">
              <a:solidFill>
                <a:srgbClr val="FFFFFF"/>
              </a:solidFill>
              <a:latin typeface="Arial Nova"/>
              <a:cs typeface="Arial"/>
            </a:endParaRPr>
          </a:p>
          <a:p>
            <a:pPr marL="259080" defTabSz="1371504">
              <a:buClr>
                <a:srgbClr val="FFFFFF"/>
              </a:buClr>
              <a:buSzPts val="1600"/>
              <a:defRPr/>
            </a:pPr>
            <a:r>
              <a:rPr lang="es-MX" sz="2000" b="1" kern="0" dirty="0">
                <a:solidFill>
                  <a:srgbClr val="FFFFFF"/>
                </a:solidFill>
                <a:latin typeface="Arial Nova"/>
                <a:cs typeface="Arial"/>
                <a:sym typeface="Arial"/>
              </a:rPr>
              <a:t>              72 asociados y aliados</a:t>
            </a:r>
            <a:br>
              <a:rPr lang="es-MX" sz="2000" b="1" kern="0" dirty="0">
                <a:solidFill>
                  <a:srgbClr val="FFFFFF"/>
                </a:solidFill>
                <a:latin typeface="Arial Nova"/>
                <a:cs typeface="Arial"/>
                <a:sym typeface="Arial"/>
              </a:rPr>
            </a:br>
            <a:endParaRPr sz="1100" b="1" kern="0" dirty="0">
              <a:solidFill>
                <a:srgbClr val="FFFFFF"/>
              </a:solidFill>
              <a:latin typeface="Arial Nova"/>
              <a:cs typeface="Arial"/>
            </a:endParaRPr>
          </a:p>
          <a:p>
            <a:pPr marL="259080" algn="just" defTabSz="1371504">
              <a:buClr>
                <a:srgbClr val="FFFFFF"/>
              </a:buClr>
              <a:buSzPts val="1400"/>
              <a:defRPr/>
            </a:pPr>
            <a:r>
              <a:rPr lang="es-MX" sz="2000" kern="0" dirty="0">
                <a:solidFill>
                  <a:srgbClr val="FFFFFF"/>
                </a:solidFill>
                <a:latin typeface="Arial Nova"/>
                <a:cs typeface="Arial"/>
                <a:sym typeface="Arial"/>
              </a:rPr>
              <a:t>Se crea en febrero 2021 para representar el ecosistema del hidrógeno renovable y de bajas emisiones en el Perú e </a:t>
            </a:r>
            <a:r>
              <a:rPr lang="es-MX" sz="2000" b="1" kern="0" dirty="0">
                <a:solidFill>
                  <a:srgbClr val="FFFFFF"/>
                </a:solidFill>
                <a:latin typeface="Arial Nova"/>
                <a:cs typeface="Arial"/>
                <a:sym typeface="Arial"/>
              </a:rPr>
              <a:t>impulsar el desarrollo de esa energía sostenible, clave para una economía descarbonizada</a:t>
            </a:r>
            <a:r>
              <a:rPr lang="es-MX" sz="2000" kern="0" dirty="0">
                <a:solidFill>
                  <a:srgbClr val="FFFFFF"/>
                </a:solidFill>
                <a:latin typeface="Arial Nova"/>
                <a:cs typeface="Arial"/>
                <a:sym typeface="Arial"/>
              </a:rPr>
              <a:t>, generando una nueva industria respetuosa con el medioambiente, capaz de crear empleo y de inyectar nuevas competencias en el país. </a:t>
            </a:r>
            <a:endParaRPr sz="2000" kern="0" dirty="0">
              <a:solidFill>
                <a:srgbClr val="000000"/>
              </a:solidFill>
              <a:latin typeface="Arial Nova"/>
              <a:cs typeface="Arial"/>
            </a:endParaRPr>
          </a:p>
        </p:txBody>
      </p:sp>
      <p:pic>
        <p:nvPicPr>
          <p:cNvPr id="12" name="Imagen 11" descr="Logotipo&#10;&#10;Descripción generada automáticamente con confianza baja">
            <a:extLst>
              <a:ext uri="{FF2B5EF4-FFF2-40B4-BE49-F238E27FC236}">
                <a16:creationId xmlns:a16="http://schemas.microsoft.com/office/drawing/2014/main" id="{64AC8BBB-8FDE-8975-28DE-A5E820C4DC38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0888" y="7145270"/>
            <a:ext cx="1204904" cy="416075"/>
          </a:xfrm>
          <a:prstGeom prst="rect">
            <a:avLst/>
          </a:prstGeom>
        </p:spPr>
      </p:pic>
      <p:pic>
        <p:nvPicPr>
          <p:cNvPr id="437" name="Google Shape;437;p2" descr="Logo&#10;&#10;Description automatically generated"/>
          <p:cNvPicPr preferRelativeResize="0"/>
          <p:nvPr/>
        </p:nvPicPr>
        <p:blipFill rotWithShape="1">
          <a:blip r:embed="rId46">
            <a:alphaModFix/>
          </a:blip>
          <a:srcRect/>
          <a:stretch/>
        </p:blipFill>
        <p:spPr>
          <a:xfrm>
            <a:off x="12809025" y="5900080"/>
            <a:ext cx="789678" cy="38424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8" name="Google Shape;438;p2" descr="Logo, company name&#10;&#10;Description automatically generated"/>
          <p:cNvPicPr preferRelativeResize="0"/>
          <p:nvPr/>
        </p:nvPicPr>
        <p:blipFill rotWithShape="1">
          <a:blip r:embed="rId47">
            <a:alphaModFix/>
          </a:blip>
          <a:srcRect/>
          <a:stretch/>
        </p:blipFill>
        <p:spPr>
          <a:xfrm>
            <a:off x="13978274" y="4153916"/>
            <a:ext cx="878531" cy="492971"/>
          </a:xfrm>
          <a:prstGeom prst="rect">
            <a:avLst/>
          </a:prstGeom>
          <a:noFill/>
          <a:ln>
            <a:noFill/>
          </a:ln>
        </p:spPr>
      </p:pic>
      <p:pic>
        <p:nvPicPr>
          <p:cNvPr id="439" name="Google Shape;439;p2"/>
          <p:cNvPicPr preferRelativeResize="0"/>
          <p:nvPr/>
        </p:nvPicPr>
        <p:blipFill rotWithShape="1">
          <a:blip r:embed="rId48">
            <a:alphaModFix/>
          </a:blip>
          <a:srcRect l="10484" t="27754" r="52092" b="50068"/>
          <a:stretch/>
        </p:blipFill>
        <p:spPr>
          <a:xfrm>
            <a:off x="16532895" y="4167376"/>
            <a:ext cx="1293480" cy="431162"/>
          </a:xfrm>
          <a:prstGeom prst="rect">
            <a:avLst/>
          </a:prstGeom>
          <a:noFill/>
          <a:ln>
            <a:noFill/>
          </a:ln>
        </p:spPr>
      </p:pic>
      <p:pic>
        <p:nvPicPr>
          <p:cNvPr id="440" name="Google Shape;440;p2" descr="Logo, company name&#10;&#10;Description automatically generated"/>
          <p:cNvPicPr preferRelativeResize="0"/>
          <p:nvPr/>
        </p:nvPicPr>
        <p:blipFill rotWithShape="1">
          <a:blip r:embed="rId49">
            <a:alphaModFix/>
          </a:blip>
          <a:srcRect/>
          <a:stretch/>
        </p:blipFill>
        <p:spPr>
          <a:xfrm>
            <a:off x="15169474" y="4077056"/>
            <a:ext cx="1207316" cy="560130"/>
          </a:xfrm>
          <a:prstGeom prst="rect">
            <a:avLst/>
          </a:prstGeom>
          <a:noFill/>
          <a:ln>
            <a:noFill/>
          </a:ln>
        </p:spPr>
      </p:pic>
      <p:pic>
        <p:nvPicPr>
          <p:cNvPr id="441" name="Google Shape;441;p2" descr="Ministerio de Energía y Minas del Perú"/>
          <p:cNvPicPr preferRelativeResize="0"/>
          <p:nvPr/>
        </p:nvPicPr>
        <p:blipFill rotWithShape="1">
          <a:blip r:embed="rId50">
            <a:alphaModFix/>
          </a:blip>
          <a:srcRect/>
          <a:stretch/>
        </p:blipFill>
        <p:spPr>
          <a:xfrm>
            <a:off x="12905359" y="4044859"/>
            <a:ext cx="782834" cy="72361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2" name="Google Shape;442;p2"/>
          <p:cNvPicPr preferRelativeResize="0"/>
          <p:nvPr/>
        </p:nvPicPr>
        <p:blipFill rotWithShape="1">
          <a:blip r:embed="rId51">
            <a:alphaModFix/>
          </a:blip>
          <a:srcRect/>
          <a:stretch/>
        </p:blipFill>
        <p:spPr>
          <a:xfrm>
            <a:off x="15255840" y="4879919"/>
            <a:ext cx="1310142" cy="693605"/>
          </a:xfrm>
          <a:prstGeom prst="rect">
            <a:avLst/>
          </a:prstGeom>
          <a:noFill/>
          <a:ln>
            <a:noFill/>
          </a:ln>
        </p:spPr>
      </p:pic>
      <p:pic>
        <p:nvPicPr>
          <p:cNvPr id="443" name="Google Shape;443;p2" descr="Logotipo&#10;&#10;Descripción generada automáticamente"/>
          <p:cNvPicPr preferRelativeResize="0"/>
          <p:nvPr/>
        </p:nvPicPr>
        <p:blipFill rotWithShape="1">
          <a:blip r:embed="rId52">
            <a:alphaModFix/>
          </a:blip>
          <a:srcRect/>
          <a:stretch/>
        </p:blipFill>
        <p:spPr>
          <a:xfrm>
            <a:off x="16615983" y="4901794"/>
            <a:ext cx="1310142" cy="653267"/>
          </a:xfrm>
          <a:prstGeom prst="rect">
            <a:avLst/>
          </a:prstGeom>
          <a:noFill/>
          <a:ln>
            <a:noFill/>
          </a:ln>
        </p:spPr>
      </p:pic>
      <p:pic>
        <p:nvPicPr>
          <p:cNvPr id="444" name="Google Shape;444;p2" descr="Imagen que contiene edificio, luz, computer, reloj&#10;&#10;Descripción generada automáticamente"/>
          <p:cNvPicPr preferRelativeResize="0"/>
          <p:nvPr/>
        </p:nvPicPr>
        <p:blipFill rotWithShape="1">
          <a:blip r:embed="rId53">
            <a:alphaModFix/>
          </a:blip>
          <a:srcRect/>
          <a:stretch/>
        </p:blipFill>
        <p:spPr>
          <a:xfrm>
            <a:off x="11713666" y="5776436"/>
            <a:ext cx="941402" cy="654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446" name="Google Shape;446;p2" descr="Logo&#10;&#10;Description automatically generated"/>
          <p:cNvPicPr preferRelativeResize="0"/>
          <p:nvPr/>
        </p:nvPicPr>
        <p:blipFill rotWithShape="1">
          <a:blip r:embed="rId54">
            <a:alphaModFix/>
          </a:blip>
          <a:srcRect/>
          <a:stretch/>
        </p:blipFill>
        <p:spPr>
          <a:xfrm>
            <a:off x="10620899" y="5018701"/>
            <a:ext cx="984846" cy="596591"/>
          </a:xfrm>
          <a:prstGeom prst="rect">
            <a:avLst/>
          </a:prstGeom>
          <a:noFill/>
          <a:ln>
            <a:noFill/>
          </a:ln>
        </p:spPr>
      </p:pic>
      <p:pic>
        <p:nvPicPr>
          <p:cNvPr id="447" name="Google Shape;447;p2" descr="Logotipo, Icono&#10;&#10;Descripción generada automáticamente con confianza media"/>
          <p:cNvPicPr preferRelativeResize="0"/>
          <p:nvPr/>
        </p:nvPicPr>
        <p:blipFill rotWithShape="1">
          <a:blip r:embed="rId55">
            <a:alphaModFix/>
          </a:blip>
          <a:srcRect/>
          <a:stretch/>
        </p:blipFill>
        <p:spPr>
          <a:xfrm>
            <a:off x="11860415" y="4889368"/>
            <a:ext cx="714989" cy="782723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0" name="Picture 2" descr="Ministerio del Ambiente - Perú - YouTube">
            <a:extLst>
              <a:ext uri="{FF2B5EF4-FFF2-40B4-BE49-F238E27FC236}">
                <a16:creationId xmlns:a16="http://schemas.microsoft.com/office/drawing/2014/main" id="{FCAB6435-045C-361B-E24A-1CA1DDFA3A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6606" y="4055125"/>
            <a:ext cx="723611" cy="723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E2D83A69-6AD4-7990-4BE7-97E4FE82664C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13934328" y="4907735"/>
            <a:ext cx="1216062" cy="755543"/>
          </a:xfrm>
          <a:prstGeom prst="rect">
            <a:avLst/>
          </a:prstGeom>
        </p:spPr>
      </p:pic>
      <p:pic>
        <p:nvPicPr>
          <p:cNvPr id="8" name="Picture 7" descr="A yellow circle with white and orange text&#10;&#10;Description automatically generated">
            <a:extLst>
              <a:ext uri="{FF2B5EF4-FFF2-40B4-BE49-F238E27FC236}">
                <a16:creationId xmlns:a16="http://schemas.microsoft.com/office/drawing/2014/main" id="{D8AF8738-A7A4-7890-FD2C-1FDDB4C17E43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80853" y="5016295"/>
            <a:ext cx="1272960" cy="565760"/>
          </a:xfrm>
          <a:prstGeom prst="rect">
            <a:avLst/>
          </a:prstGeom>
        </p:spPr>
      </p:pic>
      <p:pic>
        <p:nvPicPr>
          <p:cNvPr id="15" name="Imagen 14" descr="Logotipo&#10;&#10;Descripción generada automáticamente">
            <a:extLst>
              <a:ext uri="{FF2B5EF4-FFF2-40B4-BE49-F238E27FC236}">
                <a16:creationId xmlns:a16="http://schemas.microsoft.com/office/drawing/2014/main" id="{A95B469C-1BCA-79C6-325F-B6B31C8453A5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13852721" y="5664321"/>
            <a:ext cx="2438400" cy="738171"/>
          </a:xfrm>
          <a:prstGeom prst="rect">
            <a:avLst/>
          </a:prstGeom>
        </p:spPr>
      </p:pic>
      <p:pic>
        <p:nvPicPr>
          <p:cNvPr id="13" name="Picture 2" descr="Comunicado de la Embajada Británica en Lima - COEECI">
            <a:extLst>
              <a:ext uri="{FF2B5EF4-FFF2-40B4-BE49-F238E27FC236}">
                <a16:creationId xmlns:a16="http://schemas.microsoft.com/office/drawing/2014/main" id="{6C557501-5AE3-2142-1096-ACD8E6D24B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03" t="22263" r="25378" b="25551"/>
          <a:stretch/>
        </p:blipFill>
        <p:spPr bwMode="auto">
          <a:xfrm>
            <a:off x="10608996" y="4018482"/>
            <a:ext cx="1197576" cy="806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o 8">
            <a:extLst>
              <a:ext uri="{FF2B5EF4-FFF2-40B4-BE49-F238E27FC236}">
                <a16:creationId xmlns:a16="http://schemas.microsoft.com/office/drawing/2014/main" id="{E7C06887-A888-0A71-5677-90F0D354DFC5}"/>
              </a:ext>
            </a:extLst>
          </p:cNvPr>
          <p:cNvGrpSpPr/>
          <p:nvPr/>
        </p:nvGrpSpPr>
        <p:grpSpPr>
          <a:xfrm>
            <a:off x="9363911" y="3746566"/>
            <a:ext cx="8853719" cy="5087162"/>
            <a:chOff x="1114330" y="2121847"/>
            <a:chExt cx="16856993" cy="7819002"/>
          </a:xfrm>
        </p:grpSpPr>
        <p:sp>
          <p:nvSpPr>
            <p:cNvPr id="2" name="object 8">
              <a:extLst>
                <a:ext uri="{FF2B5EF4-FFF2-40B4-BE49-F238E27FC236}">
                  <a16:creationId xmlns:a16="http://schemas.microsoft.com/office/drawing/2014/main" id="{61693122-BC59-CCB1-040B-794744F5D2E3}"/>
                </a:ext>
              </a:extLst>
            </p:cNvPr>
            <p:cNvSpPr/>
            <p:nvPr/>
          </p:nvSpPr>
          <p:spPr>
            <a:xfrm>
              <a:off x="1114330" y="2636668"/>
              <a:ext cx="4027081" cy="5702401"/>
            </a:xfrm>
            <a:custGeom>
              <a:avLst/>
              <a:gdLst/>
              <a:ahLst/>
              <a:cxnLst/>
              <a:rect l="l" t="t" r="r" b="b"/>
              <a:pathLst>
                <a:path w="1196339" h="1664970">
                  <a:moveTo>
                    <a:pt x="1196340" y="0"/>
                  </a:moveTo>
                  <a:lnTo>
                    <a:pt x="0" y="0"/>
                  </a:lnTo>
                  <a:lnTo>
                    <a:pt x="0" y="392696"/>
                  </a:lnTo>
                  <a:lnTo>
                    <a:pt x="0" y="1664690"/>
                  </a:lnTo>
                  <a:lnTo>
                    <a:pt x="1196340" y="1664690"/>
                  </a:lnTo>
                  <a:lnTo>
                    <a:pt x="1196340" y="392696"/>
                  </a:lnTo>
                  <a:lnTo>
                    <a:pt x="1196340" y="0"/>
                  </a:lnTo>
                  <a:close/>
                </a:path>
              </a:pathLst>
            </a:custGeom>
            <a:solidFill>
              <a:srgbClr val="288BA5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>
                <a:latin typeface="Arial Nova" panose="020B0504020202020204" pitchFamily="34" charset="0"/>
              </a:endParaRPr>
            </a:p>
          </p:txBody>
        </p:sp>
        <p:grpSp>
          <p:nvGrpSpPr>
            <p:cNvPr id="5" name="object 11">
              <a:extLst>
                <a:ext uri="{FF2B5EF4-FFF2-40B4-BE49-F238E27FC236}">
                  <a16:creationId xmlns:a16="http://schemas.microsoft.com/office/drawing/2014/main" id="{00E381B2-5F29-81AA-8035-947DF81F0834}"/>
                </a:ext>
              </a:extLst>
            </p:cNvPr>
            <p:cNvGrpSpPr/>
            <p:nvPr/>
          </p:nvGrpSpPr>
          <p:grpSpPr>
            <a:xfrm>
              <a:off x="10878500" y="2257508"/>
              <a:ext cx="4618746" cy="218099"/>
              <a:chOff x="5681979" y="7086597"/>
              <a:chExt cx="1372108" cy="73660"/>
            </a:xfrm>
          </p:grpSpPr>
          <p:sp>
            <p:nvSpPr>
              <p:cNvPr id="27" name="object 12">
                <a:extLst>
                  <a:ext uri="{FF2B5EF4-FFF2-40B4-BE49-F238E27FC236}">
                    <a16:creationId xmlns:a16="http://schemas.microsoft.com/office/drawing/2014/main" id="{58729A78-6D96-9E16-B1C5-247F9D2C5D48}"/>
                  </a:ext>
                </a:extLst>
              </p:cNvPr>
              <p:cNvSpPr/>
              <p:nvPr/>
            </p:nvSpPr>
            <p:spPr>
              <a:xfrm>
                <a:off x="5681979" y="7086597"/>
                <a:ext cx="73660" cy="7366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73659">
                    <a:moveTo>
                      <a:pt x="73154" y="0"/>
                    </a:moveTo>
                    <a:lnTo>
                      <a:pt x="0" y="0"/>
                    </a:lnTo>
                    <a:lnTo>
                      <a:pt x="0" y="73154"/>
                    </a:lnTo>
                    <a:lnTo>
                      <a:pt x="73154" y="73154"/>
                    </a:lnTo>
                    <a:lnTo>
                      <a:pt x="73154" y="0"/>
                    </a:lnTo>
                    <a:close/>
                  </a:path>
                </a:pathLst>
              </a:custGeom>
              <a:solidFill>
                <a:srgbClr val="5EC6C8"/>
              </a:solidFill>
            </p:spPr>
            <p:txBody>
              <a:bodyPr wrap="square" lIns="0" tIns="0" rIns="0" bIns="0" rtlCol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>
                  <a:latin typeface="Arial Nova" panose="020B0504020202020204" pitchFamily="34" charset="0"/>
                </a:endParaRPr>
              </a:p>
            </p:txBody>
          </p:sp>
          <p:sp>
            <p:nvSpPr>
              <p:cNvPr id="28" name="object 13">
                <a:extLst>
                  <a:ext uri="{FF2B5EF4-FFF2-40B4-BE49-F238E27FC236}">
                    <a16:creationId xmlns:a16="http://schemas.microsoft.com/office/drawing/2014/main" id="{CC29B89A-EDE3-63E7-EA8B-FD5F7B221726}"/>
                  </a:ext>
                </a:extLst>
              </p:cNvPr>
              <p:cNvSpPr/>
              <p:nvPr/>
            </p:nvSpPr>
            <p:spPr>
              <a:xfrm>
                <a:off x="6363207" y="7086597"/>
                <a:ext cx="73660" cy="7366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73659">
                    <a:moveTo>
                      <a:pt x="73154" y="0"/>
                    </a:moveTo>
                    <a:lnTo>
                      <a:pt x="0" y="0"/>
                    </a:lnTo>
                    <a:lnTo>
                      <a:pt x="0" y="73154"/>
                    </a:lnTo>
                    <a:lnTo>
                      <a:pt x="73154" y="73154"/>
                    </a:lnTo>
                    <a:lnTo>
                      <a:pt x="73154" y="0"/>
                    </a:lnTo>
                    <a:close/>
                  </a:path>
                </a:pathLst>
              </a:custGeom>
              <a:solidFill>
                <a:srgbClr val="004153"/>
              </a:solidFill>
            </p:spPr>
            <p:txBody>
              <a:bodyPr wrap="square" lIns="0" tIns="0" rIns="0" bIns="0" rtlCol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>
                  <a:latin typeface="Arial Nova" panose="020B0504020202020204" pitchFamily="34" charset="0"/>
                </a:endParaRPr>
              </a:p>
            </p:txBody>
          </p:sp>
          <p:sp>
            <p:nvSpPr>
              <p:cNvPr id="29" name="object 14">
                <a:extLst>
                  <a:ext uri="{FF2B5EF4-FFF2-40B4-BE49-F238E27FC236}">
                    <a16:creationId xmlns:a16="http://schemas.microsoft.com/office/drawing/2014/main" id="{CD2A3FDC-E0F0-B1CE-08A0-2E441380A555}"/>
                  </a:ext>
                </a:extLst>
              </p:cNvPr>
              <p:cNvSpPr/>
              <p:nvPr/>
            </p:nvSpPr>
            <p:spPr>
              <a:xfrm>
                <a:off x="6980427" y="7086597"/>
                <a:ext cx="73660" cy="73660"/>
              </a:xfrm>
              <a:custGeom>
                <a:avLst/>
                <a:gdLst/>
                <a:ahLst/>
                <a:cxnLst/>
                <a:rect l="l" t="t" r="r" b="b"/>
                <a:pathLst>
                  <a:path w="73659" h="73659">
                    <a:moveTo>
                      <a:pt x="73149" y="0"/>
                    </a:moveTo>
                    <a:lnTo>
                      <a:pt x="0" y="0"/>
                    </a:lnTo>
                    <a:lnTo>
                      <a:pt x="0" y="73154"/>
                    </a:lnTo>
                    <a:lnTo>
                      <a:pt x="73149" y="73154"/>
                    </a:lnTo>
                    <a:lnTo>
                      <a:pt x="73149" y="0"/>
                    </a:lnTo>
                    <a:close/>
                  </a:path>
                </a:pathLst>
              </a:custGeom>
              <a:solidFill>
                <a:srgbClr val="CFD1C5"/>
              </a:solidFill>
            </p:spPr>
            <p:txBody>
              <a:bodyPr wrap="square" lIns="0" tIns="0" rIns="0" bIns="0" rtlCol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>
                  <a:latin typeface="Arial Nova" panose="020B0504020202020204" pitchFamily="34" charset="0"/>
                </a:endParaRPr>
              </a:p>
            </p:txBody>
          </p:sp>
        </p:grpSp>
        <p:sp>
          <p:nvSpPr>
            <p:cNvPr id="6" name="object 16">
              <a:extLst>
                <a:ext uri="{FF2B5EF4-FFF2-40B4-BE49-F238E27FC236}">
                  <a16:creationId xmlns:a16="http://schemas.microsoft.com/office/drawing/2014/main" id="{60C7B37D-9486-7752-428A-AB5E5F8AA95B}"/>
                </a:ext>
              </a:extLst>
            </p:cNvPr>
            <p:cNvSpPr txBox="1"/>
            <p:nvPr/>
          </p:nvSpPr>
          <p:spPr>
            <a:xfrm>
              <a:off x="1525999" y="5348273"/>
              <a:ext cx="3202178" cy="1957854"/>
            </a:xfrm>
            <a:prstGeom prst="rect">
              <a:avLst/>
            </a:prstGeom>
          </p:spPr>
          <p:txBody>
            <a:bodyPr vert="horz" wrap="square" lIns="0" tIns="42291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8580"/>
              <a:r>
                <a:rPr lang="es-ES" sz="1600" b="1" dirty="0">
                  <a:solidFill>
                    <a:schemeClr val="bg1"/>
                  </a:solidFill>
                  <a:latin typeface="Aptos" panose="020B0004020202020204" pitchFamily="34" charset="0"/>
                  <a:cs typeface="Trebuchet MS"/>
                </a:rPr>
                <a:t>Cuál es el % de emisiones de GEI del sector metales y minería en Perú?</a:t>
              </a:r>
            </a:p>
          </p:txBody>
        </p:sp>
        <p:sp>
          <p:nvSpPr>
            <p:cNvPr id="20" name="object 28">
              <a:extLst>
                <a:ext uri="{FF2B5EF4-FFF2-40B4-BE49-F238E27FC236}">
                  <a16:creationId xmlns:a16="http://schemas.microsoft.com/office/drawing/2014/main" id="{2C49DC53-429D-0BC4-7569-F818271DF0DA}"/>
                </a:ext>
              </a:extLst>
            </p:cNvPr>
            <p:cNvSpPr/>
            <p:nvPr/>
          </p:nvSpPr>
          <p:spPr>
            <a:xfrm>
              <a:off x="5862821" y="3741109"/>
              <a:ext cx="76950" cy="876157"/>
            </a:xfrm>
            <a:custGeom>
              <a:avLst/>
              <a:gdLst/>
              <a:ahLst/>
              <a:cxnLst/>
              <a:rect l="l" t="t" r="r" b="b"/>
              <a:pathLst>
                <a:path w="22860" h="295909">
                  <a:moveTo>
                    <a:pt x="22289" y="0"/>
                  </a:moveTo>
                  <a:lnTo>
                    <a:pt x="0" y="0"/>
                  </a:lnTo>
                  <a:lnTo>
                    <a:pt x="0" y="295468"/>
                  </a:lnTo>
                  <a:lnTo>
                    <a:pt x="22289" y="295468"/>
                  </a:lnTo>
                  <a:lnTo>
                    <a:pt x="22289" y="0"/>
                  </a:lnTo>
                  <a:close/>
                </a:path>
              </a:pathLst>
            </a:custGeom>
            <a:solidFill>
              <a:srgbClr val="5EC6C8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>
                <a:latin typeface="Arial Nova" panose="020B0504020202020204" pitchFamily="34" charset="0"/>
              </a:endParaRPr>
            </a:p>
          </p:txBody>
        </p:sp>
        <p:sp>
          <p:nvSpPr>
            <p:cNvPr id="21" name="object 29">
              <a:extLst>
                <a:ext uri="{FF2B5EF4-FFF2-40B4-BE49-F238E27FC236}">
                  <a16:creationId xmlns:a16="http://schemas.microsoft.com/office/drawing/2014/main" id="{B79382C9-E5B2-45A8-05FD-44E993771A18}"/>
                </a:ext>
              </a:extLst>
            </p:cNvPr>
            <p:cNvSpPr/>
            <p:nvPr/>
          </p:nvSpPr>
          <p:spPr>
            <a:xfrm>
              <a:off x="5802926" y="3741117"/>
              <a:ext cx="5121490" cy="3263966"/>
            </a:xfrm>
            <a:custGeom>
              <a:avLst/>
              <a:gdLst/>
              <a:ahLst/>
              <a:cxnLst/>
              <a:rect l="l" t="t" r="r" b="b"/>
              <a:pathLst>
                <a:path w="1521460" h="1102359">
                  <a:moveTo>
                    <a:pt x="274599" y="806500"/>
                  </a:moveTo>
                  <a:lnTo>
                    <a:pt x="0" y="806500"/>
                  </a:lnTo>
                  <a:lnTo>
                    <a:pt x="0" y="1101966"/>
                  </a:lnTo>
                  <a:lnTo>
                    <a:pt x="274599" y="1101966"/>
                  </a:lnTo>
                  <a:lnTo>
                    <a:pt x="274599" y="806500"/>
                  </a:lnTo>
                  <a:close/>
                </a:path>
                <a:path w="1521460" h="1102359">
                  <a:moveTo>
                    <a:pt x="640270" y="0"/>
                  </a:moveTo>
                  <a:lnTo>
                    <a:pt x="520750" y="0"/>
                  </a:lnTo>
                  <a:lnTo>
                    <a:pt x="520750" y="295465"/>
                  </a:lnTo>
                  <a:lnTo>
                    <a:pt x="640270" y="295465"/>
                  </a:lnTo>
                  <a:lnTo>
                    <a:pt x="640270" y="0"/>
                  </a:lnTo>
                  <a:close/>
                </a:path>
                <a:path w="1521460" h="1102359">
                  <a:moveTo>
                    <a:pt x="1520990" y="806500"/>
                  </a:moveTo>
                  <a:lnTo>
                    <a:pt x="1340294" y="806500"/>
                  </a:lnTo>
                  <a:lnTo>
                    <a:pt x="1340294" y="1101966"/>
                  </a:lnTo>
                  <a:lnTo>
                    <a:pt x="1520990" y="1101966"/>
                  </a:lnTo>
                  <a:lnTo>
                    <a:pt x="1520990" y="806500"/>
                  </a:lnTo>
                  <a:close/>
                </a:path>
              </a:pathLst>
            </a:custGeom>
            <a:solidFill>
              <a:srgbClr val="CFD1C5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>
                <a:latin typeface="Arial Nova" panose="020B0504020202020204" pitchFamily="34" charset="0"/>
              </a:endParaRPr>
            </a:p>
          </p:txBody>
        </p:sp>
        <p:sp>
          <p:nvSpPr>
            <p:cNvPr id="22" name="object 30">
              <a:extLst>
                <a:ext uri="{FF2B5EF4-FFF2-40B4-BE49-F238E27FC236}">
                  <a16:creationId xmlns:a16="http://schemas.microsoft.com/office/drawing/2014/main" id="{87814E67-AC84-77CE-B67B-D3CCE59819C3}"/>
                </a:ext>
              </a:extLst>
            </p:cNvPr>
            <p:cNvSpPr/>
            <p:nvPr/>
          </p:nvSpPr>
          <p:spPr>
            <a:xfrm>
              <a:off x="5600206" y="3741118"/>
              <a:ext cx="11410058" cy="3263965"/>
            </a:xfrm>
            <a:custGeom>
              <a:avLst/>
              <a:gdLst/>
              <a:ahLst/>
              <a:cxnLst/>
              <a:rect l="l" t="t" r="r" b="b"/>
              <a:pathLst>
                <a:path w="3389629" h="1102359">
                  <a:moveTo>
                    <a:pt x="60223" y="806500"/>
                  </a:moveTo>
                  <a:lnTo>
                    <a:pt x="0" y="806500"/>
                  </a:lnTo>
                  <a:lnTo>
                    <a:pt x="0" y="1101966"/>
                  </a:lnTo>
                  <a:lnTo>
                    <a:pt x="60223" y="1101966"/>
                  </a:lnTo>
                  <a:lnTo>
                    <a:pt x="60223" y="806500"/>
                  </a:lnTo>
                  <a:close/>
                </a:path>
                <a:path w="3389629" h="1102359">
                  <a:moveTo>
                    <a:pt x="580974" y="0"/>
                  </a:moveTo>
                  <a:lnTo>
                    <a:pt x="529755" y="0"/>
                  </a:lnTo>
                  <a:lnTo>
                    <a:pt x="529755" y="295465"/>
                  </a:lnTo>
                  <a:lnTo>
                    <a:pt x="580974" y="295465"/>
                  </a:lnTo>
                  <a:lnTo>
                    <a:pt x="580974" y="0"/>
                  </a:lnTo>
                  <a:close/>
                </a:path>
                <a:path w="3389629" h="1102359">
                  <a:moveTo>
                    <a:pt x="1238313" y="806500"/>
                  </a:moveTo>
                  <a:lnTo>
                    <a:pt x="487070" y="806500"/>
                  </a:lnTo>
                  <a:lnTo>
                    <a:pt x="487070" y="1101966"/>
                  </a:lnTo>
                  <a:lnTo>
                    <a:pt x="1238313" y="1101966"/>
                  </a:lnTo>
                  <a:lnTo>
                    <a:pt x="1238313" y="806500"/>
                  </a:lnTo>
                  <a:close/>
                </a:path>
                <a:path w="3389629" h="1102359">
                  <a:moveTo>
                    <a:pt x="1383436" y="0"/>
                  </a:moveTo>
                  <a:lnTo>
                    <a:pt x="1118806" y="0"/>
                  </a:lnTo>
                  <a:lnTo>
                    <a:pt x="1118806" y="295465"/>
                  </a:lnTo>
                  <a:lnTo>
                    <a:pt x="1383436" y="295465"/>
                  </a:lnTo>
                  <a:lnTo>
                    <a:pt x="1383436" y="0"/>
                  </a:lnTo>
                  <a:close/>
                </a:path>
                <a:path w="3389629" h="1102359">
                  <a:moveTo>
                    <a:pt x="1400517" y="806500"/>
                  </a:moveTo>
                  <a:lnTo>
                    <a:pt x="1323682" y="806500"/>
                  </a:lnTo>
                  <a:lnTo>
                    <a:pt x="1323682" y="1101966"/>
                  </a:lnTo>
                  <a:lnTo>
                    <a:pt x="1400517" y="1101966"/>
                  </a:lnTo>
                  <a:lnTo>
                    <a:pt x="1400517" y="806500"/>
                  </a:lnTo>
                  <a:close/>
                </a:path>
                <a:path w="3389629" h="1102359">
                  <a:moveTo>
                    <a:pt x="2074926" y="806500"/>
                  </a:moveTo>
                  <a:lnTo>
                    <a:pt x="1682229" y="806500"/>
                  </a:lnTo>
                  <a:lnTo>
                    <a:pt x="1682229" y="1101966"/>
                  </a:lnTo>
                  <a:lnTo>
                    <a:pt x="2074926" y="1101966"/>
                  </a:lnTo>
                  <a:lnTo>
                    <a:pt x="2074926" y="806500"/>
                  </a:lnTo>
                  <a:close/>
                </a:path>
                <a:path w="3389629" h="1102359">
                  <a:moveTo>
                    <a:pt x="2356637" y="0"/>
                  </a:moveTo>
                  <a:lnTo>
                    <a:pt x="2160295" y="0"/>
                  </a:lnTo>
                  <a:lnTo>
                    <a:pt x="2160295" y="295465"/>
                  </a:lnTo>
                  <a:lnTo>
                    <a:pt x="2356637" y="295465"/>
                  </a:lnTo>
                  <a:lnTo>
                    <a:pt x="2356637" y="0"/>
                  </a:lnTo>
                  <a:close/>
                </a:path>
                <a:path w="3389629" h="1102359">
                  <a:moveTo>
                    <a:pt x="2382266" y="806500"/>
                  </a:moveTo>
                  <a:lnTo>
                    <a:pt x="2220049" y="806500"/>
                  </a:lnTo>
                  <a:lnTo>
                    <a:pt x="2220049" y="1101966"/>
                  </a:lnTo>
                  <a:lnTo>
                    <a:pt x="2382266" y="1101966"/>
                  </a:lnTo>
                  <a:lnTo>
                    <a:pt x="2382266" y="806500"/>
                  </a:lnTo>
                  <a:close/>
                </a:path>
                <a:path w="3389629" h="1102359">
                  <a:moveTo>
                    <a:pt x="3389604" y="806500"/>
                  </a:moveTo>
                  <a:lnTo>
                    <a:pt x="2595676" y="806500"/>
                  </a:lnTo>
                  <a:lnTo>
                    <a:pt x="2595676" y="1101966"/>
                  </a:lnTo>
                  <a:lnTo>
                    <a:pt x="3389604" y="1101966"/>
                  </a:lnTo>
                  <a:lnTo>
                    <a:pt x="3389604" y="806500"/>
                  </a:lnTo>
                  <a:close/>
                </a:path>
              </a:pathLst>
            </a:custGeom>
            <a:solidFill>
              <a:srgbClr val="004153"/>
            </a:solid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 dirty="0">
                <a:latin typeface="Arial Nova" panose="020B0504020202020204" pitchFamily="34" charset="0"/>
              </a:endParaRPr>
            </a:p>
          </p:txBody>
        </p:sp>
        <p:sp>
          <p:nvSpPr>
            <p:cNvPr id="23" name="object 31">
              <a:extLst>
                <a:ext uri="{FF2B5EF4-FFF2-40B4-BE49-F238E27FC236}">
                  <a16:creationId xmlns:a16="http://schemas.microsoft.com/office/drawing/2014/main" id="{CB93526D-1860-B6F2-A052-72BCE6E2E6BE}"/>
                </a:ext>
              </a:extLst>
            </p:cNvPr>
            <p:cNvSpPr/>
            <p:nvPr/>
          </p:nvSpPr>
          <p:spPr>
            <a:xfrm>
              <a:off x="5650480" y="3311428"/>
              <a:ext cx="6829364" cy="1810598"/>
            </a:xfrm>
            <a:custGeom>
              <a:avLst/>
              <a:gdLst/>
              <a:ahLst/>
              <a:cxnLst/>
              <a:rect l="l" t="t" r="r" b="b"/>
              <a:pathLst>
                <a:path w="2028825" h="611504">
                  <a:moveTo>
                    <a:pt x="0" y="611325"/>
                  </a:moveTo>
                  <a:lnTo>
                    <a:pt x="2028456" y="611325"/>
                  </a:lnTo>
                  <a:lnTo>
                    <a:pt x="2028456" y="0"/>
                  </a:lnTo>
                  <a:lnTo>
                    <a:pt x="0" y="0"/>
                  </a:lnTo>
                  <a:lnTo>
                    <a:pt x="0" y="611325"/>
                  </a:lnTo>
                  <a:close/>
                </a:path>
              </a:pathLst>
            </a:custGeom>
            <a:ln w="12700">
              <a:solidFill>
                <a:srgbClr val="9DC755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>
                <a:latin typeface="Arial Nova" panose="020B0504020202020204" pitchFamily="34" charset="0"/>
              </a:endParaRPr>
            </a:p>
          </p:txBody>
        </p:sp>
        <p:sp>
          <p:nvSpPr>
            <p:cNvPr id="24" name="object 32">
              <a:extLst>
                <a:ext uri="{FF2B5EF4-FFF2-40B4-BE49-F238E27FC236}">
                  <a16:creationId xmlns:a16="http://schemas.microsoft.com/office/drawing/2014/main" id="{FC291EBC-11D1-29A5-DAB6-F0DEA9BED507}"/>
                </a:ext>
              </a:extLst>
            </p:cNvPr>
            <p:cNvSpPr/>
            <p:nvPr/>
          </p:nvSpPr>
          <p:spPr>
            <a:xfrm>
              <a:off x="5377478" y="2636670"/>
              <a:ext cx="11871765" cy="5702399"/>
            </a:xfrm>
            <a:custGeom>
              <a:avLst/>
              <a:gdLst/>
              <a:ahLst/>
              <a:cxnLst/>
              <a:rect l="l" t="t" r="r" b="b"/>
              <a:pathLst>
                <a:path w="3526790" h="1652904">
                  <a:moveTo>
                    <a:pt x="0" y="1652828"/>
                  </a:moveTo>
                  <a:lnTo>
                    <a:pt x="3526675" y="1652828"/>
                  </a:lnTo>
                  <a:lnTo>
                    <a:pt x="3526675" y="0"/>
                  </a:lnTo>
                  <a:lnTo>
                    <a:pt x="0" y="0"/>
                  </a:lnTo>
                  <a:lnTo>
                    <a:pt x="0" y="1652828"/>
                  </a:lnTo>
                  <a:close/>
                </a:path>
              </a:pathLst>
            </a:custGeom>
            <a:ln w="12700">
              <a:solidFill>
                <a:srgbClr val="635245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>
                <a:latin typeface="Arial Nova" panose="020B0504020202020204" pitchFamily="34" charset="0"/>
              </a:endParaRPr>
            </a:p>
          </p:txBody>
        </p:sp>
        <p:sp>
          <p:nvSpPr>
            <p:cNvPr id="25" name="object 33">
              <a:extLst>
                <a:ext uri="{FF2B5EF4-FFF2-40B4-BE49-F238E27FC236}">
                  <a16:creationId xmlns:a16="http://schemas.microsoft.com/office/drawing/2014/main" id="{EF32C7D5-5220-E112-F982-1CB5D3444EED}"/>
                </a:ext>
              </a:extLst>
            </p:cNvPr>
            <p:cNvSpPr/>
            <p:nvPr/>
          </p:nvSpPr>
          <p:spPr>
            <a:xfrm>
              <a:off x="4064103" y="3491881"/>
              <a:ext cx="1566799" cy="0"/>
            </a:xfrm>
            <a:custGeom>
              <a:avLst/>
              <a:gdLst/>
              <a:ahLst/>
              <a:cxnLst/>
              <a:rect l="l" t="t" r="r" b="b"/>
              <a:pathLst>
                <a:path w="465454">
                  <a:moveTo>
                    <a:pt x="465340" y="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9DC755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>
                <a:latin typeface="Arial Nova" panose="020B0504020202020204" pitchFamily="34" charset="0"/>
              </a:endParaRPr>
            </a:p>
          </p:txBody>
        </p:sp>
        <p:sp>
          <p:nvSpPr>
            <p:cNvPr id="26" name="object 34">
              <a:extLst>
                <a:ext uri="{FF2B5EF4-FFF2-40B4-BE49-F238E27FC236}">
                  <a16:creationId xmlns:a16="http://schemas.microsoft.com/office/drawing/2014/main" id="{720599E7-302C-D729-7E5C-3B89FAB60D15}"/>
                </a:ext>
              </a:extLst>
            </p:cNvPr>
            <p:cNvSpPr/>
            <p:nvPr/>
          </p:nvSpPr>
          <p:spPr>
            <a:xfrm>
              <a:off x="1504576" y="2418883"/>
              <a:ext cx="3204137" cy="2170152"/>
            </a:xfrm>
            <a:custGeom>
              <a:avLst/>
              <a:gdLst/>
              <a:ahLst/>
              <a:cxnLst/>
              <a:rect l="l" t="t" r="r" b="b"/>
              <a:pathLst>
                <a:path w="951864" h="521334">
                  <a:moveTo>
                    <a:pt x="951329" y="0"/>
                  </a:moveTo>
                  <a:lnTo>
                    <a:pt x="0" y="0"/>
                  </a:lnTo>
                  <a:lnTo>
                    <a:pt x="0" y="520749"/>
                  </a:lnTo>
                  <a:lnTo>
                    <a:pt x="951329" y="520749"/>
                  </a:lnTo>
                  <a:lnTo>
                    <a:pt x="951329" y="0"/>
                  </a:lnTo>
                  <a:close/>
                </a:path>
              </a:pathLst>
            </a:custGeom>
            <a:solidFill>
              <a:srgbClr val="707070"/>
            </a:solidFill>
            <a:ln>
              <a:solidFill>
                <a:srgbClr val="707070"/>
              </a:solidFill>
            </a:ln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>
                <a:latin typeface="Arial Nova" panose="020B0504020202020204" pitchFamily="34" charset="0"/>
              </a:endParaRPr>
            </a:p>
          </p:txBody>
        </p:sp>
        <p:sp>
          <p:nvSpPr>
            <p:cNvPr id="18" name="object 35">
              <a:extLst>
                <a:ext uri="{FF2B5EF4-FFF2-40B4-BE49-F238E27FC236}">
                  <a16:creationId xmlns:a16="http://schemas.microsoft.com/office/drawing/2014/main" id="{61BCAD42-CE01-3C25-D736-8F53AF23563D}"/>
                </a:ext>
              </a:extLst>
            </p:cNvPr>
            <p:cNvSpPr txBox="1"/>
            <p:nvPr/>
          </p:nvSpPr>
          <p:spPr>
            <a:xfrm>
              <a:off x="1527559" y="2559883"/>
              <a:ext cx="3200619" cy="366618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" algn="ctr">
                <a:spcBef>
                  <a:spcPts val="180"/>
                </a:spcBef>
              </a:pPr>
              <a:r>
                <a:rPr sz="1400" b="1" dirty="0">
                  <a:solidFill>
                    <a:schemeClr val="bg1"/>
                  </a:solidFill>
                  <a:latin typeface="Arial Nova" panose="020B0504020202020204" pitchFamily="34" charset="0"/>
                  <a:cs typeface="Trebuchet MS"/>
                </a:rPr>
                <a:t>~</a:t>
              </a:r>
              <a:r>
                <a:rPr lang="es-MX" sz="1400" b="1" dirty="0">
                  <a:solidFill>
                    <a:schemeClr val="bg1"/>
                  </a:solidFill>
                  <a:latin typeface="Arial Nova" panose="020B0504020202020204" pitchFamily="34" charset="0"/>
                  <a:cs typeface="Trebuchet MS"/>
                </a:rPr>
                <a:t>10.3</a:t>
              </a:r>
              <a:r>
                <a:rPr sz="1400" b="1" dirty="0">
                  <a:solidFill>
                    <a:schemeClr val="bg1"/>
                  </a:solidFill>
                  <a:latin typeface="Arial Nova" panose="020B0504020202020204" pitchFamily="34" charset="0"/>
                  <a:cs typeface="Trebuchet MS"/>
                </a:rPr>
                <a:t>% </a:t>
              </a:r>
              <a:r>
                <a:rPr lang="en-US" sz="1400" b="1" dirty="0">
                  <a:solidFill>
                    <a:schemeClr val="bg1"/>
                  </a:solidFill>
                  <a:latin typeface="Arial Nova" panose="020B0504020202020204" pitchFamily="34" charset="0"/>
                  <a:cs typeface="Trebuchet MS"/>
                </a:rPr>
                <a:t>del Global</a:t>
              </a:r>
              <a:endParaRPr sz="1400" dirty="0">
                <a:solidFill>
                  <a:schemeClr val="bg1"/>
                </a:solidFill>
                <a:latin typeface="Arial Nova" panose="020B0504020202020204" pitchFamily="34" charset="0"/>
                <a:cs typeface="Trebuchet M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539C06C-09AC-AB75-1F3F-8090D33C7FF6}"/>
                </a:ext>
              </a:extLst>
            </p:cNvPr>
            <p:cNvSpPr txBox="1"/>
            <p:nvPr/>
          </p:nvSpPr>
          <p:spPr>
            <a:xfrm>
              <a:off x="11087326" y="2121847"/>
              <a:ext cx="2506566" cy="417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CO2 Cobre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31E2DAF-5C60-2322-BC44-AC46B2192DE8}"/>
                </a:ext>
              </a:extLst>
            </p:cNvPr>
            <p:cNvSpPr txBox="1"/>
            <p:nvPr/>
          </p:nvSpPr>
          <p:spPr>
            <a:xfrm>
              <a:off x="13419579" y="2121847"/>
              <a:ext cx="2506566" cy="425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CO2 Otro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F108AFC-111A-E5DD-239A-73A03DBEC311}"/>
                </a:ext>
              </a:extLst>
            </p:cNvPr>
            <p:cNvSpPr txBox="1"/>
            <p:nvPr/>
          </p:nvSpPr>
          <p:spPr>
            <a:xfrm>
              <a:off x="15464757" y="2121847"/>
              <a:ext cx="2506566" cy="417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Non-CO2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6990F4B-ECB2-836D-443F-B5CA6C625234}"/>
                </a:ext>
              </a:extLst>
            </p:cNvPr>
            <p:cNvSpPr txBox="1"/>
            <p:nvPr/>
          </p:nvSpPr>
          <p:spPr>
            <a:xfrm>
              <a:off x="1628410" y="3084218"/>
              <a:ext cx="2939144" cy="12772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chemeClr val="bg1"/>
                  </a:solidFill>
                  <a:latin typeface="Arial Nova" panose="020B0504020202020204" pitchFamily="34" charset="0"/>
                </a:rPr>
                <a:t>Las emisiones de GEI provienen del sector de metales y minerí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629DA075-4DBE-9F4A-4C7A-6133ACC0E038}"/>
                </a:ext>
              </a:extLst>
            </p:cNvPr>
            <p:cNvSpPr txBox="1"/>
            <p:nvPr/>
          </p:nvSpPr>
          <p:spPr>
            <a:xfrm>
              <a:off x="5546577" y="2778437"/>
              <a:ext cx="7507892" cy="529381"/>
            </a:xfrm>
            <a:prstGeom prst="rect">
              <a:avLst/>
            </a:prstGeom>
            <a:noFill/>
          </p:spPr>
          <p:txBody>
            <a:bodyPr wrap="square" lIns="164592" tIns="82296" rIns="164592" bIns="82296" rtlCol="0" anchor="t">
              <a:spAutoFit/>
            </a:bodyPr>
            <a:lstStyle/>
            <a:p>
              <a:r>
                <a:rPr lang="es-PE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Sectores</a:t>
              </a:r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 de </a:t>
              </a:r>
              <a:r>
                <a:rPr lang="es-PE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materiales</a:t>
              </a:r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 </a:t>
              </a:r>
              <a:r>
                <a:rPr lang="es-PE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básico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2DCD42F-DC1D-60A9-F375-714B88D8A934}"/>
                </a:ext>
              </a:extLst>
            </p:cNvPr>
            <p:cNvSpPr txBox="1"/>
            <p:nvPr/>
          </p:nvSpPr>
          <p:spPr>
            <a:xfrm>
              <a:off x="5546577" y="5434832"/>
              <a:ext cx="7507893" cy="425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Otros Sectores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FA71B1C-322A-7F64-197A-3318C72D8DA0}"/>
                </a:ext>
              </a:extLst>
            </p:cNvPr>
            <p:cNvSpPr txBox="1"/>
            <p:nvPr/>
          </p:nvSpPr>
          <p:spPr>
            <a:xfrm>
              <a:off x="5939772" y="3785033"/>
              <a:ext cx="1435997" cy="709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latin typeface="Arial Nova" panose="020B0504020202020204" pitchFamily="34" charset="0"/>
                </a:rPr>
                <a:t>Cobre</a:t>
              </a:r>
            </a:p>
            <a:p>
              <a:r>
                <a:rPr lang="es-PE" sz="1200" b="1" dirty="0">
                  <a:latin typeface="Arial Nova" panose="020B0504020202020204" pitchFamily="34" charset="0"/>
                </a:rPr>
                <a:t>0.2%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003BA2D-1948-9BA2-07B4-541238B1C90B}"/>
                </a:ext>
              </a:extLst>
            </p:cNvPr>
            <p:cNvSpPr txBox="1"/>
            <p:nvPr/>
          </p:nvSpPr>
          <p:spPr>
            <a:xfrm>
              <a:off x="7950393" y="3785036"/>
              <a:ext cx="1373076" cy="709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Carbón</a:t>
              </a:r>
            </a:p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3.1%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8A2CB83-F87E-EDE9-5F5F-242F2E7F6D1C}"/>
                </a:ext>
              </a:extLst>
            </p:cNvPr>
            <p:cNvSpPr txBox="1"/>
            <p:nvPr/>
          </p:nvSpPr>
          <p:spPr>
            <a:xfrm>
              <a:off x="10215604" y="3785036"/>
              <a:ext cx="1373076" cy="709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Otros</a:t>
              </a:r>
            </a:p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7.1%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CB94210-AF1E-2B42-1E84-AB4F4EF28FD3}"/>
                </a:ext>
              </a:extLst>
            </p:cNvPr>
            <p:cNvSpPr txBox="1"/>
            <p:nvPr/>
          </p:nvSpPr>
          <p:spPr>
            <a:xfrm>
              <a:off x="13507913" y="3785036"/>
              <a:ext cx="1741380" cy="709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Cemento 4.6%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1274C92-D7FD-D206-40D3-401D394B2055}"/>
                </a:ext>
              </a:extLst>
            </p:cNvPr>
            <p:cNvSpPr txBox="1"/>
            <p:nvPr/>
          </p:nvSpPr>
          <p:spPr>
            <a:xfrm>
              <a:off x="5546577" y="7058357"/>
              <a:ext cx="2240450" cy="696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Agricultura</a:t>
              </a:r>
            </a:p>
            <a:p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11.4%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3D1DD72-6A32-F57E-4FB2-82201CF681C2}"/>
                </a:ext>
              </a:extLst>
            </p:cNvPr>
            <p:cNvSpPr txBox="1"/>
            <p:nvPr/>
          </p:nvSpPr>
          <p:spPr>
            <a:xfrm>
              <a:off x="7243447" y="7058357"/>
              <a:ext cx="2240449" cy="993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solidFill>
                    <a:srgbClr val="2D92AD"/>
                  </a:solidFill>
                  <a:latin typeface="Arial Nova" panose="020B0504020202020204" pitchFamily="34" charset="0"/>
                </a:rPr>
                <a:t>Generación Electricidad</a:t>
              </a:r>
            </a:p>
            <a:p>
              <a:r>
                <a:rPr lang="es-PE" sz="1200" b="1" dirty="0">
                  <a:solidFill>
                    <a:srgbClr val="2D92AD"/>
                  </a:solidFill>
                  <a:latin typeface="Arial Nova" panose="020B0504020202020204" pitchFamily="34" charset="0"/>
                </a:rPr>
                <a:t>22.6%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5A8C6F4-2B7F-FA04-3C75-D5D4FB260F62}"/>
                </a:ext>
              </a:extLst>
            </p:cNvPr>
            <p:cNvSpPr txBox="1"/>
            <p:nvPr/>
          </p:nvSpPr>
          <p:spPr>
            <a:xfrm>
              <a:off x="10006227" y="7058357"/>
              <a:ext cx="1256602" cy="975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Oil &amp; </a:t>
              </a:r>
              <a:b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</a:br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Gas </a:t>
              </a:r>
              <a:b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</a:br>
              <a:r>
                <a:rPr lang="en-US" sz="1200" b="1">
                  <a:solidFill>
                    <a:srgbClr val="434343"/>
                  </a:solidFill>
                  <a:latin typeface="Arial Nova" panose="020B0504020202020204" pitchFamily="34" charset="0"/>
                </a:rPr>
                <a:t>7.2%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5B7DA58-63BC-460E-726D-FA77E8253363}"/>
                </a:ext>
              </a:extLst>
            </p:cNvPr>
            <p:cNvSpPr txBox="1"/>
            <p:nvPr/>
          </p:nvSpPr>
          <p:spPr>
            <a:xfrm>
              <a:off x="11262828" y="7058357"/>
              <a:ext cx="1908800" cy="709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Transporte</a:t>
              </a:r>
              <a:b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</a:br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14.3%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38AA642-ED89-EB2F-615A-9C10B9E15C8C}"/>
                </a:ext>
              </a:extLst>
            </p:cNvPr>
            <p:cNvSpPr txBox="1"/>
            <p:nvPr/>
          </p:nvSpPr>
          <p:spPr>
            <a:xfrm>
              <a:off x="13008845" y="7058357"/>
              <a:ext cx="2240450" cy="709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Edificios</a:t>
              </a:r>
              <a:b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</a:br>
              <a:r>
                <a:rPr lang="es-PE" sz="1200" b="1" dirty="0">
                  <a:solidFill>
                    <a:srgbClr val="434343"/>
                  </a:solidFill>
                  <a:latin typeface="Arial Nova" panose="020B0504020202020204" pitchFamily="34" charset="0"/>
                </a:rPr>
                <a:t>4.4%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7034BC9-60B6-48B9-3CE7-02DE4026F46B}"/>
                </a:ext>
              </a:extLst>
            </p:cNvPr>
            <p:cNvSpPr txBox="1"/>
            <p:nvPr/>
          </p:nvSpPr>
          <p:spPr>
            <a:xfrm>
              <a:off x="14377020" y="6171567"/>
              <a:ext cx="2240450" cy="696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err="1">
                  <a:solidFill>
                    <a:schemeClr val="bg1"/>
                  </a:solidFill>
                  <a:latin typeface="Arial Nova" panose="020B0504020202020204" pitchFamily="34" charset="0"/>
                </a:rPr>
                <a:t>Otros</a:t>
              </a:r>
              <a:br>
                <a:rPr lang="en-US" sz="1200" b="1">
                  <a:solidFill>
                    <a:schemeClr val="bg1"/>
                  </a:solidFill>
                  <a:latin typeface="Arial Nova" panose="020B0504020202020204" pitchFamily="34" charset="0"/>
                </a:rPr>
              </a:br>
              <a:r>
                <a:rPr lang="en-US" sz="1200" b="1">
                  <a:solidFill>
                    <a:schemeClr val="bg1"/>
                  </a:solidFill>
                  <a:latin typeface="Arial Nova" panose="020B0504020202020204" pitchFamily="34" charset="0"/>
                </a:rPr>
                <a:t>26.1%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BABAB65-56C6-0C11-2864-578FC9E44826}"/>
                </a:ext>
              </a:extLst>
            </p:cNvPr>
            <p:cNvSpPr txBox="1"/>
            <p:nvPr/>
          </p:nvSpPr>
          <p:spPr>
            <a:xfrm>
              <a:off x="3729543" y="9325877"/>
              <a:ext cx="12553367" cy="614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dirty="0">
                  <a:latin typeface="Arial Nova" panose="020B0504020202020204" pitchFamily="34" charset="0"/>
                </a:rPr>
                <a:t>Fuente: [1] </a:t>
              </a:r>
              <a:r>
                <a:rPr lang="es-ES" sz="1000" dirty="0" err="1">
                  <a:latin typeface="Arial Nova" panose="020B0504020202020204" pitchFamily="34" charset="0"/>
                </a:rPr>
                <a:t>MineSpans</a:t>
              </a:r>
              <a:r>
                <a:rPr lang="es-ES" sz="1000" dirty="0">
                  <a:latin typeface="Arial Nova" panose="020B0504020202020204" pitchFamily="34" charset="0"/>
                </a:rPr>
                <a:t>, McKinsey Energy </a:t>
              </a:r>
              <a:r>
                <a:rPr lang="es-ES" sz="1000" dirty="0" err="1">
                  <a:latin typeface="Arial Nova" panose="020B0504020202020204" pitchFamily="34" charset="0"/>
                </a:rPr>
                <a:t>Insights</a:t>
              </a:r>
              <a:r>
                <a:rPr lang="es-ES" sz="1000" dirty="0">
                  <a:latin typeface="Arial Nova" panose="020B0504020202020204" pitchFamily="34" charset="0"/>
                </a:rPr>
                <a:t>) Emisiones de alcance 1: CO2: 41.25%, CH4: 30.39%, HFC: 2.21% y N2O: 2.53%</a:t>
              </a:r>
              <a:endParaRPr lang="en-US" sz="1000" dirty="0">
                <a:latin typeface="Arial Nova" panose="020B0504020202020204" pitchFamily="34" charset="0"/>
              </a:endParaRPr>
            </a:p>
          </p:txBody>
        </p:sp>
      </p:grpSp>
      <p:sp>
        <p:nvSpPr>
          <p:cNvPr id="51" name="Title 3">
            <a:extLst>
              <a:ext uri="{FF2B5EF4-FFF2-40B4-BE49-F238E27FC236}">
                <a16:creationId xmlns:a16="http://schemas.microsoft.com/office/drawing/2014/main" id="{1E3A97B8-6FCE-A5FA-4E9E-84EB9EE72BB6}"/>
              </a:ext>
            </a:extLst>
          </p:cNvPr>
          <p:cNvSpPr txBox="1">
            <a:spLocks/>
          </p:cNvSpPr>
          <p:nvPr/>
        </p:nvSpPr>
        <p:spPr>
          <a:xfrm>
            <a:off x="9833113" y="2504313"/>
            <a:ext cx="7879745" cy="849398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defPPr>
              <a:defRPr lang="en-US"/>
            </a:defPPr>
            <a:lvl1pPr algn="ctr" defTabSz="1371546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2D92AD"/>
                </a:solidFill>
                <a:latin typeface="Aptos" panose="020B00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La principal actividad que emite CO2 es la combustión de carbón, gas natural y petróleo para generar energía</a:t>
            </a:r>
            <a:endParaRPr lang="en-US" dirty="0"/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1F13B0D0-7FDF-1418-8617-DAFC8C2F7C53}"/>
              </a:ext>
            </a:extLst>
          </p:cNvPr>
          <p:cNvSpPr/>
          <p:nvPr/>
        </p:nvSpPr>
        <p:spPr>
          <a:xfrm>
            <a:off x="-23446" y="1"/>
            <a:ext cx="18311446" cy="1880566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br>
              <a:rPr lang="es-PE" sz="2400" dirty="0"/>
            </a:br>
            <a:endParaRPr lang="es-PE" sz="2400" dirty="0"/>
          </a:p>
          <a:p>
            <a:br>
              <a:rPr lang="es-PE" sz="2400" dirty="0"/>
            </a:br>
            <a:endParaRPr kumimoji="0" lang="en-US" sz="2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CE67B043-FC5A-2967-9F6B-7C61B52717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4765" y="173446"/>
            <a:ext cx="1586871" cy="143790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EFD8C343-D269-4D75-9590-59697A15EC05}"/>
              </a:ext>
            </a:extLst>
          </p:cNvPr>
          <p:cNvSpPr txBox="1"/>
          <p:nvPr/>
        </p:nvSpPr>
        <p:spPr>
          <a:xfrm>
            <a:off x="2938499" y="204523"/>
            <a:ext cx="1157791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200" b="1" dirty="0">
                <a:solidFill>
                  <a:schemeClr val="bg1"/>
                </a:solidFill>
                <a:latin typeface="Aptos" panose="020B0004020202020204" pitchFamily="34" charset="0"/>
              </a:rPr>
              <a:t>El planeta hoy emite cada año alrededor de 51 </a:t>
            </a:r>
            <a:r>
              <a:rPr lang="es-ES" sz="4200" b="1" dirty="0" err="1">
                <a:solidFill>
                  <a:schemeClr val="bg1"/>
                </a:solidFill>
                <a:latin typeface="Aptos" panose="020B0004020202020204" pitchFamily="34" charset="0"/>
              </a:rPr>
              <a:t>Gt</a:t>
            </a:r>
            <a:r>
              <a:rPr lang="es-ES" sz="4200" b="1" dirty="0">
                <a:solidFill>
                  <a:schemeClr val="bg1"/>
                </a:solidFill>
                <a:latin typeface="Aptos" panose="020B0004020202020204" pitchFamily="34" charset="0"/>
              </a:rPr>
              <a:t> de CO2e a la atmósfera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8DF29471-D4A6-3CF1-E1AC-61E879BCDB94}"/>
              </a:ext>
            </a:extLst>
          </p:cNvPr>
          <p:cNvGrpSpPr/>
          <p:nvPr/>
        </p:nvGrpSpPr>
        <p:grpSpPr>
          <a:xfrm>
            <a:off x="168160" y="2445942"/>
            <a:ext cx="9156169" cy="6687557"/>
            <a:chOff x="1628180" y="1979069"/>
            <a:chExt cx="10970633" cy="7854401"/>
          </a:xfrm>
        </p:grpSpPr>
        <p:grpSp>
          <p:nvGrpSpPr>
            <p:cNvPr id="11" name="Grupo 10">
              <a:extLst>
                <a:ext uri="{FF2B5EF4-FFF2-40B4-BE49-F238E27FC236}">
                  <a16:creationId xmlns:a16="http://schemas.microsoft.com/office/drawing/2014/main" id="{2C284688-39F6-2828-6908-33FF1FE21633}"/>
                </a:ext>
              </a:extLst>
            </p:cNvPr>
            <p:cNvGrpSpPr/>
            <p:nvPr/>
          </p:nvGrpSpPr>
          <p:grpSpPr>
            <a:xfrm>
              <a:off x="1628180" y="3311900"/>
              <a:ext cx="10970633" cy="6521570"/>
              <a:chOff x="4353373" y="2250269"/>
              <a:chExt cx="10225625" cy="6078696"/>
            </a:xfrm>
          </p:grpSpPr>
          <p:pic>
            <p:nvPicPr>
              <p:cNvPr id="14" name="Picture 16" descr="Map&#10;&#10;Description automatically generated">
                <a:extLst>
                  <a:ext uri="{FF2B5EF4-FFF2-40B4-BE49-F238E27FC236}">
                    <a16:creationId xmlns:a16="http://schemas.microsoft.com/office/drawing/2014/main" id="{D43EA96E-F792-BB9B-E435-CC46748FA6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59" t="71834" r="10428" b="19239"/>
              <a:stretch/>
            </p:blipFill>
            <p:spPr>
              <a:xfrm>
                <a:off x="7300836" y="7793768"/>
                <a:ext cx="5024174" cy="485926"/>
              </a:xfrm>
              <a:prstGeom prst="rect">
                <a:avLst/>
              </a:prstGeom>
            </p:spPr>
          </p:pic>
          <p:grpSp>
            <p:nvGrpSpPr>
              <p:cNvPr id="15" name="Grupo 14">
                <a:extLst>
                  <a:ext uri="{FF2B5EF4-FFF2-40B4-BE49-F238E27FC236}">
                    <a16:creationId xmlns:a16="http://schemas.microsoft.com/office/drawing/2014/main" id="{F64BE640-04FA-B1FB-FC60-68B69E920C54}"/>
                  </a:ext>
                </a:extLst>
              </p:cNvPr>
              <p:cNvGrpSpPr/>
              <p:nvPr/>
            </p:nvGrpSpPr>
            <p:grpSpPr>
              <a:xfrm>
                <a:off x="4353373" y="2250269"/>
                <a:ext cx="10225625" cy="6078696"/>
                <a:chOff x="2319558" y="3587600"/>
                <a:chExt cx="10225625" cy="6078696"/>
              </a:xfrm>
            </p:grpSpPr>
            <p:pic>
              <p:nvPicPr>
                <p:cNvPr id="16" name="Picture 4" descr="Map&#10;&#10;Description automatically generated">
                  <a:extLst>
                    <a:ext uri="{FF2B5EF4-FFF2-40B4-BE49-F238E27FC236}">
                      <a16:creationId xmlns:a16="http://schemas.microsoft.com/office/drawing/2014/main" id="{3F6ECE2C-3805-6346-B7B4-1FE44969F8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4059" t="12005" r="10428" b="33124"/>
                <a:stretch/>
              </p:blipFill>
              <p:spPr>
                <a:xfrm>
                  <a:off x="2319558" y="3587600"/>
                  <a:ext cx="10225625" cy="6078696"/>
                </a:xfrm>
                <a:prstGeom prst="rect">
                  <a:avLst/>
                </a:prstGeom>
              </p:spPr>
            </p:pic>
            <p:sp>
              <p:nvSpPr>
                <p:cNvPr id="17" name="TextBox 18">
                  <a:extLst>
                    <a:ext uri="{FF2B5EF4-FFF2-40B4-BE49-F238E27FC236}">
                      <a16:creationId xmlns:a16="http://schemas.microsoft.com/office/drawing/2014/main" id="{6923C90E-A8AE-C88E-2A10-45FE2FC7DC43}"/>
                    </a:ext>
                  </a:extLst>
                </p:cNvPr>
                <p:cNvSpPr txBox="1"/>
                <p:nvPr/>
              </p:nvSpPr>
              <p:spPr>
                <a:xfrm>
                  <a:off x="3077198" y="7538209"/>
                  <a:ext cx="1623408" cy="63679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 dirty="0">
                      <a:solidFill>
                        <a:srgbClr val="434343"/>
                      </a:solidFill>
                      <a:latin typeface="Arial Nova" panose="020B0504020202020204" pitchFamily="34" charset="0"/>
                    </a:rPr>
                    <a:t>137,7Mt </a:t>
                  </a:r>
                  <a:r>
                    <a:rPr lang="en-US" sz="1200" b="1" dirty="0">
                      <a:solidFill>
                        <a:srgbClr val="2D92AD"/>
                      </a:solidFill>
                      <a:latin typeface="Arial Nova" panose="020B0504020202020204" pitchFamily="34" charset="0"/>
                    </a:rPr>
                    <a:t>(0.27% del total)</a:t>
                  </a:r>
                  <a:endParaRPr lang="en-US" sz="1980" b="1" dirty="0">
                    <a:solidFill>
                      <a:srgbClr val="2D92AD"/>
                    </a:solidFill>
                    <a:latin typeface="Arial Nova" panose="020B0504020202020204" pitchFamily="34" charset="0"/>
                  </a:endParaRPr>
                </a:p>
              </p:txBody>
            </p:sp>
            <p:sp>
              <p:nvSpPr>
                <p:cNvPr id="19" name="TextBox 19">
                  <a:extLst>
                    <a:ext uri="{FF2B5EF4-FFF2-40B4-BE49-F238E27FC236}">
                      <a16:creationId xmlns:a16="http://schemas.microsoft.com/office/drawing/2014/main" id="{4BA25EDD-9F03-7B11-7109-6FA47DC2D8C6}"/>
                    </a:ext>
                  </a:extLst>
                </p:cNvPr>
                <p:cNvSpPr txBox="1"/>
                <p:nvPr/>
              </p:nvSpPr>
              <p:spPr>
                <a:xfrm>
                  <a:off x="4641138" y="7308410"/>
                  <a:ext cx="1270002" cy="37007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>
                      <a:solidFill>
                        <a:schemeClr val="bg1"/>
                      </a:solidFill>
                      <a:latin typeface="Arial Nova" panose="020B0504020202020204" pitchFamily="34" charset="0"/>
                    </a:rPr>
                    <a:t>2.25Gt</a:t>
                  </a:r>
                </a:p>
              </p:txBody>
            </p:sp>
            <p:sp>
              <p:nvSpPr>
                <p:cNvPr id="30" name="TextBox 20">
                  <a:extLst>
                    <a:ext uri="{FF2B5EF4-FFF2-40B4-BE49-F238E27FC236}">
                      <a16:creationId xmlns:a16="http://schemas.microsoft.com/office/drawing/2014/main" id="{E14EF7F7-D784-1D71-1F39-82DE5218AAD2}"/>
                    </a:ext>
                  </a:extLst>
                </p:cNvPr>
                <p:cNvSpPr txBox="1"/>
                <p:nvPr/>
              </p:nvSpPr>
              <p:spPr>
                <a:xfrm>
                  <a:off x="3375504" y="5156269"/>
                  <a:ext cx="869062" cy="37007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>
                      <a:solidFill>
                        <a:schemeClr val="bg1"/>
                      </a:solidFill>
                      <a:latin typeface="Arial Nova" panose="020B0504020202020204" pitchFamily="34" charset="0"/>
                    </a:rPr>
                    <a:t>6Gt</a:t>
                  </a:r>
                </a:p>
              </p:txBody>
            </p:sp>
            <p:sp>
              <p:nvSpPr>
                <p:cNvPr id="31" name="TextBox 21">
                  <a:extLst>
                    <a:ext uri="{FF2B5EF4-FFF2-40B4-BE49-F238E27FC236}">
                      <a16:creationId xmlns:a16="http://schemas.microsoft.com/office/drawing/2014/main" id="{9EB2DD6E-3BD9-B4B5-3C01-AD603A7ABD74}"/>
                    </a:ext>
                  </a:extLst>
                </p:cNvPr>
                <p:cNvSpPr txBox="1"/>
                <p:nvPr/>
              </p:nvSpPr>
              <p:spPr>
                <a:xfrm>
                  <a:off x="9324984" y="5383086"/>
                  <a:ext cx="1418637" cy="4346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 dirty="0">
                      <a:solidFill>
                        <a:schemeClr val="bg1"/>
                      </a:solidFill>
                      <a:latin typeface="Arial Nova" panose="020B0504020202020204" pitchFamily="34" charset="0"/>
                    </a:rPr>
                    <a:t>13,9Gt</a:t>
                  </a:r>
                </a:p>
              </p:txBody>
            </p:sp>
            <p:sp>
              <p:nvSpPr>
                <p:cNvPr id="32" name="TextBox 22">
                  <a:extLst>
                    <a:ext uri="{FF2B5EF4-FFF2-40B4-BE49-F238E27FC236}">
                      <a16:creationId xmlns:a16="http://schemas.microsoft.com/office/drawing/2014/main" id="{BBD9183C-9CBF-CF19-3642-091BCC95B39C}"/>
                    </a:ext>
                  </a:extLst>
                </p:cNvPr>
                <p:cNvSpPr txBox="1"/>
                <p:nvPr/>
              </p:nvSpPr>
              <p:spPr>
                <a:xfrm>
                  <a:off x="9076395" y="4264468"/>
                  <a:ext cx="1223256" cy="37007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>
                      <a:solidFill>
                        <a:schemeClr val="bg1"/>
                      </a:solidFill>
                      <a:latin typeface="Arial Nova" panose="020B0504020202020204" pitchFamily="34" charset="0"/>
                    </a:rPr>
                    <a:t>2.13Gt</a:t>
                  </a:r>
                </a:p>
              </p:txBody>
            </p:sp>
            <p:sp>
              <p:nvSpPr>
                <p:cNvPr id="36" name="TextBox 23">
                  <a:extLst>
                    <a:ext uri="{FF2B5EF4-FFF2-40B4-BE49-F238E27FC236}">
                      <a16:creationId xmlns:a16="http://schemas.microsoft.com/office/drawing/2014/main" id="{6502ADB4-4980-C30F-9C45-65A29BB90194}"/>
                    </a:ext>
                  </a:extLst>
                </p:cNvPr>
                <p:cNvSpPr txBox="1"/>
                <p:nvPr/>
              </p:nvSpPr>
              <p:spPr>
                <a:xfrm>
                  <a:off x="3196665" y="8359505"/>
                  <a:ext cx="1590693" cy="4346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 dirty="0">
                      <a:solidFill>
                        <a:srgbClr val="434343"/>
                      </a:solidFill>
                      <a:latin typeface="Arial Nova" panose="020B0504020202020204" pitchFamily="34" charset="0"/>
                    </a:rPr>
                    <a:t>121,5Mt</a:t>
                  </a:r>
                </a:p>
              </p:txBody>
            </p:sp>
            <p:sp>
              <p:nvSpPr>
                <p:cNvPr id="52" name="TextBox 24">
                  <a:extLst>
                    <a:ext uri="{FF2B5EF4-FFF2-40B4-BE49-F238E27FC236}">
                      <a16:creationId xmlns:a16="http://schemas.microsoft.com/office/drawing/2014/main" id="{CDF88859-6D86-98FA-4A86-2040183B44C2}"/>
                    </a:ext>
                  </a:extLst>
                </p:cNvPr>
                <p:cNvSpPr txBox="1"/>
                <p:nvPr/>
              </p:nvSpPr>
              <p:spPr>
                <a:xfrm>
                  <a:off x="2610544" y="6038710"/>
                  <a:ext cx="1438756" cy="37007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>
                      <a:solidFill>
                        <a:srgbClr val="434343"/>
                      </a:solidFill>
                      <a:latin typeface="Arial Nova" panose="020B0504020202020204" pitchFamily="34" charset="0"/>
                    </a:rPr>
                    <a:t>601,2Mt</a:t>
                  </a:r>
                </a:p>
              </p:txBody>
            </p:sp>
            <p:sp>
              <p:nvSpPr>
                <p:cNvPr id="53" name="TextBox 25">
                  <a:extLst>
                    <a:ext uri="{FF2B5EF4-FFF2-40B4-BE49-F238E27FC236}">
                      <a16:creationId xmlns:a16="http://schemas.microsoft.com/office/drawing/2014/main" id="{AC7B23D1-5F27-A2D4-1349-314131D235CA}"/>
                    </a:ext>
                  </a:extLst>
                </p:cNvPr>
                <p:cNvSpPr txBox="1"/>
                <p:nvPr/>
              </p:nvSpPr>
              <p:spPr>
                <a:xfrm>
                  <a:off x="3163949" y="4594101"/>
                  <a:ext cx="1623408" cy="4346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 dirty="0">
                      <a:solidFill>
                        <a:schemeClr val="bg1"/>
                      </a:solidFill>
                      <a:latin typeface="Arial Nova" panose="020B0504020202020204" pitchFamily="34" charset="0"/>
                    </a:rPr>
                    <a:t>781,9Mt</a:t>
                  </a:r>
                </a:p>
              </p:txBody>
            </p:sp>
            <p:sp>
              <p:nvSpPr>
                <p:cNvPr id="54" name="TextBox 26">
                  <a:extLst>
                    <a:ext uri="{FF2B5EF4-FFF2-40B4-BE49-F238E27FC236}">
                      <a16:creationId xmlns:a16="http://schemas.microsoft.com/office/drawing/2014/main" id="{9F7D2439-9B8F-B847-AC80-0303332A4EA1}"/>
                    </a:ext>
                  </a:extLst>
                </p:cNvPr>
                <p:cNvSpPr txBox="1"/>
                <p:nvPr/>
              </p:nvSpPr>
              <p:spPr>
                <a:xfrm>
                  <a:off x="10457217" y="8039301"/>
                  <a:ext cx="1406236" cy="4346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 dirty="0">
                      <a:solidFill>
                        <a:schemeClr val="bg1"/>
                      </a:solidFill>
                      <a:latin typeface="Arial Nova" panose="020B0504020202020204" pitchFamily="34" charset="0"/>
                    </a:rPr>
                    <a:t>573,6Mt</a:t>
                  </a:r>
                </a:p>
              </p:txBody>
            </p:sp>
            <p:sp>
              <p:nvSpPr>
                <p:cNvPr id="55" name="TextBox 27">
                  <a:extLst>
                    <a:ext uri="{FF2B5EF4-FFF2-40B4-BE49-F238E27FC236}">
                      <a16:creationId xmlns:a16="http://schemas.microsoft.com/office/drawing/2014/main" id="{477D0755-3C5E-A9F3-57BF-DDB7355EC609}"/>
                    </a:ext>
                  </a:extLst>
                </p:cNvPr>
                <p:cNvSpPr txBox="1"/>
                <p:nvPr/>
              </p:nvSpPr>
              <p:spPr>
                <a:xfrm>
                  <a:off x="4532536" y="8667639"/>
                  <a:ext cx="1590694" cy="4346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980" b="1" dirty="0">
                      <a:solidFill>
                        <a:srgbClr val="434343"/>
                      </a:solidFill>
                      <a:latin typeface="Arial Nova" panose="020B0504020202020204" pitchFamily="34" charset="0"/>
                    </a:rPr>
                    <a:t>388,1Mt</a:t>
                  </a:r>
                </a:p>
              </p:txBody>
            </p:sp>
          </p:grpSp>
        </p:grpSp>
        <p:sp>
          <p:nvSpPr>
            <p:cNvPr id="12" name="Title 3">
              <a:extLst>
                <a:ext uri="{FF2B5EF4-FFF2-40B4-BE49-F238E27FC236}">
                  <a16:creationId xmlns:a16="http://schemas.microsoft.com/office/drawing/2014/main" id="{0C85F87D-25B2-6422-9C5D-56D6AF277B04}"/>
                </a:ext>
              </a:extLst>
            </p:cNvPr>
            <p:cNvSpPr txBox="1">
              <a:spLocks/>
            </p:cNvSpPr>
            <p:nvPr/>
          </p:nvSpPr>
          <p:spPr>
            <a:xfrm>
              <a:off x="1713861" y="1979069"/>
              <a:ext cx="10153554" cy="1200947"/>
            </a:xfrm>
            <a:prstGeom prst="rect">
              <a:avLst/>
            </a:prstGeom>
          </p:spPr>
          <p:txBody>
            <a:bodyPr vert="horz" lIns="137160" tIns="68580" rIns="137160" bIns="6858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b="1" kern="1200">
                  <a:solidFill>
                    <a:schemeClr val="tx2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 defTabSz="1371546">
                <a:defRPr/>
              </a:pPr>
              <a:r>
                <a:rPr lang="es-ES" sz="2400" dirty="0">
                  <a:solidFill>
                    <a:srgbClr val="2D92AD"/>
                  </a:solidFill>
                  <a:latin typeface="Aptos" panose="020B0004020202020204" pitchFamily="34" charset="0"/>
                </a:rPr>
                <a:t>Salvo algunas excepciones, como en la pandemia de COVID, año a año las emisiones de CO2e siguen creciendo</a:t>
              </a:r>
              <a:endParaRPr lang="en-US" sz="2400" dirty="0">
                <a:solidFill>
                  <a:srgbClr val="2D92AD"/>
                </a:solidFill>
                <a:latin typeface="Aptos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64481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9">
            <a:extLst>
              <a:ext uri="{FF2B5EF4-FFF2-40B4-BE49-F238E27FC236}">
                <a16:creationId xmlns:a16="http://schemas.microsoft.com/office/drawing/2014/main" id="{98F4CB4B-96A7-B960-8DF0-C5922CF15787}"/>
              </a:ext>
            </a:extLst>
          </p:cNvPr>
          <p:cNvSpPr/>
          <p:nvPr/>
        </p:nvSpPr>
        <p:spPr>
          <a:xfrm>
            <a:off x="23041" y="0"/>
            <a:ext cx="4881955" cy="8176662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27">
              <a:defRPr/>
            </a:pPr>
            <a:endParaRPr lang="en-US" sz="3240">
              <a:solidFill>
                <a:prstClr val="white"/>
              </a:solidFill>
              <a:latin typeface="Arial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D1B75F-3FC8-47C0-A50D-08DA1D1FB8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4" y="2384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D1B75F-3FC8-47C0-A50D-08DA1D1FB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4" y="2384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F4CC31-5CC6-40CE-B736-74328F8B20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371546">
              <a:defRPr/>
            </a:pPr>
            <a:endParaRPr lang="en-US" sz="4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81714401-D73E-4EAB-8934-C2EEFA45AFE8}"/>
              </a:ext>
            </a:extLst>
          </p:cNvPr>
          <p:cNvSpPr txBox="1">
            <a:spLocks/>
          </p:cNvSpPr>
          <p:nvPr/>
        </p:nvSpPr>
        <p:spPr>
          <a:xfrm>
            <a:off x="491314" y="6161103"/>
            <a:ext cx="3694464" cy="15382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37139" tIns="137139" rIns="137139" bIns="137139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371546">
              <a:buClr>
                <a:srgbClr val="1A1A1A"/>
              </a:buClr>
            </a:pPr>
            <a:r>
              <a:rPr lang="es-CL" sz="1800" b="0" kern="0" dirty="0">
                <a:solidFill>
                  <a:schemeClr val="bg1"/>
                </a:solidFill>
                <a:latin typeface="Arial Nova" panose="020B0504020202020204" pitchFamily="34" charset="0"/>
              </a:rPr>
              <a:t>Estos escenarios involucran </a:t>
            </a:r>
            <a:br>
              <a:rPr lang="es-CL" sz="1800" b="0" kern="0" dirty="0">
                <a:solidFill>
                  <a:schemeClr val="bg1"/>
                </a:solidFill>
                <a:latin typeface="Arial Nova" panose="020B0504020202020204" pitchFamily="34" charset="0"/>
              </a:rPr>
            </a:br>
            <a:r>
              <a:rPr lang="es-CL" sz="1800" b="0" kern="0" dirty="0">
                <a:solidFill>
                  <a:schemeClr val="bg1"/>
                </a:solidFill>
                <a:latin typeface="Arial Nova" panose="020B0504020202020204" pitchFamily="34" charset="0"/>
              </a:rPr>
              <a:t>(en mayor o menor medida) </a:t>
            </a:r>
            <a:br>
              <a:rPr lang="es-CL" sz="1800" b="0" kern="0" dirty="0">
                <a:solidFill>
                  <a:schemeClr val="bg1"/>
                </a:solidFill>
                <a:latin typeface="Arial Nova" panose="020B0504020202020204" pitchFamily="34" charset="0"/>
              </a:rPr>
            </a:br>
            <a:r>
              <a:rPr lang="es-CL" sz="1800" b="0" kern="0" dirty="0">
                <a:solidFill>
                  <a:schemeClr val="bg1"/>
                </a:solidFill>
                <a:latin typeface="Arial Nova" panose="020B0504020202020204" pitchFamily="34" charset="0"/>
              </a:rPr>
              <a:t>la </a:t>
            </a:r>
            <a:r>
              <a:rPr lang="es-CL" sz="1800" kern="0" dirty="0">
                <a:solidFill>
                  <a:schemeClr val="bg1"/>
                </a:solidFill>
                <a:latin typeface="Arial Nova" panose="020B0504020202020204" pitchFamily="34" charset="0"/>
              </a:rPr>
              <a:t>remoción de CO</a:t>
            </a:r>
            <a:r>
              <a:rPr lang="es-CL" sz="1800" kern="0" baseline="-25000" dirty="0">
                <a:solidFill>
                  <a:schemeClr val="bg1"/>
                </a:solidFill>
                <a:latin typeface="Arial Nova" panose="020B0504020202020204" pitchFamily="34" charset="0"/>
              </a:rPr>
              <a:t>2</a:t>
            </a:r>
            <a:r>
              <a:rPr lang="es-CL" sz="1800" b="0" kern="0" dirty="0">
                <a:solidFill>
                  <a:schemeClr val="bg1"/>
                </a:solidFill>
                <a:latin typeface="Arial Nova" panose="020B0504020202020204" pitchFamily="34" charset="0"/>
              </a:rPr>
              <a:t> para compensar por las emisiones residuales.</a:t>
            </a:r>
          </a:p>
          <a:p>
            <a:pPr defTabSz="1371546">
              <a:buClr>
                <a:srgbClr val="1A1A1A"/>
              </a:buClr>
            </a:pPr>
            <a:endParaRPr lang="es-CL" sz="1800" b="0" kern="0" dirty="0">
              <a:solidFill>
                <a:srgbClr val="2D92AD"/>
              </a:solidFill>
              <a:latin typeface="Arial Nova" panose="020B0504020202020204" pitchFamily="34" charset="0"/>
            </a:endParaRPr>
          </a:p>
          <a:p>
            <a:pPr defTabSz="1371546">
              <a:buClr>
                <a:srgbClr val="1A1A1A"/>
              </a:buClr>
            </a:pPr>
            <a:endParaRPr lang="es-CL" sz="1800" b="0" kern="0" dirty="0">
              <a:solidFill>
                <a:srgbClr val="2D92AD"/>
              </a:solidFill>
              <a:latin typeface="Arial Nova" panose="020B0504020202020204" pitchFamily="34" charset="0"/>
            </a:endParaRPr>
          </a:p>
          <a:p>
            <a:pPr defTabSz="1371546">
              <a:buClr>
                <a:srgbClr val="1A1A1A"/>
              </a:buClr>
            </a:pPr>
            <a:endParaRPr lang="es-CL" sz="1800" b="0" kern="0" dirty="0">
              <a:solidFill>
                <a:srgbClr val="2D92AD"/>
              </a:solidFill>
              <a:latin typeface="Arial Nova" panose="020B0504020202020204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7BD982B-A986-4E44-8D0B-167CBA15B590}"/>
              </a:ext>
            </a:extLst>
          </p:cNvPr>
          <p:cNvSpPr txBox="1">
            <a:spLocks/>
          </p:cNvSpPr>
          <p:nvPr/>
        </p:nvSpPr>
        <p:spPr>
          <a:xfrm>
            <a:off x="491315" y="4516541"/>
            <a:ext cx="3800481" cy="1634294"/>
          </a:xfrm>
          <a:prstGeom prst="rect">
            <a:avLst/>
          </a:prstGeom>
        </p:spPr>
        <p:txBody>
          <a:bodyPr vert="horz" wrap="square" lIns="137160" tIns="68580" rIns="137160" bIns="68580" rtlCol="0" anchor="t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1371510"/>
            <a:r>
              <a:rPr lang="es-CL" sz="1800" b="0" dirty="0">
                <a:solidFill>
                  <a:schemeClr val="bg1"/>
                </a:solidFill>
                <a:latin typeface="Arial Nova" panose="020B0504020202020204" pitchFamily="34" charset="0"/>
              </a:rPr>
              <a:t>Los escenarios modelados que limitan el calentamiento global </a:t>
            </a:r>
            <a:br>
              <a:rPr lang="es-CL" sz="1800" b="0" dirty="0">
                <a:solidFill>
                  <a:schemeClr val="bg1"/>
                </a:solidFill>
                <a:latin typeface="Arial Nova" panose="020B0504020202020204" pitchFamily="34" charset="0"/>
              </a:rPr>
            </a:br>
            <a:r>
              <a:rPr lang="es-CL" sz="1800" b="0" dirty="0">
                <a:solidFill>
                  <a:schemeClr val="bg1"/>
                </a:solidFill>
                <a:latin typeface="Arial Nova" panose="020B0504020202020204" pitchFamily="34" charset="0"/>
              </a:rPr>
              <a:t>a menos de 2°C implican </a:t>
            </a:r>
            <a:r>
              <a:rPr lang="es-CL" sz="1800" dirty="0">
                <a:solidFill>
                  <a:schemeClr val="bg1"/>
                </a:solidFill>
                <a:latin typeface="Arial Nova" panose="020B0504020202020204" pitchFamily="34" charset="0"/>
              </a:rPr>
              <a:t>reducciones rápidas, profundas</a:t>
            </a:r>
            <a:r>
              <a:rPr lang="es-CL" sz="1800" b="0" dirty="0">
                <a:solidFill>
                  <a:schemeClr val="bg1"/>
                </a:solidFill>
                <a:latin typeface="Arial Nova" panose="020B0504020202020204" pitchFamily="34" charset="0"/>
              </a:rPr>
              <a:t>, y en la mayoría </a:t>
            </a:r>
            <a:br>
              <a:rPr lang="es-CL" sz="1800" b="0" dirty="0">
                <a:solidFill>
                  <a:schemeClr val="bg1"/>
                </a:solidFill>
                <a:latin typeface="Arial Nova" panose="020B0504020202020204" pitchFamily="34" charset="0"/>
              </a:rPr>
            </a:br>
            <a:r>
              <a:rPr lang="es-CL" sz="1800" b="0" dirty="0">
                <a:solidFill>
                  <a:schemeClr val="bg1"/>
                </a:solidFill>
                <a:latin typeface="Arial Nova" panose="020B0504020202020204" pitchFamily="34" charset="0"/>
              </a:rPr>
              <a:t>de los casos </a:t>
            </a:r>
            <a:r>
              <a:rPr lang="es-CL" sz="1800" dirty="0">
                <a:solidFill>
                  <a:schemeClr val="bg1"/>
                </a:solidFill>
                <a:latin typeface="Arial Nova" panose="020B0504020202020204" pitchFamily="34" charset="0"/>
              </a:rPr>
              <a:t>inmediatas</a:t>
            </a:r>
            <a:r>
              <a:rPr lang="es-CL" sz="1800" b="0" dirty="0">
                <a:solidFill>
                  <a:schemeClr val="bg1"/>
                </a:solidFill>
                <a:latin typeface="Arial Nova" panose="020B0504020202020204" pitchFamily="34" charset="0"/>
              </a:rPr>
              <a:t>. 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66E503B2-5CE3-4F69-BF2E-99281F9DEC00}"/>
              </a:ext>
            </a:extLst>
          </p:cNvPr>
          <p:cNvSpPr txBox="1">
            <a:spLocks/>
          </p:cNvSpPr>
          <p:nvPr/>
        </p:nvSpPr>
        <p:spPr>
          <a:xfrm>
            <a:off x="491315" y="2427389"/>
            <a:ext cx="3800482" cy="2384108"/>
          </a:xfrm>
          <a:prstGeom prst="rect">
            <a:avLst/>
          </a:prstGeom>
        </p:spPr>
        <p:txBody>
          <a:bodyPr vert="horz" lIns="137160" tIns="68580" rIns="137160" bIns="68580" rtlCol="0" anchor="ctr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600" b="0" i="0" kern="1200">
                <a:gradFill>
                  <a:gsLst>
                    <a:gs pos="0">
                      <a:schemeClr val="bg2"/>
                    </a:gs>
                    <a:gs pos="25000">
                      <a:schemeClr val="tx1"/>
                    </a:gs>
                    <a:gs pos="60000">
                      <a:schemeClr val="tx2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defTabSz="914340"/>
            <a:r>
              <a:rPr lang="es-CL" sz="1800" b="1" dirty="0">
                <a:solidFill>
                  <a:schemeClr val="bg1"/>
                </a:solidFill>
                <a:latin typeface="Arial Nova" panose="020B0504020202020204" pitchFamily="34" charset="0"/>
              </a:rPr>
              <a:t>Los compromisos y esfuerzos actuales </a:t>
            </a:r>
            <a:r>
              <a:rPr lang="es-CL" sz="1800" dirty="0">
                <a:solidFill>
                  <a:schemeClr val="bg1"/>
                </a:solidFill>
                <a:latin typeface="Arial Nova" panose="020B0504020202020204" pitchFamily="34" charset="0"/>
              </a:rPr>
              <a:t>(en el marco del Acuerdo de París) destinados a mantener el aumento de temperatura bajo los 2°C </a:t>
            </a:r>
            <a:r>
              <a:rPr lang="es-CL" sz="1800" b="1" dirty="0">
                <a:solidFill>
                  <a:schemeClr val="bg1"/>
                </a:solidFill>
                <a:latin typeface="Arial Nova" panose="020B0504020202020204" pitchFamily="34" charset="0"/>
              </a:rPr>
              <a:t>no son suficientes</a:t>
            </a:r>
            <a:r>
              <a:rPr lang="es-CL" sz="1800" dirty="0">
                <a:solidFill>
                  <a:schemeClr val="bg1"/>
                </a:solidFill>
                <a:latin typeface="Arial Nova" panose="020B0504020202020204" pitchFamily="34" charset="0"/>
              </a:rPr>
              <a:t>.</a:t>
            </a:r>
          </a:p>
        </p:txBody>
      </p:sp>
      <p:sp>
        <p:nvSpPr>
          <p:cNvPr id="42" name="Title 3">
            <a:extLst>
              <a:ext uri="{FF2B5EF4-FFF2-40B4-BE49-F238E27FC236}">
                <a16:creationId xmlns:a16="http://schemas.microsoft.com/office/drawing/2014/main" id="{17DA80B3-BC66-401E-84F9-9F2BA3B7156D}"/>
              </a:ext>
            </a:extLst>
          </p:cNvPr>
          <p:cNvSpPr txBox="1">
            <a:spLocks/>
          </p:cNvSpPr>
          <p:nvPr/>
        </p:nvSpPr>
        <p:spPr>
          <a:xfrm>
            <a:off x="334971" y="1647977"/>
            <a:ext cx="3958733" cy="2089152"/>
          </a:xfrm>
          <a:prstGeom prst="rect">
            <a:avLst/>
          </a:prstGeom>
        </p:spPr>
        <p:txBody>
          <a:bodyPr vert="horz" lIns="137160" tIns="68580" rIns="137160" bIns="6858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1371510">
              <a:defRPr/>
            </a:pPr>
            <a:r>
              <a:rPr lang="es-ES" sz="3300" dirty="0">
                <a:solidFill>
                  <a:schemeClr val="bg1"/>
                </a:solidFill>
                <a:latin typeface="Aptos" panose="020B0004020202020204" pitchFamily="34" charset="0"/>
              </a:rPr>
              <a:t>Compromisos Globales</a:t>
            </a:r>
            <a:endParaRPr lang="en-US" sz="3300" b="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64" name="Title 3">
            <a:extLst>
              <a:ext uri="{FF2B5EF4-FFF2-40B4-BE49-F238E27FC236}">
                <a16:creationId xmlns:a16="http://schemas.microsoft.com/office/drawing/2014/main" id="{71C09EB7-693E-4A0A-A197-1F66B979FD0C}"/>
              </a:ext>
            </a:extLst>
          </p:cNvPr>
          <p:cNvSpPr txBox="1">
            <a:spLocks/>
          </p:cNvSpPr>
          <p:nvPr/>
        </p:nvSpPr>
        <p:spPr>
          <a:xfrm>
            <a:off x="6260827" y="460036"/>
            <a:ext cx="11306640" cy="1123170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1371510">
              <a:defRPr/>
            </a:pPr>
            <a:r>
              <a:rPr lang="es-419" sz="3600" dirty="0">
                <a:solidFill>
                  <a:srgbClr val="2D92AD"/>
                </a:solidFill>
                <a:latin typeface="Aptos" panose="020B0004020202020204" pitchFamily="34" charset="0"/>
              </a:rPr>
              <a:t>5 son las Palancas con suficiente potencial para  habilitar el Abatimiento de Co</a:t>
            </a:r>
            <a:r>
              <a:rPr lang="es-419" sz="3600" baseline="-25000" dirty="0">
                <a:solidFill>
                  <a:srgbClr val="2D92AD"/>
                </a:solidFill>
                <a:latin typeface="Aptos" panose="020B0004020202020204" pitchFamily="34" charset="0"/>
              </a:rPr>
              <a:t>2</a:t>
            </a:r>
            <a:r>
              <a:rPr lang="es-419" sz="3600" dirty="0">
                <a:solidFill>
                  <a:srgbClr val="2D92AD"/>
                </a:solidFill>
                <a:latin typeface="Aptos" panose="020B0004020202020204" pitchFamily="34" charset="0"/>
              </a:rPr>
              <a:t> al 2050</a:t>
            </a:r>
            <a:br>
              <a:rPr lang="es-419" sz="3600" dirty="0">
                <a:solidFill>
                  <a:srgbClr val="2D92AD"/>
                </a:solidFill>
                <a:latin typeface="Arial Black" panose="020B0A04020102020204" pitchFamily="34" charset="0"/>
              </a:rPr>
            </a:br>
            <a:endParaRPr lang="es-419" sz="3600" dirty="0">
              <a:solidFill>
                <a:srgbClr val="2D92AD"/>
              </a:solidFill>
              <a:latin typeface="Arial Black" panose="020B0A04020102020204" pitchFamily="34" charset="0"/>
            </a:endParaRP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6B2AA715-7AF4-47AB-96D6-B408B0B53C2B}"/>
              </a:ext>
            </a:extLst>
          </p:cNvPr>
          <p:cNvSpPr/>
          <p:nvPr/>
        </p:nvSpPr>
        <p:spPr>
          <a:xfrm>
            <a:off x="7172176" y="8652028"/>
            <a:ext cx="9176507" cy="1056789"/>
          </a:xfrm>
          <a:prstGeom prst="wedgeRectCallout">
            <a:avLst>
              <a:gd name="adj1" fmla="val -20508"/>
              <a:gd name="adj2" fmla="val -1720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546"/>
            <a:r>
              <a:rPr lang="es-CL" sz="2100" dirty="0">
                <a:solidFill>
                  <a:srgbClr val="2D92AD"/>
                </a:solidFill>
                <a:latin typeface="Arial Nova" panose="020B0504020202020204" pitchFamily="34" charset="0"/>
              </a:rPr>
              <a:t>La combinación de estas palancas de descarbonización permitirá alcanzar la meta de los 1.5°C para 2050, pero </a:t>
            </a:r>
            <a:r>
              <a:rPr lang="es-CL" sz="2100" b="1" dirty="0">
                <a:solidFill>
                  <a:srgbClr val="2D92AD"/>
                </a:solidFill>
                <a:latin typeface="Arial Nova" panose="020B0504020202020204" pitchFamily="34" charset="0"/>
              </a:rPr>
              <a:t>DEBEMOS ACTUAR HOY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0C1E0CF-D0EA-4359-A766-4AB682BB59AA}"/>
              </a:ext>
            </a:extLst>
          </p:cNvPr>
          <p:cNvGrpSpPr/>
          <p:nvPr/>
        </p:nvGrpSpPr>
        <p:grpSpPr>
          <a:xfrm>
            <a:off x="7341704" y="2427389"/>
            <a:ext cx="8182008" cy="4799528"/>
            <a:chOff x="273978" y="2104055"/>
            <a:chExt cx="5747447" cy="3136555"/>
          </a:xfrm>
        </p:grpSpPr>
        <p:graphicFrame>
          <p:nvGraphicFramePr>
            <p:cNvPr id="48" name="Chart 47">
              <a:extLst>
                <a:ext uri="{FF2B5EF4-FFF2-40B4-BE49-F238E27FC236}">
                  <a16:creationId xmlns:a16="http://schemas.microsoft.com/office/drawing/2014/main" id="{8559B96D-208E-4C41-9D1D-34B4D57BBCA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40361237"/>
                </p:ext>
              </p:extLst>
            </p:nvPr>
          </p:nvGraphicFramePr>
          <p:xfrm>
            <a:off x="1514469" y="2293414"/>
            <a:ext cx="4146712" cy="29269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0134A1B-A50D-4C5D-9FA6-314D6B8B8F25}"/>
                </a:ext>
              </a:extLst>
            </p:cNvPr>
            <p:cNvSpPr txBox="1"/>
            <p:nvPr/>
          </p:nvSpPr>
          <p:spPr>
            <a:xfrm>
              <a:off x="2910619" y="3372676"/>
              <a:ext cx="1443052" cy="7929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371546"/>
              <a:r>
                <a:rPr lang="es-CL" sz="3200" b="1" dirty="0">
                  <a:solidFill>
                    <a:srgbClr val="9BC554"/>
                  </a:solidFill>
                  <a:latin typeface="Arial Nova" panose="020B0504020202020204" pitchFamily="34" charset="0"/>
                </a:rPr>
                <a:t>-34.2/y</a:t>
              </a:r>
            </a:p>
            <a:p>
              <a:pPr algn="ctr" defTabSz="1371546"/>
              <a:r>
                <a:rPr lang="es-CL" sz="3200" b="1" dirty="0" err="1">
                  <a:solidFill>
                    <a:srgbClr val="9BC554"/>
                  </a:solidFill>
                  <a:latin typeface="Arial Nova" panose="020B0504020202020204" pitchFamily="34" charset="0"/>
                </a:rPr>
                <a:t>Gt</a:t>
              </a:r>
              <a:r>
                <a:rPr lang="es-CL" sz="3200" b="1" dirty="0">
                  <a:solidFill>
                    <a:srgbClr val="9BC554"/>
                  </a:solidFill>
                  <a:latin typeface="Arial Nova" panose="020B0504020202020204" pitchFamily="34" charset="0"/>
                </a:rPr>
                <a:t> CO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6E52E84-3F55-4738-BCA4-8D339DF67A45}"/>
                </a:ext>
              </a:extLst>
            </p:cNvPr>
            <p:cNvSpPr txBox="1"/>
            <p:nvPr/>
          </p:nvSpPr>
          <p:spPr>
            <a:xfrm>
              <a:off x="4871707" y="2650461"/>
              <a:ext cx="1149718" cy="4757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371546"/>
              <a:r>
                <a:rPr lang="es-CL" sz="2000" b="1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Energías</a:t>
              </a:r>
            </a:p>
            <a:p>
              <a:pPr defTabSz="1371546"/>
              <a:r>
                <a:rPr lang="es-CL" sz="2000" b="1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Renovable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F8EEEEB-C4DE-4189-8A77-8CC13533F4E7}"/>
                </a:ext>
              </a:extLst>
            </p:cNvPr>
            <p:cNvSpPr txBox="1"/>
            <p:nvPr/>
          </p:nvSpPr>
          <p:spPr>
            <a:xfrm>
              <a:off x="4663349" y="4694602"/>
              <a:ext cx="1046801" cy="4626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defTabSz="1371546">
                <a:defRPr sz="1800" b="1">
                  <a:solidFill>
                    <a:srgbClr val="2262A1"/>
                  </a:solidFill>
                  <a:latin typeface="Arial Nova" panose="020B0504020202020204" pitchFamily="34" charset="0"/>
                </a:defRPr>
              </a:lvl1pPr>
            </a:lstStyle>
            <a:p>
              <a:r>
                <a:rPr lang="es-CL" sz="2000" dirty="0"/>
                <a:t>Eficiencia</a:t>
              </a:r>
            </a:p>
            <a:p>
              <a:r>
                <a:rPr lang="es-CL" sz="2000" dirty="0"/>
                <a:t>Energética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702B0C6-D3DF-4484-BDFB-3E6073EAE469}"/>
                </a:ext>
              </a:extLst>
            </p:cNvPr>
            <p:cNvSpPr txBox="1"/>
            <p:nvPr/>
          </p:nvSpPr>
          <p:spPr>
            <a:xfrm>
              <a:off x="1643199" y="4657315"/>
              <a:ext cx="1350423" cy="5832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371546"/>
              <a:r>
                <a:rPr lang="es-CL" sz="3200" b="1" dirty="0">
                  <a:solidFill>
                    <a:srgbClr val="9BC554"/>
                  </a:solidFill>
                  <a:latin typeface="Arial Nova" panose="020B0504020202020204" pitchFamily="34" charset="0"/>
                </a:rPr>
                <a:t>19%</a:t>
              </a:r>
            </a:p>
            <a:p>
              <a:pPr defTabSz="1371546"/>
              <a:r>
                <a:rPr lang="es-CL" sz="2000" b="1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Electrificación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344A7C3-FE85-4B6B-80A5-E1C625780529}"/>
                </a:ext>
              </a:extLst>
            </p:cNvPr>
            <p:cNvSpPr txBox="1"/>
            <p:nvPr/>
          </p:nvSpPr>
          <p:spPr>
            <a:xfrm>
              <a:off x="358112" y="3531363"/>
              <a:ext cx="1028289" cy="2614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defTabSz="1371546">
                <a:defRPr sz="1800" b="1">
                  <a:solidFill>
                    <a:srgbClr val="2262A1"/>
                  </a:solidFill>
                  <a:latin typeface="Arial Nova" panose="020B0504020202020204" pitchFamily="34" charset="0"/>
                </a:defRPr>
              </a:lvl1pPr>
            </a:lstStyle>
            <a:p>
              <a:r>
                <a:rPr lang="es-CL" sz="2000" dirty="0"/>
                <a:t>Hidrógeno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A166591-0075-49F0-8BA4-F1A9CB3B9920}"/>
                </a:ext>
              </a:extLst>
            </p:cNvPr>
            <p:cNvSpPr txBox="1"/>
            <p:nvPr/>
          </p:nvSpPr>
          <p:spPr>
            <a:xfrm>
              <a:off x="273978" y="2104055"/>
              <a:ext cx="2151529" cy="475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defTabSz="1371546">
                <a:defRPr sz="1800" b="1">
                  <a:solidFill>
                    <a:srgbClr val="2262A1"/>
                  </a:solidFill>
                  <a:latin typeface="Arial Nova" panose="020B0504020202020204" pitchFamily="34" charset="0"/>
                </a:defRPr>
              </a:lvl1pPr>
            </a:lstStyle>
            <a:p>
              <a:r>
                <a:rPr lang="es-CL" sz="2000" dirty="0"/>
                <a:t>Bioenergía + Captura de CO2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95533CC-A8E7-4623-ACCB-5FFD021553FC}"/>
                </a:ext>
              </a:extLst>
            </p:cNvPr>
            <p:cNvSpPr txBox="1"/>
            <p:nvPr/>
          </p:nvSpPr>
          <p:spPr>
            <a:xfrm>
              <a:off x="2362029" y="2152956"/>
              <a:ext cx="1015881" cy="3851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s-CL" sz="2800" b="1" dirty="0">
                  <a:solidFill>
                    <a:srgbClr val="9BC554"/>
                  </a:solidFill>
                  <a:latin typeface="Arial Nova" panose="020B0504020202020204" pitchFamily="34" charset="0"/>
                </a:rPr>
                <a:t>19%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248F461-DA44-4473-9F78-DA29D8D9833B}"/>
                </a:ext>
              </a:extLst>
            </p:cNvPr>
            <p:cNvSpPr txBox="1"/>
            <p:nvPr/>
          </p:nvSpPr>
          <p:spPr>
            <a:xfrm>
              <a:off x="4367886" y="2279583"/>
              <a:ext cx="963005" cy="3851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s-CL" sz="2800" b="1">
                  <a:solidFill>
                    <a:srgbClr val="9BC554"/>
                  </a:solidFill>
                  <a:latin typeface="Arial Nova" panose="020B0504020202020204" pitchFamily="34" charset="0"/>
                </a:rPr>
                <a:t>25%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0E43C08-3E01-4650-9492-DC301F30AD5A}"/>
                </a:ext>
              </a:extLst>
            </p:cNvPr>
            <p:cNvSpPr txBox="1"/>
            <p:nvPr/>
          </p:nvSpPr>
          <p:spPr>
            <a:xfrm>
              <a:off x="4833999" y="4328265"/>
              <a:ext cx="1026626" cy="3851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s-CL" sz="2800" b="1" dirty="0">
                  <a:solidFill>
                    <a:srgbClr val="9BC554"/>
                  </a:solidFill>
                  <a:latin typeface="Arial Nova" panose="020B0504020202020204" pitchFamily="34" charset="0"/>
                </a:rPr>
                <a:t>25%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88F45DC-B876-4D5F-B4CF-D2FDE6831359}"/>
                </a:ext>
              </a:extLst>
            </p:cNvPr>
            <p:cNvSpPr txBox="1"/>
            <p:nvPr/>
          </p:nvSpPr>
          <p:spPr>
            <a:xfrm>
              <a:off x="1304596" y="3500272"/>
              <a:ext cx="996417" cy="3851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s-CL" sz="2800" b="1" dirty="0">
                  <a:solidFill>
                    <a:srgbClr val="9BC554"/>
                  </a:solidFill>
                  <a:latin typeface="Arial Nova" panose="020B0504020202020204" pitchFamily="34" charset="0"/>
                </a:rPr>
                <a:t>12%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EFAC8BB2-4CEE-412F-846F-429560CA3BA7}"/>
              </a:ext>
            </a:extLst>
          </p:cNvPr>
          <p:cNvSpPr txBox="1"/>
          <p:nvPr/>
        </p:nvSpPr>
        <p:spPr>
          <a:xfrm>
            <a:off x="10978039" y="9836427"/>
            <a:ext cx="712601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371546"/>
            <a:r>
              <a:rPr lang="en-US" sz="1350" dirty="0">
                <a:solidFill>
                  <a:srgbClr val="595959">
                    <a:lumMod val="40000"/>
                    <a:lumOff val="60000"/>
                  </a:srgbClr>
                </a:solidFill>
                <a:latin typeface="Arial"/>
              </a:rPr>
              <a:t>Fuente [11]: </a:t>
            </a:r>
            <a:r>
              <a:rPr lang="en-US" sz="1350" dirty="0">
                <a:solidFill>
                  <a:srgbClr val="595959">
                    <a:lumMod val="40000"/>
                    <a:lumOff val="6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RENA (2022,2024)</a:t>
            </a:r>
            <a:r>
              <a:rPr lang="en-US" sz="1350" dirty="0">
                <a:solidFill>
                  <a:srgbClr val="595959">
                    <a:lumMod val="40000"/>
                    <a:lumOff val="6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, </a:t>
            </a:r>
            <a:r>
              <a:rPr lang="en-US" sz="1350" dirty="0">
                <a:solidFill>
                  <a:srgbClr val="595959">
                    <a:lumMod val="40000"/>
                    <a:lumOff val="6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PCC (2022)</a:t>
            </a:r>
            <a:r>
              <a:rPr lang="en-US" sz="1350" dirty="0">
                <a:solidFill>
                  <a:srgbClr val="595959">
                    <a:lumMod val="40000"/>
                    <a:lumOff val="6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350" dirty="0">
              <a:solidFill>
                <a:srgbClr val="595959">
                  <a:lumMod val="40000"/>
                  <a:lumOff val="60000"/>
                </a:srgbClr>
              </a:solidFill>
              <a:latin typeface="Arial"/>
            </a:endParaRPr>
          </a:p>
        </p:txBody>
      </p:sp>
      <p:pic>
        <p:nvPicPr>
          <p:cNvPr id="13" name="Picture 7">
            <a:extLst>
              <a:ext uri="{FF2B5EF4-FFF2-40B4-BE49-F238E27FC236}">
                <a16:creationId xmlns:a16="http://schemas.microsoft.com/office/drawing/2014/main" id="{A228A75E-3697-0C97-8936-C560ACA9034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2905997" y="88755"/>
            <a:ext cx="1515755" cy="13734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1EDA95-D464-6D93-6D4C-75BA0BA6F7DE}"/>
              </a:ext>
            </a:extLst>
          </p:cNvPr>
          <p:cNvSpPr txBox="1"/>
          <p:nvPr/>
        </p:nvSpPr>
        <p:spPr>
          <a:xfrm>
            <a:off x="334971" y="8501200"/>
            <a:ext cx="506531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371546">
              <a:buClr>
                <a:srgbClr val="1A1A1A"/>
              </a:buClr>
            </a:pPr>
            <a:r>
              <a:rPr lang="es-CL" sz="2000" b="0" kern="0" dirty="0">
                <a:solidFill>
                  <a:srgbClr val="2D92AD"/>
                </a:solidFill>
                <a:latin typeface="Arial Nova" panose="020B0504020202020204" pitchFamily="34" charset="0"/>
              </a:rPr>
              <a:t>El planeta necesita </a:t>
            </a:r>
            <a:r>
              <a:rPr lang="es-CL" sz="2000" b="1" kern="0" dirty="0">
                <a:solidFill>
                  <a:srgbClr val="2D92AD"/>
                </a:solidFill>
                <a:latin typeface="Arial Nova" panose="020B0504020202020204" pitchFamily="34" charset="0"/>
              </a:rPr>
              <a:t>reducir en cerca del 45% de las emisiones en esta década</a:t>
            </a:r>
            <a:r>
              <a:rPr lang="es-CL" sz="2000" kern="0" dirty="0">
                <a:solidFill>
                  <a:srgbClr val="2D92AD"/>
                </a:solidFill>
                <a:latin typeface="Arial Nova" panose="020B0504020202020204" pitchFamily="34" charset="0"/>
              </a:rPr>
              <a:t> </a:t>
            </a:r>
            <a:r>
              <a:rPr lang="es-CL" sz="2000" b="0" kern="0" dirty="0">
                <a:solidFill>
                  <a:srgbClr val="2D92AD"/>
                </a:solidFill>
                <a:latin typeface="Arial Nova" panose="020B0504020202020204" pitchFamily="34" charset="0"/>
              </a:rPr>
              <a:t>(hasta el 2030) para no entrar en un escenario irreversib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499B83-7774-CF9A-6BB1-37C2BFFF6626}"/>
              </a:ext>
            </a:extLst>
          </p:cNvPr>
          <p:cNvSpPr/>
          <p:nvPr/>
        </p:nvSpPr>
        <p:spPr>
          <a:xfrm>
            <a:off x="7195742" y="4419286"/>
            <a:ext cx="2597426" cy="78442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194325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>
            <a:extLst>
              <a:ext uri="{FF2B5EF4-FFF2-40B4-BE49-F238E27FC236}">
                <a16:creationId xmlns:a16="http://schemas.microsoft.com/office/drawing/2014/main" id="{AD4E383B-3468-C0DE-B80A-C48742C8ED58}"/>
              </a:ext>
            </a:extLst>
          </p:cNvPr>
          <p:cNvSpPr/>
          <p:nvPr/>
        </p:nvSpPr>
        <p:spPr>
          <a:xfrm>
            <a:off x="-23446" y="0"/>
            <a:ext cx="18311446" cy="1906334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48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F915E078-A82B-8561-443E-2BB91E3B9C1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4765" y="183999"/>
            <a:ext cx="1697708" cy="1538336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C1A7CD1F-86E2-A325-7998-7DBC5644FD22}"/>
              </a:ext>
            </a:extLst>
          </p:cNvPr>
          <p:cNvSpPr txBox="1"/>
          <p:nvPr/>
        </p:nvSpPr>
        <p:spPr>
          <a:xfrm>
            <a:off x="487424" y="383208"/>
            <a:ext cx="158673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4000" b="1" dirty="0">
                <a:solidFill>
                  <a:schemeClr val="bg1"/>
                </a:solidFill>
                <a:latin typeface="Aptos" panose="020B0004020202020204" pitchFamily="34" charset="0"/>
              </a:rPr>
              <a:t>La minería desempeñará un rol crucial en la transición hacia la energía limpia, el hidrógeno y la descarbonización</a:t>
            </a:r>
            <a:endParaRPr lang="es-PE" sz="4000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F1009AE9-8D5F-948A-0428-00C05260B417}"/>
              </a:ext>
            </a:extLst>
          </p:cNvPr>
          <p:cNvSpPr txBox="1"/>
          <p:nvPr/>
        </p:nvSpPr>
        <p:spPr>
          <a:xfrm>
            <a:off x="16231643" y="9866760"/>
            <a:ext cx="1943951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37160" tIns="68580" rIns="137160" bIns="6858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200" i="1">
                <a:solidFill>
                  <a:schemeClr val="bg1">
                    <a:lumMod val="65000"/>
                  </a:schemeClr>
                </a:solidFill>
                <a:latin typeface="Arial Nova"/>
              </a:rPr>
              <a:t>Fuente: IEA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9D78FFF1-E5F4-92A9-854A-81FBD1299AEC}"/>
              </a:ext>
            </a:extLst>
          </p:cNvPr>
          <p:cNvSpPr/>
          <p:nvPr/>
        </p:nvSpPr>
        <p:spPr>
          <a:xfrm>
            <a:off x="3799427" y="6795511"/>
            <a:ext cx="1893946" cy="1222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2D114AF6-FCE1-8C3E-B555-79D7BD552E77}"/>
              </a:ext>
            </a:extLst>
          </p:cNvPr>
          <p:cNvSpPr/>
          <p:nvPr/>
        </p:nvSpPr>
        <p:spPr>
          <a:xfrm>
            <a:off x="5940500" y="6795511"/>
            <a:ext cx="1893946" cy="1222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72DF5DA8-61EC-F0C7-0ECE-57B33BAEBAD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6072"/>
          <a:stretch/>
        </p:blipFill>
        <p:spPr>
          <a:xfrm>
            <a:off x="10560598" y="2615981"/>
            <a:ext cx="7614996" cy="3689932"/>
          </a:xfrm>
          <a:prstGeom prst="rect">
            <a:avLst/>
          </a:prstGeom>
        </p:spPr>
      </p:pic>
      <p:sp>
        <p:nvSpPr>
          <p:cNvPr id="56" name="CuadroTexto 55">
            <a:extLst>
              <a:ext uri="{FF2B5EF4-FFF2-40B4-BE49-F238E27FC236}">
                <a16:creationId xmlns:a16="http://schemas.microsoft.com/office/drawing/2014/main" id="{FF503E30-948A-2326-4A64-E49CEB21A08C}"/>
              </a:ext>
            </a:extLst>
          </p:cNvPr>
          <p:cNvSpPr txBox="1"/>
          <p:nvPr/>
        </p:nvSpPr>
        <p:spPr>
          <a:xfrm>
            <a:off x="278150" y="8304637"/>
            <a:ext cx="506247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000" dirty="0">
                <a:solidFill>
                  <a:srgbClr val="2262A1"/>
                </a:solidFill>
                <a:latin typeface="Arial Nova" panose="020B0504020202020204" pitchFamily="34" charset="0"/>
              </a:rPr>
              <a:t>Esta importancia se destaca por su </a:t>
            </a:r>
            <a:r>
              <a:rPr lang="es-MX" sz="2000" b="1" dirty="0">
                <a:solidFill>
                  <a:srgbClr val="2262A1"/>
                </a:solidFill>
                <a:latin typeface="Arial Nova" panose="020B0504020202020204" pitchFamily="34" charset="0"/>
              </a:rPr>
              <a:t>suministro global de materias primas críticas </a:t>
            </a:r>
            <a:r>
              <a:rPr lang="es-MX" sz="2000" dirty="0">
                <a:solidFill>
                  <a:srgbClr val="2262A1"/>
                </a:solidFill>
                <a:latin typeface="Arial Nova" panose="020B0504020202020204" pitchFamily="34" charset="0"/>
              </a:rPr>
              <a:t>necesarias para el avance y la implementación de fuentes .</a:t>
            </a:r>
          </a:p>
        </p:txBody>
      </p:sp>
      <p:sp>
        <p:nvSpPr>
          <p:cNvPr id="4" name="TextBox 15425">
            <a:extLst>
              <a:ext uri="{FF2B5EF4-FFF2-40B4-BE49-F238E27FC236}">
                <a16:creationId xmlns:a16="http://schemas.microsoft.com/office/drawing/2014/main" id="{35CEDD8C-A1DA-DC16-5C9B-5E11420C37D3}"/>
              </a:ext>
            </a:extLst>
          </p:cNvPr>
          <p:cNvSpPr txBox="1"/>
          <p:nvPr/>
        </p:nvSpPr>
        <p:spPr>
          <a:xfrm>
            <a:off x="10859668" y="1997246"/>
            <a:ext cx="742833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000" b="1" dirty="0">
                <a:solidFill>
                  <a:srgbClr val="2D92AD"/>
                </a:solidFill>
                <a:latin typeface="Aptos" panose="020B0004020202020204" pitchFamily="34" charset="0"/>
              </a:rPr>
              <a:t>Demanda de minerales críticos total para tecnologías de energía limpia por escenario (Mt)</a:t>
            </a:r>
            <a:endParaRPr lang="en-US" sz="2000" b="1" dirty="0">
              <a:solidFill>
                <a:srgbClr val="2D92AD"/>
              </a:solidFill>
              <a:latin typeface="Aptos" panose="020B00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E8AD43C5-2ED1-1D96-D493-43239925717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7055" b="9879"/>
          <a:stretch/>
        </p:blipFill>
        <p:spPr>
          <a:xfrm>
            <a:off x="10560598" y="7040001"/>
            <a:ext cx="7541561" cy="3247000"/>
          </a:xfrm>
          <a:prstGeom prst="rect">
            <a:avLst/>
          </a:prstGeom>
        </p:spPr>
      </p:pic>
      <p:sp>
        <p:nvSpPr>
          <p:cNvPr id="3" name="TextBox 15425">
            <a:extLst>
              <a:ext uri="{FF2B5EF4-FFF2-40B4-BE49-F238E27FC236}">
                <a16:creationId xmlns:a16="http://schemas.microsoft.com/office/drawing/2014/main" id="{9AAB384E-BC17-8A42-1456-1C1BEF4512C5}"/>
              </a:ext>
            </a:extLst>
          </p:cNvPr>
          <p:cNvSpPr txBox="1"/>
          <p:nvPr/>
        </p:nvSpPr>
        <p:spPr>
          <a:xfrm>
            <a:off x="10560598" y="6542815"/>
            <a:ext cx="74283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rgbClr val="2D92AD"/>
                </a:solidFill>
                <a:latin typeface="Aptos" panose="020B0004020202020204" pitchFamily="34" charset="0"/>
              </a:defRPr>
            </a:lvl1pPr>
          </a:lstStyle>
          <a:p>
            <a:r>
              <a:rPr lang="es-MX" dirty="0"/>
              <a:t>Demanda global de minerales críticos en el escenario de NZE </a:t>
            </a:r>
            <a:endParaRPr lang="en-US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B682D36A-6718-5256-3E52-9010FE86AB0A}"/>
              </a:ext>
            </a:extLst>
          </p:cNvPr>
          <p:cNvSpPr txBox="1"/>
          <p:nvPr/>
        </p:nvSpPr>
        <p:spPr>
          <a:xfrm>
            <a:off x="361323" y="9943704"/>
            <a:ext cx="915924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Fuentes [2] BDO, Natural resources and mining report 2024. (2024).  [3] IEA, Global Critical Minerals Outlook 2024.</a:t>
            </a:r>
            <a:endParaRPr lang="es-PE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82319EF-29E5-E438-3C3C-220345DC0570}"/>
              </a:ext>
            </a:extLst>
          </p:cNvPr>
          <p:cNvGrpSpPr/>
          <p:nvPr/>
        </p:nvGrpSpPr>
        <p:grpSpPr>
          <a:xfrm>
            <a:off x="360385" y="2764002"/>
            <a:ext cx="11092095" cy="5203110"/>
            <a:chOff x="284453" y="1712887"/>
            <a:chExt cx="6162275" cy="2890617"/>
          </a:xfrm>
        </p:grpSpPr>
        <p:grpSp>
          <p:nvGrpSpPr>
            <p:cNvPr id="15" name="object 9">
              <a:extLst>
                <a:ext uri="{FF2B5EF4-FFF2-40B4-BE49-F238E27FC236}">
                  <a16:creationId xmlns:a16="http://schemas.microsoft.com/office/drawing/2014/main" id="{678BD973-C8B4-012D-26C2-7736945E3AED}"/>
                </a:ext>
              </a:extLst>
            </p:cNvPr>
            <p:cNvGrpSpPr/>
            <p:nvPr/>
          </p:nvGrpSpPr>
          <p:grpSpPr>
            <a:xfrm>
              <a:off x="1241279" y="1712887"/>
              <a:ext cx="5113020" cy="2376170"/>
              <a:chOff x="1505974" y="1351940"/>
              <a:chExt cx="5113020" cy="2376170"/>
            </a:xfrm>
          </p:grpSpPr>
          <p:sp>
            <p:nvSpPr>
              <p:cNvPr id="27" name="object 10">
                <a:extLst>
                  <a:ext uri="{FF2B5EF4-FFF2-40B4-BE49-F238E27FC236}">
                    <a16:creationId xmlns:a16="http://schemas.microsoft.com/office/drawing/2014/main" id="{351A4BE7-30DD-0DC1-942F-F9C5EAB456F4}"/>
                  </a:ext>
                </a:extLst>
              </p:cNvPr>
              <p:cNvSpPr/>
              <p:nvPr/>
            </p:nvSpPr>
            <p:spPr>
              <a:xfrm>
                <a:off x="2383798" y="1351941"/>
                <a:ext cx="2542540" cy="2345690"/>
              </a:xfrm>
              <a:custGeom>
                <a:avLst/>
                <a:gdLst/>
                <a:ahLst/>
                <a:cxnLst/>
                <a:rect l="l" t="t" r="r" b="b"/>
                <a:pathLst>
                  <a:path w="2542540" h="2345690">
                    <a:moveTo>
                      <a:pt x="0" y="2257055"/>
                    </a:moveTo>
                    <a:lnTo>
                      <a:pt x="0" y="2345436"/>
                    </a:lnTo>
                  </a:path>
                  <a:path w="2542540" h="2345690">
                    <a:moveTo>
                      <a:pt x="0" y="1964434"/>
                    </a:moveTo>
                    <a:lnTo>
                      <a:pt x="0" y="2139707"/>
                    </a:lnTo>
                  </a:path>
                  <a:path w="2542540" h="2345690">
                    <a:moveTo>
                      <a:pt x="0" y="1670302"/>
                    </a:moveTo>
                    <a:lnTo>
                      <a:pt x="0" y="1847086"/>
                    </a:lnTo>
                  </a:path>
                  <a:path w="2542540" h="2345690">
                    <a:moveTo>
                      <a:pt x="0" y="1377694"/>
                    </a:moveTo>
                    <a:lnTo>
                      <a:pt x="0" y="1552967"/>
                    </a:lnTo>
                  </a:path>
                  <a:path w="2542540" h="2345690">
                    <a:moveTo>
                      <a:pt x="0" y="1085086"/>
                    </a:moveTo>
                    <a:lnTo>
                      <a:pt x="0" y="1260359"/>
                    </a:lnTo>
                  </a:path>
                  <a:path w="2542540" h="2345690">
                    <a:moveTo>
                      <a:pt x="0" y="790954"/>
                    </a:moveTo>
                    <a:lnTo>
                      <a:pt x="0" y="967751"/>
                    </a:lnTo>
                  </a:path>
                  <a:path w="2542540" h="2345690">
                    <a:moveTo>
                      <a:pt x="0" y="205738"/>
                    </a:moveTo>
                    <a:lnTo>
                      <a:pt x="0" y="380998"/>
                    </a:lnTo>
                  </a:path>
                  <a:path w="2542540" h="2345690">
                    <a:moveTo>
                      <a:pt x="0" y="0"/>
                    </a:moveTo>
                    <a:lnTo>
                      <a:pt x="0" y="88390"/>
                    </a:lnTo>
                  </a:path>
                  <a:path w="2542540" h="2345690">
                    <a:moveTo>
                      <a:pt x="847344" y="205738"/>
                    </a:moveTo>
                    <a:lnTo>
                      <a:pt x="847344" y="380998"/>
                    </a:lnTo>
                  </a:path>
                  <a:path w="2542540" h="2345690">
                    <a:moveTo>
                      <a:pt x="847344" y="0"/>
                    </a:moveTo>
                    <a:lnTo>
                      <a:pt x="847344" y="88390"/>
                    </a:lnTo>
                  </a:path>
                  <a:path w="2542540" h="2345690">
                    <a:moveTo>
                      <a:pt x="1694688" y="205738"/>
                    </a:moveTo>
                    <a:lnTo>
                      <a:pt x="1694688" y="380998"/>
                    </a:lnTo>
                  </a:path>
                  <a:path w="2542540" h="2345690">
                    <a:moveTo>
                      <a:pt x="1694688" y="0"/>
                    </a:moveTo>
                    <a:lnTo>
                      <a:pt x="1694688" y="88390"/>
                    </a:lnTo>
                  </a:path>
                  <a:path w="2542540" h="2345690">
                    <a:moveTo>
                      <a:pt x="2542032" y="205738"/>
                    </a:moveTo>
                    <a:lnTo>
                      <a:pt x="2542032" y="2345436"/>
                    </a:lnTo>
                  </a:path>
                  <a:path w="2542540" h="2345690">
                    <a:moveTo>
                      <a:pt x="2542032" y="0"/>
                    </a:moveTo>
                    <a:lnTo>
                      <a:pt x="2542032" y="88390"/>
                    </a:lnTo>
                  </a:path>
                </a:pathLst>
              </a:custGeom>
              <a:ln w="9525">
                <a:solidFill>
                  <a:srgbClr val="7E8080"/>
                </a:solidFill>
              </a:ln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28" name="object 11">
                <a:extLst>
                  <a:ext uri="{FF2B5EF4-FFF2-40B4-BE49-F238E27FC236}">
                    <a16:creationId xmlns:a16="http://schemas.microsoft.com/office/drawing/2014/main" id="{7BE3CCE3-B740-C968-91F7-B4C53B8389B9}"/>
                  </a:ext>
                </a:extLst>
              </p:cNvPr>
              <p:cNvSpPr/>
              <p:nvPr/>
            </p:nvSpPr>
            <p:spPr>
              <a:xfrm>
                <a:off x="1536458" y="1440332"/>
                <a:ext cx="4185285" cy="117475"/>
              </a:xfrm>
              <a:custGeom>
                <a:avLst/>
                <a:gdLst/>
                <a:ahLst/>
                <a:cxnLst/>
                <a:rect l="l" t="t" r="r" b="b"/>
                <a:pathLst>
                  <a:path w="4185285" h="117475">
                    <a:moveTo>
                      <a:pt x="4184904" y="0"/>
                    </a:moveTo>
                    <a:lnTo>
                      <a:pt x="0" y="0"/>
                    </a:lnTo>
                    <a:lnTo>
                      <a:pt x="0" y="117348"/>
                    </a:lnTo>
                    <a:lnTo>
                      <a:pt x="4184904" y="117348"/>
                    </a:lnTo>
                    <a:lnTo>
                      <a:pt x="4184904" y="0"/>
                    </a:lnTo>
                    <a:close/>
                  </a:path>
                </a:pathLst>
              </a:custGeom>
              <a:solidFill>
                <a:srgbClr val="00AB4E"/>
              </a:solidFill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29" name="object 12">
                <a:extLst>
                  <a:ext uri="{FF2B5EF4-FFF2-40B4-BE49-F238E27FC236}">
                    <a16:creationId xmlns:a16="http://schemas.microsoft.com/office/drawing/2014/main" id="{F27EA51A-88AD-70FB-493F-F4D08AA7B73D}"/>
                  </a:ext>
                </a:extLst>
              </p:cNvPr>
              <p:cNvSpPr/>
              <p:nvPr/>
            </p:nvSpPr>
            <p:spPr>
              <a:xfrm>
                <a:off x="3231142" y="2142896"/>
                <a:ext cx="0" cy="469900"/>
              </a:xfrm>
              <a:custGeom>
                <a:avLst/>
                <a:gdLst/>
                <a:ahLst/>
                <a:cxnLst/>
                <a:rect l="l" t="t" r="r" b="b"/>
                <a:pathLst>
                  <a:path h="469900">
                    <a:moveTo>
                      <a:pt x="0" y="294132"/>
                    </a:moveTo>
                    <a:lnTo>
                      <a:pt x="0" y="469404"/>
                    </a:lnTo>
                  </a:path>
                  <a:path h="469900">
                    <a:moveTo>
                      <a:pt x="0" y="0"/>
                    </a:moveTo>
                    <a:lnTo>
                      <a:pt x="0" y="176796"/>
                    </a:lnTo>
                  </a:path>
                </a:pathLst>
              </a:custGeom>
              <a:ln w="9525">
                <a:solidFill>
                  <a:srgbClr val="7E8080"/>
                </a:solidFill>
              </a:ln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30" name="object 13">
                <a:extLst>
                  <a:ext uri="{FF2B5EF4-FFF2-40B4-BE49-F238E27FC236}">
                    <a16:creationId xmlns:a16="http://schemas.microsoft.com/office/drawing/2014/main" id="{FA15972D-6077-B6F4-08DD-CA1BA4C81F3E}"/>
                  </a:ext>
                </a:extLst>
              </p:cNvPr>
              <p:cNvSpPr/>
              <p:nvPr/>
            </p:nvSpPr>
            <p:spPr>
              <a:xfrm>
                <a:off x="1536458" y="2319693"/>
                <a:ext cx="1940560" cy="1289685"/>
              </a:xfrm>
              <a:custGeom>
                <a:avLst/>
                <a:gdLst/>
                <a:ahLst/>
                <a:cxnLst/>
                <a:rect l="l" t="t" r="r" b="b"/>
                <a:pathLst>
                  <a:path w="1940560" h="1289685">
                    <a:moveTo>
                      <a:pt x="1178052" y="1171956"/>
                    </a:moveTo>
                    <a:lnTo>
                      <a:pt x="0" y="1171956"/>
                    </a:lnTo>
                    <a:lnTo>
                      <a:pt x="0" y="1289304"/>
                    </a:lnTo>
                    <a:lnTo>
                      <a:pt x="1178052" y="1289304"/>
                    </a:lnTo>
                    <a:lnTo>
                      <a:pt x="1178052" y="1171956"/>
                    </a:lnTo>
                    <a:close/>
                  </a:path>
                  <a:path w="1940560" h="1289685">
                    <a:moveTo>
                      <a:pt x="1440180" y="585216"/>
                    </a:moveTo>
                    <a:lnTo>
                      <a:pt x="0" y="585216"/>
                    </a:lnTo>
                    <a:lnTo>
                      <a:pt x="0" y="702551"/>
                    </a:lnTo>
                    <a:lnTo>
                      <a:pt x="1440180" y="702551"/>
                    </a:lnTo>
                    <a:lnTo>
                      <a:pt x="1440180" y="585216"/>
                    </a:lnTo>
                    <a:close/>
                  </a:path>
                  <a:path w="1940560" h="1289685">
                    <a:moveTo>
                      <a:pt x="1940052" y="0"/>
                    </a:moveTo>
                    <a:lnTo>
                      <a:pt x="0" y="0"/>
                    </a:lnTo>
                    <a:lnTo>
                      <a:pt x="0" y="117335"/>
                    </a:lnTo>
                    <a:lnTo>
                      <a:pt x="1940052" y="117335"/>
                    </a:lnTo>
                    <a:lnTo>
                      <a:pt x="1940052" y="0"/>
                    </a:lnTo>
                    <a:close/>
                  </a:path>
                </a:pathLst>
              </a:custGeom>
              <a:solidFill>
                <a:srgbClr val="00AB4E"/>
              </a:solidFill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31" name="object 14">
                <a:extLst>
                  <a:ext uri="{FF2B5EF4-FFF2-40B4-BE49-F238E27FC236}">
                    <a16:creationId xmlns:a16="http://schemas.microsoft.com/office/drawing/2014/main" id="{1061F4B3-0F9A-3594-C515-20369DBB0325}"/>
                  </a:ext>
                </a:extLst>
              </p:cNvPr>
              <p:cNvSpPr/>
              <p:nvPr/>
            </p:nvSpPr>
            <p:spPr>
              <a:xfrm>
                <a:off x="3231142" y="2729636"/>
                <a:ext cx="0" cy="967740"/>
              </a:xfrm>
              <a:custGeom>
                <a:avLst/>
                <a:gdLst/>
                <a:ahLst/>
                <a:cxnLst/>
                <a:rect l="l" t="t" r="r" b="b"/>
                <a:pathLst>
                  <a:path h="967739">
                    <a:moveTo>
                      <a:pt x="0" y="0"/>
                    </a:moveTo>
                    <a:lnTo>
                      <a:pt x="0" y="967741"/>
                    </a:lnTo>
                  </a:path>
                </a:pathLst>
              </a:custGeom>
              <a:ln w="9525">
                <a:solidFill>
                  <a:srgbClr val="7E8080"/>
                </a:solidFill>
              </a:ln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32" name="object 15">
                <a:extLst>
                  <a:ext uri="{FF2B5EF4-FFF2-40B4-BE49-F238E27FC236}">
                    <a16:creationId xmlns:a16="http://schemas.microsoft.com/office/drawing/2014/main" id="{150DA6B4-23AA-856F-BA87-DC094035B7D4}"/>
                  </a:ext>
                </a:extLst>
              </p:cNvPr>
              <p:cNvSpPr/>
              <p:nvPr/>
            </p:nvSpPr>
            <p:spPr>
              <a:xfrm>
                <a:off x="1536458" y="2612301"/>
                <a:ext cx="1923414" cy="704215"/>
              </a:xfrm>
              <a:custGeom>
                <a:avLst/>
                <a:gdLst/>
                <a:ahLst/>
                <a:cxnLst/>
                <a:rect l="l" t="t" r="r" b="b"/>
                <a:pathLst>
                  <a:path w="1923414" h="704214">
                    <a:moveTo>
                      <a:pt x="1440180" y="586727"/>
                    </a:moveTo>
                    <a:lnTo>
                      <a:pt x="0" y="586727"/>
                    </a:lnTo>
                    <a:lnTo>
                      <a:pt x="0" y="704088"/>
                    </a:lnTo>
                    <a:lnTo>
                      <a:pt x="1440180" y="704088"/>
                    </a:lnTo>
                    <a:lnTo>
                      <a:pt x="1440180" y="586727"/>
                    </a:lnTo>
                    <a:close/>
                  </a:path>
                  <a:path w="1923414" h="704214">
                    <a:moveTo>
                      <a:pt x="1923288" y="0"/>
                    </a:moveTo>
                    <a:lnTo>
                      <a:pt x="0" y="0"/>
                    </a:lnTo>
                    <a:lnTo>
                      <a:pt x="0" y="117335"/>
                    </a:lnTo>
                    <a:lnTo>
                      <a:pt x="1923288" y="117335"/>
                    </a:lnTo>
                    <a:lnTo>
                      <a:pt x="1923288" y="0"/>
                    </a:lnTo>
                    <a:close/>
                  </a:path>
                </a:pathLst>
              </a:custGeom>
              <a:solidFill>
                <a:srgbClr val="B0B3B6"/>
              </a:solidFill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33" name="object 16">
                <a:extLst>
                  <a:ext uri="{FF2B5EF4-FFF2-40B4-BE49-F238E27FC236}">
                    <a16:creationId xmlns:a16="http://schemas.microsoft.com/office/drawing/2014/main" id="{789BE082-DD36-84DF-86D9-73901BDC8423}"/>
                  </a:ext>
                </a:extLst>
              </p:cNvPr>
              <p:cNvSpPr/>
              <p:nvPr/>
            </p:nvSpPr>
            <p:spPr>
              <a:xfrm>
                <a:off x="2383798" y="1850288"/>
                <a:ext cx="1694814" cy="1847214"/>
              </a:xfrm>
              <a:custGeom>
                <a:avLst/>
                <a:gdLst/>
                <a:ahLst/>
                <a:cxnLst/>
                <a:rect l="l" t="t" r="r" b="b"/>
                <a:pathLst>
                  <a:path w="1694814" h="1847214">
                    <a:moveTo>
                      <a:pt x="0" y="0"/>
                    </a:moveTo>
                    <a:lnTo>
                      <a:pt x="0" y="175259"/>
                    </a:lnTo>
                  </a:path>
                  <a:path w="1694814" h="1847214">
                    <a:moveTo>
                      <a:pt x="847344" y="0"/>
                    </a:moveTo>
                    <a:lnTo>
                      <a:pt x="847344" y="175259"/>
                    </a:lnTo>
                  </a:path>
                  <a:path w="1694814" h="1847214">
                    <a:moveTo>
                      <a:pt x="1694688" y="0"/>
                    </a:moveTo>
                    <a:lnTo>
                      <a:pt x="1694688" y="1847089"/>
                    </a:lnTo>
                  </a:path>
                </a:pathLst>
              </a:custGeom>
              <a:ln w="9525">
                <a:solidFill>
                  <a:srgbClr val="7E8080"/>
                </a:solidFill>
              </a:ln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34" name="object 17">
                <a:extLst>
                  <a:ext uri="{FF2B5EF4-FFF2-40B4-BE49-F238E27FC236}">
                    <a16:creationId xmlns:a16="http://schemas.microsoft.com/office/drawing/2014/main" id="{8FA8C23F-0FA5-EA06-A587-E7582BA4D50D}"/>
                  </a:ext>
                </a:extLst>
              </p:cNvPr>
              <p:cNvSpPr/>
              <p:nvPr/>
            </p:nvSpPr>
            <p:spPr>
              <a:xfrm>
                <a:off x="1536458" y="1732940"/>
                <a:ext cx="3287395" cy="410209"/>
              </a:xfrm>
              <a:custGeom>
                <a:avLst/>
                <a:gdLst/>
                <a:ahLst/>
                <a:cxnLst/>
                <a:rect l="l" t="t" r="r" b="b"/>
                <a:pathLst>
                  <a:path w="3287395" h="410210">
                    <a:moveTo>
                      <a:pt x="2330196" y="292608"/>
                    </a:moveTo>
                    <a:lnTo>
                      <a:pt x="0" y="292608"/>
                    </a:lnTo>
                    <a:lnTo>
                      <a:pt x="0" y="409956"/>
                    </a:lnTo>
                    <a:lnTo>
                      <a:pt x="2330196" y="409956"/>
                    </a:lnTo>
                    <a:lnTo>
                      <a:pt x="2330196" y="292608"/>
                    </a:lnTo>
                    <a:close/>
                  </a:path>
                  <a:path w="3287395" h="410210">
                    <a:moveTo>
                      <a:pt x="3287255" y="0"/>
                    </a:moveTo>
                    <a:lnTo>
                      <a:pt x="0" y="0"/>
                    </a:lnTo>
                    <a:lnTo>
                      <a:pt x="0" y="117348"/>
                    </a:lnTo>
                    <a:lnTo>
                      <a:pt x="3287255" y="117348"/>
                    </a:lnTo>
                    <a:lnTo>
                      <a:pt x="3287255" y="0"/>
                    </a:lnTo>
                    <a:close/>
                  </a:path>
                </a:pathLst>
              </a:custGeom>
              <a:solidFill>
                <a:srgbClr val="009596"/>
              </a:solidFill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35" name="object 19">
                <a:extLst>
                  <a:ext uri="{FF2B5EF4-FFF2-40B4-BE49-F238E27FC236}">
                    <a16:creationId xmlns:a16="http://schemas.microsoft.com/office/drawing/2014/main" id="{1AEEC935-EA7C-CCD7-65FF-DA5742CAA170}"/>
                  </a:ext>
                </a:extLst>
              </p:cNvPr>
              <p:cNvSpPr/>
              <p:nvPr/>
            </p:nvSpPr>
            <p:spPr>
              <a:xfrm>
                <a:off x="1536454" y="1351940"/>
                <a:ext cx="5082540" cy="2376170"/>
              </a:xfrm>
              <a:custGeom>
                <a:avLst/>
                <a:gdLst/>
                <a:ahLst/>
                <a:cxnLst/>
                <a:rect l="l" t="t" r="r" b="b"/>
                <a:pathLst>
                  <a:path w="5082540" h="2376170">
                    <a:moveTo>
                      <a:pt x="0" y="2345436"/>
                    </a:moveTo>
                    <a:lnTo>
                      <a:pt x="5082540" y="2345436"/>
                    </a:lnTo>
                  </a:path>
                  <a:path w="5082540" h="2376170">
                    <a:moveTo>
                      <a:pt x="0" y="2345436"/>
                    </a:moveTo>
                    <a:lnTo>
                      <a:pt x="0" y="2375916"/>
                    </a:lnTo>
                  </a:path>
                  <a:path w="5082540" h="2376170">
                    <a:moveTo>
                      <a:pt x="847344" y="2345436"/>
                    </a:moveTo>
                    <a:lnTo>
                      <a:pt x="847344" y="2375916"/>
                    </a:lnTo>
                  </a:path>
                  <a:path w="5082540" h="2376170">
                    <a:moveTo>
                      <a:pt x="1694688" y="2345436"/>
                    </a:moveTo>
                    <a:lnTo>
                      <a:pt x="1694688" y="2375916"/>
                    </a:lnTo>
                  </a:path>
                  <a:path w="5082540" h="2376170">
                    <a:moveTo>
                      <a:pt x="2542032" y="2345436"/>
                    </a:moveTo>
                    <a:lnTo>
                      <a:pt x="2542032" y="2375916"/>
                    </a:lnTo>
                  </a:path>
                  <a:path w="5082540" h="2376170">
                    <a:moveTo>
                      <a:pt x="3389376" y="2345436"/>
                    </a:moveTo>
                    <a:lnTo>
                      <a:pt x="3389376" y="2375916"/>
                    </a:lnTo>
                  </a:path>
                  <a:path w="5082540" h="2376170">
                    <a:moveTo>
                      <a:pt x="4235196" y="2345436"/>
                    </a:moveTo>
                    <a:lnTo>
                      <a:pt x="4235196" y="2375916"/>
                    </a:lnTo>
                  </a:path>
                  <a:path w="5082540" h="2376170">
                    <a:moveTo>
                      <a:pt x="5082540" y="2345436"/>
                    </a:moveTo>
                    <a:lnTo>
                      <a:pt x="5082540" y="2375916"/>
                    </a:lnTo>
                  </a:path>
                  <a:path w="5082540" h="2376170">
                    <a:moveTo>
                      <a:pt x="0" y="2345436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7E8080"/>
                </a:solidFill>
              </a:ln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36" name="object 20">
                <a:extLst>
                  <a:ext uri="{FF2B5EF4-FFF2-40B4-BE49-F238E27FC236}">
                    <a16:creationId xmlns:a16="http://schemas.microsoft.com/office/drawing/2014/main" id="{B12CCFD4-D9BA-57B0-6B20-29DA167FFB66}"/>
                  </a:ext>
                </a:extLst>
              </p:cNvPr>
              <p:cNvSpPr/>
              <p:nvPr/>
            </p:nvSpPr>
            <p:spPr>
              <a:xfrm>
                <a:off x="1505974" y="1351941"/>
                <a:ext cx="30480" cy="2345690"/>
              </a:xfrm>
              <a:custGeom>
                <a:avLst/>
                <a:gdLst/>
                <a:ahLst/>
                <a:cxnLst/>
                <a:rect l="l" t="t" r="r" b="b"/>
                <a:pathLst>
                  <a:path w="30480" h="2345690">
                    <a:moveTo>
                      <a:pt x="0" y="2345436"/>
                    </a:moveTo>
                    <a:lnTo>
                      <a:pt x="30480" y="2345436"/>
                    </a:lnTo>
                  </a:path>
                  <a:path w="30480" h="2345690">
                    <a:moveTo>
                      <a:pt x="0" y="2051304"/>
                    </a:moveTo>
                    <a:lnTo>
                      <a:pt x="30480" y="2051304"/>
                    </a:lnTo>
                  </a:path>
                  <a:path w="30480" h="2345690">
                    <a:moveTo>
                      <a:pt x="0" y="1758696"/>
                    </a:moveTo>
                    <a:lnTo>
                      <a:pt x="30480" y="1758696"/>
                    </a:lnTo>
                  </a:path>
                  <a:path w="30480" h="2345690">
                    <a:moveTo>
                      <a:pt x="0" y="1466088"/>
                    </a:moveTo>
                    <a:lnTo>
                      <a:pt x="30480" y="1466088"/>
                    </a:lnTo>
                  </a:path>
                  <a:path w="30480" h="2345690">
                    <a:moveTo>
                      <a:pt x="0" y="1171956"/>
                    </a:moveTo>
                    <a:lnTo>
                      <a:pt x="30480" y="1171956"/>
                    </a:lnTo>
                  </a:path>
                  <a:path w="30480" h="2345690">
                    <a:moveTo>
                      <a:pt x="0" y="879348"/>
                    </a:moveTo>
                    <a:lnTo>
                      <a:pt x="30480" y="879348"/>
                    </a:lnTo>
                  </a:path>
                  <a:path w="30480" h="2345690">
                    <a:moveTo>
                      <a:pt x="0" y="586740"/>
                    </a:moveTo>
                    <a:lnTo>
                      <a:pt x="30480" y="586740"/>
                    </a:lnTo>
                  </a:path>
                  <a:path w="30480" h="2345690">
                    <a:moveTo>
                      <a:pt x="0" y="292608"/>
                    </a:moveTo>
                    <a:lnTo>
                      <a:pt x="30480" y="292608"/>
                    </a:lnTo>
                  </a:path>
                  <a:path w="30480" h="2345690">
                    <a:moveTo>
                      <a:pt x="0" y="0"/>
                    </a:moveTo>
                    <a:lnTo>
                      <a:pt x="30480" y="0"/>
                    </a:lnTo>
                  </a:path>
                </a:pathLst>
              </a:custGeom>
              <a:ln w="9525">
                <a:solidFill>
                  <a:srgbClr val="7E8080"/>
                </a:solidFill>
              </a:ln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</p:grpSp>
        <p:sp>
          <p:nvSpPr>
            <p:cNvPr id="16" name="object 21">
              <a:extLst>
                <a:ext uri="{FF2B5EF4-FFF2-40B4-BE49-F238E27FC236}">
                  <a16:creationId xmlns:a16="http://schemas.microsoft.com/office/drawing/2014/main" id="{EFD24971-B2EE-508D-0590-6CF601A73EC6}"/>
                </a:ext>
              </a:extLst>
            </p:cNvPr>
            <p:cNvSpPr txBox="1"/>
            <p:nvPr/>
          </p:nvSpPr>
          <p:spPr>
            <a:xfrm>
              <a:off x="3730224" y="4095578"/>
              <a:ext cx="167640" cy="136576"/>
            </a:xfrm>
            <a:prstGeom prst="rect">
              <a:avLst/>
            </a:prstGeom>
          </p:spPr>
          <p:txBody>
            <a:bodyPr vert="horz" wrap="square" lIns="0" tIns="24003" rIns="0" bIns="0" rtlCol="0">
              <a:spAutoFit/>
            </a:bodyPr>
            <a:lstStyle/>
            <a:p>
              <a:pPr marL="22860">
                <a:spcBef>
                  <a:spcPts val="189"/>
                </a:spcBef>
              </a:pPr>
              <a:r>
                <a:rPr lang="es-PE" sz="1440" spc="-9" dirty="0">
                  <a:latin typeface="Arial Nova" panose="020B0504020202020204" pitchFamily="34" charset="0"/>
                  <a:cs typeface="Arial MT"/>
                </a:rPr>
                <a:t>3</a:t>
              </a:r>
              <a:r>
                <a:rPr lang="es-PE" sz="1440" dirty="0">
                  <a:latin typeface="Arial Nova" panose="020B0504020202020204" pitchFamily="34" charset="0"/>
                  <a:cs typeface="Arial MT"/>
                </a:rPr>
                <a:t>.0</a:t>
              </a:r>
            </a:p>
          </p:txBody>
        </p:sp>
        <p:sp>
          <p:nvSpPr>
            <p:cNvPr id="17" name="object 22">
              <a:extLst>
                <a:ext uri="{FF2B5EF4-FFF2-40B4-BE49-F238E27FC236}">
                  <a16:creationId xmlns:a16="http://schemas.microsoft.com/office/drawing/2014/main" id="{58DF9692-C37B-B4A9-907E-3EB4F6D15789}"/>
                </a:ext>
              </a:extLst>
            </p:cNvPr>
            <p:cNvSpPr txBox="1"/>
            <p:nvPr/>
          </p:nvSpPr>
          <p:spPr>
            <a:xfrm>
              <a:off x="4577414" y="4095578"/>
              <a:ext cx="167640" cy="136576"/>
            </a:xfrm>
            <a:prstGeom prst="rect">
              <a:avLst/>
            </a:prstGeom>
          </p:spPr>
          <p:txBody>
            <a:bodyPr vert="horz" wrap="square" lIns="0" tIns="24003" rIns="0" bIns="0" rtlCol="0">
              <a:spAutoFit/>
            </a:bodyPr>
            <a:lstStyle/>
            <a:p>
              <a:pPr marL="22860">
                <a:spcBef>
                  <a:spcPts val="189"/>
                </a:spcBef>
              </a:pPr>
              <a:r>
                <a:rPr lang="es-PE" sz="1440" spc="-9" dirty="0">
                  <a:latin typeface="Arial Nova" panose="020B0504020202020204" pitchFamily="34" charset="0"/>
                  <a:cs typeface="Arial MT"/>
                </a:rPr>
                <a:t>4</a:t>
              </a:r>
              <a:r>
                <a:rPr lang="es-PE" sz="1440" dirty="0">
                  <a:latin typeface="Arial Nova" panose="020B0504020202020204" pitchFamily="34" charset="0"/>
                  <a:cs typeface="Arial MT"/>
                </a:rPr>
                <a:t>.0</a:t>
              </a:r>
            </a:p>
          </p:txBody>
        </p:sp>
        <p:sp>
          <p:nvSpPr>
            <p:cNvPr id="18" name="object 23">
              <a:extLst>
                <a:ext uri="{FF2B5EF4-FFF2-40B4-BE49-F238E27FC236}">
                  <a16:creationId xmlns:a16="http://schemas.microsoft.com/office/drawing/2014/main" id="{AE5C77F4-ACEE-BA06-45E3-51460F79D9A4}"/>
                </a:ext>
              </a:extLst>
            </p:cNvPr>
            <p:cNvSpPr txBox="1"/>
            <p:nvPr/>
          </p:nvSpPr>
          <p:spPr>
            <a:xfrm>
              <a:off x="5424604" y="4095578"/>
              <a:ext cx="167640" cy="136576"/>
            </a:xfrm>
            <a:prstGeom prst="rect">
              <a:avLst/>
            </a:prstGeom>
          </p:spPr>
          <p:txBody>
            <a:bodyPr vert="horz" wrap="square" lIns="0" tIns="24003" rIns="0" bIns="0" rtlCol="0">
              <a:spAutoFit/>
            </a:bodyPr>
            <a:lstStyle/>
            <a:p>
              <a:pPr marL="22860">
                <a:spcBef>
                  <a:spcPts val="189"/>
                </a:spcBef>
              </a:pPr>
              <a:r>
                <a:rPr lang="es-PE" sz="1440" spc="-9" dirty="0">
                  <a:latin typeface="Arial Nova" panose="020B0504020202020204" pitchFamily="34" charset="0"/>
                  <a:cs typeface="Arial MT"/>
                </a:rPr>
                <a:t>5</a:t>
              </a:r>
              <a:r>
                <a:rPr lang="es-PE" sz="1440" dirty="0">
                  <a:latin typeface="Arial Nova" panose="020B0504020202020204" pitchFamily="34" charset="0"/>
                  <a:cs typeface="Arial MT"/>
                </a:rPr>
                <a:t>.0</a:t>
              </a:r>
            </a:p>
          </p:txBody>
        </p:sp>
        <p:grpSp>
          <p:nvGrpSpPr>
            <p:cNvPr id="19" name="object 25">
              <a:extLst>
                <a:ext uri="{FF2B5EF4-FFF2-40B4-BE49-F238E27FC236}">
                  <a16:creationId xmlns:a16="http://schemas.microsoft.com/office/drawing/2014/main" id="{4C0E2CBA-ACAA-8913-CCE7-4A3855B8630C}"/>
                </a:ext>
              </a:extLst>
            </p:cNvPr>
            <p:cNvGrpSpPr/>
            <p:nvPr/>
          </p:nvGrpSpPr>
          <p:grpSpPr>
            <a:xfrm>
              <a:off x="1541511" y="4460659"/>
              <a:ext cx="1696720" cy="52069"/>
              <a:chOff x="1806206" y="4099712"/>
              <a:chExt cx="1696720" cy="52069"/>
            </a:xfrm>
          </p:grpSpPr>
          <p:sp>
            <p:nvSpPr>
              <p:cNvPr id="25" name="object 26">
                <a:extLst>
                  <a:ext uri="{FF2B5EF4-FFF2-40B4-BE49-F238E27FC236}">
                    <a16:creationId xmlns:a16="http://schemas.microsoft.com/office/drawing/2014/main" id="{F79BAC2F-C2A2-0D0C-4EC5-4541FC59482F}"/>
                  </a:ext>
                </a:extLst>
              </p:cNvPr>
              <p:cNvSpPr/>
              <p:nvPr/>
            </p:nvSpPr>
            <p:spPr>
              <a:xfrm>
                <a:off x="1806206" y="4099712"/>
                <a:ext cx="50800" cy="52069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2070">
                    <a:moveTo>
                      <a:pt x="50292" y="0"/>
                    </a:moveTo>
                    <a:lnTo>
                      <a:pt x="0" y="0"/>
                    </a:lnTo>
                    <a:lnTo>
                      <a:pt x="0" y="51815"/>
                    </a:lnTo>
                    <a:lnTo>
                      <a:pt x="50292" y="51815"/>
                    </a:lnTo>
                    <a:lnTo>
                      <a:pt x="50292" y="0"/>
                    </a:lnTo>
                    <a:close/>
                  </a:path>
                </a:pathLst>
              </a:custGeom>
              <a:solidFill>
                <a:srgbClr val="00AB4E"/>
              </a:solidFill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  <p:sp>
            <p:nvSpPr>
              <p:cNvPr id="26" name="object 27">
                <a:extLst>
                  <a:ext uri="{FF2B5EF4-FFF2-40B4-BE49-F238E27FC236}">
                    <a16:creationId xmlns:a16="http://schemas.microsoft.com/office/drawing/2014/main" id="{E2370F37-59BF-F581-82AE-8D637FF234BC}"/>
                  </a:ext>
                </a:extLst>
              </p:cNvPr>
              <p:cNvSpPr/>
              <p:nvPr/>
            </p:nvSpPr>
            <p:spPr>
              <a:xfrm>
                <a:off x="3452126" y="4099712"/>
                <a:ext cx="50800" cy="52069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2070">
                    <a:moveTo>
                      <a:pt x="50291" y="0"/>
                    </a:moveTo>
                    <a:lnTo>
                      <a:pt x="0" y="0"/>
                    </a:lnTo>
                    <a:lnTo>
                      <a:pt x="0" y="51815"/>
                    </a:lnTo>
                    <a:lnTo>
                      <a:pt x="50291" y="51815"/>
                    </a:lnTo>
                    <a:lnTo>
                      <a:pt x="50291" y="0"/>
                    </a:lnTo>
                    <a:close/>
                  </a:path>
                </a:pathLst>
              </a:custGeom>
              <a:solidFill>
                <a:srgbClr val="B0B3B6"/>
              </a:solidFill>
            </p:spPr>
            <p:txBody>
              <a:bodyPr wrap="square" lIns="0" tIns="0" rIns="0" bIns="0" rtlCol="0"/>
              <a:lstStyle/>
              <a:p>
                <a:endParaRPr lang="es-PE" sz="4860" dirty="0">
                  <a:latin typeface="Arial Nova" panose="020B0504020202020204" pitchFamily="34" charset="0"/>
                </a:endParaRPr>
              </a:p>
            </p:txBody>
          </p:sp>
        </p:grpSp>
        <p:sp>
          <p:nvSpPr>
            <p:cNvPr id="20" name="object 28">
              <a:extLst>
                <a:ext uri="{FF2B5EF4-FFF2-40B4-BE49-F238E27FC236}">
                  <a16:creationId xmlns:a16="http://schemas.microsoft.com/office/drawing/2014/main" id="{B59C1D35-B71B-F226-D6CA-F9431E0F2FA8}"/>
                </a:ext>
              </a:extLst>
            </p:cNvPr>
            <p:cNvSpPr txBox="1"/>
            <p:nvPr/>
          </p:nvSpPr>
          <p:spPr>
            <a:xfrm>
              <a:off x="482986" y="1782219"/>
              <a:ext cx="3150235" cy="2821285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/>
            <a:p>
              <a:pPr marR="180594" algn="ctr">
                <a:spcBef>
                  <a:spcPts val="180"/>
                </a:spcBef>
                <a:tabLst>
                  <a:tab pos="4949190" algn="l"/>
                </a:tabLst>
              </a:pPr>
              <a:r>
                <a:rPr lang="es-PE" sz="2160" b="1" spc="-13" baseline="3472" dirty="0">
                  <a:latin typeface="Arial Nova" panose="020B0504020202020204" pitchFamily="34" charset="0"/>
                  <a:cs typeface="Arial MT"/>
                </a:rPr>
                <a:t>Offshore</a:t>
              </a:r>
              <a:r>
                <a:rPr lang="es-PE" sz="2160" b="1" baseline="3472" dirty="0">
                  <a:latin typeface="Arial Nova" panose="020B0504020202020204" pitchFamily="34" charset="0"/>
                  <a:cs typeface="Arial MT"/>
                </a:rPr>
                <a:t> </a:t>
              </a:r>
              <a:r>
                <a:rPr lang="es-PE" sz="2160" b="1" spc="-13" baseline="3472" dirty="0" err="1">
                  <a:latin typeface="Arial Nova" panose="020B0504020202020204" pitchFamily="34" charset="0"/>
                  <a:cs typeface="Arial MT"/>
                </a:rPr>
                <a:t>wind</a:t>
              </a:r>
              <a:r>
                <a:rPr lang="es-PE" sz="2160" b="1" spc="-13" baseline="3472" dirty="0">
                  <a:latin typeface="Arial Nova" panose="020B0504020202020204" pitchFamily="34" charset="0"/>
                  <a:cs typeface="Arial MT"/>
                </a:rPr>
                <a:t>	</a:t>
              </a:r>
              <a:r>
                <a:rPr lang="es-PE" sz="1440" b="1" dirty="0">
                  <a:solidFill>
                    <a:srgbClr val="FFFFFF"/>
                  </a:solidFill>
                  <a:latin typeface="Arial Nova" panose="020B0504020202020204" pitchFamily="34" charset="0"/>
                  <a:cs typeface="Arial MT"/>
                </a:rPr>
                <a:t>4.9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45"/>
                </a:spcBef>
              </a:pPr>
              <a:endParaRPr lang="es-PE" sz="2070" b="1" dirty="0">
                <a:latin typeface="Arial Nova" panose="020B0504020202020204" pitchFamily="34" charset="0"/>
                <a:cs typeface="Arial MT"/>
              </a:endParaRPr>
            </a:p>
            <a:p>
              <a:pPr marR="256032">
                <a:spcBef>
                  <a:spcPts val="9"/>
                </a:spcBef>
                <a:tabLst>
                  <a:tab pos="3409569" algn="l"/>
                </a:tabLst>
              </a:pPr>
              <a:r>
                <a:rPr lang="es-PE" sz="2160" b="1" spc="-13" baseline="3472" dirty="0">
                  <a:latin typeface="Arial Nova" panose="020B0504020202020204" pitchFamily="34" charset="0"/>
                  <a:cs typeface="Arial MT"/>
                </a:rPr>
                <a:t>      Mareomotriz 	</a:t>
              </a:r>
              <a:r>
                <a:rPr lang="es-PE" sz="1440" b="1" dirty="0">
                  <a:solidFill>
                    <a:srgbClr val="FFFFFF"/>
                  </a:solidFill>
                  <a:latin typeface="Arial Nova" panose="020B0504020202020204" pitchFamily="34" charset="0"/>
                  <a:cs typeface="Arial MT"/>
                </a:rPr>
                <a:t>3.9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45"/>
                </a:spcBef>
              </a:pPr>
              <a:endParaRPr lang="es-PE" sz="2070" b="1" dirty="0">
                <a:latin typeface="Arial Nova" panose="020B0504020202020204" pitchFamily="34" charset="0"/>
                <a:cs typeface="Arial MT"/>
              </a:endParaRPr>
            </a:p>
            <a:p>
              <a:pPr marL="885825" indent="-885825">
                <a:tabLst>
                  <a:tab pos="3415284" algn="l"/>
                </a:tabLst>
              </a:pPr>
              <a:r>
                <a:rPr lang="es-PE" sz="2160" b="1" baseline="3472" dirty="0">
                  <a:latin typeface="Arial Nova" panose="020B0504020202020204" pitchFamily="34" charset="0"/>
                  <a:cs typeface="Arial MT"/>
                </a:rPr>
                <a:t>                               	</a:t>
              </a:r>
              <a:r>
                <a:rPr lang="es-PE" sz="1440" b="1" dirty="0">
                  <a:solidFill>
                    <a:srgbClr val="FFFFFF"/>
                  </a:solidFill>
                  <a:latin typeface="Arial Nova" panose="020B0504020202020204" pitchFamily="34" charset="0"/>
                  <a:cs typeface="Arial MT"/>
                </a:rPr>
                <a:t>2.8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45"/>
                </a:spcBef>
              </a:pPr>
              <a:endParaRPr lang="es-PE" sz="2070" b="1" dirty="0">
                <a:latin typeface="Arial Nova" panose="020B0504020202020204" pitchFamily="34" charset="0"/>
                <a:cs typeface="Arial MT"/>
              </a:endParaRPr>
            </a:p>
            <a:p>
              <a:pPr marL="540639">
                <a:tabLst>
                  <a:tab pos="3064383" algn="l"/>
                </a:tabLst>
              </a:pPr>
              <a:r>
                <a:rPr lang="es-PE" sz="2160" b="1" spc="-13" baseline="3472" dirty="0">
                  <a:latin typeface="Arial Nova" panose="020B0504020202020204" pitchFamily="34" charset="0"/>
                  <a:cs typeface="Arial MT"/>
                </a:rPr>
                <a:t>Solar</a:t>
              </a:r>
              <a:r>
                <a:rPr lang="es-PE" sz="2160" b="1" baseline="3472" dirty="0">
                  <a:latin typeface="Arial Nova" panose="020B0504020202020204" pitchFamily="34" charset="0"/>
                  <a:cs typeface="Arial MT"/>
                </a:rPr>
                <a:t> PV	</a:t>
              </a:r>
              <a:r>
                <a:rPr lang="es-PE" sz="1440" b="1" dirty="0">
                  <a:solidFill>
                    <a:srgbClr val="FFFFFF"/>
                  </a:solidFill>
                  <a:latin typeface="Arial Nova" panose="020B0504020202020204" pitchFamily="34" charset="0"/>
                  <a:cs typeface="Arial MT"/>
                </a:rPr>
                <a:t>2.3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45"/>
                </a:spcBef>
              </a:pPr>
              <a:endParaRPr lang="es-PE" sz="2070" b="1" dirty="0">
                <a:latin typeface="Arial Nova" panose="020B0504020202020204" pitchFamily="34" charset="0"/>
                <a:cs typeface="Arial MT"/>
              </a:endParaRPr>
            </a:p>
            <a:p>
              <a:pPr marL="561213">
                <a:tabLst>
                  <a:tab pos="3048381" algn="l"/>
                </a:tabLst>
              </a:pPr>
              <a:r>
                <a:rPr lang="es-PE" sz="2160" b="1" spc="-13" baseline="3472" dirty="0" err="1">
                  <a:latin typeface="Arial Nova" panose="020B0504020202020204" pitchFamily="34" charset="0"/>
                  <a:cs typeface="Arial MT"/>
                </a:rPr>
                <a:t>Biomass</a:t>
              </a:r>
              <a:r>
                <a:rPr lang="es-PE" sz="2160" b="1" spc="-13" baseline="3472" dirty="0">
                  <a:latin typeface="Arial Nova" panose="020B0504020202020204" pitchFamily="34" charset="0"/>
                  <a:cs typeface="Arial MT"/>
                </a:rPr>
                <a:t>	</a:t>
              </a:r>
              <a:r>
                <a:rPr lang="es-PE" sz="1440" b="1" dirty="0">
                  <a:solidFill>
                    <a:srgbClr val="404040"/>
                  </a:solidFill>
                  <a:latin typeface="Arial Nova" panose="020B0504020202020204" pitchFamily="34" charset="0"/>
                  <a:cs typeface="Arial MT"/>
                </a:rPr>
                <a:t>2.3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45"/>
                </a:spcBef>
              </a:pPr>
              <a:endParaRPr lang="es-PE" sz="2070" b="1" dirty="0">
                <a:latin typeface="Arial Nova" panose="020B0504020202020204" pitchFamily="34" charset="0"/>
                <a:cs typeface="Arial MT"/>
              </a:endParaRPr>
            </a:p>
            <a:p>
              <a:pPr marR="2785491" algn="r">
                <a:tabLst>
                  <a:tab pos="2591181" algn="l"/>
                </a:tabLst>
              </a:pPr>
              <a:r>
                <a:rPr lang="es-PE" sz="2160" b="1" spc="-27" baseline="3472" dirty="0" err="1">
                  <a:latin typeface="Arial Nova" panose="020B0504020202020204" pitchFamily="34" charset="0"/>
                  <a:cs typeface="Arial MT"/>
                </a:rPr>
                <a:t>B</a:t>
              </a:r>
              <a:r>
                <a:rPr lang="es-PE" sz="2160" b="1" spc="13" baseline="3472" dirty="0" err="1">
                  <a:latin typeface="Arial Nova" panose="020B0504020202020204" pitchFamily="34" charset="0"/>
                  <a:cs typeface="Arial MT"/>
                </a:rPr>
                <a:t>a</a:t>
              </a:r>
              <a:r>
                <a:rPr lang="es-PE" sz="2160" b="1" spc="-27" baseline="3472" dirty="0" err="1">
                  <a:latin typeface="Arial Nova" panose="020B0504020202020204" pitchFamily="34" charset="0"/>
                  <a:cs typeface="Arial MT"/>
                </a:rPr>
                <a:t>t</a:t>
              </a:r>
              <a:r>
                <a:rPr lang="es-PE" sz="2160" b="1" baseline="3472" dirty="0" err="1">
                  <a:latin typeface="Arial Nova" panose="020B0504020202020204" pitchFamily="34" charset="0"/>
                  <a:cs typeface="Arial MT"/>
                </a:rPr>
                <a:t>t</a:t>
              </a:r>
              <a:r>
                <a:rPr lang="es-PE" sz="2160" b="1" spc="-13" baseline="3472" dirty="0" err="1">
                  <a:latin typeface="Arial Nova" panose="020B0504020202020204" pitchFamily="34" charset="0"/>
                  <a:cs typeface="Arial MT"/>
                </a:rPr>
                <a:t>er</a:t>
              </a:r>
              <a:r>
                <a:rPr lang="es-PE" sz="2160" b="1" baseline="3472" dirty="0" err="1">
                  <a:latin typeface="Arial Nova" panose="020B0504020202020204" pitchFamily="34" charset="0"/>
                  <a:cs typeface="Arial MT"/>
                </a:rPr>
                <a:t>y</a:t>
              </a:r>
              <a:r>
                <a:rPr lang="es-PE" sz="2160" b="1" baseline="3472" dirty="0">
                  <a:latin typeface="Arial Nova" panose="020B0504020202020204" pitchFamily="34" charset="0"/>
                  <a:cs typeface="Arial MT"/>
                </a:rPr>
                <a:t> </a:t>
              </a:r>
              <a:r>
                <a:rPr lang="es-PE" sz="2160" b="1" spc="-27" baseline="3472" dirty="0" err="1">
                  <a:latin typeface="Arial Nova" panose="020B0504020202020204" pitchFamily="34" charset="0"/>
                  <a:cs typeface="Arial MT"/>
                </a:rPr>
                <a:t>s</a:t>
              </a:r>
              <a:r>
                <a:rPr lang="es-PE" sz="2160" b="1" baseline="3472" dirty="0" err="1">
                  <a:latin typeface="Arial Nova" panose="020B0504020202020204" pitchFamily="34" charset="0"/>
                  <a:cs typeface="Arial MT"/>
                </a:rPr>
                <a:t>t</a:t>
              </a:r>
              <a:r>
                <a:rPr lang="es-PE" sz="2160" b="1" spc="-13" baseline="3472" dirty="0" err="1">
                  <a:latin typeface="Arial Nova" panose="020B0504020202020204" pitchFamily="34" charset="0"/>
                  <a:cs typeface="Arial MT"/>
                </a:rPr>
                <a:t>orag</a:t>
              </a:r>
              <a:r>
                <a:rPr lang="es-PE" sz="2160" b="1" baseline="3472" dirty="0" err="1">
                  <a:latin typeface="Arial Nova" panose="020B0504020202020204" pitchFamily="34" charset="0"/>
                  <a:cs typeface="Arial MT"/>
                </a:rPr>
                <a:t>e</a:t>
              </a:r>
              <a:r>
                <a:rPr lang="es-PE" sz="2160" b="1" baseline="3472" dirty="0">
                  <a:latin typeface="Arial Nova" panose="020B0504020202020204" pitchFamily="34" charset="0"/>
                  <a:cs typeface="Arial MT"/>
                </a:rPr>
                <a:t>	</a:t>
              </a:r>
              <a:r>
                <a:rPr lang="es-PE" sz="1440" b="1" spc="-9" dirty="0">
                  <a:solidFill>
                    <a:srgbClr val="FFFFFF"/>
                  </a:solidFill>
                  <a:latin typeface="Arial Nova" panose="020B0504020202020204" pitchFamily="34" charset="0"/>
                  <a:cs typeface="Arial MT"/>
                </a:rPr>
                <a:t>1</a:t>
              </a:r>
              <a:r>
                <a:rPr lang="es-PE" sz="1440" b="1" dirty="0">
                  <a:solidFill>
                    <a:srgbClr val="FFFFFF"/>
                  </a:solidFill>
                  <a:latin typeface="Arial Nova" panose="020B0504020202020204" pitchFamily="34" charset="0"/>
                  <a:cs typeface="Arial MT"/>
                </a:rPr>
                <a:t>.7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45"/>
                </a:spcBef>
              </a:pPr>
              <a:endParaRPr lang="es-PE" sz="2070" b="1" dirty="0">
                <a:latin typeface="Arial Nova" panose="020B0504020202020204" pitchFamily="34" charset="0"/>
                <a:cs typeface="Arial MT"/>
              </a:endParaRPr>
            </a:p>
            <a:p>
              <a:pPr marR="2785491" algn="r">
                <a:tabLst>
                  <a:tab pos="2306574" algn="l"/>
                </a:tabLst>
              </a:pPr>
              <a:r>
                <a:rPr lang="es-PE" sz="2160" b="1" spc="-13" baseline="3472" dirty="0" err="1">
                  <a:latin typeface="Arial Nova" panose="020B0504020202020204" pitchFamily="34" charset="0"/>
                  <a:cs typeface="Arial MT"/>
                </a:rPr>
                <a:t>Geothermal</a:t>
              </a:r>
              <a:r>
                <a:rPr lang="es-PE" sz="2160" b="1" spc="-13" baseline="3472" dirty="0">
                  <a:latin typeface="Arial Nova" panose="020B0504020202020204" pitchFamily="34" charset="0"/>
                  <a:cs typeface="Arial MT"/>
                </a:rPr>
                <a:t>	</a:t>
              </a:r>
              <a:r>
                <a:rPr lang="es-PE" sz="1440" b="1" dirty="0">
                  <a:solidFill>
                    <a:srgbClr val="404040"/>
                  </a:solidFill>
                  <a:latin typeface="Arial Nova" panose="020B0504020202020204" pitchFamily="34" charset="0"/>
                  <a:cs typeface="Arial MT"/>
                </a:rPr>
                <a:t>1.7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45"/>
                </a:spcBef>
              </a:pPr>
              <a:endParaRPr lang="es-PE" sz="2070" b="1" dirty="0">
                <a:latin typeface="Arial Nova" panose="020B0504020202020204" pitchFamily="34" charset="0"/>
                <a:cs typeface="Arial MT"/>
              </a:endParaRPr>
            </a:p>
            <a:p>
              <a:pPr marL="134874">
                <a:tabLst>
                  <a:tab pos="2377440" algn="l"/>
                </a:tabLst>
              </a:pPr>
              <a:r>
                <a:rPr lang="es-PE" sz="2160" b="1" spc="-13" baseline="3472" dirty="0" err="1">
                  <a:latin typeface="Arial Nova" panose="020B0504020202020204" pitchFamily="34" charset="0"/>
                  <a:cs typeface="Arial MT"/>
                </a:rPr>
                <a:t>Onshore</a:t>
              </a:r>
              <a:r>
                <a:rPr lang="es-PE" sz="2160" b="1" baseline="3472" dirty="0">
                  <a:latin typeface="Arial Nova" panose="020B0504020202020204" pitchFamily="34" charset="0"/>
                  <a:cs typeface="Arial MT"/>
                </a:rPr>
                <a:t> </a:t>
              </a:r>
              <a:r>
                <a:rPr lang="es-PE" sz="2160" b="1" spc="-13" baseline="3472" dirty="0" err="1">
                  <a:latin typeface="Arial Nova" panose="020B0504020202020204" pitchFamily="34" charset="0"/>
                  <a:cs typeface="Arial MT"/>
                </a:rPr>
                <a:t>wind</a:t>
              </a:r>
              <a:r>
                <a:rPr lang="es-PE" sz="2160" b="1" spc="-13" baseline="3472" dirty="0">
                  <a:latin typeface="Arial Nova" panose="020B0504020202020204" pitchFamily="34" charset="0"/>
                  <a:cs typeface="Arial MT"/>
                </a:rPr>
                <a:t>	</a:t>
              </a:r>
              <a:r>
                <a:rPr lang="es-PE" sz="1440" b="1" dirty="0">
                  <a:solidFill>
                    <a:srgbClr val="FFFFFF"/>
                  </a:solidFill>
                  <a:latin typeface="Arial Nova" panose="020B0504020202020204" pitchFamily="34" charset="0"/>
                  <a:cs typeface="Arial MT"/>
                </a:rPr>
                <a:t>1.4</a:t>
              </a:r>
              <a:endParaRPr lang="es-PE" sz="1440" b="1" dirty="0">
                <a:latin typeface="Arial Nova" panose="020B0504020202020204" pitchFamily="34" charset="0"/>
                <a:cs typeface="Arial MT"/>
              </a:endParaRPr>
            </a:p>
            <a:p>
              <a:pPr>
                <a:spcBef>
                  <a:spcPts val="18"/>
                </a:spcBef>
              </a:pPr>
              <a:endParaRPr lang="es-PE" sz="1710" b="1" dirty="0">
                <a:latin typeface="Arial Nova" panose="020B0504020202020204" pitchFamily="34" charset="0"/>
                <a:cs typeface="Arial MT"/>
              </a:endParaRPr>
            </a:p>
            <a:p>
              <a:pPr marL="1292733">
                <a:tabLst>
                  <a:tab pos="2817495" algn="l"/>
                  <a:tab pos="4342257" algn="l"/>
                </a:tabLst>
              </a:pPr>
              <a:r>
                <a:rPr lang="es-PE" sz="1440" b="1" dirty="0">
                  <a:latin typeface="Arial Nova" panose="020B0504020202020204" pitchFamily="34" charset="0"/>
                  <a:cs typeface="Arial MT"/>
                </a:rPr>
                <a:t>0.0	1.0	2.0</a:t>
              </a:r>
            </a:p>
            <a:p>
              <a:pPr>
                <a:spcBef>
                  <a:spcPts val="45"/>
                </a:spcBef>
              </a:pPr>
              <a:endParaRPr lang="es-PE" sz="2250" b="1" dirty="0">
                <a:latin typeface="Arial Nova" panose="020B0504020202020204" pitchFamily="34" charset="0"/>
                <a:cs typeface="Arial MT"/>
              </a:endParaRPr>
            </a:p>
            <a:p>
              <a:pPr marL="2033397">
                <a:tabLst>
                  <a:tab pos="4994910" algn="l"/>
                </a:tabLst>
              </a:pPr>
              <a:r>
                <a:rPr lang="es-PE" sz="1440" spc="-9" dirty="0">
                  <a:latin typeface="Arial Nova" panose="020B0504020202020204" pitchFamily="34" charset="0"/>
                  <a:cs typeface="Arial MT"/>
                </a:rPr>
                <a:t>High	Medium</a:t>
              </a:r>
              <a:endParaRPr lang="es-PE" sz="1440" dirty="0">
                <a:latin typeface="Arial Nova" panose="020B0504020202020204" pitchFamily="34" charset="0"/>
                <a:cs typeface="Arial MT"/>
              </a:endParaRPr>
            </a:p>
          </p:txBody>
        </p:sp>
        <p:sp>
          <p:nvSpPr>
            <p:cNvPr id="21" name="object 29">
              <a:extLst>
                <a:ext uri="{FF2B5EF4-FFF2-40B4-BE49-F238E27FC236}">
                  <a16:creationId xmlns:a16="http://schemas.microsoft.com/office/drawing/2014/main" id="{300AB2D4-796B-263C-17D8-C18561202D44}"/>
                </a:ext>
              </a:extLst>
            </p:cNvPr>
            <p:cNvSpPr/>
            <p:nvPr/>
          </p:nvSpPr>
          <p:spPr>
            <a:xfrm>
              <a:off x="4984227" y="4460659"/>
              <a:ext cx="52069" cy="52069"/>
            </a:xfrm>
            <a:custGeom>
              <a:avLst/>
              <a:gdLst/>
              <a:ahLst/>
              <a:cxnLst/>
              <a:rect l="l" t="t" r="r" b="b"/>
              <a:pathLst>
                <a:path w="52070" h="52070">
                  <a:moveTo>
                    <a:pt x="51815" y="0"/>
                  </a:moveTo>
                  <a:lnTo>
                    <a:pt x="0" y="0"/>
                  </a:lnTo>
                  <a:lnTo>
                    <a:pt x="0" y="51815"/>
                  </a:lnTo>
                  <a:lnTo>
                    <a:pt x="51815" y="51815"/>
                  </a:lnTo>
                  <a:lnTo>
                    <a:pt x="51815" y="0"/>
                  </a:lnTo>
                  <a:close/>
                </a:path>
              </a:pathLst>
            </a:custGeom>
            <a:solidFill>
              <a:srgbClr val="009596"/>
            </a:solidFill>
          </p:spPr>
          <p:txBody>
            <a:bodyPr wrap="square" lIns="0" tIns="0" rIns="0" bIns="0" rtlCol="0"/>
            <a:lstStyle/>
            <a:p>
              <a:endParaRPr lang="es-PE" sz="4860" dirty="0">
                <a:latin typeface="Arial Nova" panose="020B0504020202020204" pitchFamily="34" charset="0"/>
              </a:endParaRPr>
            </a:p>
          </p:txBody>
        </p:sp>
        <p:sp>
          <p:nvSpPr>
            <p:cNvPr id="22" name="object 30">
              <a:extLst>
                <a:ext uri="{FF2B5EF4-FFF2-40B4-BE49-F238E27FC236}">
                  <a16:creationId xmlns:a16="http://schemas.microsoft.com/office/drawing/2014/main" id="{56129F2C-1E81-78FE-3017-FFA810E73DDB}"/>
                </a:ext>
              </a:extLst>
            </p:cNvPr>
            <p:cNvSpPr txBox="1"/>
            <p:nvPr/>
          </p:nvSpPr>
          <p:spPr>
            <a:xfrm>
              <a:off x="5043653" y="4403277"/>
              <a:ext cx="211454" cy="136576"/>
            </a:xfrm>
            <a:prstGeom prst="rect">
              <a:avLst/>
            </a:prstGeom>
          </p:spPr>
          <p:txBody>
            <a:bodyPr vert="horz" wrap="square" lIns="0" tIns="24003" rIns="0" bIns="0" rtlCol="0">
              <a:spAutoFit/>
            </a:bodyPr>
            <a:lstStyle/>
            <a:p>
              <a:pPr marL="22860">
                <a:spcBef>
                  <a:spcPts val="189"/>
                </a:spcBef>
              </a:pPr>
              <a:r>
                <a:rPr lang="es-PE" sz="1440" spc="-9" dirty="0">
                  <a:latin typeface="Arial Nova" panose="020B0504020202020204" pitchFamily="34" charset="0"/>
                  <a:cs typeface="Arial MT"/>
                </a:rPr>
                <a:t>Low</a:t>
              </a:r>
              <a:endParaRPr lang="es-PE" sz="1440" dirty="0">
                <a:latin typeface="Arial Nova" panose="020B0504020202020204" pitchFamily="34" charset="0"/>
                <a:cs typeface="Arial MT"/>
              </a:endParaRPr>
            </a:p>
          </p:txBody>
        </p:sp>
        <p:sp>
          <p:nvSpPr>
            <p:cNvPr id="23" name="object 34">
              <a:extLst>
                <a:ext uri="{FF2B5EF4-FFF2-40B4-BE49-F238E27FC236}">
                  <a16:creationId xmlns:a16="http://schemas.microsoft.com/office/drawing/2014/main" id="{78D3C928-2153-E7AD-B3E1-AEA8E3A68D66}"/>
                </a:ext>
              </a:extLst>
            </p:cNvPr>
            <p:cNvSpPr txBox="1"/>
            <p:nvPr/>
          </p:nvSpPr>
          <p:spPr>
            <a:xfrm>
              <a:off x="284453" y="1988176"/>
              <a:ext cx="123111" cy="1825592"/>
            </a:xfrm>
            <a:prstGeom prst="rect">
              <a:avLst/>
            </a:prstGeom>
          </p:spPr>
          <p:txBody>
            <a:bodyPr vert="vert270" wrap="square" lIns="0" tIns="5715" rIns="0" bIns="0" rtlCol="0">
              <a:spAutoFit/>
            </a:bodyPr>
            <a:lstStyle/>
            <a:p>
              <a:pPr marL="22860">
                <a:spcBef>
                  <a:spcPts val="45"/>
                </a:spcBef>
              </a:pPr>
              <a:r>
                <a:rPr lang="es-PE" sz="1440" b="1" dirty="0" err="1">
                  <a:latin typeface="Arial Nova" panose="020B0504020202020204" pitchFamily="34" charset="0"/>
                  <a:cs typeface="Arial"/>
                </a:rPr>
                <a:t>Tn</a:t>
              </a:r>
              <a:r>
                <a:rPr lang="es-PE" sz="1440" b="1" dirty="0">
                  <a:latin typeface="Arial Nova" panose="020B0504020202020204" pitchFamily="34" charset="0"/>
                  <a:cs typeface="Arial"/>
                </a:rPr>
                <a:t> métricas de Cu por MW</a:t>
              </a:r>
              <a:endParaRPr lang="es-PE" sz="1440" dirty="0">
                <a:latin typeface="Arial Nova" panose="020B0504020202020204" pitchFamily="34" charset="0"/>
                <a:cs typeface="Arial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8909BF1-9096-64D1-4EA0-FDAAC074BD36}"/>
                </a:ext>
              </a:extLst>
            </p:cNvPr>
            <p:cNvSpPr/>
            <p:nvPr/>
          </p:nvSpPr>
          <p:spPr>
            <a:xfrm>
              <a:off x="5622724" y="4004109"/>
              <a:ext cx="824004" cy="1828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4860" dirty="0">
                <a:latin typeface="Arial Nova" panose="020B0504020202020204" pitchFamily="34" charset="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C40EC028-7983-386C-AAC1-633122472ABA}"/>
              </a:ext>
            </a:extLst>
          </p:cNvPr>
          <p:cNvSpPr txBox="1"/>
          <p:nvPr/>
        </p:nvSpPr>
        <p:spPr>
          <a:xfrm>
            <a:off x="1255449" y="2009594"/>
            <a:ext cx="716564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rgbClr val="2D92AD"/>
                </a:solidFill>
                <a:latin typeface="Aptos" panose="020B0004020202020204" pitchFamily="34" charset="0"/>
              </a:defRPr>
            </a:lvl1pPr>
          </a:lstStyle>
          <a:p>
            <a:r>
              <a:rPr lang="es-ES" dirty="0"/>
              <a:t>Contenido de cobre por megavatio de capacidad instalada (sin transmisión)
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244033E-AA41-2263-2126-76FBE3A27F18}"/>
              </a:ext>
            </a:extLst>
          </p:cNvPr>
          <p:cNvSpPr txBox="1"/>
          <p:nvPr/>
        </p:nvSpPr>
        <p:spPr>
          <a:xfrm>
            <a:off x="278150" y="3736703"/>
            <a:ext cx="1912361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PE" sz="1620" dirty="0">
                <a:latin typeface="Arial Nova" panose="020B0504020202020204" pitchFamily="34" charset="0"/>
              </a:rPr>
              <a:t>Concentración </a:t>
            </a:r>
            <a:br>
              <a:rPr lang="es-PE" sz="1620" dirty="0">
                <a:latin typeface="Arial Nova" panose="020B0504020202020204" pitchFamily="34" charset="0"/>
              </a:rPr>
            </a:br>
            <a:r>
              <a:rPr lang="es-PE" sz="1620" dirty="0">
                <a:latin typeface="Arial Nova" panose="020B0504020202020204" pitchFamily="34" charset="0"/>
              </a:rPr>
              <a:t>Sola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22A09C2-E79C-6260-F5B5-86A32898341E}"/>
              </a:ext>
            </a:extLst>
          </p:cNvPr>
          <p:cNvSpPr txBox="1"/>
          <p:nvPr/>
        </p:nvSpPr>
        <p:spPr>
          <a:xfrm>
            <a:off x="5986815" y="8114918"/>
            <a:ext cx="429687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000">
                <a:solidFill>
                  <a:srgbClr val="2262A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s-ES" dirty="0"/>
              <a:t>En el escenario NZE, las necesidades de Cu </a:t>
            </a:r>
            <a:r>
              <a:rPr lang="es-ES" dirty="0" err="1"/>
              <a:t>pod</a:t>
            </a:r>
            <a:r>
              <a:rPr lang="es-ES" dirty="0"/>
              <a:t>´´</a:t>
            </a:r>
            <a:r>
              <a:rPr lang="es-ES" dirty="0" err="1"/>
              <a:t>ia</a:t>
            </a:r>
            <a:r>
              <a:rPr lang="es-ES" dirty="0"/>
              <a:t> estar cera de 40MTn al 2040 y del litio podría </a:t>
            </a:r>
            <a:r>
              <a:rPr lang="es-ES" dirty="0" err="1"/>
              <a:t>mulitlicarse</a:t>
            </a:r>
            <a:r>
              <a:rPr lang="es-ES" dirty="0"/>
              <a:t> por 8.7x comparado con el 2023</a:t>
            </a:r>
          </a:p>
        </p:txBody>
      </p:sp>
    </p:spTree>
    <p:extLst>
      <p:ext uri="{BB962C8B-B14F-4D97-AF65-F5344CB8AC3E}">
        <p14:creationId xmlns:p14="http://schemas.microsoft.com/office/powerpoint/2010/main" val="2972724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>
            <a:extLst>
              <a:ext uri="{FF2B5EF4-FFF2-40B4-BE49-F238E27FC236}">
                <a16:creationId xmlns:a16="http://schemas.microsoft.com/office/drawing/2014/main" id="{2F1CEE5C-5D19-F322-A384-234D55F31EA0}"/>
              </a:ext>
            </a:extLst>
          </p:cNvPr>
          <p:cNvSpPr/>
          <p:nvPr/>
        </p:nvSpPr>
        <p:spPr>
          <a:xfrm>
            <a:off x="-23446" y="0"/>
            <a:ext cx="18311446" cy="2100587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48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F90F298B-2C62-ADF9-05A1-4310D7982E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4765" y="173446"/>
            <a:ext cx="1697708" cy="153833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CBD4E985-D1FE-5A6D-A085-464073E0367D}"/>
              </a:ext>
            </a:extLst>
          </p:cNvPr>
          <p:cNvSpPr txBox="1"/>
          <p:nvPr/>
        </p:nvSpPr>
        <p:spPr>
          <a:xfrm>
            <a:off x="2259811" y="385610"/>
            <a:ext cx="137449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4200" b="1" dirty="0">
                <a:solidFill>
                  <a:schemeClr val="bg1"/>
                </a:solidFill>
                <a:latin typeface="Aptos" panose="020B0004020202020204" pitchFamily="34" charset="0"/>
              </a:rPr>
              <a:t>¿Todos coincidimos que la minería debe descarbonizar, la pregunta es cuando y a qué ritmo?</a:t>
            </a:r>
          </a:p>
        </p:txBody>
      </p:sp>
      <p:grpSp>
        <p:nvGrpSpPr>
          <p:cNvPr id="27" name="Grupo 26">
            <a:extLst>
              <a:ext uri="{FF2B5EF4-FFF2-40B4-BE49-F238E27FC236}">
                <a16:creationId xmlns:a16="http://schemas.microsoft.com/office/drawing/2014/main" id="{8432FCDE-40E4-6175-7FDC-2A70ACB70F9F}"/>
              </a:ext>
            </a:extLst>
          </p:cNvPr>
          <p:cNvGrpSpPr/>
          <p:nvPr/>
        </p:nvGrpSpPr>
        <p:grpSpPr>
          <a:xfrm>
            <a:off x="228076" y="3173507"/>
            <a:ext cx="17831847" cy="6498593"/>
            <a:chOff x="533399" y="3574473"/>
            <a:chExt cx="17221201" cy="6276050"/>
          </a:xfrm>
        </p:grpSpPr>
        <p:sp>
          <p:nvSpPr>
            <p:cNvPr id="2" name="Google Shape;2390;p39">
              <a:extLst>
                <a:ext uri="{FF2B5EF4-FFF2-40B4-BE49-F238E27FC236}">
                  <a16:creationId xmlns:a16="http://schemas.microsoft.com/office/drawing/2014/main" id="{FA5118BC-78FA-A52F-3FCF-C37F71C88B4E}"/>
                </a:ext>
              </a:extLst>
            </p:cNvPr>
            <p:cNvSpPr/>
            <p:nvPr/>
          </p:nvSpPr>
          <p:spPr>
            <a:xfrm>
              <a:off x="533399" y="3606385"/>
              <a:ext cx="17215438" cy="5561120"/>
            </a:xfrm>
            <a:custGeom>
              <a:avLst/>
              <a:gdLst/>
              <a:ahLst/>
              <a:cxnLst/>
              <a:rect l="l" t="t" r="r" b="b"/>
              <a:pathLst>
                <a:path w="285750" h="87828" extrusionOk="0">
                  <a:moveTo>
                    <a:pt x="43767" y="1"/>
                  </a:moveTo>
                  <a:lnTo>
                    <a:pt x="43130" y="27"/>
                  </a:lnTo>
                  <a:lnTo>
                    <a:pt x="42492" y="81"/>
                  </a:lnTo>
                  <a:lnTo>
                    <a:pt x="41881" y="134"/>
                  </a:lnTo>
                  <a:lnTo>
                    <a:pt x="40632" y="293"/>
                  </a:lnTo>
                  <a:lnTo>
                    <a:pt x="39409" y="506"/>
                  </a:lnTo>
                  <a:lnTo>
                    <a:pt x="38213" y="772"/>
                  </a:lnTo>
                  <a:lnTo>
                    <a:pt x="37044" y="1117"/>
                  </a:lnTo>
                  <a:lnTo>
                    <a:pt x="35901" y="1489"/>
                  </a:lnTo>
                  <a:lnTo>
                    <a:pt x="34759" y="1941"/>
                  </a:lnTo>
                  <a:lnTo>
                    <a:pt x="33669" y="2446"/>
                  </a:lnTo>
                  <a:lnTo>
                    <a:pt x="32606" y="2977"/>
                  </a:lnTo>
                  <a:lnTo>
                    <a:pt x="31570" y="3588"/>
                  </a:lnTo>
                  <a:lnTo>
                    <a:pt x="30560" y="4226"/>
                  </a:lnTo>
                  <a:lnTo>
                    <a:pt x="29577" y="4917"/>
                  </a:lnTo>
                  <a:lnTo>
                    <a:pt x="28647" y="5661"/>
                  </a:lnTo>
                  <a:lnTo>
                    <a:pt x="27743" y="6432"/>
                  </a:lnTo>
                  <a:lnTo>
                    <a:pt x="26893" y="7256"/>
                  </a:lnTo>
                  <a:lnTo>
                    <a:pt x="26069" y="8106"/>
                  </a:lnTo>
                  <a:lnTo>
                    <a:pt x="25298" y="9009"/>
                  </a:lnTo>
                  <a:lnTo>
                    <a:pt x="24554" y="9939"/>
                  </a:lnTo>
                  <a:lnTo>
                    <a:pt x="23863" y="10923"/>
                  </a:lnTo>
                  <a:lnTo>
                    <a:pt x="23226" y="11933"/>
                  </a:lnTo>
                  <a:lnTo>
                    <a:pt x="22641" y="12969"/>
                  </a:lnTo>
                  <a:lnTo>
                    <a:pt x="22083" y="14032"/>
                  </a:lnTo>
                  <a:lnTo>
                    <a:pt x="21578" y="15121"/>
                  </a:lnTo>
                  <a:lnTo>
                    <a:pt x="21153" y="16237"/>
                  </a:lnTo>
                  <a:lnTo>
                    <a:pt x="20754" y="17407"/>
                  </a:lnTo>
                  <a:lnTo>
                    <a:pt x="20409" y="18576"/>
                  </a:lnTo>
                  <a:lnTo>
                    <a:pt x="20143" y="19772"/>
                  </a:lnTo>
                  <a:lnTo>
                    <a:pt x="19930" y="20994"/>
                  </a:lnTo>
                  <a:lnTo>
                    <a:pt x="19771" y="22243"/>
                  </a:lnTo>
                  <a:lnTo>
                    <a:pt x="19718" y="22854"/>
                  </a:lnTo>
                  <a:lnTo>
                    <a:pt x="19665" y="23492"/>
                  </a:lnTo>
                  <a:lnTo>
                    <a:pt x="19638" y="24130"/>
                  </a:lnTo>
                  <a:lnTo>
                    <a:pt x="19638" y="24768"/>
                  </a:lnTo>
                  <a:lnTo>
                    <a:pt x="19638" y="32208"/>
                  </a:lnTo>
                  <a:lnTo>
                    <a:pt x="19638" y="32687"/>
                  </a:lnTo>
                  <a:lnTo>
                    <a:pt x="19585" y="33138"/>
                  </a:lnTo>
                  <a:lnTo>
                    <a:pt x="19532" y="33590"/>
                  </a:lnTo>
                  <a:lnTo>
                    <a:pt x="19452" y="34042"/>
                  </a:lnTo>
                  <a:lnTo>
                    <a:pt x="19346" y="34494"/>
                  </a:lnTo>
                  <a:lnTo>
                    <a:pt x="19240" y="34919"/>
                  </a:lnTo>
                  <a:lnTo>
                    <a:pt x="19080" y="35344"/>
                  </a:lnTo>
                  <a:lnTo>
                    <a:pt x="18921" y="35769"/>
                  </a:lnTo>
                  <a:lnTo>
                    <a:pt x="18735" y="36168"/>
                  </a:lnTo>
                  <a:lnTo>
                    <a:pt x="18522" y="36566"/>
                  </a:lnTo>
                  <a:lnTo>
                    <a:pt x="18309" y="36965"/>
                  </a:lnTo>
                  <a:lnTo>
                    <a:pt x="18070" y="37337"/>
                  </a:lnTo>
                  <a:lnTo>
                    <a:pt x="17831" y="37682"/>
                  </a:lnTo>
                  <a:lnTo>
                    <a:pt x="17539" y="38028"/>
                  </a:lnTo>
                  <a:lnTo>
                    <a:pt x="17247" y="38373"/>
                  </a:lnTo>
                  <a:lnTo>
                    <a:pt x="16954" y="38692"/>
                  </a:lnTo>
                  <a:lnTo>
                    <a:pt x="16635" y="38985"/>
                  </a:lnTo>
                  <a:lnTo>
                    <a:pt x="16316" y="39277"/>
                  </a:lnTo>
                  <a:lnTo>
                    <a:pt x="15971" y="39543"/>
                  </a:lnTo>
                  <a:lnTo>
                    <a:pt x="15599" y="39808"/>
                  </a:lnTo>
                  <a:lnTo>
                    <a:pt x="15227" y="40048"/>
                  </a:lnTo>
                  <a:lnTo>
                    <a:pt x="14855" y="40260"/>
                  </a:lnTo>
                  <a:lnTo>
                    <a:pt x="14456" y="40473"/>
                  </a:lnTo>
                  <a:lnTo>
                    <a:pt x="14031" y="40659"/>
                  </a:lnTo>
                  <a:lnTo>
                    <a:pt x="13632" y="40818"/>
                  </a:lnTo>
                  <a:lnTo>
                    <a:pt x="13207" y="40951"/>
                  </a:lnTo>
                  <a:lnTo>
                    <a:pt x="12756" y="41084"/>
                  </a:lnTo>
                  <a:lnTo>
                    <a:pt x="12330" y="41190"/>
                  </a:lnTo>
                  <a:lnTo>
                    <a:pt x="11879" y="41270"/>
                  </a:lnTo>
                  <a:lnTo>
                    <a:pt x="11427" y="41323"/>
                  </a:lnTo>
                  <a:lnTo>
                    <a:pt x="10948" y="41350"/>
                  </a:lnTo>
                  <a:lnTo>
                    <a:pt x="10470" y="41376"/>
                  </a:lnTo>
                  <a:lnTo>
                    <a:pt x="186" y="41376"/>
                  </a:lnTo>
                  <a:lnTo>
                    <a:pt x="80" y="41456"/>
                  </a:lnTo>
                  <a:lnTo>
                    <a:pt x="27" y="41536"/>
                  </a:lnTo>
                  <a:lnTo>
                    <a:pt x="0" y="41642"/>
                  </a:lnTo>
                  <a:lnTo>
                    <a:pt x="27" y="41748"/>
                  </a:lnTo>
                  <a:lnTo>
                    <a:pt x="80" y="41828"/>
                  </a:lnTo>
                  <a:lnTo>
                    <a:pt x="186" y="41881"/>
                  </a:lnTo>
                  <a:lnTo>
                    <a:pt x="266" y="41908"/>
                  </a:lnTo>
                  <a:lnTo>
                    <a:pt x="10470" y="41908"/>
                  </a:lnTo>
                  <a:lnTo>
                    <a:pt x="10975" y="41881"/>
                  </a:lnTo>
                  <a:lnTo>
                    <a:pt x="11480" y="41855"/>
                  </a:lnTo>
                  <a:lnTo>
                    <a:pt x="11958" y="41775"/>
                  </a:lnTo>
                  <a:lnTo>
                    <a:pt x="12437" y="41695"/>
                  </a:lnTo>
                  <a:lnTo>
                    <a:pt x="12888" y="41589"/>
                  </a:lnTo>
                  <a:lnTo>
                    <a:pt x="13367" y="41456"/>
                  </a:lnTo>
                  <a:lnTo>
                    <a:pt x="13818" y="41323"/>
                  </a:lnTo>
                  <a:lnTo>
                    <a:pt x="14244" y="41137"/>
                  </a:lnTo>
                  <a:lnTo>
                    <a:pt x="14669" y="40951"/>
                  </a:lnTo>
                  <a:lnTo>
                    <a:pt x="15094" y="40738"/>
                  </a:lnTo>
                  <a:lnTo>
                    <a:pt x="15493" y="40499"/>
                  </a:lnTo>
                  <a:lnTo>
                    <a:pt x="15891" y="40234"/>
                  </a:lnTo>
                  <a:lnTo>
                    <a:pt x="16290" y="39968"/>
                  </a:lnTo>
                  <a:lnTo>
                    <a:pt x="16635" y="39675"/>
                  </a:lnTo>
                  <a:lnTo>
                    <a:pt x="17007" y="39383"/>
                  </a:lnTo>
                  <a:lnTo>
                    <a:pt x="17326" y="39064"/>
                  </a:lnTo>
                  <a:lnTo>
                    <a:pt x="17645" y="38719"/>
                  </a:lnTo>
                  <a:lnTo>
                    <a:pt x="17964" y="38373"/>
                  </a:lnTo>
                  <a:lnTo>
                    <a:pt x="18256" y="38001"/>
                  </a:lnTo>
                  <a:lnTo>
                    <a:pt x="18522" y="37629"/>
                  </a:lnTo>
                  <a:lnTo>
                    <a:pt x="18761" y="37231"/>
                  </a:lnTo>
                  <a:lnTo>
                    <a:pt x="19000" y="36832"/>
                  </a:lnTo>
                  <a:lnTo>
                    <a:pt x="19213" y="36407"/>
                  </a:lnTo>
                  <a:lnTo>
                    <a:pt x="19399" y="35982"/>
                  </a:lnTo>
                  <a:lnTo>
                    <a:pt x="19585" y="35530"/>
                  </a:lnTo>
                  <a:lnTo>
                    <a:pt x="19744" y="35078"/>
                  </a:lnTo>
                  <a:lnTo>
                    <a:pt x="19877" y="34626"/>
                  </a:lnTo>
                  <a:lnTo>
                    <a:pt x="19984" y="34148"/>
                  </a:lnTo>
                  <a:lnTo>
                    <a:pt x="20063" y="33670"/>
                  </a:lnTo>
                  <a:lnTo>
                    <a:pt x="20117" y="33192"/>
                  </a:lnTo>
                  <a:lnTo>
                    <a:pt x="20170" y="32713"/>
                  </a:lnTo>
                  <a:lnTo>
                    <a:pt x="20170" y="32208"/>
                  </a:lnTo>
                  <a:lnTo>
                    <a:pt x="20170" y="24768"/>
                  </a:lnTo>
                  <a:lnTo>
                    <a:pt x="20196" y="23519"/>
                  </a:lnTo>
                  <a:lnTo>
                    <a:pt x="20303" y="22296"/>
                  </a:lnTo>
                  <a:lnTo>
                    <a:pt x="20462" y="21074"/>
                  </a:lnTo>
                  <a:lnTo>
                    <a:pt x="20675" y="19878"/>
                  </a:lnTo>
                  <a:lnTo>
                    <a:pt x="20940" y="18709"/>
                  </a:lnTo>
                  <a:lnTo>
                    <a:pt x="21259" y="17566"/>
                  </a:lnTo>
                  <a:lnTo>
                    <a:pt x="21631" y="16423"/>
                  </a:lnTo>
                  <a:lnTo>
                    <a:pt x="22083" y="15334"/>
                  </a:lnTo>
                  <a:lnTo>
                    <a:pt x="22561" y="14244"/>
                  </a:lnTo>
                  <a:lnTo>
                    <a:pt x="23093" y="13208"/>
                  </a:lnTo>
                  <a:lnTo>
                    <a:pt x="23677" y="12198"/>
                  </a:lnTo>
                  <a:lnTo>
                    <a:pt x="24315" y="11215"/>
                  </a:lnTo>
                  <a:lnTo>
                    <a:pt x="24980" y="10258"/>
                  </a:lnTo>
                  <a:lnTo>
                    <a:pt x="25697" y="9355"/>
                  </a:lnTo>
                  <a:lnTo>
                    <a:pt x="26468" y="8478"/>
                  </a:lnTo>
                  <a:lnTo>
                    <a:pt x="27265" y="7628"/>
                  </a:lnTo>
                  <a:lnTo>
                    <a:pt x="28115" y="6830"/>
                  </a:lnTo>
                  <a:lnTo>
                    <a:pt x="28992" y="6060"/>
                  </a:lnTo>
                  <a:lnTo>
                    <a:pt x="29896" y="5342"/>
                  </a:lnTo>
                  <a:lnTo>
                    <a:pt x="30852" y="4678"/>
                  </a:lnTo>
                  <a:lnTo>
                    <a:pt x="31836" y="4040"/>
                  </a:lnTo>
                  <a:lnTo>
                    <a:pt x="32845" y="3455"/>
                  </a:lnTo>
                  <a:lnTo>
                    <a:pt x="33908" y="2924"/>
                  </a:lnTo>
                  <a:lnTo>
                    <a:pt x="34971" y="2446"/>
                  </a:lnTo>
                  <a:lnTo>
                    <a:pt x="36061" y="1994"/>
                  </a:lnTo>
                  <a:lnTo>
                    <a:pt x="37204" y="1622"/>
                  </a:lnTo>
                  <a:lnTo>
                    <a:pt x="38346" y="1303"/>
                  </a:lnTo>
                  <a:lnTo>
                    <a:pt x="39516" y="1011"/>
                  </a:lnTo>
                  <a:lnTo>
                    <a:pt x="40711" y="798"/>
                  </a:lnTo>
                  <a:lnTo>
                    <a:pt x="41934" y="665"/>
                  </a:lnTo>
                  <a:lnTo>
                    <a:pt x="43156" y="559"/>
                  </a:lnTo>
                  <a:lnTo>
                    <a:pt x="44405" y="532"/>
                  </a:lnTo>
                  <a:lnTo>
                    <a:pt x="45654" y="559"/>
                  </a:lnTo>
                  <a:lnTo>
                    <a:pt x="46877" y="665"/>
                  </a:lnTo>
                  <a:lnTo>
                    <a:pt x="48099" y="798"/>
                  </a:lnTo>
                  <a:lnTo>
                    <a:pt x="49295" y="1011"/>
                  </a:lnTo>
                  <a:lnTo>
                    <a:pt x="50464" y="1303"/>
                  </a:lnTo>
                  <a:lnTo>
                    <a:pt x="51607" y="1622"/>
                  </a:lnTo>
                  <a:lnTo>
                    <a:pt x="52749" y="1994"/>
                  </a:lnTo>
                  <a:lnTo>
                    <a:pt x="53839" y="2446"/>
                  </a:lnTo>
                  <a:lnTo>
                    <a:pt x="54902" y="2924"/>
                  </a:lnTo>
                  <a:lnTo>
                    <a:pt x="55965" y="3455"/>
                  </a:lnTo>
                  <a:lnTo>
                    <a:pt x="56975" y="4040"/>
                  </a:lnTo>
                  <a:lnTo>
                    <a:pt x="57958" y="4678"/>
                  </a:lnTo>
                  <a:lnTo>
                    <a:pt x="58915" y="5342"/>
                  </a:lnTo>
                  <a:lnTo>
                    <a:pt x="59818" y="6060"/>
                  </a:lnTo>
                  <a:lnTo>
                    <a:pt x="60695" y="6830"/>
                  </a:lnTo>
                  <a:lnTo>
                    <a:pt x="61545" y="7628"/>
                  </a:lnTo>
                  <a:lnTo>
                    <a:pt x="62343" y="8478"/>
                  </a:lnTo>
                  <a:lnTo>
                    <a:pt x="63113" y="9355"/>
                  </a:lnTo>
                  <a:lnTo>
                    <a:pt x="63831" y="10258"/>
                  </a:lnTo>
                  <a:lnTo>
                    <a:pt x="64495" y="11215"/>
                  </a:lnTo>
                  <a:lnTo>
                    <a:pt x="65133" y="12198"/>
                  </a:lnTo>
                  <a:lnTo>
                    <a:pt x="65717" y="13208"/>
                  </a:lnTo>
                  <a:lnTo>
                    <a:pt x="66249" y="14244"/>
                  </a:lnTo>
                  <a:lnTo>
                    <a:pt x="66727" y="15334"/>
                  </a:lnTo>
                  <a:lnTo>
                    <a:pt x="67179" y="16423"/>
                  </a:lnTo>
                  <a:lnTo>
                    <a:pt x="67551" y="17566"/>
                  </a:lnTo>
                  <a:lnTo>
                    <a:pt x="67870" y="18709"/>
                  </a:lnTo>
                  <a:lnTo>
                    <a:pt x="68136" y="19878"/>
                  </a:lnTo>
                  <a:lnTo>
                    <a:pt x="68348" y="21074"/>
                  </a:lnTo>
                  <a:lnTo>
                    <a:pt x="68508" y="22296"/>
                  </a:lnTo>
                  <a:lnTo>
                    <a:pt x="68614" y="23519"/>
                  </a:lnTo>
                  <a:lnTo>
                    <a:pt x="68641" y="24768"/>
                  </a:lnTo>
                  <a:lnTo>
                    <a:pt x="68641" y="62848"/>
                  </a:lnTo>
                  <a:lnTo>
                    <a:pt x="68641" y="63486"/>
                  </a:lnTo>
                  <a:lnTo>
                    <a:pt x="68667" y="64123"/>
                  </a:lnTo>
                  <a:lnTo>
                    <a:pt x="68720" y="64761"/>
                  </a:lnTo>
                  <a:lnTo>
                    <a:pt x="68773" y="65399"/>
                  </a:lnTo>
                  <a:lnTo>
                    <a:pt x="68933" y="66648"/>
                  </a:lnTo>
                  <a:lnTo>
                    <a:pt x="69145" y="67870"/>
                  </a:lnTo>
                  <a:lnTo>
                    <a:pt x="69411" y="69066"/>
                  </a:lnTo>
                  <a:lnTo>
                    <a:pt x="69757" y="70262"/>
                  </a:lnTo>
                  <a:lnTo>
                    <a:pt x="70155" y="71405"/>
                  </a:lnTo>
                  <a:lnTo>
                    <a:pt x="70607" y="72547"/>
                  </a:lnTo>
                  <a:lnTo>
                    <a:pt x="71085" y="73663"/>
                  </a:lnTo>
                  <a:lnTo>
                    <a:pt x="71643" y="74726"/>
                  </a:lnTo>
                  <a:lnTo>
                    <a:pt x="72255" y="75763"/>
                  </a:lnTo>
                  <a:lnTo>
                    <a:pt x="72892" y="76799"/>
                  </a:lnTo>
                  <a:lnTo>
                    <a:pt x="73583" y="77756"/>
                  </a:lnTo>
                  <a:lnTo>
                    <a:pt x="74327" y="78712"/>
                  </a:lnTo>
                  <a:lnTo>
                    <a:pt x="75125" y="79616"/>
                  </a:lnTo>
                  <a:lnTo>
                    <a:pt x="75948" y="80466"/>
                  </a:lnTo>
                  <a:lnTo>
                    <a:pt x="76799" y="81290"/>
                  </a:lnTo>
                  <a:lnTo>
                    <a:pt x="77702" y="82087"/>
                  </a:lnTo>
                  <a:lnTo>
                    <a:pt x="78659" y="82831"/>
                  </a:lnTo>
                  <a:lnTo>
                    <a:pt x="79642" y="83522"/>
                  </a:lnTo>
                  <a:lnTo>
                    <a:pt x="80652" y="84160"/>
                  </a:lnTo>
                  <a:lnTo>
                    <a:pt x="81688" y="84771"/>
                  </a:lnTo>
                  <a:lnTo>
                    <a:pt x="82778" y="85329"/>
                  </a:lnTo>
                  <a:lnTo>
                    <a:pt x="83867" y="85834"/>
                  </a:lnTo>
                  <a:lnTo>
                    <a:pt x="85010" y="86259"/>
                  </a:lnTo>
                  <a:lnTo>
                    <a:pt x="86153" y="86658"/>
                  </a:lnTo>
                  <a:lnTo>
                    <a:pt x="87349" y="87003"/>
                  </a:lnTo>
                  <a:lnTo>
                    <a:pt x="88545" y="87269"/>
                  </a:lnTo>
                  <a:lnTo>
                    <a:pt x="89793" y="87508"/>
                  </a:lnTo>
                  <a:lnTo>
                    <a:pt x="91042" y="87641"/>
                  </a:lnTo>
                  <a:lnTo>
                    <a:pt x="91654" y="87721"/>
                  </a:lnTo>
                  <a:lnTo>
                    <a:pt x="92291" y="87747"/>
                  </a:lnTo>
                  <a:lnTo>
                    <a:pt x="92929" y="87774"/>
                  </a:lnTo>
                  <a:lnTo>
                    <a:pt x="94231" y="87774"/>
                  </a:lnTo>
                  <a:lnTo>
                    <a:pt x="94869" y="87747"/>
                  </a:lnTo>
                  <a:lnTo>
                    <a:pt x="95507" y="87721"/>
                  </a:lnTo>
                  <a:lnTo>
                    <a:pt x="96145" y="87641"/>
                  </a:lnTo>
                  <a:lnTo>
                    <a:pt x="97367" y="87508"/>
                  </a:lnTo>
                  <a:lnTo>
                    <a:pt x="98616" y="87269"/>
                  </a:lnTo>
                  <a:lnTo>
                    <a:pt x="99812" y="87003"/>
                  </a:lnTo>
                  <a:lnTo>
                    <a:pt x="101008" y="86658"/>
                  </a:lnTo>
                  <a:lnTo>
                    <a:pt x="102150" y="86259"/>
                  </a:lnTo>
                  <a:lnTo>
                    <a:pt x="103293" y="85834"/>
                  </a:lnTo>
                  <a:lnTo>
                    <a:pt x="104383" y="85329"/>
                  </a:lnTo>
                  <a:lnTo>
                    <a:pt x="105472" y="84771"/>
                  </a:lnTo>
                  <a:lnTo>
                    <a:pt x="106509" y="84160"/>
                  </a:lnTo>
                  <a:lnTo>
                    <a:pt x="107518" y="83522"/>
                  </a:lnTo>
                  <a:lnTo>
                    <a:pt x="108502" y="82831"/>
                  </a:lnTo>
                  <a:lnTo>
                    <a:pt x="109458" y="82087"/>
                  </a:lnTo>
                  <a:lnTo>
                    <a:pt x="110362" y="81290"/>
                  </a:lnTo>
                  <a:lnTo>
                    <a:pt x="111212" y="80466"/>
                  </a:lnTo>
                  <a:lnTo>
                    <a:pt x="112036" y="79616"/>
                  </a:lnTo>
                  <a:lnTo>
                    <a:pt x="112833" y="78712"/>
                  </a:lnTo>
                  <a:lnTo>
                    <a:pt x="113577" y="77756"/>
                  </a:lnTo>
                  <a:lnTo>
                    <a:pt x="114268" y="76799"/>
                  </a:lnTo>
                  <a:lnTo>
                    <a:pt x="114906" y="75763"/>
                  </a:lnTo>
                  <a:lnTo>
                    <a:pt x="115517" y="74726"/>
                  </a:lnTo>
                  <a:lnTo>
                    <a:pt x="116075" y="73663"/>
                  </a:lnTo>
                  <a:lnTo>
                    <a:pt x="116553" y="72547"/>
                  </a:lnTo>
                  <a:lnTo>
                    <a:pt x="117005" y="71405"/>
                  </a:lnTo>
                  <a:lnTo>
                    <a:pt x="117404" y="70262"/>
                  </a:lnTo>
                  <a:lnTo>
                    <a:pt x="117749" y="69066"/>
                  </a:lnTo>
                  <a:lnTo>
                    <a:pt x="118015" y="67870"/>
                  </a:lnTo>
                  <a:lnTo>
                    <a:pt x="118228" y="66648"/>
                  </a:lnTo>
                  <a:lnTo>
                    <a:pt x="118387" y="65399"/>
                  </a:lnTo>
                  <a:lnTo>
                    <a:pt x="118440" y="64761"/>
                  </a:lnTo>
                  <a:lnTo>
                    <a:pt x="118493" y="64123"/>
                  </a:lnTo>
                  <a:lnTo>
                    <a:pt x="118520" y="63486"/>
                  </a:lnTo>
                  <a:lnTo>
                    <a:pt x="118520" y="62848"/>
                  </a:lnTo>
                  <a:lnTo>
                    <a:pt x="118520" y="24874"/>
                  </a:lnTo>
                  <a:lnTo>
                    <a:pt x="118547" y="23625"/>
                  </a:lnTo>
                  <a:lnTo>
                    <a:pt x="118653" y="22376"/>
                  </a:lnTo>
                  <a:lnTo>
                    <a:pt x="118812" y="21154"/>
                  </a:lnTo>
                  <a:lnTo>
                    <a:pt x="119025" y="19958"/>
                  </a:lnTo>
                  <a:lnTo>
                    <a:pt x="119291" y="18789"/>
                  </a:lnTo>
                  <a:lnTo>
                    <a:pt x="119609" y="17646"/>
                  </a:lnTo>
                  <a:lnTo>
                    <a:pt x="120008" y="16503"/>
                  </a:lnTo>
                  <a:lnTo>
                    <a:pt x="120433" y="15387"/>
                  </a:lnTo>
                  <a:lnTo>
                    <a:pt x="120912" y="14324"/>
                  </a:lnTo>
                  <a:lnTo>
                    <a:pt x="121470" y="13261"/>
                  </a:lnTo>
                  <a:lnTo>
                    <a:pt x="122054" y="12251"/>
                  </a:lnTo>
                  <a:lnTo>
                    <a:pt x="122692" y="11268"/>
                  </a:lnTo>
                  <a:lnTo>
                    <a:pt x="123356" y="10312"/>
                  </a:lnTo>
                  <a:lnTo>
                    <a:pt x="124074" y="9381"/>
                  </a:lnTo>
                  <a:lnTo>
                    <a:pt x="124845" y="8505"/>
                  </a:lnTo>
                  <a:lnTo>
                    <a:pt x="125642" y="7654"/>
                  </a:lnTo>
                  <a:lnTo>
                    <a:pt x="126492" y="6857"/>
                  </a:lnTo>
                  <a:lnTo>
                    <a:pt x="127369" y="6086"/>
                  </a:lnTo>
                  <a:lnTo>
                    <a:pt x="128299" y="5369"/>
                  </a:lnTo>
                  <a:lnTo>
                    <a:pt x="129256" y="4704"/>
                  </a:lnTo>
                  <a:lnTo>
                    <a:pt x="130239" y="4067"/>
                  </a:lnTo>
                  <a:lnTo>
                    <a:pt x="131249" y="3482"/>
                  </a:lnTo>
                  <a:lnTo>
                    <a:pt x="132312" y="2951"/>
                  </a:lnTo>
                  <a:lnTo>
                    <a:pt x="133375" y="2446"/>
                  </a:lnTo>
                  <a:lnTo>
                    <a:pt x="134491" y="2021"/>
                  </a:lnTo>
                  <a:lnTo>
                    <a:pt x="135634" y="1622"/>
                  </a:lnTo>
                  <a:lnTo>
                    <a:pt x="136776" y="1303"/>
                  </a:lnTo>
                  <a:lnTo>
                    <a:pt x="137946" y="1037"/>
                  </a:lnTo>
                  <a:lnTo>
                    <a:pt x="139141" y="825"/>
                  </a:lnTo>
                  <a:lnTo>
                    <a:pt x="140364" y="665"/>
                  </a:lnTo>
                  <a:lnTo>
                    <a:pt x="141613" y="559"/>
                  </a:lnTo>
                  <a:lnTo>
                    <a:pt x="142862" y="532"/>
                  </a:lnTo>
                  <a:lnTo>
                    <a:pt x="144111" y="559"/>
                  </a:lnTo>
                  <a:lnTo>
                    <a:pt x="145360" y="665"/>
                  </a:lnTo>
                  <a:lnTo>
                    <a:pt x="146556" y="825"/>
                  </a:lnTo>
                  <a:lnTo>
                    <a:pt x="147751" y="1037"/>
                  </a:lnTo>
                  <a:lnTo>
                    <a:pt x="148947" y="1303"/>
                  </a:lnTo>
                  <a:lnTo>
                    <a:pt x="150090" y="1622"/>
                  </a:lnTo>
                  <a:lnTo>
                    <a:pt x="151233" y="2021"/>
                  </a:lnTo>
                  <a:lnTo>
                    <a:pt x="152322" y="2446"/>
                  </a:lnTo>
                  <a:lnTo>
                    <a:pt x="153412" y="2951"/>
                  </a:lnTo>
                  <a:lnTo>
                    <a:pt x="154448" y="3482"/>
                  </a:lnTo>
                  <a:lnTo>
                    <a:pt x="155484" y="4067"/>
                  </a:lnTo>
                  <a:lnTo>
                    <a:pt x="156468" y="4704"/>
                  </a:lnTo>
                  <a:lnTo>
                    <a:pt x="157424" y="5369"/>
                  </a:lnTo>
                  <a:lnTo>
                    <a:pt x="158328" y="6086"/>
                  </a:lnTo>
                  <a:lnTo>
                    <a:pt x="159231" y="6857"/>
                  </a:lnTo>
                  <a:lnTo>
                    <a:pt x="160055" y="7654"/>
                  </a:lnTo>
                  <a:lnTo>
                    <a:pt x="160879" y="8505"/>
                  </a:lnTo>
                  <a:lnTo>
                    <a:pt x="161623" y="9381"/>
                  </a:lnTo>
                  <a:lnTo>
                    <a:pt x="162367" y="10312"/>
                  </a:lnTo>
                  <a:lnTo>
                    <a:pt x="163031" y="11268"/>
                  </a:lnTo>
                  <a:lnTo>
                    <a:pt x="163669" y="12251"/>
                  </a:lnTo>
                  <a:lnTo>
                    <a:pt x="164254" y="13261"/>
                  </a:lnTo>
                  <a:lnTo>
                    <a:pt x="164785" y="14324"/>
                  </a:lnTo>
                  <a:lnTo>
                    <a:pt x="165290" y="15387"/>
                  </a:lnTo>
                  <a:lnTo>
                    <a:pt x="165715" y="16503"/>
                  </a:lnTo>
                  <a:lnTo>
                    <a:pt x="166087" y="17646"/>
                  </a:lnTo>
                  <a:lnTo>
                    <a:pt x="166433" y="18789"/>
                  </a:lnTo>
                  <a:lnTo>
                    <a:pt x="166699" y="19958"/>
                  </a:lnTo>
                  <a:lnTo>
                    <a:pt x="166911" y="21154"/>
                  </a:lnTo>
                  <a:lnTo>
                    <a:pt x="167071" y="22376"/>
                  </a:lnTo>
                  <a:lnTo>
                    <a:pt x="167150" y="23625"/>
                  </a:lnTo>
                  <a:lnTo>
                    <a:pt x="167203" y="24874"/>
                  </a:lnTo>
                  <a:lnTo>
                    <a:pt x="167203" y="63007"/>
                  </a:lnTo>
                  <a:lnTo>
                    <a:pt x="167203" y="63645"/>
                  </a:lnTo>
                  <a:lnTo>
                    <a:pt x="167230" y="64283"/>
                  </a:lnTo>
                  <a:lnTo>
                    <a:pt x="167257" y="64894"/>
                  </a:lnTo>
                  <a:lnTo>
                    <a:pt x="167310" y="65532"/>
                  </a:lnTo>
                  <a:lnTo>
                    <a:pt x="167469" y="66781"/>
                  </a:lnTo>
                  <a:lnTo>
                    <a:pt x="167708" y="68003"/>
                  </a:lnTo>
                  <a:lnTo>
                    <a:pt x="167974" y="69199"/>
                  </a:lnTo>
                  <a:lnTo>
                    <a:pt x="168320" y="70368"/>
                  </a:lnTo>
                  <a:lnTo>
                    <a:pt x="168692" y="71537"/>
                  </a:lnTo>
                  <a:lnTo>
                    <a:pt x="169143" y="72654"/>
                  </a:lnTo>
                  <a:lnTo>
                    <a:pt x="169648" y="73770"/>
                  </a:lnTo>
                  <a:lnTo>
                    <a:pt x="170180" y="74833"/>
                  </a:lnTo>
                  <a:lnTo>
                    <a:pt x="170791" y="75869"/>
                  </a:lnTo>
                  <a:lnTo>
                    <a:pt x="171429" y="76879"/>
                  </a:lnTo>
                  <a:lnTo>
                    <a:pt x="172120" y="77862"/>
                  </a:lnTo>
                  <a:lnTo>
                    <a:pt x="172864" y="78792"/>
                  </a:lnTo>
                  <a:lnTo>
                    <a:pt x="173634" y="79696"/>
                  </a:lnTo>
                  <a:lnTo>
                    <a:pt x="174458" y="80546"/>
                  </a:lnTo>
                  <a:lnTo>
                    <a:pt x="175335" y="81370"/>
                  </a:lnTo>
                  <a:lnTo>
                    <a:pt x="176239" y="82167"/>
                  </a:lnTo>
                  <a:lnTo>
                    <a:pt x="177169" y="82884"/>
                  </a:lnTo>
                  <a:lnTo>
                    <a:pt x="178152" y="83575"/>
                  </a:lnTo>
                  <a:lnTo>
                    <a:pt x="179135" y="84240"/>
                  </a:lnTo>
                  <a:lnTo>
                    <a:pt x="180198" y="84824"/>
                  </a:lnTo>
                  <a:lnTo>
                    <a:pt x="181261" y="85382"/>
                  </a:lnTo>
                  <a:lnTo>
                    <a:pt x="182351" y="85887"/>
                  </a:lnTo>
                  <a:lnTo>
                    <a:pt x="183493" y="86312"/>
                  </a:lnTo>
                  <a:lnTo>
                    <a:pt x="184636" y="86711"/>
                  </a:lnTo>
                  <a:lnTo>
                    <a:pt x="185805" y="87056"/>
                  </a:lnTo>
                  <a:lnTo>
                    <a:pt x="187028" y="87322"/>
                  </a:lnTo>
                  <a:lnTo>
                    <a:pt x="188250" y="87535"/>
                  </a:lnTo>
                  <a:lnTo>
                    <a:pt x="189472" y="87694"/>
                  </a:lnTo>
                  <a:lnTo>
                    <a:pt x="190110" y="87747"/>
                  </a:lnTo>
                  <a:lnTo>
                    <a:pt x="190748" y="87801"/>
                  </a:lnTo>
                  <a:lnTo>
                    <a:pt x="191386" y="87827"/>
                  </a:lnTo>
                  <a:lnTo>
                    <a:pt x="192661" y="87827"/>
                  </a:lnTo>
                  <a:lnTo>
                    <a:pt x="193299" y="87801"/>
                  </a:lnTo>
                  <a:lnTo>
                    <a:pt x="193937" y="87747"/>
                  </a:lnTo>
                  <a:lnTo>
                    <a:pt x="194575" y="87694"/>
                  </a:lnTo>
                  <a:lnTo>
                    <a:pt x="195797" y="87535"/>
                  </a:lnTo>
                  <a:lnTo>
                    <a:pt x="197019" y="87322"/>
                  </a:lnTo>
                  <a:lnTo>
                    <a:pt x="198242" y="87056"/>
                  </a:lnTo>
                  <a:lnTo>
                    <a:pt x="199411" y="86711"/>
                  </a:lnTo>
                  <a:lnTo>
                    <a:pt x="200554" y="86312"/>
                  </a:lnTo>
                  <a:lnTo>
                    <a:pt x="201697" y="85887"/>
                  </a:lnTo>
                  <a:lnTo>
                    <a:pt x="202786" y="85382"/>
                  </a:lnTo>
                  <a:lnTo>
                    <a:pt x="203849" y="84824"/>
                  </a:lnTo>
                  <a:lnTo>
                    <a:pt x="204912" y="84240"/>
                  </a:lnTo>
                  <a:lnTo>
                    <a:pt x="205895" y="83575"/>
                  </a:lnTo>
                  <a:lnTo>
                    <a:pt x="206878" y="82884"/>
                  </a:lnTo>
                  <a:lnTo>
                    <a:pt x="207809" y="82167"/>
                  </a:lnTo>
                  <a:lnTo>
                    <a:pt x="208712" y="81370"/>
                  </a:lnTo>
                  <a:lnTo>
                    <a:pt x="209589" y="80546"/>
                  </a:lnTo>
                  <a:lnTo>
                    <a:pt x="210413" y="79696"/>
                  </a:lnTo>
                  <a:lnTo>
                    <a:pt x="211183" y="78792"/>
                  </a:lnTo>
                  <a:lnTo>
                    <a:pt x="211927" y="77862"/>
                  </a:lnTo>
                  <a:lnTo>
                    <a:pt x="212618" y="76879"/>
                  </a:lnTo>
                  <a:lnTo>
                    <a:pt x="213256" y="75869"/>
                  </a:lnTo>
                  <a:lnTo>
                    <a:pt x="213867" y="74833"/>
                  </a:lnTo>
                  <a:lnTo>
                    <a:pt x="214399" y="73770"/>
                  </a:lnTo>
                  <a:lnTo>
                    <a:pt x="214904" y="72654"/>
                  </a:lnTo>
                  <a:lnTo>
                    <a:pt x="215356" y="71537"/>
                  </a:lnTo>
                  <a:lnTo>
                    <a:pt x="215728" y="70368"/>
                  </a:lnTo>
                  <a:lnTo>
                    <a:pt x="216073" y="69199"/>
                  </a:lnTo>
                  <a:lnTo>
                    <a:pt x="216339" y="68003"/>
                  </a:lnTo>
                  <a:lnTo>
                    <a:pt x="216578" y="66781"/>
                  </a:lnTo>
                  <a:lnTo>
                    <a:pt x="216737" y="65532"/>
                  </a:lnTo>
                  <a:lnTo>
                    <a:pt x="216791" y="64894"/>
                  </a:lnTo>
                  <a:lnTo>
                    <a:pt x="216817" y="64283"/>
                  </a:lnTo>
                  <a:lnTo>
                    <a:pt x="216844" y="63645"/>
                  </a:lnTo>
                  <a:lnTo>
                    <a:pt x="216844" y="63007"/>
                  </a:lnTo>
                  <a:lnTo>
                    <a:pt x="216844" y="24927"/>
                  </a:lnTo>
                  <a:lnTo>
                    <a:pt x="216870" y="24289"/>
                  </a:lnTo>
                  <a:lnTo>
                    <a:pt x="216897" y="23678"/>
                  </a:lnTo>
                  <a:lnTo>
                    <a:pt x="216977" y="22429"/>
                  </a:lnTo>
                  <a:lnTo>
                    <a:pt x="217136" y="21207"/>
                  </a:lnTo>
                  <a:lnTo>
                    <a:pt x="217349" y="20011"/>
                  </a:lnTo>
                  <a:lnTo>
                    <a:pt x="217614" y="18842"/>
                  </a:lnTo>
                  <a:lnTo>
                    <a:pt x="217960" y="17672"/>
                  </a:lnTo>
                  <a:lnTo>
                    <a:pt x="218332" y="16556"/>
                  </a:lnTo>
                  <a:lnTo>
                    <a:pt x="218784" y="15440"/>
                  </a:lnTo>
                  <a:lnTo>
                    <a:pt x="219262" y="14351"/>
                  </a:lnTo>
                  <a:lnTo>
                    <a:pt x="219793" y="13314"/>
                  </a:lnTo>
                  <a:lnTo>
                    <a:pt x="220378" y="12278"/>
                  </a:lnTo>
                  <a:lnTo>
                    <a:pt x="221016" y="11295"/>
                  </a:lnTo>
                  <a:lnTo>
                    <a:pt x="221707" y="10338"/>
                  </a:lnTo>
                  <a:lnTo>
                    <a:pt x="222424" y="9408"/>
                  </a:lnTo>
                  <a:lnTo>
                    <a:pt x="223195" y="8531"/>
                  </a:lnTo>
                  <a:lnTo>
                    <a:pt x="223992" y="7681"/>
                  </a:lnTo>
                  <a:lnTo>
                    <a:pt x="224842" y="6884"/>
                  </a:lnTo>
                  <a:lnTo>
                    <a:pt x="225719" y="6113"/>
                  </a:lnTo>
                  <a:lnTo>
                    <a:pt x="226649" y="5395"/>
                  </a:lnTo>
                  <a:lnTo>
                    <a:pt x="227606" y="4704"/>
                  </a:lnTo>
                  <a:lnTo>
                    <a:pt x="228589" y="4067"/>
                  </a:lnTo>
                  <a:lnTo>
                    <a:pt x="229626" y="3482"/>
                  </a:lnTo>
                  <a:lnTo>
                    <a:pt x="230662" y="2951"/>
                  </a:lnTo>
                  <a:lnTo>
                    <a:pt x="231752" y="2472"/>
                  </a:lnTo>
                  <a:lnTo>
                    <a:pt x="232841" y="2021"/>
                  </a:lnTo>
                  <a:lnTo>
                    <a:pt x="233984" y="1648"/>
                  </a:lnTo>
                  <a:lnTo>
                    <a:pt x="235153" y="1303"/>
                  </a:lnTo>
                  <a:lnTo>
                    <a:pt x="236322" y="1037"/>
                  </a:lnTo>
                  <a:lnTo>
                    <a:pt x="237518" y="825"/>
                  </a:lnTo>
                  <a:lnTo>
                    <a:pt x="238741" y="665"/>
                  </a:lnTo>
                  <a:lnTo>
                    <a:pt x="239990" y="586"/>
                  </a:lnTo>
                  <a:lnTo>
                    <a:pt x="240601" y="559"/>
                  </a:lnTo>
                  <a:lnTo>
                    <a:pt x="241876" y="559"/>
                  </a:lnTo>
                  <a:lnTo>
                    <a:pt x="242488" y="586"/>
                  </a:lnTo>
                  <a:lnTo>
                    <a:pt x="243737" y="665"/>
                  </a:lnTo>
                  <a:lnTo>
                    <a:pt x="244959" y="825"/>
                  </a:lnTo>
                  <a:lnTo>
                    <a:pt x="246155" y="1037"/>
                  </a:lnTo>
                  <a:lnTo>
                    <a:pt x="247324" y="1303"/>
                  </a:lnTo>
                  <a:lnTo>
                    <a:pt x="248493" y="1648"/>
                  </a:lnTo>
                  <a:lnTo>
                    <a:pt x="249609" y="2021"/>
                  </a:lnTo>
                  <a:lnTo>
                    <a:pt x="250726" y="2472"/>
                  </a:lnTo>
                  <a:lnTo>
                    <a:pt x="251815" y="2951"/>
                  </a:lnTo>
                  <a:lnTo>
                    <a:pt x="252851" y="3482"/>
                  </a:lnTo>
                  <a:lnTo>
                    <a:pt x="253888" y="4067"/>
                  </a:lnTo>
                  <a:lnTo>
                    <a:pt x="254871" y="4704"/>
                  </a:lnTo>
                  <a:lnTo>
                    <a:pt x="255828" y="5395"/>
                  </a:lnTo>
                  <a:lnTo>
                    <a:pt x="256758" y="6113"/>
                  </a:lnTo>
                  <a:lnTo>
                    <a:pt x="257635" y="6884"/>
                  </a:lnTo>
                  <a:lnTo>
                    <a:pt x="258485" y="7681"/>
                  </a:lnTo>
                  <a:lnTo>
                    <a:pt x="259282" y="8531"/>
                  </a:lnTo>
                  <a:lnTo>
                    <a:pt x="260053" y="9408"/>
                  </a:lnTo>
                  <a:lnTo>
                    <a:pt x="260770" y="10338"/>
                  </a:lnTo>
                  <a:lnTo>
                    <a:pt x="261461" y="11295"/>
                  </a:lnTo>
                  <a:lnTo>
                    <a:pt x="262099" y="12278"/>
                  </a:lnTo>
                  <a:lnTo>
                    <a:pt x="262684" y="13314"/>
                  </a:lnTo>
                  <a:lnTo>
                    <a:pt x="263215" y="14351"/>
                  </a:lnTo>
                  <a:lnTo>
                    <a:pt x="263694" y="15440"/>
                  </a:lnTo>
                  <a:lnTo>
                    <a:pt x="264145" y="16556"/>
                  </a:lnTo>
                  <a:lnTo>
                    <a:pt x="264517" y="17672"/>
                  </a:lnTo>
                  <a:lnTo>
                    <a:pt x="264863" y="18842"/>
                  </a:lnTo>
                  <a:lnTo>
                    <a:pt x="265129" y="20011"/>
                  </a:lnTo>
                  <a:lnTo>
                    <a:pt x="265341" y="21207"/>
                  </a:lnTo>
                  <a:lnTo>
                    <a:pt x="265501" y="22429"/>
                  </a:lnTo>
                  <a:lnTo>
                    <a:pt x="265580" y="23678"/>
                  </a:lnTo>
                  <a:lnTo>
                    <a:pt x="265634" y="24927"/>
                  </a:lnTo>
                  <a:lnTo>
                    <a:pt x="265634" y="32208"/>
                  </a:lnTo>
                  <a:lnTo>
                    <a:pt x="265634" y="32687"/>
                  </a:lnTo>
                  <a:lnTo>
                    <a:pt x="265660" y="33192"/>
                  </a:lnTo>
                  <a:lnTo>
                    <a:pt x="265740" y="33670"/>
                  </a:lnTo>
                  <a:lnTo>
                    <a:pt x="265820" y="34148"/>
                  </a:lnTo>
                  <a:lnTo>
                    <a:pt x="265926" y="34626"/>
                  </a:lnTo>
                  <a:lnTo>
                    <a:pt x="266059" y="35078"/>
                  </a:lnTo>
                  <a:lnTo>
                    <a:pt x="266218" y="35530"/>
                  </a:lnTo>
                  <a:lnTo>
                    <a:pt x="266378" y="35982"/>
                  </a:lnTo>
                  <a:lnTo>
                    <a:pt x="266564" y="36407"/>
                  </a:lnTo>
                  <a:lnTo>
                    <a:pt x="266803" y="36806"/>
                  </a:lnTo>
                  <a:lnTo>
                    <a:pt x="267015" y="37231"/>
                  </a:lnTo>
                  <a:lnTo>
                    <a:pt x="267281" y="37629"/>
                  </a:lnTo>
                  <a:lnTo>
                    <a:pt x="267547" y="38001"/>
                  </a:lnTo>
                  <a:lnTo>
                    <a:pt x="267839" y="38373"/>
                  </a:lnTo>
                  <a:lnTo>
                    <a:pt x="268131" y="38719"/>
                  </a:lnTo>
                  <a:lnTo>
                    <a:pt x="268450" y="39038"/>
                  </a:lnTo>
                  <a:lnTo>
                    <a:pt x="268796" y="39383"/>
                  </a:lnTo>
                  <a:lnTo>
                    <a:pt x="269141" y="39675"/>
                  </a:lnTo>
                  <a:lnTo>
                    <a:pt x="269513" y="39968"/>
                  </a:lnTo>
                  <a:lnTo>
                    <a:pt x="269885" y="40234"/>
                  </a:lnTo>
                  <a:lnTo>
                    <a:pt x="270284" y="40499"/>
                  </a:lnTo>
                  <a:lnTo>
                    <a:pt x="270683" y="40712"/>
                  </a:lnTo>
                  <a:lnTo>
                    <a:pt x="271108" y="40924"/>
                  </a:lnTo>
                  <a:lnTo>
                    <a:pt x="271533" y="41137"/>
                  </a:lnTo>
                  <a:lnTo>
                    <a:pt x="271985" y="41296"/>
                  </a:lnTo>
                  <a:lnTo>
                    <a:pt x="272436" y="41456"/>
                  </a:lnTo>
                  <a:lnTo>
                    <a:pt x="272888" y="41589"/>
                  </a:lnTo>
                  <a:lnTo>
                    <a:pt x="273367" y="41695"/>
                  </a:lnTo>
                  <a:lnTo>
                    <a:pt x="273845" y="41775"/>
                  </a:lnTo>
                  <a:lnTo>
                    <a:pt x="274323" y="41828"/>
                  </a:lnTo>
                  <a:lnTo>
                    <a:pt x="274802" y="41881"/>
                  </a:lnTo>
                  <a:lnTo>
                    <a:pt x="285591" y="41881"/>
                  </a:lnTo>
                  <a:lnTo>
                    <a:pt x="285670" y="41801"/>
                  </a:lnTo>
                  <a:lnTo>
                    <a:pt x="285723" y="41722"/>
                  </a:lnTo>
                  <a:lnTo>
                    <a:pt x="285750" y="41615"/>
                  </a:lnTo>
                  <a:lnTo>
                    <a:pt x="285723" y="41509"/>
                  </a:lnTo>
                  <a:lnTo>
                    <a:pt x="285670" y="41429"/>
                  </a:lnTo>
                  <a:lnTo>
                    <a:pt x="285591" y="41376"/>
                  </a:lnTo>
                  <a:lnTo>
                    <a:pt x="285484" y="41350"/>
                  </a:lnTo>
                  <a:lnTo>
                    <a:pt x="274855" y="41350"/>
                  </a:lnTo>
                  <a:lnTo>
                    <a:pt x="274376" y="41323"/>
                  </a:lnTo>
                  <a:lnTo>
                    <a:pt x="273925" y="41243"/>
                  </a:lnTo>
                  <a:lnTo>
                    <a:pt x="273473" y="41164"/>
                  </a:lnTo>
                  <a:lnTo>
                    <a:pt x="273021" y="41057"/>
                  </a:lnTo>
                  <a:lnTo>
                    <a:pt x="272596" y="40951"/>
                  </a:lnTo>
                  <a:lnTo>
                    <a:pt x="272171" y="40792"/>
                  </a:lnTo>
                  <a:lnTo>
                    <a:pt x="271746" y="40632"/>
                  </a:lnTo>
                  <a:lnTo>
                    <a:pt x="271347" y="40446"/>
                  </a:lnTo>
                  <a:lnTo>
                    <a:pt x="270948" y="40260"/>
                  </a:lnTo>
                  <a:lnTo>
                    <a:pt x="270576" y="40021"/>
                  </a:lnTo>
                  <a:lnTo>
                    <a:pt x="270204" y="39782"/>
                  </a:lnTo>
                  <a:lnTo>
                    <a:pt x="269832" y="39543"/>
                  </a:lnTo>
                  <a:lnTo>
                    <a:pt x="269487" y="39277"/>
                  </a:lnTo>
                  <a:lnTo>
                    <a:pt x="269141" y="38985"/>
                  </a:lnTo>
                  <a:lnTo>
                    <a:pt x="268822" y="38666"/>
                  </a:lnTo>
                  <a:lnTo>
                    <a:pt x="268530" y="38347"/>
                  </a:lnTo>
                  <a:lnTo>
                    <a:pt x="268238" y="38028"/>
                  </a:lnTo>
                  <a:lnTo>
                    <a:pt x="267972" y="37682"/>
                  </a:lnTo>
                  <a:lnTo>
                    <a:pt x="267706" y="37310"/>
                  </a:lnTo>
                  <a:lnTo>
                    <a:pt x="267467" y="36938"/>
                  </a:lnTo>
                  <a:lnTo>
                    <a:pt x="267255" y="36566"/>
                  </a:lnTo>
                  <a:lnTo>
                    <a:pt x="267069" y="36168"/>
                  </a:lnTo>
                  <a:lnTo>
                    <a:pt x="266882" y="35769"/>
                  </a:lnTo>
                  <a:lnTo>
                    <a:pt x="266696" y="35344"/>
                  </a:lnTo>
                  <a:lnTo>
                    <a:pt x="266564" y="34919"/>
                  </a:lnTo>
                  <a:lnTo>
                    <a:pt x="266431" y="34494"/>
                  </a:lnTo>
                  <a:lnTo>
                    <a:pt x="266351" y="34042"/>
                  </a:lnTo>
                  <a:lnTo>
                    <a:pt x="266245" y="33590"/>
                  </a:lnTo>
                  <a:lnTo>
                    <a:pt x="266192" y="33138"/>
                  </a:lnTo>
                  <a:lnTo>
                    <a:pt x="266165" y="32660"/>
                  </a:lnTo>
                  <a:lnTo>
                    <a:pt x="266165" y="32208"/>
                  </a:lnTo>
                  <a:lnTo>
                    <a:pt x="266165" y="24927"/>
                  </a:lnTo>
                  <a:lnTo>
                    <a:pt x="266138" y="24289"/>
                  </a:lnTo>
                  <a:lnTo>
                    <a:pt x="266112" y="23652"/>
                  </a:lnTo>
                  <a:lnTo>
                    <a:pt x="266085" y="23014"/>
                  </a:lnTo>
                  <a:lnTo>
                    <a:pt x="266032" y="22376"/>
                  </a:lnTo>
                  <a:lnTo>
                    <a:pt x="265873" y="21127"/>
                  </a:lnTo>
                  <a:lnTo>
                    <a:pt x="265634" y="19905"/>
                  </a:lnTo>
                  <a:lnTo>
                    <a:pt x="265368" y="18709"/>
                  </a:lnTo>
                  <a:lnTo>
                    <a:pt x="265022" y="17513"/>
                  </a:lnTo>
                  <a:lnTo>
                    <a:pt x="264650" y="16370"/>
                  </a:lnTo>
                  <a:lnTo>
                    <a:pt x="264199" y="15228"/>
                  </a:lnTo>
                  <a:lnTo>
                    <a:pt x="263694" y="14138"/>
                  </a:lnTo>
                  <a:lnTo>
                    <a:pt x="263136" y="13049"/>
                  </a:lnTo>
                  <a:lnTo>
                    <a:pt x="262551" y="12012"/>
                  </a:lnTo>
                  <a:lnTo>
                    <a:pt x="261887" y="11002"/>
                  </a:lnTo>
                  <a:lnTo>
                    <a:pt x="261196" y="10019"/>
                  </a:lnTo>
                  <a:lnTo>
                    <a:pt x="260452" y="9089"/>
                  </a:lnTo>
                  <a:lnTo>
                    <a:pt x="259681" y="8186"/>
                  </a:lnTo>
                  <a:lnTo>
                    <a:pt x="258857" y="7309"/>
                  </a:lnTo>
                  <a:lnTo>
                    <a:pt x="257980" y="6485"/>
                  </a:lnTo>
                  <a:lnTo>
                    <a:pt x="257077" y="5714"/>
                  </a:lnTo>
                  <a:lnTo>
                    <a:pt x="256147" y="4970"/>
                  </a:lnTo>
                  <a:lnTo>
                    <a:pt x="255163" y="4279"/>
                  </a:lnTo>
                  <a:lnTo>
                    <a:pt x="254154" y="3615"/>
                  </a:lnTo>
                  <a:lnTo>
                    <a:pt x="253117" y="3030"/>
                  </a:lnTo>
                  <a:lnTo>
                    <a:pt x="252028" y="2472"/>
                  </a:lnTo>
                  <a:lnTo>
                    <a:pt x="250938" y="1967"/>
                  </a:lnTo>
                  <a:lnTo>
                    <a:pt x="249795" y="1516"/>
                  </a:lnTo>
                  <a:lnTo>
                    <a:pt x="248653" y="1144"/>
                  </a:lnTo>
                  <a:lnTo>
                    <a:pt x="247457" y="798"/>
                  </a:lnTo>
                  <a:lnTo>
                    <a:pt x="246261" y="532"/>
                  </a:lnTo>
                  <a:lnTo>
                    <a:pt x="245039" y="293"/>
                  </a:lnTo>
                  <a:lnTo>
                    <a:pt x="243790" y="134"/>
                  </a:lnTo>
                  <a:lnTo>
                    <a:pt x="243152" y="81"/>
                  </a:lnTo>
                  <a:lnTo>
                    <a:pt x="242514" y="54"/>
                  </a:lnTo>
                  <a:lnTo>
                    <a:pt x="241876" y="27"/>
                  </a:lnTo>
                  <a:lnTo>
                    <a:pt x="240601" y="27"/>
                  </a:lnTo>
                  <a:lnTo>
                    <a:pt x="239963" y="54"/>
                  </a:lnTo>
                  <a:lnTo>
                    <a:pt x="239325" y="81"/>
                  </a:lnTo>
                  <a:lnTo>
                    <a:pt x="238687" y="134"/>
                  </a:lnTo>
                  <a:lnTo>
                    <a:pt x="237439" y="293"/>
                  </a:lnTo>
                  <a:lnTo>
                    <a:pt x="236216" y="532"/>
                  </a:lnTo>
                  <a:lnTo>
                    <a:pt x="235020" y="798"/>
                  </a:lnTo>
                  <a:lnTo>
                    <a:pt x="233824" y="1144"/>
                  </a:lnTo>
                  <a:lnTo>
                    <a:pt x="232682" y="1516"/>
                  </a:lnTo>
                  <a:lnTo>
                    <a:pt x="231539" y="1967"/>
                  </a:lnTo>
                  <a:lnTo>
                    <a:pt x="230450" y="2472"/>
                  </a:lnTo>
                  <a:lnTo>
                    <a:pt x="229360" y="3030"/>
                  </a:lnTo>
                  <a:lnTo>
                    <a:pt x="228324" y="3615"/>
                  </a:lnTo>
                  <a:lnTo>
                    <a:pt x="227314" y="4279"/>
                  </a:lnTo>
                  <a:lnTo>
                    <a:pt x="226331" y="4970"/>
                  </a:lnTo>
                  <a:lnTo>
                    <a:pt x="225401" y="5714"/>
                  </a:lnTo>
                  <a:lnTo>
                    <a:pt x="224497" y="6485"/>
                  </a:lnTo>
                  <a:lnTo>
                    <a:pt x="223620" y="7309"/>
                  </a:lnTo>
                  <a:lnTo>
                    <a:pt x="222796" y="8186"/>
                  </a:lnTo>
                  <a:lnTo>
                    <a:pt x="222026" y="9089"/>
                  </a:lnTo>
                  <a:lnTo>
                    <a:pt x="221282" y="10019"/>
                  </a:lnTo>
                  <a:lnTo>
                    <a:pt x="220591" y="11002"/>
                  </a:lnTo>
                  <a:lnTo>
                    <a:pt x="219926" y="12012"/>
                  </a:lnTo>
                  <a:lnTo>
                    <a:pt x="219342" y="13049"/>
                  </a:lnTo>
                  <a:lnTo>
                    <a:pt x="218784" y="14138"/>
                  </a:lnTo>
                  <a:lnTo>
                    <a:pt x="218279" y="15228"/>
                  </a:lnTo>
                  <a:lnTo>
                    <a:pt x="217827" y="16370"/>
                  </a:lnTo>
                  <a:lnTo>
                    <a:pt x="217455" y="17513"/>
                  </a:lnTo>
                  <a:lnTo>
                    <a:pt x="217109" y="18709"/>
                  </a:lnTo>
                  <a:lnTo>
                    <a:pt x="216817" y="19905"/>
                  </a:lnTo>
                  <a:lnTo>
                    <a:pt x="216605" y="21127"/>
                  </a:lnTo>
                  <a:lnTo>
                    <a:pt x="216445" y="22376"/>
                  </a:lnTo>
                  <a:lnTo>
                    <a:pt x="216392" y="23014"/>
                  </a:lnTo>
                  <a:lnTo>
                    <a:pt x="216365" y="23652"/>
                  </a:lnTo>
                  <a:lnTo>
                    <a:pt x="216339" y="24289"/>
                  </a:lnTo>
                  <a:lnTo>
                    <a:pt x="216312" y="24927"/>
                  </a:lnTo>
                  <a:lnTo>
                    <a:pt x="216312" y="63007"/>
                  </a:lnTo>
                  <a:lnTo>
                    <a:pt x="216286" y="64256"/>
                  </a:lnTo>
                  <a:lnTo>
                    <a:pt x="216206" y="65479"/>
                  </a:lnTo>
                  <a:lnTo>
                    <a:pt x="216046" y="66701"/>
                  </a:lnTo>
                  <a:lnTo>
                    <a:pt x="215834" y="67897"/>
                  </a:lnTo>
                  <a:lnTo>
                    <a:pt x="215568" y="69066"/>
                  </a:lnTo>
                  <a:lnTo>
                    <a:pt x="215223" y="70209"/>
                  </a:lnTo>
                  <a:lnTo>
                    <a:pt x="214851" y="71351"/>
                  </a:lnTo>
                  <a:lnTo>
                    <a:pt x="214425" y="72441"/>
                  </a:lnTo>
                  <a:lnTo>
                    <a:pt x="213921" y="73530"/>
                  </a:lnTo>
                  <a:lnTo>
                    <a:pt x="213389" y="74567"/>
                  </a:lnTo>
                  <a:lnTo>
                    <a:pt x="212804" y="75603"/>
                  </a:lnTo>
                  <a:lnTo>
                    <a:pt x="212167" y="76586"/>
                  </a:lnTo>
                  <a:lnTo>
                    <a:pt x="211502" y="77543"/>
                  </a:lnTo>
                  <a:lnTo>
                    <a:pt x="210785" y="78447"/>
                  </a:lnTo>
                  <a:lnTo>
                    <a:pt x="210014" y="79324"/>
                  </a:lnTo>
                  <a:lnTo>
                    <a:pt x="209217" y="80174"/>
                  </a:lnTo>
                  <a:lnTo>
                    <a:pt x="208367" y="80971"/>
                  </a:lnTo>
                  <a:lnTo>
                    <a:pt x="207490" y="81742"/>
                  </a:lnTo>
                  <a:lnTo>
                    <a:pt x="206560" y="82459"/>
                  </a:lnTo>
                  <a:lnTo>
                    <a:pt x="205603" y="83150"/>
                  </a:lnTo>
                  <a:lnTo>
                    <a:pt x="204620" y="83788"/>
                  </a:lnTo>
                  <a:lnTo>
                    <a:pt x="203610" y="84373"/>
                  </a:lnTo>
                  <a:lnTo>
                    <a:pt x="202547" y="84904"/>
                  </a:lnTo>
                  <a:lnTo>
                    <a:pt x="201484" y="85382"/>
                  </a:lnTo>
                  <a:lnTo>
                    <a:pt x="200368" y="85808"/>
                  </a:lnTo>
                  <a:lnTo>
                    <a:pt x="199252" y="86206"/>
                  </a:lnTo>
                  <a:lnTo>
                    <a:pt x="198109" y="86525"/>
                  </a:lnTo>
                  <a:lnTo>
                    <a:pt x="196913" y="86791"/>
                  </a:lnTo>
                  <a:lnTo>
                    <a:pt x="195717" y="87003"/>
                  </a:lnTo>
                  <a:lnTo>
                    <a:pt x="194522" y="87163"/>
                  </a:lnTo>
                  <a:lnTo>
                    <a:pt x="193273" y="87269"/>
                  </a:lnTo>
                  <a:lnTo>
                    <a:pt x="192024" y="87296"/>
                  </a:lnTo>
                  <a:lnTo>
                    <a:pt x="190775" y="87269"/>
                  </a:lnTo>
                  <a:lnTo>
                    <a:pt x="189526" y="87163"/>
                  </a:lnTo>
                  <a:lnTo>
                    <a:pt x="188330" y="87003"/>
                  </a:lnTo>
                  <a:lnTo>
                    <a:pt x="187134" y="86791"/>
                  </a:lnTo>
                  <a:lnTo>
                    <a:pt x="185938" y="86525"/>
                  </a:lnTo>
                  <a:lnTo>
                    <a:pt x="184795" y="86206"/>
                  </a:lnTo>
                  <a:lnTo>
                    <a:pt x="183679" y="85808"/>
                  </a:lnTo>
                  <a:lnTo>
                    <a:pt x="182563" y="85382"/>
                  </a:lnTo>
                  <a:lnTo>
                    <a:pt x="181500" y="84904"/>
                  </a:lnTo>
                  <a:lnTo>
                    <a:pt x="180437" y="84373"/>
                  </a:lnTo>
                  <a:lnTo>
                    <a:pt x="179428" y="83788"/>
                  </a:lnTo>
                  <a:lnTo>
                    <a:pt x="178444" y="83150"/>
                  </a:lnTo>
                  <a:lnTo>
                    <a:pt x="177488" y="82459"/>
                  </a:lnTo>
                  <a:lnTo>
                    <a:pt x="176558" y="81742"/>
                  </a:lnTo>
                  <a:lnTo>
                    <a:pt x="175681" y="80971"/>
                  </a:lnTo>
                  <a:lnTo>
                    <a:pt x="174830" y="80174"/>
                  </a:lnTo>
                  <a:lnTo>
                    <a:pt x="174033" y="79324"/>
                  </a:lnTo>
                  <a:lnTo>
                    <a:pt x="173262" y="78447"/>
                  </a:lnTo>
                  <a:lnTo>
                    <a:pt x="172545" y="77543"/>
                  </a:lnTo>
                  <a:lnTo>
                    <a:pt x="171881" y="76586"/>
                  </a:lnTo>
                  <a:lnTo>
                    <a:pt x="171243" y="75603"/>
                  </a:lnTo>
                  <a:lnTo>
                    <a:pt x="170658" y="74567"/>
                  </a:lnTo>
                  <a:lnTo>
                    <a:pt x="170127" y="73530"/>
                  </a:lnTo>
                  <a:lnTo>
                    <a:pt x="169622" y="72441"/>
                  </a:lnTo>
                  <a:lnTo>
                    <a:pt x="169197" y="71351"/>
                  </a:lnTo>
                  <a:lnTo>
                    <a:pt x="168824" y="70209"/>
                  </a:lnTo>
                  <a:lnTo>
                    <a:pt x="168479" y="69066"/>
                  </a:lnTo>
                  <a:lnTo>
                    <a:pt x="168213" y="67897"/>
                  </a:lnTo>
                  <a:lnTo>
                    <a:pt x="168001" y="66701"/>
                  </a:lnTo>
                  <a:lnTo>
                    <a:pt x="167841" y="65479"/>
                  </a:lnTo>
                  <a:lnTo>
                    <a:pt x="167762" y="64256"/>
                  </a:lnTo>
                  <a:lnTo>
                    <a:pt x="167735" y="63007"/>
                  </a:lnTo>
                  <a:lnTo>
                    <a:pt x="167735" y="24874"/>
                  </a:lnTo>
                  <a:lnTo>
                    <a:pt x="167708" y="24236"/>
                  </a:lnTo>
                  <a:lnTo>
                    <a:pt x="167682" y="23598"/>
                  </a:lnTo>
                  <a:lnTo>
                    <a:pt x="167655" y="22961"/>
                  </a:lnTo>
                  <a:lnTo>
                    <a:pt x="167602" y="22323"/>
                  </a:lnTo>
                  <a:lnTo>
                    <a:pt x="167443" y="21074"/>
                  </a:lnTo>
                  <a:lnTo>
                    <a:pt x="167230" y="19851"/>
                  </a:lnTo>
                  <a:lnTo>
                    <a:pt x="166938" y="18656"/>
                  </a:lnTo>
                  <a:lnTo>
                    <a:pt x="166619" y="17486"/>
                  </a:lnTo>
                  <a:lnTo>
                    <a:pt x="166220" y="16317"/>
                  </a:lnTo>
                  <a:lnTo>
                    <a:pt x="165768" y="15201"/>
                  </a:lnTo>
                  <a:lnTo>
                    <a:pt x="165264" y="14085"/>
                  </a:lnTo>
                  <a:lnTo>
                    <a:pt x="164732" y="13022"/>
                  </a:lnTo>
                  <a:lnTo>
                    <a:pt x="164121" y="11986"/>
                  </a:lnTo>
                  <a:lnTo>
                    <a:pt x="163483" y="10976"/>
                  </a:lnTo>
                  <a:lnTo>
                    <a:pt x="162792" y="9993"/>
                  </a:lnTo>
                  <a:lnTo>
                    <a:pt x="162048" y="9063"/>
                  </a:lnTo>
                  <a:lnTo>
                    <a:pt x="161251" y="8159"/>
                  </a:lnTo>
                  <a:lnTo>
                    <a:pt x="160454" y="7282"/>
                  </a:lnTo>
                  <a:lnTo>
                    <a:pt x="159577" y="6458"/>
                  </a:lnTo>
                  <a:lnTo>
                    <a:pt x="158673" y="5688"/>
                  </a:lnTo>
                  <a:lnTo>
                    <a:pt x="157743" y="4944"/>
                  </a:lnTo>
                  <a:lnTo>
                    <a:pt x="156760" y="4253"/>
                  </a:lnTo>
                  <a:lnTo>
                    <a:pt x="155750" y="3615"/>
                  </a:lnTo>
                  <a:lnTo>
                    <a:pt x="154714" y="3004"/>
                  </a:lnTo>
                  <a:lnTo>
                    <a:pt x="153651" y="2446"/>
                  </a:lnTo>
                  <a:lnTo>
                    <a:pt x="152535" y="1967"/>
                  </a:lnTo>
                  <a:lnTo>
                    <a:pt x="151419" y="1516"/>
                  </a:lnTo>
                  <a:lnTo>
                    <a:pt x="150249" y="1117"/>
                  </a:lnTo>
                  <a:lnTo>
                    <a:pt x="149080" y="798"/>
                  </a:lnTo>
                  <a:lnTo>
                    <a:pt x="147858" y="506"/>
                  </a:lnTo>
                  <a:lnTo>
                    <a:pt x="146635" y="293"/>
                  </a:lnTo>
                  <a:lnTo>
                    <a:pt x="145413" y="134"/>
                  </a:lnTo>
                  <a:lnTo>
                    <a:pt x="144775" y="81"/>
                  </a:lnTo>
                  <a:lnTo>
                    <a:pt x="144137" y="27"/>
                  </a:lnTo>
                  <a:lnTo>
                    <a:pt x="143499" y="27"/>
                  </a:lnTo>
                  <a:lnTo>
                    <a:pt x="142862" y="1"/>
                  </a:lnTo>
                  <a:lnTo>
                    <a:pt x="142224" y="27"/>
                  </a:lnTo>
                  <a:lnTo>
                    <a:pt x="141586" y="27"/>
                  </a:lnTo>
                  <a:lnTo>
                    <a:pt x="140948" y="81"/>
                  </a:lnTo>
                  <a:lnTo>
                    <a:pt x="140311" y="134"/>
                  </a:lnTo>
                  <a:lnTo>
                    <a:pt x="139062" y="293"/>
                  </a:lnTo>
                  <a:lnTo>
                    <a:pt x="137839" y="506"/>
                  </a:lnTo>
                  <a:lnTo>
                    <a:pt x="136643" y="798"/>
                  </a:lnTo>
                  <a:lnTo>
                    <a:pt x="135474" y="1117"/>
                  </a:lnTo>
                  <a:lnTo>
                    <a:pt x="134305" y="1516"/>
                  </a:lnTo>
                  <a:lnTo>
                    <a:pt x="133189" y="1967"/>
                  </a:lnTo>
                  <a:lnTo>
                    <a:pt x="132073" y="2446"/>
                  </a:lnTo>
                  <a:lnTo>
                    <a:pt x="131010" y="3004"/>
                  </a:lnTo>
                  <a:lnTo>
                    <a:pt x="129973" y="3615"/>
                  </a:lnTo>
                  <a:lnTo>
                    <a:pt x="128964" y="4253"/>
                  </a:lnTo>
                  <a:lnTo>
                    <a:pt x="127980" y="4944"/>
                  </a:lnTo>
                  <a:lnTo>
                    <a:pt x="127050" y="5688"/>
                  </a:lnTo>
                  <a:lnTo>
                    <a:pt x="126147" y="6458"/>
                  </a:lnTo>
                  <a:lnTo>
                    <a:pt x="125270" y="7282"/>
                  </a:lnTo>
                  <a:lnTo>
                    <a:pt x="124446" y="8159"/>
                  </a:lnTo>
                  <a:lnTo>
                    <a:pt x="123675" y="9063"/>
                  </a:lnTo>
                  <a:lnTo>
                    <a:pt x="122931" y="9993"/>
                  </a:lnTo>
                  <a:lnTo>
                    <a:pt x="122240" y="10976"/>
                  </a:lnTo>
                  <a:lnTo>
                    <a:pt x="121603" y="11986"/>
                  </a:lnTo>
                  <a:lnTo>
                    <a:pt x="120991" y="13022"/>
                  </a:lnTo>
                  <a:lnTo>
                    <a:pt x="120433" y="14085"/>
                  </a:lnTo>
                  <a:lnTo>
                    <a:pt x="119955" y="15201"/>
                  </a:lnTo>
                  <a:lnTo>
                    <a:pt x="119503" y="16317"/>
                  </a:lnTo>
                  <a:lnTo>
                    <a:pt x="119105" y="17486"/>
                  </a:lnTo>
                  <a:lnTo>
                    <a:pt x="118786" y="18656"/>
                  </a:lnTo>
                  <a:lnTo>
                    <a:pt x="118493" y="19851"/>
                  </a:lnTo>
                  <a:lnTo>
                    <a:pt x="118281" y="21074"/>
                  </a:lnTo>
                  <a:lnTo>
                    <a:pt x="118121" y="22323"/>
                  </a:lnTo>
                  <a:lnTo>
                    <a:pt x="118068" y="22961"/>
                  </a:lnTo>
                  <a:lnTo>
                    <a:pt x="118015" y="23598"/>
                  </a:lnTo>
                  <a:lnTo>
                    <a:pt x="117988" y="24236"/>
                  </a:lnTo>
                  <a:lnTo>
                    <a:pt x="117988" y="24874"/>
                  </a:lnTo>
                  <a:lnTo>
                    <a:pt x="117988" y="62848"/>
                  </a:lnTo>
                  <a:lnTo>
                    <a:pt x="117988" y="63459"/>
                  </a:lnTo>
                  <a:lnTo>
                    <a:pt x="117962" y="64097"/>
                  </a:lnTo>
                  <a:lnTo>
                    <a:pt x="117856" y="65346"/>
                  </a:lnTo>
                  <a:lnTo>
                    <a:pt x="117723" y="66568"/>
                  </a:lnTo>
                  <a:lnTo>
                    <a:pt x="117484" y="67764"/>
                  </a:lnTo>
                  <a:lnTo>
                    <a:pt x="117218" y="68933"/>
                  </a:lnTo>
                  <a:lnTo>
                    <a:pt x="116899" y="70102"/>
                  </a:lnTo>
                  <a:lnTo>
                    <a:pt x="116500" y="71245"/>
                  </a:lnTo>
                  <a:lnTo>
                    <a:pt x="116075" y="72335"/>
                  </a:lnTo>
                  <a:lnTo>
                    <a:pt x="115597" y="73424"/>
                  </a:lnTo>
                  <a:lnTo>
                    <a:pt x="115039" y="74487"/>
                  </a:lnTo>
                  <a:lnTo>
                    <a:pt x="114454" y="75497"/>
                  </a:lnTo>
                  <a:lnTo>
                    <a:pt x="113816" y="76480"/>
                  </a:lnTo>
                  <a:lnTo>
                    <a:pt x="113152" y="77437"/>
                  </a:lnTo>
                  <a:lnTo>
                    <a:pt x="112408" y="78367"/>
                  </a:lnTo>
                  <a:lnTo>
                    <a:pt x="111664" y="79244"/>
                  </a:lnTo>
                  <a:lnTo>
                    <a:pt x="110840" y="80094"/>
                  </a:lnTo>
                  <a:lnTo>
                    <a:pt x="109990" y="80918"/>
                  </a:lnTo>
                  <a:lnTo>
                    <a:pt x="109113" y="81689"/>
                  </a:lnTo>
                  <a:lnTo>
                    <a:pt x="108183" y="82406"/>
                  </a:lnTo>
                  <a:lnTo>
                    <a:pt x="107226" y="83070"/>
                  </a:lnTo>
                  <a:lnTo>
                    <a:pt x="106243" y="83708"/>
                  </a:lnTo>
                  <a:lnTo>
                    <a:pt x="105206" y="84293"/>
                  </a:lnTo>
                  <a:lnTo>
                    <a:pt x="104170" y="84851"/>
                  </a:lnTo>
                  <a:lnTo>
                    <a:pt x="103080" y="85329"/>
                  </a:lnTo>
                  <a:lnTo>
                    <a:pt x="101964" y="85781"/>
                  </a:lnTo>
                  <a:lnTo>
                    <a:pt x="100848" y="86153"/>
                  </a:lnTo>
                  <a:lnTo>
                    <a:pt x="99679" y="86472"/>
                  </a:lnTo>
                  <a:lnTo>
                    <a:pt x="98510" y="86764"/>
                  </a:lnTo>
                  <a:lnTo>
                    <a:pt x="97287" y="86977"/>
                  </a:lnTo>
                  <a:lnTo>
                    <a:pt x="96065" y="87136"/>
                  </a:lnTo>
                  <a:lnTo>
                    <a:pt x="94843" y="87216"/>
                  </a:lnTo>
                  <a:lnTo>
                    <a:pt x="94205" y="87242"/>
                  </a:lnTo>
                  <a:lnTo>
                    <a:pt x="92956" y="87242"/>
                  </a:lnTo>
                  <a:lnTo>
                    <a:pt x="92318" y="87216"/>
                  </a:lnTo>
                  <a:lnTo>
                    <a:pt x="91096" y="87136"/>
                  </a:lnTo>
                  <a:lnTo>
                    <a:pt x="89873" y="86977"/>
                  </a:lnTo>
                  <a:lnTo>
                    <a:pt x="88651" y="86764"/>
                  </a:lnTo>
                  <a:lnTo>
                    <a:pt x="87482" y="86472"/>
                  </a:lnTo>
                  <a:lnTo>
                    <a:pt x="86312" y="86153"/>
                  </a:lnTo>
                  <a:lnTo>
                    <a:pt x="85196" y="85781"/>
                  </a:lnTo>
                  <a:lnTo>
                    <a:pt x="84080" y="85329"/>
                  </a:lnTo>
                  <a:lnTo>
                    <a:pt x="82991" y="84851"/>
                  </a:lnTo>
                  <a:lnTo>
                    <a:pt x="81954" y="84293"/>
                  </a:lnTo>
                  <a:lnTo>
                    <a:pt x="80918" y="83708"/>
                  </a:lnTo>
                  <a:lnTo>
                    <a:pt x="79935" y="83070"/>
                  </a:lnTo>
                  <a:lnTo>
                    <a:pt x="78978" y="82406"/>
                  </a:lnTo>
                  <a:lnTo>
                    <a:pt x="78048" y="81689"/>
                  </a:lnTo>
                  <a:lnTo>
                    <a:pt x="77171" y="80918"/>
                  </a:lnTo>
                  <a:lnTo>
                    <a:pt x="76320" y="80094"/>
                  </a:lnTo>
                  <a:lnTo>
                    <a:pt x="75523" y="79244"/>
                  </a:lnTo>
                  <a:lnTo>
                    <a:pt x="74753" y="78367"/>
                  </a:lnTo>
                  <a:lnTo>
                    <a:pt x="74009" y="77437"/>
                  </a:lnTo>
                  <a:lnTo>
                    <a:pt x="73344" y="76480"/>
                  </a:lnTo>
                  <a:lnTo>
                    <a:pt x="72706" y="75497"/>
                  </a:lnTo>
                  <a:lnTo>
                    <a:pt x="72122" y="74487"/>
                  </a:lnTo>
                  <a:lnTo>
                    <a:pt x="71590" y="73424"/>
                  </a:lnTo>
                  <a:lnTo>
                    <a:pt x="71085" y="72335"/>
                  </a:lnTo>
                  <a:lnTo>
                    <a:pt x="70660" y="71245"/>
                  </a:lnTo>
                  <a:lnTo>
                    <a:pt x="70262" y="70102"/>
                  </a:lnTo>
                  <a:lnTo>
                    <a:pt x="69943" y="68933"/>
                  </a:lnTo>
                  <a:lnTo>
                    <a:pt x="69677" y="67764"/>
                  </a:lnTo>
                  <a:lnTo>
                    <a:pt x="69464" y="66568"/>
                  </a:lnTo>
                  <a:lnTo>
                    <a:pt x="69305" y="65346"/>
                  </a:lnTo>
                  <a:lnTo>
                    <a:pt x="69199" y="64097"/>
                  </a:lnTo>
                  <a:lnTo>
                    <a:pt x="69172" y="63459"/>
                  </a:lnTo>
                  <a:lnTo>
                    <a:pt x="69172" y="62848"/>
                  </a:lnTo>
                  <a:lnTo>
                    <a:pt x="69172" y="24768"/>
                  </a:lnTo>
                  <a:lnTo>
                    <a:pt x="69172" y="24130"/>
                  </a:lnTo>
                  <a:lnTo>
                    <a:pt x="69145" y="23492"/>
                  </a:lnTo>
                  <a:lnTo>
                    <a:pt x="69092" y="22854"/>
                  </a:lnTo>
                  <a:lnTo>
                    <a:pt x="69039" y="22243"/>
                  </a:lnTo>
                  <a:lnTo>
                    <a:pt x="68880" y="20994"/>
                  </a:lnTo>
                  <a:lnTo>
                    <a:pt x="68667" y="19772"/>
                  </a:lnTo>
                  <a:lnTo>
                    <a:pt x="68401" y="18576"/>
                  </a:lnTo>
                  <a:lnTo>
                    <a:pt x="68056" y="17407"/>
                  </a:lnTo>
                  <a:lnTo>
                    <a:pt x="67657" y="16237"/>
                  </a:lnTo>
                  <a:lnTo>
                    <a:pt x="67232" y="15121"/>
                  </a:lnTo>
                  <a:lnTo>
                    <a:pt x="66727" y="14032"/>
                  </a:lnTo>
                  <a:lnTo>
                    <a:pt x="66169" y="12969"/>
                  </a:lnTo>
                  <a:lnTo>
                    <a:pt x="65585" y="11933"/>
                  </a:lnTo>
                  <a:lnTo>
                    <a:pt x="64947" y="10923"/>
                  </a:lnTo>
                  <a:lnTo>
                    <a:pt x="64256" y="9939"/>
                  </a:lnTo>
                  <a:lnTo>
                    <a:pt x="63512" y="9009"/>
                  </a:lnTo>
                  <a:lnTo>
                    <a:pt x="62741" y="8106"/>
                  </a:lnTo>
                  <a:lnTo>
                    <a:pt x="61917" y="7256"/>
                  </a:lnTo>
                  <a:lnTo>
                    <a:pt x="61067" y="6432"/>
                  </a:lnTo>
                  <a:lnTo>
                    <a:pt x="60163" y="5661"/>
                  </a:lnTo>
                  <a:lnTo>
                    <a:pt x="59233" y="4917"/>
                  </a:lnTo>
                  <a:lnTo>
                    <a:pt x="58250" y="4226"/>
                  </a:lnTo>
                  <a:lnTo>
                    <a:pt x="57240" y="3588"/>
                  </a:lnTo>
                  <a:lnTo>
                    <a:pt x="56204" y="2977"/>
                  </a:lnTo>
                  <a:lnTo>
                    <a:pt x="55141" y="2446"/>
                  </a:lnTo>
                  <a:lnTo>
                    <a:pt x="54051" y="1941"/>
                  </a:lnTo>
                  <a:lnTo>
                    <a:pt x="52909" y="1489"/>
                  </a:lnTo>
                  <a:lnTo>
                    <a:pt x="51766" y="1117"/>
                  </a:lnTo>
                  <a:lnTo>
                    <a:pt x="50597" y="772"/>
                  </a:lnTo>
                  <a:lnTo>
                    <a:pt x="49401" y="506"/>
                  </a:lnTo>
                  <a:lnTo>
                    <a:pt x="48179" y="293"/>
                  </a:lnTo>
                  <a:lnTo>
                    <a:pt x="46930" y="134"/>
                  </a:lnTo>
                  <a:lnTo>
                    <a:pt x="46318" y="81"/>
                  </a:lnTo>
                  <a:lnTo>
                    <a:pt x="45681" y="27"/>
                  </a:lnTo>
                  <a:lnTo>
                    <a:pt x="45043" y="1"/>
                  </a:lnTo>
                  <a:close/>
                </a:path>
              </a:pathLst>
            </a:custGeom>
            <a:solidFill>
              <a:srgbClr val="707070"/>
            </a:solidFill>
            <a:ln>
              <a:solidFill>
                <a:srgbClr val="707070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4" name="Google Shape;2392;p39">
              <a:extLst>
                <a:ext uri="{FF2B5EF4-FFF2-40B4-BE49-F238E27FC236}">
                  <a16:creationId xmlns:a16="http://schemas.microsoft.com/office/drawing/2014/main" id="{38349580-94C2-8900-D906-4C50791CBAA2}"/>
                </a:ext>
              </a:extLst>
            </p:cNvPr>
            <p:cNvSpPr/>
            <p:nvPr/>
          </p:nvSpPr>
          <p:spPr>
            <a:xfrm>
              <a:off x="7611338" y="3574473"/>
              <a:ext cx="3057932" cy="1943428"/>
            </a:xfrm>
            <a:custGeom>
              <a:avLst/>
              <a:gdLst/>
              <a:ahLst/>
              <a:cxnLst/>
              <a:rect l="l" t="t" r="r" b="b"/>
              <a:pathLst>
                <a:path w="50757" h="30693" extrusionOk="0">
                  <a:moveTo>
                    <a:pt x="24714" y="0"/>
                  </a:moveTo>
                  <a:lnTo>
                    <a:pt x="24077" y="27"/>
                  </a:lnTo>
                  <a:lnTo>
                    <a:pt x="23412" y="80"/>
                  </a:lnTo>
                  <a:lnTo>
                    <a:pt x="22774" y="133"/>
                  </a:lnTo>
                  <a:lnTo>
                    <a:pt x="22137" y="213"/>
                  </a:lnTo>
                  <a:lnTo>
                    <a:pt x="21525" y="292"/>
                  </a:lnTo>
                  <a:lnTo>
                    <a:pt x="20888" y="399"/>
                  </a:lnTo>
                  <a:lnTo>
                    <a:pt x="20277" y="505"/>
                  </a:lnTo>
                  <a:lnTo>
                    <a:pt x="19028" y="797"/>
                  </a:lnTo>
                  <a:lnTo>
                    <a:pt x="17832" y="1143"/>
                  </a:lnTo>
                  <a:lnTo>
                    <a:pt x="16662" y="1541"/>
                  </a:lnTo>
                  <a:lnTo>
                    <a:pt x="15493" y="1993"/>
                  </a:lnTo>
                  <a:lnTo>
                    <a:pt x="14377" y="2498"/>
                  </a:lnTo>
                  <a:lnTo>
                    <a:pt x="13288" y="3056"/>
                  </a:lnTo>
                  <a:lnTo>
                    <a:pt x="12225" y="3667"/>
                  </a:lnTo>
                  <a:lnTo>
                    <a:pt x="11188" y="4332"/>
                  </a:lnTo>
                  <a:lnTo>
                    <a:pt x="10205" y="5049"/>
                  </a:lnTo>
                  <a:lnTo>
                    <a:pt x="9248" y="5793"/>
                  </a:lnTo>
                  <a:lnTo>
                    <a:pt x="8318" y="6590"/>
                  </a:lnTo>
                  <a:lnTo>
                    <a:pt x="7441" y="7441"/>
                  </a:lnTo>
                  <a:lnTo>
                    <a:pt x="6591" y="8318"/>
                  </a:lnTo>
                  <a:lnTo>
                    <a:pt x="5794" y="9248"/>
                  </a:lnTo>
                  <a:lnTo>
                    <a:pt x="5050" y="10204"/>
                  </a:lnTo>
                  <a:lnTo>
                    <a:pt x="4332" y="11188"/>
                  </a:lnTo>
                  <a:lnTo>
                    <a:pt x="3668" y="12224"/>
                  </a:lnTo>
                  <a:lnTo>
                    <a:pt x="3057" y="13287"/>
                  </a:lnTo>
                  <a:lnTo>
                    <a:pt x="2499" y="14376"/>
                  </a:lnTo>
                  <a:lnTo>
                    <a:pt x="1994" y="15519"/>
                  </a:lnTo>
                  <a:lnTo>
                    <a:pt x="1542" y="16662"/>
                  </a:lnTo>
                  <a:lnTo>
                    <a:pt x="1143" y="17831"/>
                  </a:lnTo>
                  <a:lnTo>
                    <a:pt x="798" y="19053"/>
                  </a:lnTo>
                  <a:lnTo>
                    <a:pt x="505" y="20276"/>
                  </a:lnTo>
                  <a:lnTo>
                    <a:pt x="399" y="20887"/>
                  </a:lnTo>
                  <a:lnTo>
                    <a:pt x="293" y="21525"/>
                  </a:lnTo>
                  <a:lnTo>
                    <a:pt x="213" y="22136"/>
                  </a:lnTo>
                  <a:lnTo>
                    <a:pt x="133" y="22774"/>
                  </a:lnTo>
                  <a:lnTo>
                    <a:pt x="80" y="23438"/>
                  </a:lnTo>
                  <a:lnTo>
                    <a:pt x="27" y="24076"/>
                  </a:lnTo>
                  <a:lnTo>
                    <a:pt x="1" y="24714"/>
                  </a:lnTo>
                  <a:lnTo>
                    <a:pt x="1" y="25378"/>
                  </a:lnTo>
                  <a:lnTo>
                    <a:pt x="1" y="30693"/>
                  </a:lnTo>
                  <a:lnTo>
                    <a:pt x="1542" y="30693"/>
                  </a:lnTo>
                  <a:lnTo>
                    <a:pt x="1542" y="25378"/>
                  </a:lnTo>
                  <a:lnTo>
                    <a:pt x="1595" y="24156"/>
                  </a:lnTo>
                  <a:lnTo>
                    <a:pt x="1675" y="22933"/>
                  </a:lnTo>
                  <a:lnTo>
                    <a:pt x="1834" y="21764"/>
                  </a:lnTo>
                  <a:lnTo>
                    <a:pt x="2047" y="20568"/>
                  </a:lnTo>
                  <a:lnTo>
                    <a:pt x="2313" y="19425"/>
                  </a:lnTo>
                  <a:lnTo>
                    <a:pt x="2631" y="18309"/>
                  </a:lnTo>
                  <a:lnTo>
                    <a:pt x="3003" y="17193"/>
                  </a:lnTo>
                  <a:lnTo>
                    <a:pt x="3429" y="16104"/>
                  </a:lnTo>
                  <a:lnTo>
                    <a:pt x="3907" y="15067"/>
                  </a:lnTo>
                  <a:lnTo>
                    <a:pt x="4438" y="14031"/>
                  </a:lnTo>
                  <a:lnTo>
                    <a:pt x="4996" y="13021"/>
                  </a:lnTo>
                  <a:lnTo>
                    <a:pt x="5634" y="12064"/>
                  </a:lnTo>
                  <a:lnTo>
                    <a:pt x="6299" y="11134"/>
                  </a:lnTo>
                  <a:lnTo>
                    <a:pt x="6990" y="10231"/>
                  </a:lnTo>
                  <a:lnTo>
                    <a:pt x="7760" y="9354"/>
                  </a:lnTo>
                  <a:lnTo>
                    <a:pt x="8531" y="8530"/>
                  </a:lnTo>
                  <a:lnTo>
                    <a:pt x="9355" y="7760"/>
                  </a:lnTo>
                  <a:lnTo>
                    <a:pt x="10232" y="6989"/>
                  </a:lnTo>
                  <a:lnTo>
                    <a:pt x="11135" y="6298"/>
                  </a:lnTo>
                  <a:lnTo>
                    <a:pt x="12065" y="5634"/>
                  </a:lnTo>
                  <a:lnTo>
                    <a:pt x="13022" y="4996"/>
                  </a:lnTo>
                  <a:lnTo>
                    <a:pt x="14032" y="4438"/>
                  </a:lnTo>
                  <a:lnTo>
                    <a:pt x="15068" y="3906"/>
                  </a:lnTo>
                  <a:lnTo>
                    <a:pt x="16104" y="3428"/>
                  </a:lnTo>
                  <a:lnTo>
                    <a:pt x="17194" y="3003"/>
                  </a:lnTo>
                  <a:lnTo>
                    <a:pt x="18310" y="2631"/>
                  </a:lnTo>
                  <a:lnTo>
                    <a:pt x="19426" y="2312"/>
                  </a:lnTo>
                  <a:lnTo>
                    <a:pt x="20569" y="2046"/>
                  </a:lnTo>
                  <a:lnTo>
                    <a:pt x="21765" y="1834"/>
                  </a:lnTo>
                  <a:lnTo>
                    <a:pt x="22934" y="1674"/>
                  </a:lnTo>
                  <a:lnTo>
                    <a:pt x="24156" y="1594"/>
                  </a:lnTo>
                  <a:lnTo>
                    <a:pt x="25379" y="1541"/>
                  </a:lnTo>
                  <a:lnTo>
                    <a:pt x="26601" y="1594"/>
                  </a:lnTo>
                  <a:lnTo>
                    <a:pt x="27797" y="1674"/>
                  </a:lnTo>
                  <a:lnTo>
                    <a:pt x="28993" y="1834"/>
                  </a:lnTo>
                  <a:lnTo>
                    <a:pt x="30162" y="2046"/>
                  </a:lnTo>
                  <a:lnTo>
                    <a:pt x="31331" y="2312"/>
                  </a:lnTo>
                  <a:lnTo>
                    <a:pt x="32447" y="2631"/>
                  </a:lnTo>
                  <a:lnTo>
                    <a:pt x="33564" y="3003"/>
                  </a:lnTo>
                  <a:lnTo>
                    <a:pt x="34626" y="3428"/>
                  </a:lnTo>
                  <a:lnTo>
                    <a:pt x="35689" y="3906"/>
                  </a:lnTo>
                  <a:lnTo>
                    <a:pt x="36726" y="4438"/>
                  </a:lnTo>
                  <a:lnTo>
                    <a:pt x="37709" y="4996"/>
                  </a:lnTo>
                  <a:lnTo>
                    <a:pt x="38692" y="5634"/>
                  </a:lnTo>
                  <a:lnTo>
                    <a:pt x="39622" y="6298"/>
                  </a:lnTo>
                  <a:lnTo>
                    <a:pt x="40526" y="6989"/>
                  </a:lnTo>
                  <a:lnTo>
                    <a:pt x="41376" y="7760"/>
                  </a:lnTo>
                  <a:lnTo>
                    <a:pt x="42200" y="8530"/>
                  </a:lnTo>
                  <a:lnTo>
                    <a:pt x="42997" y="9354"/>
                  </a:lnTo>
                  <a:lnTo>
                    <a:pt x="43741" y="10231"/>
                  </a:lnTo>
                  <a:lnTo>
                    <a:pt x="44459" y="11134"/>
                  </a:lnTo>
                  <a:lnTo>
                    <a:pt x="45123" y="12064"/>
                  </a:lnTo>
                  <a:lnTo>
                    <a:pt x="45734" y="13021"/>
                  </a:lnTo>
                  <a:lnTo>
                    <a:pt x="46319" y="14031"/>
                  </a:lnTo>
                  <a:lnTo>
                    <a:pt x="46850" y="15067"/>
                  </a:lnTo>
                  <a:lnTo>
                    <a:pt x="47329" y="16104"/>
                  </a:lnTo>
                  <a:lnTo>
                    <a:pt x="47754" y="17193"/>
                  </a:lnTo>
                  <a:lnTo>
                    <a:pt x="48126" y="18309"/>
                  </a:lnTo>
                  <a:lnTo>
                    <a:pt x="48445" y="19425"/>
                  </a:lnTo>
                  <a:lnTo>
                    <a:pt x="48711" y="20568"/>
                  </a:lnTo>
                  <a:lnTo>
                    <a:pt x="48923" y="21764"/>
                  </a:lnTo>
                  <a:lnTo>
                    <a:pt x="49083" y="22933"/>
                  </a:lnTo>
                  <a:lnTo>
                    <a:pt x="49162" y="24156"/>
                  </a:lnTo>
                  <a:lnTo>
                    <a:pt x="49189" y="25378"/>
                  </a:lnTo>
                  <a:lnTo>
                    <a:pt x="49189" y="30693"/>
                  </a:lnTo>
                  <a:lnTo>
                    <a:pt x="50757" y="30693"/>
                  </a:lnTo>
                  <a:lnTo>
                    <a:pt x="50757" y="25378"/>
                  </a:lnTo>
                  <a:lnTo>
                    <a:pt x="50757" y="24714"/>
                  </a:lnTo>
                  <a:lnTo>
                    <a:pt x="50730" y="24076"/>
                  </a:lnTo>
                  <a:lnTo>
                    <a:pt x="50677" y="23438"/>
                  </a:lnTo>
                  <a:lnTo>
                    <a:pt x="50624" y="22774"/>
                  </a:lnTo>
                  <a:lnTo>
                    <a:pt x="50544" y="22136"/>
                  </a:lnTo>
                  <a:lnTo>
                    <a:pt x="50465" y="21525"/>
                  </a:lnTo>
                  <a:lnTo>
                    <a:pt x="50358" y="20887"/>
                  </a:lnTo>
                  <a:lnTo>
                    <a:pt x="50225" y="20276"/>
                  </a:lnTo>
                  <a:lnTo>
                    <a:pt x="49960" y="19053"/>
                  </a:lnTo>
                  <a:lnTo>
                    <a:pt x="49614" y="17831"/>
                  </a:lnTo>
                  <a:lnTo>
                    <a:pt x="49216" y="16662"/>
                  </a:lnTo>
                  <a:lnTo>
                    <a:pt x="48764" y="15519"/>
                  </a:lnTo>
                  <a:lnTo>
                    <a:pt x="48259" y="14376"/>
                  </a:lnTo>
                  <a:lnTo>
                    <a:pt x="47674" y="13287"/>
                  </a:lnTo>
                  <a:lnTo>
                    <a:pt x="47063" y="12224"/>
                  </a:lnTo>
                  <a:lnTo>
                    <a:pt x="46425" y="11188"/>
                  </a:lnTo>
                  <a:lnTo>
                    <a:pt x="45708" y="10204"/>
                  </a:lnTo>
                  <a:lnTo>
                    <a:pt x="44937" y="9248"/>
                  </a:lnTo>
                  <a:lnTo>
                    <a:pt x="44140" y="8318"/>
                  </a:lnTo>
                  <a:lnTo>
                    <a:pt x="43316" y="7441"/>
                  </a:lnTo>
                  <a:lnTo>
                    <a:pt x="42439" y="6590"/>
                  </a:lnTo>
                  <a:lnTo>
                    <a:pt x="41509" y="5793"/>
                  </a:lnTo>
                  <a:lnTo>
                    <a:pt x="40552" y="5049"/>
                  </a:lnTo>
                  <a:lnTo>
                    <a:pt x="39543" y="4332"/>
                  </a:lnTo>
                  <a:lnTo>
                    <a:pt x="38533" y="3667"/>
                  </a:lnTo>
                  <a:lnTo>
                    <a:pt x="37470" y="3056"/>
                  </a:lnTo>
                  <a:lnTo>
                    <a:pt x="36380" y="2498"/>
                  </a:lnTo>
                  <a:lnTo>
                    <a:pt x="35238" y="1993"/>
                  </a:lnTo>
                  <a:lnTo>
                    <a:pt x="34095" y="1541"/>
                  </a:lnTo>
                  <a:lnTo>
                    <a:pt x="32926" y="1143"/>
                  </a:lnTo>
                  <a:lnTo>
                    <a:pt x="31703" y="797"/>
                  </a:lnTo>
                  <a:lnTo>
                    <a:pt x="30481" y="505"/>
                  </a:lnTo>
                  <a:lnTo>
                    <a:pt x="29870" y="399"/>
                  </a:lnTo>
                  <a:lnTo>
                    <a:pt x="29232" y="292"/>
                  </a:lnTo>
                  <a:lnTo>
                    <a:pt x="28594" y="213"/>
                  </a:lnTo>
                  <a:lnTo>
                    <a:pt x="27956" y="133"/>
                  </a:lnTo>
                  <a:lnTo>
                    <a:pt x="27319" y="80"/>
                  </a:lnTo>
                  <a:lnTo>
                    <a:pt x="26681" y="27"/>
                  </a:lnTo>
                  <a:lnTo>
                    <a:pt x="26016" y="0"/>
                  </a:lnTo>
                  <a:close/>
                </a:path>
              </a:pathLst>
            </a:custGeom>
            <a:solidFill>
              <a:srgbClr val="5CC3C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>
                <a:solidFill>
                  <a:srgbClr val="5CC3C5"/>
                </a:solidFill>
              </a:endParaRPr>
            </a:p>
          </p:txBody>
        </p:sp>
        <p:sp>
          <p:nvSpPr>
            <p:cNvPr id="5" name="Google Shape;2393;p39">
              <a:extLst>
                <a:ext uri="{FF2B5EF4-FFF2-40B4-BE49-F238E27FC236}">
                  <a16:creationId xmlns:a16="http://schemas.microsoft.com/office/drawing/2014/main" id="{85EF3588-6EC3-1234-0C26-54B5F17D4449}"/>
                </a:ext>
              </a:extLst>
            </p:cNvPr>
            <p:cNvSpPr/>
            <p:nvPr/>
          </p:nvSpPr>
          <p:spPr>
            <a:xfrm>
              <a:off x="1686095" y="3574473"/>
              <a:ext cx="3045099" cy="1943428"/>
            </a:xfrm>
            <a:custGeom>
              <a:avLst/>
              <a:gdLst/>
              <a:ahLst/>
              <a:cxnLst/>
              <a:rect l="l" t="t" r="r" b="b"/>
              <a:pathLst>
                <a:path w="50544" h="30693" extrusionOk="0">
                  <a:moveTo>
                    <a:pt x="24608" y="0"/>
                  </a:moveTo>
                  <a:lnTo>
                    <a:pt x="23970" y="27"/>
                  </a:lnTo>
                  <a:lnTo>
                    <a:pt x="23332" y="53"/>
                  </a:lnTo>
                  <a:lnTo>
                    <a:pt x="22694" y="133"/>
                  </a:lnTo>
                  <a:lnTo>
                    <a:pt x="22057" y="186"/>
                  </a:lnTo>
                  <a:lnTo>
                    <a:pt x="21419" y="292"/>
                  </a:lnTo>
                  <a:lnTo>
                    <a:pt x="20808" y="372"/>
                  </a:lnTo>
                  <a:lnTo>
                    <a:pt x="20196" y="505"/>
                  </a:lnTo>
                  <a:lnTo>
                    <a:pt x="18974" y="797"/>
                  </a:lnTo>
                  <a:lnTo>
                    <a:pt x="17752" y="1116"/>
                  </a:lnTo>
                  <a:lnTo>
                    <a:pt x="16582" y="1515"/>
                  </a:lnTo>
                  <a:lnTo>
                    <a:pt x="15440" y="1966"/>
                  </a:lnTo>
                  <a:lnTo>
                    <a:pt x="14324" y="2498"/>
                  </a:lnTo>
                  <a:lnTo>
                    <a:pt x="13234" y="3056"/>
                  </a:lnTo>
                  <a:lnTo>
                    <a:pt x="12171" y="3667"/>
                  </a:lnTo>
                  <a:lnTo>
                    <a:pt x="11135" y="4305"/>
                  </a:lnTo>
                  <a:lnTo>
                    <a:pt x="10152" y="5022"/>
                  </a:lnTo>
                  <a:lnTo>
                    <a:pt x="9195" y="5767"/>
                  </a:lnTo>
                  <a:lnTo>
                    <a:pt x="8291" y="6564"/>
                  </a:lnTo>
                  <a:lnTo>
                    <a:pt x="7414" y="7414"/>
                  </a:lnTo>
                  <a:lnTo>
                    <a:pt x="6564" y="8291"/>
                  </a:lnTo>
                  <a:lnTo>
                    <a:pt x="5767" y="9195"/>
                  </a:lnTo>
                  <a:lnTo>
                    <a:pt x="5023" y="10151"/>
                  </a:lnTo>
                  <a:lnTo>
                    <a:pt x="4305" y="11134"/>
                  </a:lnTo>
                  <a:lnTo>
                    <a:pt x="3667" y="12171"/>
                  </a:lnTo>
                  <a:lnTo>
                    <a:pt x="3056" y="13234"/>
                  </a:lnTo>
                  <a:lnTo>
                    <a:pt x="2498" y="14323"/>
                  </a:lnTo>
                  <a:lnTo>
                    <a:pt x="1993" y="15439"/>
                  </a:lnTo>
                  <a:lnTo>
                    <a:pt x="1542" y="16582"/>
                  </a:lnTo>
                  <a:lnTo>
                    <a:pt x="1143" y="17751"/>
                  </a:lnTo>
                  <a:lnTo>
                    <a:pt x="797" y="18947"/>
                  </a:lnTo>
                  <a:lnTo>
                    <a:pt x="505" y="20169"/>
                  </a:lnTo>
                  <a:lnTo>
                    <a:pt x="293" y="21418"/>
                  </a:lnTo>
                  <a:lnTo>
                    <a:pt x="186" y="22056"/>
                  </a:lnTo>
                  <a:lnTo>
                    <a:pt x="133" y="22694"/>
                  </a:lnTo>
                  <a:lnTo>
                    <a:pt x="80" y="23332"/>
                  </a:lnTo>
                  <a:lnTo>
                    <a:pt x="27" y="23970"/>
                  </a:lnTo>
                  <a:lnTo>
                    <a:pt x="0" y="24607"/>
                  </a:lnTo>
                  <a:lnTo>
                    <a:pt x="0" y="25272"/>
                  </a:lnTo>
                  <a:lnTo>
                    <a:pt x="0" y="30693"/>
                  </a:lnTo>
                  <a:lnTo>
                    <a:pt x="1542" y="30693"/>
                  </a:lnTo>
                  <a:lnTo>
                    <a:pt x="1542" y="25272"/>
                  </a:lnTo>
                  <a:lnTo>
                    <a:pt x="1568" y="24049"/>
                  </a:lnTo>
                  <a:lnTo>
                    <a:pt x="1674" y="22853"/>
                  </a:lnTo>
                  <a:lnTo>
                    <a:pt x="1834" y="21658"/>
                  </a:lnTo>
                  <a:lnTo>
                    <a:pt x="2020" y="20488"/>
                  </a:lnTo>
                  <a:lnTo>
                    <a:pt x="2286" y="19346"/>
                  </a:lnTo>
                  <a:lnTo>
                    <a:pt x="2605" y="18230"/>
                  </a:lnTo>
                  <a:lnTo>
                    <a:pt x="3003" y="17113"/>
                  </a:lnTo>
                  <a:lnTo>
                    <a:pt x="3428" y="16051"/>
                  </a:lnTo>
                  <a:lnTo>
                    <a:pt x="3880" y="14988"/>
                  </a:lnTo>
                  <a:lnTo>
                    <a:pt x="4412" y="13978"/>
                  </a:lnTo>
                  <a:lnTo>
                    <a:pt x="4996" y="12968"/>
                  </a:lnTo>
                  <a:lnTo>
                    <a:pt x="5607" y="12011"/>
                  </a:lnTo>
                  <a:lnTo>
                    <a:pt x="6272" y="11081"/>
                  </a:lnTo>
                  <a:lnTo>
                    <a:pt x="6963" y="10178"/>
                  </a:lnTo>
                  <a:lnTo>
                    <a:pt x="7707" y="9327"/>
                  </a:lnTo>
                  <a:lnTo>
                    <a:pt x="8504" y="8504"/>
                  </a:lnTo>
                  <a:lnTo>
                    <a:pt x="9328" y="7706"/>
                  </a:lnTo>
                  <a:lnTo>
                    <a:pt x="10178" y="6962"/>
                  </a:lnTo>
                  <a:lnTo>
                    <a:pt x="11082" y="6271"/>
                  </a:lnTo>
                  <a:lnTo>
                    <a:pt x="12012" y="5607"/>
                  </a:lnTo>
                  <a:lnTo>
                    <a:pt x="12968" y="4996"/>
                  </a:lnTo>
                  <a:lnTo>
                    <a:pt x="13978" y="4411"/>
                  </a:lnTo>
                  <a:lnTo>
                    <a:pt x="14988" y="3880"/>
                  </a:lnTo>
                  <a:lnTo>
                    <a:pt x="16051" y="3401"/>
                  </a:lnTo>
                  <a:lnTo>
                    <a:pt x="17114" y="2976"/>
                  </a:lnTo>
                  <a:lnTo>
                    <a:pt x="18230" y="2604"/>
                  </a:lnTo>
                  <a:lnTo>
                    <a:pt x="19346" y="2285"/>
                  </a:lnTo>
                  <a:lnTo>
                    <a:pt x="20489" y="2020"/>
                  </a:lnTo>
                  <a:lnTo>
                    <a:pt x="21658" y="1807"/>
                  </a:lnTo>
                  <a:lnTo>
                    <a:pt x="22854" y="1674"/>
                  </a:lnTo>
                  <a:lnTo>
                    <a:pt x="24050" y="1568"/>
                  </a:lnTo>
                  <a:lnTo>
                    <a:pt x="25272" y="1541"/>
                  </a:lnTo>
                  <a:lnTo>
                    <a:pt x="26495" y="1568"/>
                  </a:lnTo>
                  <a:lnTo>
                    <a:pt x="27690" y="1674"/>
                  </a:lnTo>
                  <a:lnTo>
                    <a:pt x="28886" y="1807"/>
                  </a:lnTo>
                  <a:lnTo>
                    <a:pt x="30055" y="2020"/>
                  </a:lnTo>
                  <a:lnTo>
                    <a:pt x="31198" y="2285"/>
                  </a:lnTo>
                  <a:lnTo>
                    <a:pt x="32314" y="2604"/>
                  </a:lnTo>
                  <a:lnTo>
                    <a:pt x="33430" y="2976"/>
                  </a:lnTo>
                  <a:lnTo>
                    <a:pt x="34493" y="3401"/>
                  </a:lnTo>
                  <a:lnTo>
                    <a:pt x="35556" y="3880"/>
                  </a:lnTo>
                  <a:lnTo>
                    <a:pt x="36566" y="4411"/>
                  </a:lnTo>
                  <a:lnTo>
                    <a:pt x="37576" y="4996"/>
                  </a:lnTo>
                  <a:lnTo>
                    <a:pt x="38533" y="5607"/>
                  </a:lnTo>
                  <a:lnTo>
                    <a:pt x="39463" y="6271"/>
                  </a:lnTo>
                  <a:lnTo>
                    <a:pt x="40340" y="6962"/>
                  </a:lnTo>
                  <a:lnTo>
                    <a:pt x="41217" y="7706"/>
                  </a:lnTo>
                  <a:lnTo>
                    <a:pt x="42040" y="8504"/>
                  </a:lnTo>
                  <a:lnTo>
                    <a:pt x="42811" y="9327"/>
                  </a:lnTo>
                  <a:lnTo>
                    <a:pt x="43582" y="10178"/>
                  </a:lnTo>
                  <a:lnTo>
                    <a:pt x="44273" y="11081"/>
                  </a:lnTo>
                  <a:lnTo>
                    <a:pt x="44937" y="12011"/>
                  </a:lnTo>
                  <a:lnTo>
                    <a:pt x="45548" y="12968"/>
                  </a:lnTo>
                  <a:lnTo>
                    <a:pt x="46133" y="13978"/>
                  </a:lnTo>
                  <a:lnTo>
                    <a:pt x="46638" y="14988"/>
                  </a:lnTo>
                  <a:lnTo>
                    <a:pt x="47116" y="16051"/>
                  </a:lnTo>
                  <a:lnTo>
                    <a:pt x="47541" y="17113"/>
                  </a:lnTo>
                  <a:lnTo>
                    <a:pt x="47913" y="18230"/>
                  </a:lnTo>
                  <a:lnTo>
                    <a:pt x="48232" y="19346"/>
                  </a:lnTo>
                  <a:lnTo>
                    <a:pt x="48498" y="20488"/>
                  </a:lnTo>
                  <a:lnTo>
                    <a:pt x="48710" y="21658"/>
                  </a:lnTo>
                  <a:lnTo>
                    <a:pt x="48870" y="22853"/>
                  </a:lnTo>
                  <a:lnTo>
                    <a:pt x="48950" y="24049"/>
                  </a:lnTo>
                  <a:lnTo>
                    <a:pt x="49003" y="25272"/>
                  </a:lnTo>
                  <a:lnTo>
                    <a:pt x="49003" y="30693"/>
                  </a:lnTo>
                  <a:lnTo>
                    <a:pt x="50544" y="30693"/>
                  </a:lnTo>
                  <a:lnTo>
                    <a:pt x="50544" y="25272"/>
                  </a:lnTo>
                  <a:lnTo>
                    <a:pt x="50544" y="24607"/>
                  </a:lnTo>
                  <a:lnTo>
                    <a:pt x="50517" y="23970"/>
                  </a:lnTo>
                  <a:lnTo>
                    <a:pt x="50464" y="23332"/>
                  </a:lnTo>
                  <a:lnTo>
                    <a:pt x="50411" y="22694"/>
                  </a:lnTo>
                  <a:lnTo>
                    <a:pt x="50358" y="22056"/>
                  </a:lnTo>
                  <a:lnTo>
                    <a:pt x="50252" y="21418"/>
                  </a:lnTo>
                  <a:lnTo>
                    <a:pt x="50145" y="20807"/>
                  </a:lnTo>
                  <a:lnTo>
                    <a:pt x="50039" y="20169"/>
                  </a:lnTo>
                  <a:lnTo>
                    <a:pt x="49747" y="18947"/>
                  </a:lnTo>
                  <a:lnTo>
                    <a:pt x="49401" y="17751"/>
                  </a:lnTo>
                  <a:lnTo>
                    <a:pt x="49003" y="16582"/>
                  </a:lnTo>
                  <a:lnTo>
                    <a:pt x="48551" y="15439"/>
                  </a:lnTo>
                  <a:lnTo>
                    <a:pt x="48046" y="14323"/>
                  </a:lnTo>
                  <a:lnTo>
                    <a:pt x="47488" y="13234"/>
                  </a:lnTo>
                  <a:lnTo>
                    <a:pt x="46877" y="12171"/>
                  </a:lnTo>
                  <a:lnTo>
                    <a:pt x="46239" y="11134"/>
                  </a:lnTo>
                  <a:lnTo>
                    <a:pt x="45521" y="10151"/>
                  </a:lnTo>
                  <a:lnTo>
                    <a:pt x="44777" y="9195"/>
                  </a:lnTo>
                  <a:lnTo>
                    <a:pt x="43980" y="8291"/>
                  </a:lnTo>
                  <a:lnTo>
                    <a:pt x="43130" y="7414"/>
                  </a:lnTo>
                  <a:lnTo>
                    <a:pt x="42253" y="6564"/>
                  </a:lnTo>
                  <a:lnTo>
                    <a:pt x="41349" y="5767"/>
                  </a:lnTo>
                  <a:lnTo>
                    <a:pt x="40393" y="5022"/>
                  </a:lnTo>
                  <a:lnTo>
                    <a:pt x="39383" y="4305"/>
                  </a:lnTo>
                  <a:lnTo>
                    <a:pt x="38373" y="3667"/>
                  </a:lnTo>
                  <a:lnTo>
                    <a:pt x="37310" y="3056"/>
                  </a:lnTo>
                  <a:lnTo>
                    <a:pt x="36221" y="2498"/>
                  </a:lnTo>
                  <a:lnTo>
                    <a:pt x="35104" y="1966"/>
                  </a:lnTo>
                  <a:lnTo>
                    <a:pt x="33962" y="1515"/>
                  </a:lnTo>
                  <a:lnTo>
                    <a:pt x="32793" y="1116"/>
                  </a:lnTo>
                  <a:lnTo>
                    <a:pt x="31570" y="797"/>
                  </a:lnTo>
                  <a:lnTo>
                    <a:pt x="30348" y="505"/>
                  </a:lnTo>
                  <a:lnTo>
                    <a:pt x="29737" y="372"/>
                  </a:lnTo>
                  <a:lnTo>
                    <a:pt x="29125" y="292"/>
                  </a:lnTo>
                  <a:lnTo>
                    <a:pt x="28488" y="186"/>
                  </a:lnTo>
                  <a:lnTo>
                    <a:pt x="27850" y="133"/>
                  </a:lnTo>
                  <a:lnTo>
                    <a:pt x="27212" y="53"/>
                  </a:lnTo>
                  <a:lnTo>
                    <a:pt x="26574" y="27"/>
                  </a:lnTo>
                  <a:lnTo>
                    <a:pt x="25910" y="0"/>
                  </a:lnTo>
                  <a:close/>
                </a:path>
              </a:pathLst>
            </a:custGeom>
            <a:solidFill>
              <a:srgbClr val="7276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6" name="Google Shape;2394;p39">
              <a:extLst>
                <a:ext uri="{FF2B5EF4-FFF2-40B4-BE49-F238E27FC236}">
                  <a16:creationId xmlns:a16="http://schemas.microsoft.com/office/drawing/2014/main" id="{03929B4C-9C86-0DDA-025E-B38FACF4F7C1}"/>
                </a:ext>
              </a:extLst>
            </p:cNvPr>
            <p:cNvSpPr/>
            <p:nvPr/>
          </p:nvSpPr>
          <p:spPr>
            <a:xfrm>
              <a:off x="1686095" y="3574473"/>
              <a:ext cx="3045099" cy="1943428"/>
            </a:xfrm>
            <a:custGeom>
              <a:avLst/>
              <a:gdLst/>
              <a:ahLst/>
              <a:cxnLst/>
              <a:rect l="l" t="t" r="r" b="b"/>
              <a:pathLst>
                <a:path w="50544" h="30693" fill="none" extrusionOk="0">
                  <a:moveTo>
                    <a:pt x="50544" y="25272"/>
                  </a:moveTo>
                  <a:lnTo>
                    <a:pt x="50544" y="25272"/>
                  </a:lnTo>
                  <a:lnTo>
                    <a:pt x="50544" y="24607"/>
                  </a:lnTo>
                  <a:lnTo>
                    <a:pt x="50517" y="23970"/>
                  </a:lnTo>
                  <a:lnTo>
                    <a:pt x="50464" y="23332"/>
                  </a:lnTo>
                  <a:lnTo>
                    <a:pt x="50411" y="22694"/>
                  </a:lnTo>
                  <a:lnTo>
                    <a:pt x="50358" y="22056"/>
                  </a:lnTo>
                  <a:lnTo>
                    <a:pt x="50252" y="21418"/>
                  </a:lnTo>
                  <a:lnTo>
                    <a:pt x="50145" y="20807"/>
                  </a:lnTo>
                  <a:lnTo>
                    <a:pt x="50039" y="20169"/>
                  </a:lnTo>
                  <a:lnTo>
                    <a:pt x="49747" y="18947"/>
                  </a:lnTo>
                  <a:lnTo>
                    <a:pt x="49401" y="17751"/>
                  </a:lnTo>
                  <a:lnTo>
                    <a:pt x="49003" y="16582"/>
                  </a:lnTo>
                  <a:lnTo>
                    <a:pt x="48551" y="15439"/>
                  </a:lnTo>
                  <a:lnTo>
                    <a:pt x="48046" y="14323"/>
                  </a:lnTo>
                  <a:lnTo>
                    <a:pt x="47488" y="13234"/>
                  </a:lnTo>
                  <a:lnTo>
                    <a:pt x="46877" y="12171"/>
                  </a:lnTo>
                  <a:lnTo>
                    <a:pt x="46239" y="11134"/>
                  </a:lnTo>
                  <a:lnTo>
                    <a:pt x="45521" y="10151"/>
                  </a:lnTo>
                  <a:lnTo>
                    <a:pt x="44777" y="9195"/>
                  </a:lnTo>
                  <a:lnTo>
                    <a:pt x="43980" y="8291"/>
                  </a:lnTo>
                  <a:lnTo>
                    <a:pt x="43130" y="7414"/>
                  </a:lnTo>
                  <a:lnTo>
                    <a:pt x="42253" y="6564"/>
                  </a:lnTo>
                  <a:lnTo>
                    <a:pt x="41349" y="5767"/>
                  </a:lnTo>
                  <a:lnTo>
                    <a:pt x="40393" y="5022"/>
                  </a:lnTo>
                  <a:lnTo>
                    <a:pt x="39383" y="4305"/>
                  </a:lnTo>
                  <a:lnTo>
                    <a:pt x="38373" y="3667"/>
                  </a:lnTo>
                  <a:lnTo>
                    <a:pt x="37310" y="3056"/>
                  </a:lnTo>
                  <a:lnTo>
                    <a:pt x="36221" y="2498"/>
                  </a:lnTo>
                  <a:lnTo>
                    <a:pt x="35104" y="1966"/>
                  </a:lnTo>
                  <a:lnTo>
                    <a:pt x="33962" y="1515"/>
                  </a:lnTo>
                  <a:lnTo>
                    <a:pt x="32793" y="1116"/>
                  </a:lnTo>
                  <a:lnTo>
                    <a:pt x="31570" y="797"/>
                  </a:lnTo>
                  <a:lnTo>
                    <a:pt x="30348" y="505"/>
                  </a:lnTo>
                  <a:lnTo>
                    <a:pt x="29737" y="372"/>
                  </a:lnTo>
                  <a:lnTo>
                    <a:pt x="29125" y="292"/>
                  </a:lnTo>
                  <a:lnTo>
                    <a:pt x="28488" y="186"/>
                  </a:lnTo>
                  <a:lnTo>
                    <a:pt x="27850" y="133"/>
                  </a:lnTo>
                  <a:lnTo>
                    <a:pt x="27212" y="53"/>
                  </a:lnTo>
                  <a:lnTo>
                    <a:pt x="26574" y="27"/>
                  </a:lnTo>
                  <a:lnTo>
                    <a:pt x="25910" y="0"/>
                  </a:lnTo>
                  <a:lnTo>
                    <a:pt x="25272" y="0"/>
                  </a:lnTo>
                  <a:lnTo>
                    <a:pt x="25272" y="0"/>
                  </a:lnTo>
                  <a:lnTo>
                    <a:pt x="24608" y="0"/>
                  </a:lnTo>
                  <a:lnTo>
                    <a:pt x="23970" y="27"/>
                  </a:lnTo>
                  <a:lnTo>
                    <a:pt x="23332" y="53"/>
                  </a:lnTo>
                  <a:lnTo>
                    <a:pt x="22694" y="133"/>
                  </a:lnTo>
                  <a:lnTo>
                    <a:pt x="22057" y="186"/>
                  </a:lnTo>
                  <a:lnTo>
                    <a:pt x="21419" y="292"/>
                  </a:lnTo>
                  <a:lnTo>
                    <a:pt x="20808" y="372"/>
                  </a:lnTo>
                  <a:lnTo>
                    <a:pt x="20196" y="505"/>
                  </a:lnTo>
                  <a:lnTo>
                    <a:pt x="18974" y="797"/>
                  </a:lnTo>
                  <a:lnTo>
                    <a:pt x="17752" y="1116"/>
                  </a:lnTo>
                  <a:lnTo>
                    <a:pt x="16582" y="1515"/>
                  </a:lnTo>
                  <a:lnTo>
                    <a:pt x="15440" y="1966"/>
                  </a:lnTo>
                  <a:lnTo>
                    <a:pt x="14324" y="2498"/>
                  </a:lnTo>
                  <a:lnTo>
                    <a:pt x="13234" y="3056"/>
                  </a:lnTo>
                  <a:lnTo>
                    <a:pt x="12171" y="3667"/>
                  </a:lnTo>
                  <a:lnTo>
                    <a:pt x="11135" y="4305"/>
                  </a:lnTo>
                  <a:lnTo>
                    <a:pt x="10152" y="5022"/>
                  </a:lnTo>
                  <a:lnTo>
                    <a:pt x="9195" y="5767"/>
                  </a:lnTo>
                  <a:lnTo>
                    <a:pt x="8291" y="6564"/>
                  </a:lnTo>
                  <a:lnTo>
                    <a:pt x="7414" y="7414"/>
                  </a:lnTo>
                  <a:lnTo>
                    <a:pt x="6564" y="8291"/>
                  </a:lnTo>
                  <a:lnTo>
                    <a:pt x="5767" y="9195"/>
                  </a:lnTo>
                  <a:lnTo>
                    <a:pt x="5023" y="10151"/>
                  </a:lnTo>
                  <a:lnTo>
                    <a:pt x="4305" y="11134"/>
                  </a:lnTo>
                  <a:lnTo>
                    <a:pt x="3667" y="12171"/>
                  </a:lnTo>
                  <a:lnTo>
                    <a:pt x="3056" y="13234"/>
                  </a:lnTo>
                  <a:lnTo>
                    <a:pt x="2498" y="14323"/>
                  </a:lnTo>
                  <a:lnTo>
                    <a:pt x="1993" y="15439"/>
                  </a:lnTo>
                  <a:lnTo>
                    <a:pt x="1542" y="16582"/>
                  </a:lnTo>
                  <a:lnTo>
                    <a:pt x="1143" y="17751"/>
                  </a:lnTo>
                  <a:lnTo>
                    <a:pt x="797" y="18947"/>
                  </a:lnTo>
                  <a:lnTo>
                    <a:pt x="505" y="20169"/>
                  </a:lnTo>
                  <a:lnTo>
                    <a:pt x="293" y="21418"/>
                  </a:lnTo>
                  <a:lnTo>
                    <a:pt x="186" y="22056"/>
                  </a:lnTo>
                  <a:lnTo>
                    <a:pt x="133" y="22694"/>
                  </a:lnTo>
                  <a:lnTo>
                    <a:pt x="80" y="23332"/>
                  </a:lnTo>
                  <a:lnTo>
                    <a:pt x="27" y="23970"/>
                  </a:lnTo>
                  <a:lnTo>
                    <a:pt x="0" y="24607"/>
                  </a:lnTo>
                  <a:lnTo>
                    <a:pt x="0" y="25272"/>
                  </a:lnTo>
                  <a:lnTo>
                    <a:pt x="0" y="30693"/>
                  </a:lnTo>
                  <a:lnTo>
                    <a:pt x="1542" y="30693"/>
                  </a:lnTo>
                  <a:lnTo>
                    <a:pt x="1542" y="25272"/>
                  </a:lnTo>
                  <a:lnTo>
                    <a:pt x="1542" y="25272"/>
                  </a:lnTo>
                  <a:lnTo>
                    <a:pt x="1568" y="24049"/>
                  </a:lnTo>
                  <a:lnTo>
                    <a:pt x="1674" y="22853"/>
                  </a:lnTo>
                  <a:lnTo>
                    <a:pt x="1834" y="21658"/>
                  </a:lnTo>
                  <a:lnTo>
                    <a:pt x="2020" y="20488"/>
                  </a:lnTo>
                  <a:lnTo>
                    <a:pt x="2286" y="19346"/>
                  </a:lnTo>
                  <a:lnTo>
                    <a:pt x="2605" y="18230"/>
                  </a:lnTo>
                  <a:lnTo>
                    <a:pt x="3003" y="17113"/>
                  </a:lnTo>
                  <a:lnTo>
                    <a:pt x="3428" y="16051"/>
                  </a:lnTo>
                  <a:lnTo>
                    <a:pt x="3880" y="14988"/>
                  </a:lnTo>
                  <a:lnTo>
                    <a:pt x="4412" y="13978"/>
                  </a:lnTo>
                  <a:lnTo>
                    <a:pt x="4996" y="12968"/>
                  </a:lnTo>
                  <a:lnTo>
                    <a:pt x="5607" y="12011"/>
                  </a:lnTo>
                  <a:lnTo>
                    <a:pt x="6272" y="11081"/>
                  </a:lnTo>
                  <a:lnTo>
                    <a:pt x="6963" y="10178"/>
                  </a:lnTo>
                  <a:lnTo>
                    <a:pt x="7707" y="9327"/>
                  </a:lnTo>
                  <a:lnTo>
                    <a:pt x="8504" y="8504"/>
                  </a:lnTo>
                  <a:lnTo>
                    <a:pt x="9328" y="7706"/>
                  </a:lnTo>
                  <a:lnTo>
                    <a:pt x="10178" y="6962"/>
                  </a:lnTo>
                  <a:lnTo>
                    <a:pt x="11082" y="6271"/>
                  </a:lnTo>
                  <a:lnTo>
                    <a:pt x="12012" y="5607"/>
                  </a:lnTo>
                  <a:lnTo>
                    <a:pt x="12968" y="4996"/>
                  </a:lnTo>
                  <a:lnTo>
                    <a:pt x="13978" y="4411"/>
                  </a:lnTo>
                  <a:lnTo>
                    <a:pt x="14988" y="3880"/>
                  </a:lnTo>
                  <a:lnTo>
                    <a:pt x="16051" y="3401"/>
                  </a:lnTo>
                  <a:lnTo>
                    <a:pt x="17114" y="2976"/>
                  </a:lnTo>
                  <a:lnTo>
                    <a:pt x="18230" y="2604"/>
                  </a:lnTo>
                  <a:lnTo>
                    <a:pt x="19346" y="2285"/>
                  </a:lnTo>
                  <a:lnTo>
                    <a:pt x="20489" y="2020"/>
                  </a:lnTo>
                  <a:lnTo>
                    <a:pt x="21658" y="1807"/>
                  </a:lnTo>
                  <a:lnTo>
                    <a:pt x="22854" y="1674"/>
                  </a:lnTo>
                  <a:lnTo>
                    <a:pt x="24050" y="1568"/>
                  </a:lnTo>
                  <a:lnTo>
                    <a:pt x="25272" y="1541"/>
                  </a:lnTo>
                  <a:lnTo>
                    <a:pt x="25272" y="1541"/>
                  </a:lnTo>
                  <a:lnTo>
                    <a:pt x="26495" y="1568"/>
                  </a:lnTo>
                  <a:lnTo>
                    <a:pt x="27690" y="1674"/>
                  </a:lnTo>
                  <a:lnTo>
                    <a:pt x="28886" y="1807"/>
                  </a:lnTo>
                  <a:lnTo>
                    <a:pt x="30055" y="2020"/>
                  </a:lnTo>
                  <a:lnTo>
                    <a:pt x="31198" y="2285"/>
                  </a:lnTo>
                  <a:lnTo>
                    <a:pt x="32314" y="2604"/>
                  </a:lnTo>
                  <a:lnTo>
                    <a:pt x="33430" y="2976"/>
                  </a:lnTo>
                  <a:lnTo>
                    <a:pt x="34493" y="3401"/>
                  </a:lnTo>
                  <a:lnTo>
                    <a:pt x="35556" y="3880"/>
                  </a:lnTo>
                  <a:lnTo>
                    <a:pt x="36566" y="4411"/>
                  </a:lnTo>
                  <a:lnTo>
                    <a:pt x="37576" y="4996"/>
                  </a:lnTo>
                  <a:lnTo>
                    <a:pt x="38533" y="5607"/>
                  </a:lnTo>
                  <a:lnTo>
                    <a:pt x="39463" y="6271"/>
                  </a:lnTo>
                  <a:lnTo>
                    <a:pt x="40340" y="6962"/>
                  </a:lnTo>
                  <a:lnTo>
                    <a:pt x="41217" y="7706"/>
                  </a:lnTo>
                  <a:lnTo>
                    <a:pt x="42040" y="8504"/>
                  </a:lnTo>
                  <a:lnTo>
                    <a:pt x="42811" y="9327"/>
                  </a:lnTo>
                  <a:lnTo>
                    <a:pt x="43582" y="10178"/>
                  </a:lnTo>
                  <a:lnTo>
                    <a:pt x="44273" y="11081"/>
                  </a:lnTo>
                  <a:lnTo>
                    <a:pt x="44937" y="12011"/>
                  </a:lnTo>
                  <a:lnTo>
                    <a:pt x="45548" y="12968"/>
                  </a:lnTo>
                  <a:lnTo>
                    <a:pt x="46133" y="13978"/>
                  </a:lnTo>
                  <a:lnTo>
                    <a:pt x="46638" y="14988"/>
                  </a:lnTo>
                  <a:lnTo>
                    <a:pt x="47116" y="16051"/>
                  </a:lnTo>
                  <a:lnTo>
                    <a:pt x="47541" y="17113"/>
                  </a:lnTo>
                  <a:lnTo>
                    <a:pt x="47913" y="18230"/>
                  </a:lnTo>
                  <a:lnTo>
                    <a:pt x="48232" y="19346"/>
                  </a:lnTo>
                  <a:lnTo>
                    <a:pt x="48498" y="20488"/>
                  </a:lnTo>
                  <a:lnTo>
                    <a:pt x="48710" y="21658"/>
                  </a:lnTo>
                  <a:lnTo>
                    <a:pt x="48870" y="22853"/>
                  </a:lnTo>
                  <a:lnTo>
                    <a:pt x="48950" y="24049"/>
                  </a:lnTo>
                  <a:lnTo>
                    <a:pt x="49003" y="25272"/>
                  </a:lnTo>
                  <a:lnTo>
                    <a:pt x="49003" y="30693"/>
                  </a:lnTo>
                  <a:lnTo>
                    <a:pt x="50544" y="30693"/>
                  </a:lnTo>
                  <a:lnTo>
                    <a:pt x="50544" y="25272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7" name="Google Shape;2395;p39">
              <a:extLst>
                <a:ext uri="{FF2B5EF4-FFF2-40B4-BE49-F238E27FC236}">
                  <a16:creationId xmlns:a16="http://schemas.microsoft.com/office/drawing/2014/main" id="{3431CAB2-2E3C-CF4F-76FA-27475F5F7833}"/>
                </a:ext>
              </a:extLst>
            </p:cNvPr>
            <p:cNvSpPr/>
            <p:nvPr/>
          </p:nvSpPr>
          <p:spPr>
            <a:xfrm>
              <a:off x="13535016" y="3574473"/>
              <a:ext cx="3064317" cy="1943428"/>
            </a:xfrm>
            <a:custGeom>
              <a:avLst/>
              <a:gdLst/>
              <a:ahLst/>
              <a:cxnLst/>
              <a:rect l="l" t="t" r="r" b="b"/>
              <a:pathLst>
                <a:path w="50863" h="30693" extrusionOk="0">
                  <a:moveTo>
                    <a:pt x="25432" y="0"/>
                  </a:moveTo>
                  <a:lnTo>
                    <a:pt x="24767" y="27"/>
                  </a:lnTo>
                  <a:lnTo>
                    <a:pt x="24129" y="53"/>
                  </a:lnTo>
                  <a:lnTo>
                    <a:pt x="23465" y="80"/>
                  </a:lnTo>
                  <a:lnTo>
                    <a:pt x="22827" y="133"/>
                  </a:lnTo>
                  <a:lnTo>
                    <a:pt x="22190" y="213"/>
                  </a:lnTo>
                  <a:lnTo>
                    <a:pt x="21552" y="292"/>
                  </a:lnTo>
                  <a:lnTo>
                    <a:pt x="20941" y="399"/>
                  </a:lnTo>
                  <a:lnTo>
                    <a:pt x="20303" y="531"/>
                  </a:lnTo>
                  <a:lnTo>
                    <a:pt x="19080" y="797"/>
                  </a:lnTo>
                  <a:lnTo>
                    <a:pt x="17885" y="1143"/>
                  </a:lnTo>
                  <a:lnTo>
                    <a:pt x="16689" y="1541"/>
                  </a:lnTo>
                  <a:lnTo>
                    <a:pt x="15546" y="2020"/>
                  </a:lnTo>
                  <a:lnTo>
                    <a:pt x="14430" y="2525"/>
                  </a:lnTo>
                  <a:lnTo>
                    <a:pt x="13314" y="3083"/>
                  </a:lnTo>
                  <a:lnTo>
                    <a:pt x="12251" y="3694"/>
                  </a:lnTo>
                  <a:lnTo>
                    <a:pt x="11215" y="4358"/>
                  </a:lnTo>
                  <a:lnTo>
                    <a:pt x="10231" y="5076"/>
                  </a:lnTo>
                  <a:lnTo>
                    <a:pt x="9275" y="5820"/>
                  </a:lnTo>
                  <a:lnTo>
                    <a:pt x="8345" y="6617"/>
                  </a:lnTo>
                  <a:lnTo>
                    <a:pt x="7468" y="7467"/>
                  </a:lnTo>
                  <a:lnTo>
                    <a:pt x="6617" y="8344"/>
                  </a:lnTo>
                  <a:lnTo>
                    <a:pt x="5820" y="9274"/>
                  </a:lnTo>
                  <a:lnTo>
                    <a:pt x="5049" y="10231"/>
                  </a:lnTo>
                  <a:lnTo>
                    <a:pt x="4358" y="11241"/>
                  </a:lnTo>
                  <a:lnTo>
                    <a:pt x="3694" y="12250"/>
                  </a:lnTo>
                  <a:lnTo>
                    <a:pt x="3083" y="13313"/>
                  </a:lnTo>
                  <a:lnTo>
                    <a:pt x="2525" y="14430"/>
                  </a:lnTo>
                  <a:lnTo>
                    <a:pt x="1993" y="15546"/>
                  </a:lnTo>
                  <a:lnTo>
                    <a:pt x="1542" y="16688"/>
                  </a:lnTo>
                  <a:lnTo>
                    <a:pt x="1143" y="17884"/>
                  </a:lnTo>
                  <a:lnTo>
                    <a:pt x="798" y="19080"/>
                  </a:lnTo>
                  <a:lnTo>
                    <a:pt x="532" y="20329"/>
                  </a:lnTo>
                  <a:lnTo>
                    <a:pt x="399" y="20940"/>
                  </a:lnTo>
                  <a:lnTo>
                    <a:pt x="293" y="21578"/>
                  </a:lnTo>
                  <a:lnTo>
                    <a:pt x="213" y="22189"/>
                  </a:lnTo>
                  <a:lnTo>
                    <a:pt x="133" y="22827"/>
                  </a:lnTo>
                  <a:lnTo>
                    <a:pt x="80" y="23491"/>
                  </a:lnTo>
                  <a:lnTo>
                    <a:pt x="27" y="24129"/>
                  </a:lnTo>
                  <a:lnTo>
                    <a:pt x="0" y="24767"/>
                  </a:lnTo>
                  <a:lnTo>
                    <a:pt x="0" y="25431"/>
                  </a:lnTo>
                  <a:lnTo>
                    <a:pt x="0" y="30693"/>
                  </a:lnTo>
                  <a:lnTo>
                    <a:pt x="1568" y="30693"/>
                  </a:lnTo>
                  <a:lnTo>
                    <a:pt x="1568" y="25431"/>
                  </a:lnTo>
                  <a:lnTo>
                    <a:pt x="1595" y="24209"/>
                  </a:lnTo>
                  <a:lnTo>
                    <a:pt x="1674" y="22986"/>
                  </a:lnTo>
                  <a:lnTo>
                    <a:pt x="1834" y="21817"/>
                  </a:lnTo>
                  <a:lnTo>
                    <a:pt x="2046" y="20621"/>
                  </a:lnTo>
                  <a:lnTo>
                    <a:pt x="2312" y="19479"/>
                  </a:lnTo>
                  <a:lnTo>
                    <a:pt x="2631" y="18336"/>
                  </a:lnTo>
                  <a:lnTo>
                    <a:pt x="3003" y="17246"/>
                  </a:lnTo>
                  <a:lnTo>
                    <a:pt x="3428" y="16157"/>
                  </a:lnTo>
                  <a:lnTo>
                    <a:pt x="3907" y="15094"/>
                  </a:lnTo>
                  <a:lnTo>
                    <a:pt x="4438" y="14058"/>
                  </a:lnTo>
                  <a:lnTo>
                    <a:pt x="5023" y="13074"/>
                  </a:lnTo>
                  <a:lnTo>
                    <a:pt x="5634" y="12091"/>
                  </a:lnTo>
                  <a:lnTo>
                    <a:pt x="6298" y="11161"/>
                  </a:lnTo>
                  <a:lnTo>
                    <a:pt x="7016" y="10257"/>
                  </a:lnTo>
                  <a:lnTo>
                    <a:pt x="7760" y="9381"/>
                  </a:lnTo>
                  <a:lnTo>
                    <a:pt x="8557" y="8557"/>
                  </a:lnTo>
                  <a:lnTo>
                    <a:pt x="9381" y="7760"/>
                  </a:lnTo>
                  <a:lnTo>
                    <a:pt x="10258" y="7015"/>
                  </a:lnTo>
                  <a:lnTo>
                    <a:pt x="11161" y="6325"/>
                  </a:lnTo>
                  <a:lnTo>
                    <a:pt x="12091" y="5634"/>
                  </a:lnTo>
                  <a:lnTo>
                    <a:pt x="13075" y="5022"/>
                  </a:lnTo>
                  <a:lnTo>
                    <a:pt x="14058" y="4438"/>
                  </a:lnTo>
                  <a:lnTo>
                    <a:pt x="15094" y="3933"/>
                  </a:lnTo>
                  <a:lnTo>
                    <a:pt x="16157" y="3455"/>
                  </a:lnTo>
                  <a:lnTo>
                    <a:pt x="17220" y="3003"/>
                  </a:lnTo>
                  <a:lnTo>
                    <a:pt x="18336" y="2631"/>
                  </a:lnTo>
                  <a:lnTo>
                    <a:pt x="19479" y="2312"/>
                  </a:lnTo>
                  <a:lnTo>
                    <a:pt x="20622" y="2046"/>
                  </a:lnTo>
                  <a:lnTo>
                    <a:pt x="21791" y="1834"/>
                  </a:lnTo>
                  <a:lnTo>
                    <a:pt x="22987" y="1674"/>
                  </a:lnTo>
                  <a:lnTo>
                    <a:pt x="24209" y="1594"/>
                  </a:lnTo>
                  <a:lnTo>
                    <a:pt x="25432" y="1568"/>
                  </a:lnTo>
                  <a:lnTo>
                    <a:pt x="26654" y="1594"/>
                  </a:lnTo>
                  <a:lnTo>
                    <a:pt x="27876" y="1674"/>
                  </a:lnTo>
                  <a:lnTo>
                    <a:pt x="29072" y="1834"/>
                  </a:lnTo>
                  <a:lnTo>
                    <a:pt x="30241" y="2046"/>
                  </a:lnTo>
                  <a:lnTo>
                    <a:pt x="31384" y="2312"/>
                  </a:lnTo>
                  <a:lnTo>
                    <a:pt x="32527" y="2631"/>
                  </a:lnTo>
                  <a:lnTo>
                    <a:pt x="33643" y="3003"/>
                  </a:lnTo>
                  <a:lnTo>
                    <a:pt x="34706" y="3455"/>
                  </a:lnTo>
                  <a:lnTo>
                    <a:pt x="35769" y="3933"/>
                  </a:lnTo>
                  <a:lnTo>
                    <a:pt x="36805" y="4438"/>
                  </a:lnTo>
                  <a:lnTo>
                    <a:pt x="37789" y="5022"/>
                  </a:lnTo>
                  <a:lnTo>
                    <a:pt x="38772" y="5634"/>
                  </a:lnTo>
                  <a:lnTo>
                    <a:pt x="39702" y="6325"/>
                  </a:lnTo>
                  <a:lnTo>
                    <a:pt x="40605" y="7015"/>
                  </a:lnTo>
                  <a:lnTo>
                    <a:pt x="41482" y="7760"/>
                  </a:lnTo>
                  <a:lnTo>
                    <a:pt x="42306" y="8557"/>
                  </a:lnTo>
                  <a:lnTo>
                    <a:pt x="43103" y="9381"/>
                  </a:lnTo>
                  <a:lnTo>
                    <a:pt x="43847" y="10257"/>
                  </a:lnTo>
                  <a:lnTo>
                    <a:pt x="44565" y="11161"/>
                  </a:lnTo>
                  <a:lnTo>
                    <a:pt x="45229" y="12091"/>
                  </a:lnTo>
                  <a:lnTo>
                    <a:pt x="45840" y="13074"/>
                  </a:lnTo>
                  <a:lnTo>
                    <a:pt x="46425" y="14058"/>
                  </a:lnTo>
                  <a:lnTo>
                    <a:pt x="46957" y="15094"/>
                  </a:lnTo>
                  <a:lnTo>
                    <a:pt x="47435" y="16157"/>
                  </a:lnTo>
                  <a:lnTo>
                    <a:pt x="47860" y="17246"/>
                  </a:lnTo>
                  <a:lnTo>
                    <a:pt x="48232" y="18336"/>
                  </a:lnTo>
                  <a:lnTo>
                    <a:pt x="48551" y="19479"/>
                  </a:lnTo>
                  <a:lnTo>
                    <a:pt x="48817" y="20621"/>
                  </a:lnTo>
                  <a:lnTo>
                    <a:pt x="49029" y="21817"/>
                  </a:lnTo>
                  <a:lnTo>
                    <a:pt x="49189" y="22986"/>
                  </a:lnTo>
                  <a:lnTo>
                    <a:pt x="49268" y="24209"/>
                  </a:lnTo>
                  <a:lnTo>
                    <a:pt x="49295" y="25431"/>
                  </a:lnTo>
                  <a:lnTo>
                    <a:pt x="49295" y="30693"/>
                  </a:lnTo>
                  <a:lnTo>
                    <a:pt x="50863" y="30693"/>
                  </a:lnTo>
                  <a:lnTo>
                    <a:pt x="50863" y="25431"/>
                  </a:lnTo>
                  <a:lnTo>
                    <a:pt x="50836" y="24767"/>
                  </a:lnTo>
                  <a:lnTo>
                    <a:pt x="50836" y="24129"/>
                  </a:lnTo>
                  <a:lnTo>
                    <a:pt x="50783" y="23491"/>
                  </a:lnTo>
                  <a:lnTo>
                    <a:pt x="50730" y="22827"/>
                  </a:lnTo>
                  <a:lnTo>
                    <a:pt x="50650" y="22189"/>
                  </a:lnTo>
                  <a:lnTo>
                    <a:pt x="50571" y="21578"/>
                  </a:lnTo>
                  <a:lnTo>
                    <a:pt x="50464" y="20940"/>
                  </a:lnTo>
                  <a:lnTo>
                    <a:pt x="50331" y="20329"/>
                  </a:lnTo>
                  <a:lnTo>
                    <a:pt x="50066" y="19080"/>
                  </a:lnTo>
                  <a:lnTo>
                    <a:pt x="49720" y="17884"/>
                  </a:lnTo>
                  <a:lnTo>
                    <a:pt x="49322" y="16688"/>
                  </a:lnTo>
                  <a:lnTo>
                    <a:pt x="48843" y="15546"/>
                  </a:lnTo>
                  <a:lnTo>
                    <a:pt x="48338" y="14430"/>
                  </a:lnTo>
                  <a:lnTo>
                    <a:pt x="47780" y="13313"/>
                  </a:lnTo>
                  <a:lnTo>
                    <a:pt x="47169" y="12250"/>
                  </a:lnTo>
                  <a:lnTo>
                    <a:pt x="46505" y="11241"/>
                  </a:lnTo>
                  <a:lnTo>
                    <a:pt x="45787" y="10231"/>
                  </a:lnTo>
                  <a:lnTo>
                    <a:pt x="45043" y="9274"/>
                  </a:lnTo>
                  <a:lnTo>
                    <a:pt x="44246" y="8344"/>
                  </a:lnTo>
                  <a:lnTo>
                    <a:pt x="43396" y="7467"/>
                  </a:lnTo>
                  <a:lnTo>
                    <a:pt x="42519" y="6617"/>
                  </a:lnTo>
                  <a:lnTo>
                    <a:pt x="41589" y="5820"/>
                  </a:lnTo>
                  <a:lnTo>
                    <a:pt x="40632" y="5076"/>
                  </a:lnTo>
                  <a:lnTo>
                    <a:pt x="39649" y="4358"/>
                  </a:lnTo>
                  <a:lnTo>
                    <a:pt x="38612" y="3694"/>
                  </a:lnTo>
                  <a:lnTo>
                    <a:pt x="37549" y="3083"/>
                  </a:lnTo>
                  <a:lnTo>
                    <a:pt x="36433" y="2525"/>
                  </a:lnTo>
                  <a:lnTo>
                    <a:pt x="35317" y="2020"/>
                  </a:lnTo>
                  <a:lnTo>
                    <a:pt x="34174" y="1541"/>
                  </a:lnTo>
                  <a:lnTo>
                    <a:pt x="32979" y="1143"/>
                  </a:lnTo>
                  <a:lnTo>
                    <a:pt x="31783" y="797"/>
                  </a:lnTo>
                  <a:lnTo>
                    <a:pt x="30560" y="531"/>
                  </a:lnTo>
                  <a:lnTo>
                    <a:pt x="29923" y="399"/>
                  </a:lnTo>
                  <a:lnTo>
                    <a:pt x="29285" y="292"/>
                  </a:lnTo>
                  <a:lnTo>
                    <a:pt x="28674" y="213"/>
                  </a:lnTo>
                  <a:lnTo>
                    <a:pt x="28036" y="133"/>
                  </a:lnTo>
                  <a:lnTo>
                    <a:pt x="27371" y="80"/>
                  </a:lnTo>
                  <a:lnTo>
                    <a:pt x="26734" y="53"/>
                  </a:lnTo>
                  <a:lnTo>
                    <a:pt x="26096" y="27"/>
                  </a:lnTo>
                  <a:lnTo>
                    <a:pt x="25432" y="0"/>
                  </a:lnTo>
                  <a:close/>
                </a:path>
              </a:pathLst>
            </a:custGeom>
            <a:solidFill>
              <a:srgbClr val="7276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11" name="Google Shape;2396;p39">
              <a:extLst>
                <a:ext uri="{FF2B5EF4-FFF2-40B4-BE49-F238E27FC236}">
                  <a16:creationId xmlns:a16="http://schemas.microsoft.com/office/drawing/2014/main" id="{9FD23858-C153-4F03-EBC5-B6A1ECF042DE}"/>
                </a:ext>
              </a:extLst>
            </p:cNvPr>
            <p:cNvSpPr/>
            <p:nvPr/>
          </p:nvSpPr>
          <p:spPr>
            <a:xfrm>
              <a:off x="10574805" y="7045645"/>
              <a:ext cx="3054738" cy="2153773"/>
            </a:xfrm>
            <a:custGeom>
              <a:avLst/>
              <a:gdLst/>
              <a:ahLst/>
              <a:cxnLst/>
              <a:rect l="l" t="t" r="r" b="b"/>
              <a:pathLst>
                <a:path w="50704" h="34015" extrusionOk="0">
                  <a:moveTo>
                    <a:pt x="0" y="1"/>
                  </a:moveTo>
                  <a:lnTo>
                    <a:pt x="0" y="8690"/>
                  </a:lnTo>
                  <a:lnTo>
                    <a:pt x="27" y="9328"/>
                  </a:lnTo>
                  <a:lnTo>
                    <a:pt x="53" y="9992"/>
                  </a:lnTo>
                  <a:lnTo>
                    <a:pt x="80" y="10630"/>
                  </a:lnTo>
                  <a:lnTo>
                    <a:pt x="133" y="11268"/>
                  </a:lnTo>
                  <a:lnTo>
                    <a:pt x="213" y="11906"/>
                  </a:lnTo>
                  <a:lnTo>
                    <a:pt x="292" y="12543"/>
                  </a:lnTo>
                  <a:lnTo>
                    <a:pt x="399" y="13155"/>
                  </a:lnTo>
                  <a:lnTo>
                    <a:pt x="531" y="13766"/>
                  </a:lnTo>
                  <a:lnTo>
                    <a:pt x="797" y="15015"/>
                  </a:lnTo>
                  <a:lnTo>
                    <a:pt x="1143" y="16211"/>
                  </a:lnTo>
                  <a:lnTo>
                    <a:pt x="1541" y="17380"/>
                  </a:lnTo>
                  <a:lnTo>
                    <a:pt x="1993" y="18523"/>
                  </a:lnTo>
                  <a:lnTo>
                    <a:pt x="2498" y="19665"/>
                  </a:lnTo>
                  <a:lnTo>
                    <a:pt x="3083" y="20755"/>
                  </a:lnTo>
                  <a:lnTo>
                    <a:pt x="3694" y="21818"/>
                  </a:lnTo>
                  <a:lnTo>
                    <a:pt x="4332" y="22827"/>
                  </a:lnTo>
                  <a:lnTo>
                    <a:pt x="5049" y="23837"/>
                  </a:lnTo>
                  <a:lnTo>
                    <a:pt x="5793" y="24794"/>
                  </a:lnTo>
                  <a:lnTo>
                    <a:pt x="6590" y="25697"/>
                  </a:lnTo>
                  <a:lnTo>
                    <a:pt x="7441" y="26601"/>
                  </a:lnTo>
                  <a:lnTo>
                    <a:pt x="8318" y="27425"/>
                  </a:lnTo>
                  <a:lnTo>
                    <a:pt x="9248" y="28222"/>
                  </a:lnTo>
                  <a:lnTo>
                    <a:pt x="10204" y="28966"/>
                  </a:lnTo>
                  <a:lnTo>
                    <a:pt x="11188" y="29683"/>
                  </a:lnTo>
                  <a:lnTo>
                    <a:pt x="12224" y="30348"/>
                  </a:lnTo>
                  <a:lnTo>
                    <a:pt x="13287" y="30959"/>
                  </a:lnTo>
                  <a:lnTo>
                    <a:pt x="14377" y="31517"/>
                  </a:lnTo>
                  <a:lnTo>
                    <a:pt x="15493" y="32022"/>
                  </a:lnTo>
                  <a:lnTo>
                    <a:pt x="16635" y="32474"/>
                  </a:lnTo>
                  <a:lnTo>
                    <a:pt x="17831" y="32872"/>
                  </a:lnTo>
                  <a:lnTo>
                    <a:pt x="19027" y="33218"/>
                  </a:lnTo>
                  <a:lnTo>
                    <a:pt x="20249" y="33510"/>
                  </a:lnTo>
                  <a:lnTo>
                    <a:pt x="20861" y="33616"/>
                  </a:lnTo>
                  <a:lnTo>
                    <a:pt x="21498" y="33723"/>
                  </a:lnTo>
                  <a:lnTo>
                    <a:pt x="22136" y="33829"/>
                  </a:lnTo>
                  <a:lnTo>
                    <a:pt x="22774" y="33882"/>
                  </a:lnTo>
                  <a:lnTo>
                    <a:pt x="23412" y="33935"/>
                  </a:lnTo>
                  <a:lnTo>
                    <a:pt x="24049" y="33988"/>
                  </a:lnTo>
                  <a:lnTo>
                    <a:pt x="24687" y="34015"/>
                  </a:lnTo>
                  <a:lnTo>
                    <a:pt x="26016" y="34015"/>
                  </a:lnTo>
                  <a:lnTo>
                    <a:pt x="26654" y="33988"/>
                  </a:lnTo>
                  <a:lnTo>
                    <a:pt x="27291" y="33935"/>
                  </a:lnTo>
                  <a:lnTo>
                    <a:pt x="27929" y="33882"/>
                  </a:lnTo>
                  <a:lnTo>
                    <a:pt x="28567" y="33829"/>
                  </a:lnTo>
                  <a:lnTo>
                    <a:pt x="29205" y="33723"/>
                  </a:lnTo>
                  <a:lnTo>
                    <a:pt x="29843" y="33616"/>
                  </a:lnTo>
                  <a:lnTo>
                    <a:pt x="30454" y="33510"/>
                  </a:lnTo>
                  <a:lnTo>
                    <a:pt x="31676" y="33218"/>
                  </a:lnTo>
                  <a:lnTo>
                    <a:pt x="32872" y="32872"/>
                  </a:lnTo>
                  <a:lnTo>
                    <a:pt x="34068" y="32474"/>
                  </a:lnTo>
                  <a:lnTo>
                    <a:pt x="35211" y="32022"/>
                  </a:lnTo>
                  <a:lnTo>
                    <a:pt x="36327" y="31517"/>
                  </a:lnTo>
                  <a:lnTo>
                    <a:pt x="37416" y="30959"/>
                  </a:lnTo>
                  <a:lnTo>
                    <a:pt x="38479" y="30348"/>
                  </a:lnTo>
                  <a:lnTo>
                    <a:pt x="39516" y="29683"/>
                  </a:lnTo>
                  <a:lnTo>
                    <a:pt x="40499" y="28966"/>
                  </a:lnTo>
                  <a:lnTo>
                    <a:pt x="41455" y="28222"/>
                  </a:lnTo>
                  <a:lnTo>
                    <a:pt x="42386" y="27425"/>
                  </a:lnTo>
                  <a:lnTo>
                    <a:pt x="43262" y="26601"/>
                  </a:lnTo>
                  <a:lnTo>
                    <a:pt x="44113" y="25697"/>
                  </a:lnTo>
                  <a:lnTo>
                    <a:pt x="44910" y="24794"/>
                  </a:lnTo>
                  <a:lnTo>
                    <a:pt x="45654" y="23837"/>
                  </a:lnTo>
                  <a:lnTo>
                    <a:pt x="46372" y="22827"/>
                  </a:lnTo>
                  <a:lnTo>
                    <a:pt x="47009" y="21818"/>
                  </a:lnTo>
                  <a:lnTo>
                    <a:pt x="47621" y="20755"/>
                  </a:lnTo>
                  <a:lnTo>
                    <a:pt x="48179" y="19665"/>
                  </a:lnTo>
                  <a:lnTo>
                    <a:pt x="48710" y="18523"/>
                  </a:lnTo>
                  <a:lnTo>
                    <a:pt x="49162" y="17380"/>
                  </a:lnTo>
                  <a:lnTo>
                    <a:pt x="49560" y="16211"/>
                  </a:lnTo>
                  <a:lnTo>
                    <a:pt x="49906" y="15015"/>
                  </a:lnTo>
                  <a:lnTo>
                    <a:pt x="50172" y="13766"/>
                  </a:lnTo>
                  <a:lnTo>
                    <a:pt x="50305" y="13155"/>
                  </a:lnTo>
                  <a:lnTo>
                    <a:pt x="50411" y="12543"/>
                  </a:lnTo>
                  <a:lnTo>
                    <a:pt x="50491" y="11906"/>
                  </a:lnTo>
                  <a:lnTo>
                    <a:pt x="50570" y="11268"/>
                  </a:lnTo>
                  <a:lnTo>
                    <a:pt x="50623" y="10630"/>
                  </a:lnTo>
                  <a:lnTo>
                    <a:pt x="50650" y="9992"/>
                  </a:lnTo>
                  <a:lnTo>
                    <a:pt x="50677" y="9328"/>
                  </a:lnTo>
                  <a:lnTo>
                    <a:pt x="50703" y="8690"/>
                  </a:lnTo>
                  <a:lnTo>
                    <a:pt x="50703" y="1"/>
                  </a:lnTo>
                  <a:lnTo>
                    <a:pt x="49135" y="1"/>
                  </a:lnTo>
                  <a:lnTo>
                    <a:pt x="49135" y="8690"/>
                  </a:lnTo>
                  <a:lnTo>
                    <a:pt x="49109" y="9913"/>
                  </a:lnTo>
                  <a:lnTo>
                    <a:pt x="49029" y="11108"/>
                  </a:lnTo>
                  <a:lnTo>
                    <a:pt x="48870" y="12304"/>
                  </a:lnTo>
                  <a:lnTo>
                    <a:pt x="48657" y="13474"/>
                  </a:lnTo>
                  <a:lnTo>
                    <a:pt x="48391" y="14616"/>
                  </a:lnTo>
                  <a:lnTo>
                    <a:pt x="48072" y="15732"/>
                  </a:lnTo>
                  <a:lnTo>
                    <a:pt x="47700" y="16848"/>
                  </a:lnTo>
                  <a:lnTo>
                    <a:pt x="47275" y="17938"/>
                  </a:lnTo>
                  <a:lnTo>
                    <a:pt x="46797" y="18974"/>
                  </a:lnTo>
                  <a:lnTo>
                    <a:pt x="46265" y="20011"/>
                  </a:lnTo>
                  <a:lnTo>
                    <a:pt x="45681" y="20994"/>
                  </a:lnTo>
                  <a:lnTo>
                    <a:pt x="45069" y="21977"/>
                  </a:lnTo>
                  <a:lnTo>
                    <a:pt x="44405" y="22907"/>
                  </a:lnTo>
                  <a:lnTo>
                    <a:pt x="43688" y="23811"/>
                  </a:lnTo>
                  <a:lnTo>
                    <a:pt x="42944" y="24661"/>
                  </a:lnTo>
                  <a:lnTo>
                    <a:pt x="42173" y="25485"/>
                  </a:lnTo>
                  <a:lnTo>
                    <a:pt x="41349" y="26282"/>
                  </a:lnTo>
                  <a:lnTo>
                    <a:pt x="40472" y="27026"/>
                  </a:lnTo>
                  <a:lnTo>
                    <a:pt x="39569" y="27744"/>
                  </a:lnTo>
                  <a:lnTo>
                    <a:pt x="38639" y="28408"/>
                  </a:lnTo>
                  <a:lnTo>
                    <a:pt x="37682" y="29019"/>
                  </a:lnTo>
                  <a:lnTo>
                    <a:pt x="36672" y="29577"/>
                  </a:lnTo>
                  <a:lnTo>
                    <a:pt x="35662" y="30109"/>
                  </a:lnTo>
                  <a:lnTo>
                    <a:pt x="34599" y="30587"/>
                  </a:lnTo>
                  <a:lnTo>
                    <a:pt x="33510" y="31012"/>
                  </a:lnTo>
                  <a:lnTo>
                    <a:pt x="32420" y="31384"/>
                  </a:lnTo>
                  <a:lnTo>
                    <a:pt x="31278" y="31703"/>
                  </a:lnTo>
                  <a:lnTo>
                    <a:pt x="30135" y="31969"/>
                  </a:lnTo>
                  <a:lnTo>
                    <a:pt x="28966" y="32181"/>
                  </a:lnTo>
                  <a:lnTo>
                    <a:pt x="27770" y="32341"/>
                  </a:lnTo>
                  <a:lnTo>
                    <a:pt x="26574" y="32447"/>
                  </a:lnTo>
                  <a:lnTo>
                    <a:pt x="25352" y="32474"/>
                  </a:lnTo>
                  <a:lnTo>
                    <a:pt x="24129" y="32447"/>
                  </a:lnTo>
                  <a:lnTo>
                    <a:pt x="22933" y="32341"/>
                  </a:lnTo>
                  <a:lnTo>
                    <a:pt x="21738" y="32181"/>
                  </a:lnTo>
                  <a:lnTo>
                    <a:pt x="20568" y="31969"/>
                  </a:lnTo>
                  <a:lnTo>
                    <a:pt x="19426" y="31703"/>
                  </a:lnTo>
                  <a:lnTo>
                    <a:pt x="18283" y="31384"/>
                  </a:lnTo>
                  <a:lnTo>
                    <a:pt x="17193" y="31012"/>
                  </a:lnTo>
                  <a:lnTo>
                    <a:pt x="16104" y="30587"/>
                  </a:lnTo>
                  <a:lnTo>
                    <a:pt x="15041" y="30109"/>
                  </a:lnTo>
                  <a:lnTo>
                    <a:pt x="14031" y="29577"/>
                  </a:lnTo>
                  <a:lnTo>
                    <a:pt x="13021" y="29019"/>
                  </a:lnTo>
                  <a:lnTo>
                    <a:pt x="12065" y="28408"/>
                  </a:lnTo>
                  <a:lnTo>
                    <a:pt x="11135" y="27744"/>
                  </a:lnTo>
                  <a:lnTo>
                    <a:pt x="10231" y="27026"/>
                  </a:lnTo>
                  <a:lnTo>
                    <a:pt x="9354" y="26282"/>
                  </a:lnTo>
                  <a:lnTo>
                    <a:pt x="8530" y="25485"/>
                  </a:lnTo>
                  <a:lnTo>
                    <a:pt x="7760" y="24661"/>
                  </a:lnTo>
                  <a:lnTo>
                    <a:pt x="7016" y="23811"/>
                  </a:lnTo>
                  <a:lnTo>
                    <a:pt x="6298" y="22907"/>
                  </a:lnTo>
                  <a:lnTo>
                    <a:pt x="5634" y="21977"/>
                  </a:lnTo>
                  <a:lnTo>
                    <a:pt x="5022" y="20994"/>
                  </a:lnTo>
                  <a:lnTo>
                    <a:pt x="4438" y="20011"/>
                  </a:lnTo>
                  <a:lnTo>
                    <a:pt x="3906" y="18974"/>
                  </a:lnTo>
                  <a:lnTo>
                    <a:pt x="3428" y="17938"/>
                  </a:lnTo>
                  <a:lnTo>
                    <a:pt x="3003" y="16848"/>
                  </a:lnTo>
                  <a:lnTo>
                    <a:pt x="2631" y="15732"/>
                  </a:lnTo>
                  <a:lnTo>
                    <a:pt x="2312" y="14616"/>
                  </a:lnTo>
                  <a:lnTo>
                    <a:pt x="2046" y="13474"/>
                  </a:lnTo>
                  <a:lnTo>
                    <a:pt x="1834" y="12304"/>
                  </a:lnTo>
                  <a:lnTo>
                    <a:pt x="1674" y="11108"/>
                  </a:lnTo>
                  <a:lnTo>
                    <a:pt x="1594" y="9913"/>
                  </a:lnTo>
                  <a:lnTo>
                    <a:pt x="1568" y="8690"/>
                  </a:lnTo>
                  <a:lnTo>
                    <a:pt x="1568" y="1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>
                <a:solidFill>
                  <a:srgbClr val="00B0F0"/>
                </a:solidFill>
              </a:endParaRPr>
            </a:p>
          </p:txBody>
        </p:sp>
        <p:sp>
          <p:nvSpPr>
            <p:cNvPr id="12" name="Google Shape;2397;p39">
              <a:extLst>
                <a:ext uri="{FF2B5EF4-FFF2-40B4-BE49-F238E27FC236}">
                  <a16:creationId xmlns:a16="http://schemas.microsoft.com/office/drawing/2014/main" id="{0DB4F0EF-9F71-E882-A003-C17A7F24E9BF}"/>
                </a:ext>
              </a:extLst>
            </p:cNvPr>
            <p:cNvSpPr/>
            <p:nvPr/>
          </p:nvSpPr>
          <p:spPr>
            <a:xfrm>
              <a:off x="4638294" y="7045645"/>
              <a:ext cx="3065945" cy="2152126"/>
            </a:xfrm>
            <a:custGeom>
              <a:avLst/>
              <a:gdLst/>
              <a:ahLst/>
              <a:cxnLst/>
              <a:rect l="l" t="t" r="r" b="b"/>
              <a:pathLst>
                <a:path w="50890" h="33989" extrusionOk="0">
                  <a:moveTo>
                    <a:pt x="1" y="1"/>
                  </a:moveTo>
                  <a:lnTo>
                    <a:pt x="1" y="8531"/>
                  </a:lnTo>
                  <a:lnTo>
                    <a:pt x="1" y="9169"/>
                  </a:lnTo>
                  <a:lnTo>
                    <a:pt x="27" y="9833"/>
                  </a:lnTo>
                  <a:lnTo>
                    <a:pt x="54" y="10471"/>
                  </a:lnTo>
                  <a:lnTo>
                    <a:pt x="134" y="11135"/>
                  </a:lnTo>
                  <a:lnTo>
                    <a:pt x="187" y="11773"/>
                  </a:lnTo>
                  <a:lnTo>
                    <a:pt x="293" y="12384"/>
                  </a:lnTo>
                  <a:lnTo>
                    <a:pt x="399" y="13022"/>
                  </a:lnTo>
                  <a:lnTo>
                    <a:pt x="506" y="13660"/>
                  </a:lnTo>
                  <a:lnTo>
                    <a:pt x="798" y="14882"/>
                  </a:lnTo>
                  <a:lnTo>
                    <a:pt x="1143" y="16078"/>
                  </a:lnTo>
                  <a:lnTo>
                    <a:pt x="1542" y="17274"/>
                  </a:lnTo>
                  <a:lnTo>
                    <a:pt x="1994" y="18416"/>
                  </a:lnTo>
                  <a:lnTo>
                    <a:pt x="2499" y="19559"/>
                  </a:lnTo>
                  <a:lnTo>
                    <a:pt x="3057" y="20648"/>
                  </a:lnTo>
                  <a:lnTo>
                    <a:pt x="3694" y="21711"/>
                  </a:lnTo>
                  <a:lnTo>
                    <a:pt x="4332" y="22748"/>
                  </a:lnTo>
                  <a:lnTo>
                    <a:pt x="5050" y="23731"/>
                  </a:lnTo>
                  <a:lnTo>
                    <a:pt x="5820" y="24714"/>
                  </a:lnTo>
                  <a:lnTo>
                    <a:pt x="6618" y="25618"/>
                  </a:lnTo>
                  <a:lnTo>
                    <a:pt x="7468" y="26521"/>
                  </a:lnTo>
                  <a:lnTo>
                    <a:pt x="8345" y="27345"/>
                  </a:lnTo>
                  <a:lnTo>
                    <a:pt x="9275" y="28169"/>
                  </a:lnTo>
                  <a:lnTo>
                    <a:pt x="10232" y="28913"/>
                  </a:lnTo>
                  <a:lnTo>
                    <a:pt x="11215" y="29630"/>
                  </a:lnTo>
                  <a:lnTo>
                    <a:pt x="12251" y="30295"/>
                  </a:lnTo>
                  <a:lnTo>
                    <a:pt x="13314" y="30906"/>
                  </a:lnTo>
                  <a:lnTo>
                    <a:pt x="14430" y="31464"/>
                  </a:lnTo>
                  <a:lnTo>
                    <a:pt x="15546" y="31969"/>
                  </a:lnTo>
                  <a:lnTo>
                    <a:pt x="16716" y="32421"/>
                  </a:lnTo>
                  <a:lnTo>
                    <a:pt x="17885" y="32819"/>
                  </a:lnTo>
                  <a:lnTo>
                    <a:pt x="19081" y="33165"/>
                  </a:lnTo>
                  <a:lnTo>
                    <a:pt x="20330" y="33457"/>
                  </a:lnTo>
                  <a:lnTo>
                    <a:pt x="20941" y="33590"/>
                  </a:lnTo>
                  <a:lnTo>
                    <a:pt x="21579" y="33696"/>
                  </a:lnTo>
                  <a:lnTo>
                    <a:pt x="22217" y="33776"/>
                  </a:lnTo>
                  <a:lnTo>
                    <a:pt x="22854" y="33856"/>
                  </a:lnTo>
                  <a:lnTo>
                    <a:pt x="23492" y="33909"/>
                  </a:lnTo>
                  <a:lnTo>
                    <a:pt x="24130" y="33935"/>
                  </a:lnTo>
                  <a:lnTo>
                    <a:pt x="24794" y="33962"/>
                  </a:lnTo>
                  <a:lnTo>
                    <a:pt x="25459" y="33988"/>
                  </a:lnTo>
                  <a:lnTo>
                    <a:pt x="26096" y="33962"/>
                  </a:lnTo>
                  <a:lnTo>
                    <a:pt x="26761" y="33935"/>
                  </a:lnTo>
                  <a:lnTo>
                    <a:pt x="27398" y="33909"/>
                  </a:lnTo>
                  <a:lnTo>
                    <a:pt x="28036" y="33856"/>
                  </a:lnTo>
                  <a:lnTo>
                    <a:pt x="28674" y="33776"/>
                  </a:lnTo>
                  <a:lnTo>
                    <a:pt x="29312" y="33696"/>
                  </a:lnTo>
                  <a:lnTo>
                    <a:pt x="29950" y="33590"/>
                  </a:lnTo>
                  <a:lnTo>
                    <a:pt x="30561" y="33457"/>
                  </a:lnTo>
                  <a:lnTo>
                    <a:pt x="31810" y="33165"/>
                  </a:lnTo>
                  <a:lnTo>
                    <a:pt x="33006" y="32819"/>
                  </a:lnTo>
                  <a:lnTo>
                    <a:pt x="34201" y="32421"/>
                  </a:lnTo>
                  <a:lnTo>
                    <a:pt x="35344" y="31969"/>
                  </a:lnTo>
                  <a:lnTo>
                    <a:pt x="36460" y="31464"/>
                  </a:lnTo>
                  <a:lnTo>
                    <a:pt x="37576" y="30906"/>
                  </a:lnTo>
                  <a:lnTo>
                    <a:pt x="38639" y="30295"/>
                  </a:lnTo>
                  <a:lnTo>
                    <a:pt x="39676" y="29630"/>
                  </a:lnTo>
                  <a:lnTo>
                    <a:pt x="40659" y="28913"/>
                  </a:lnTo>
                  <a:lnTo>
                    <a:pt x="41616" y="28169"/>
                  </a:lnTo>
                  <a:lnTo>
                    <a:pt x="42546" y="27345"/>
                  </a:lnTo>
                  <a:lnTo>
                    <a:pt x="43449" y="26521"/>
                  </a:lnTo>
                  <a:lnTo>
                    <a:pt x="44273" y="25618"/>
                  </a:lnTo>
                  <a:lnTo>
                    <a:pt x="45070" y="24714"/>
                  </a:lnTo>
                  <a:lnTo>
                    <a:pt x="45841" y="23731"/>
                  </a:lnTo>
                  <a:lnTo>
                    <a:pt x="46558" y="22748"/>
                  </a:lnTo>
                  <a:lnTo>
                    <a:pt x="47223" y="21711"/>
                  </a:lnTo>
                  <a:lnTo>
                    <a:pt x="47834" y="20648"/>
                  </a:lnTo>
                  <a:lnTo>
                    <a:pt x="48392" y="19559"/>
                  </a:lnTo>
                  <a:lnTo>
                    <a:pt x="48897" y="18416"/>
                  </a:lnTo>
                  <a:lnTo>
                    <a:pt x="49349" y="17274"/>
                  </a:lnTo>
                  <a:lnTo>
                    <a:pt x="49747" y="16078"/>
                  </a:lnTo>
                  <a:lnTo>
                    <a:pt x="50093" y="14882"/>
                  </a:lnTo>
                  <a:lnTo>
                    <a:pt x="50385" y="13660"/>
                  </a:lnTo>
                  <a:lnTo>
                    <a:pt x="50491" y="13022"/>
                  </a:lnTo>
                  <a:lnTo>
                    <a:pt x="50598" y="12384"/>
                  </a:lnTo>
                  <a:lnTo>
                    <a:pt x="50704" y="11773"/>
                  </a:lnTo>
                  <a:lnTo>
                    <a:pt x="50757" y="11135"/>
                  </a:lnTo>
                  <a:lnTo>
                    <a:pt x="50837" y="10471"/>
                  </a:lnTo>
                  <a:lnTo>
                    <a:pt x="50863" y="9833"/>
                  </a:lnTo>
                  <a:lnTo>
                    <a:pt x="50890" y="9169"/>
                  </a:lnTo>
                  <a:lnTo>
                    <a:pt x="50890" y="8531"/>
                  </a:lnTo>
                  <a:lnTo>
                    <a:pt x="50890" y="1"/>
                  </a:lnTo>
                  <a:lnTo>
                    <a:pt x="49349" y="1"/>
                  </a:lnTo>
                  <a:lnTo>
                    <a:pt x="49349" y="8531"/>
                  </a:lnTo>
                  <a:lnTo>
                    <a:pt x="49322" y="9753"/>
                  </a:lnTo>
                  <a:lnTo>
                    <a:pt x="49216" y="10976"/>
                  </a:lnTo>
                  <a:lnTo>
                    <a:pt x="49083" y="12145"/>
                  </a:lnTo>
                  <a:lnTo>
                    <a:pt x="48870" y="13341"/>
                  </a:lnTo>
                  <a:lnTo>
                    <a:pt x="48604" y="14483"/>
                  </a:lnTo>
                  <a:lnTo>
                    <a:pt x="48259" y="15626"/>
                  </a:lnTo>
                  <a:lnTo>
                    <a:pt x="47887" y="16742"/>
                  </a:lnTo>
                  <a:lnTo>
                    <a:pt x="47462" y="17805"/>
                  </a:lnTo>
                  <a:lnTo>
                    <a:pt x="46983" y="18868"/>
                  </a:lnTo>
                  <a:lnTo>
                    <a:pt x="46452" y="19904"/>
                  </a:lnTo>
                  <a:lnTo>
                    <a:pt x="45867" y="20914"/>
                  </a:lnTo>
                  <a:lnTo>
                    <a:pt x="45256" y="21871"/>
                  </a:lnTo>
                  <a:lnTo>
                    <a:pt x="44592" y="22801"/>
                  </a:lnTo>
                  <a:lnTo>
                    <a:pt x="43874" y="23704"/>
                  </a:lnTo>
                  <a:lnTo>
                    <a:pt x="43130" y="24581"/>
                  </a:lnTo>
                  <a:lnTo>
                    <a:pt x="42333" y="25405"/>
                  </a:lnTo>
                  <a:lnTo>
                    <a:pt x="41509" y="26202"/>
                  </a:lnTo>
                  <a:lnTo>
                    <a:pt x="40632" y="26946"/>
                  </a:lnTo>
                  <a:lnTo>
                    <a:pt x="39729" y="27664"/>
                  </a:lnTo>
                  <a:lnTo>
                    <a:pt x="38799" y="28328"/>
                  </a:lnTo>
                  <a:lnTo>
                    <a:pt x="37842" y="28966"/>
                  </a:lnTo>
                  <a:lnTo>
                    <a:pt x="36832" y="29524"/>
                  </a:lnTo>
                  <a:lnTo>
                    <a:pt x="35796" y="30056"/>
                  </a:lnTo>
                  <a:lnTo>
                    <a:pt x="34733" y="30534"/>
                  </a:lnTo>
                  <a:lnTo>
                    <a:pt x="33643" y="30959"/>
                  </a:lnTo>
                  <a:lnTo>
                    <a:pt x="32554" y="31358"/>
                  </a:lnTo>
                  <a:lnTo>
                    <a:pt x="31411" y="31677"/>
                  </a:lnTo>
                  <a:lnTo>
                    <a:pt x="30268" y="31942"/>
                  </a:lnTo>
                  <a:lnTo>
                    <a:pt x="29073" y="32155"/>
                  </a:lnTo>
                  <a:lnTo>
                    <a:pt x="27877" y="32288"/>
                  </a:lnTo>
                  <a:lnTo>
                    <a:pt x="26681" y="32394"/>
                  </a:lnTo>
                  <a:lnTo>
                    <a:pt x="25459" y="32421"/>
                  </a:lnTo>
                  <a:lnTo>
                    <a:pt x="24210" y="32394"/>
                  </a:lnTo>
                  <a:lnTo>
                    <a:pt x="23014" y="32288"/>
                  </a:lnTo>
                  <a:lnTo>
                    <a:pt x="21818" y="32155"/>
                  </a:lnTo>
                  <a:lnTo>
                    <a:pt x="20649" y="31942"/>
                  </a:lnTo>
                  <a:lnTo>
                    <a:pt x="19479" y="31677"/>
                  </a:lnTo>
                  <a:lnTo>
                    <a:pt x="18337" y="31358"/>
                  </a:lnTo>
                  <a:lnTo>
                    <a:pt x="17247" y="30959"/>
                  </a:lnTo>
                  <a:lnTo>
                    <a:pt x="16158" y="30534"/>
                  </a:lnTo>
                  <a:lnTo>
                    <a:pt x="15095" y="30056"/>
                  </a:lnTo>
                  <a:lnTo>
                    <a:pt x="14058" y="29524"/>
                  </a:lnTo>
                  <a:lnTo>
                    <a:pt x="13075" y="28966"/>
                  </a:lnTo>
                  <a:lnTo>
                    <a:pt x="12092" y="28328"/>
                  </a:lnTo>
                  <a:lnTo>
                    <a:pt x="11162" y="27664"/>
                  </a:lnTo>
                  <a:lnTo>
                    <a:pt x="10258" y="26946"/>
                  </a:lnTo>
                  <a:lnTo>
                    <a:pt x="9381" y="26202"/>
                  </a:lnTo>
                  <a:lnTo>
                    <a:pt x="8558" y="25405"/>
                  </a:lnTo>
                  <a:lnTo>
                    <a:pt x="7760" y="24581"/>
                  </a:lnTo>
                  <a:lnTo>
                    <a:pt x="7016" y="23704"/>
                  </a:lnTo>
                  <a:lnTo>
                    <a:pt x="6299" y="22801"/>
                  </a:lnTo>
                  <a:lnTo>
                    <a:pt x="5634" y="21871"/>
                  </a:lnTo>
                  <a:lnTo>
                    <a:pt x="5023" y="20914"/>
                  </a:lnTo>
                  <a:lnTo>
                    <a:pt x="4439" y="19904"/>
                  </a:lnTo>
                  <a:lnTo>
                    <a:pt x="3907" y="18868"/>
                  </a:lnTo>
                  <a:lnTo>
                    <a:pt x="3429" y="17805"/>
                  </a:lnTo>
                  <a:lnTo>
                    <a:pt x="3004" y="16742"/>
                  </a:lnTo>
                  <a:lnTo>
                    <a:pt x="2632" y="15626"/>
                  </a:lnTo>
                  <a:lnTo>
                    <a:pt x="2313" y="14483"/>
                  </a:lnTo>
                  <a:lnTo>
                    <a:pt x="2020" y="13341"/>
                  </a:lnTo>
                  <a:lnTo>
                    <a:pt x="1834" y="12145"/>
                  </a:lnTo>
                  <a:lnTo>
                    <a:pt x="1675" y="10976"/>
                  </a:lnTo>
                  <a:lnTo>
                    <a:pt x="1569" y="9753"/>
                  </a:lnTo>
                  <a:lnTo>
                    <a:pt x="1542" y="8531"/>
                  </a:lnTo>
                  <a:lnTo>
                    <a:pt x="1542" y="1"/>
                  </a:lnTo>
                  <a:close/>
                </a:path>
              </a:pathLst>
            </a:custGeom>
            <a:solidFill>
              <a:srgbClr val="2262A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13" name="Google Shape;2398;p39">
              <a:extLst>
                <a:ext uri="{FF2B5EF4-FFF2-40B4-BE49-F238E27FC236}">
                  <a16:creationId xmlns:a16="http://schemas.microsoft.com/office/drawing/2014/main" id="{597CB1F3-E971-A9D5-E7E2-99ACA63FC0B6}"/>
                </a:ext>
              </a:extLst>
            </p:cNvPr>
            <p:cNvSpPr/>
            <p:nvPr/>
          </p:nvSpPr>
          <p:spPr>
            <a:xfrm>
              <a:off x="4623896" y="6212757"/>
              <a:ext cx="129770" cy="136387"/>
            </a:xfrm>
            <a:custGeom>
              <a:avLst/>
              <a:gdLst/>
              <a:ahLst/>
              <a:cxnLst/>
              <a:rect l="l" t="t" r="r" b="b"/>
              <a:pathLst>
                <a:path w="2154" h="2154" extrusionOk="0">
                  <a:moveTo>
                    <a:pt x="851" y="1"/>
                  </a:moveTo>
                  <a:lnTo>
                    <a:pt x="665" y="80"/>
                  </a:lnTo>
                  <a:lnTo>
                    <a:pt x="479" y="187"/>
                  </a:lnTo>
                  <a:lnTo>
                    <a:pt x="319" y="320"/>
                  </a:lnTo>
                  <a:lnTo>
                    <a:pt x="187" y="479"/>
                  </a:lnTo>
                  <a:lnTo>
                    <a:pt x="80" y="638"/>
                  </a:lnTo>
                  <a:lnTo>
                    <a:pt x="1" y="851"/>
                  </a:lnTo>
                  <a:lnTo>
                    <a:pt x="1" y="1064"/>
                  </a:lnTo>
                  <a:lnTo>
                    <a:pt x="1" y="1303"/>
                  </a:lnTo>
                  <a:lnTo>
                    <a:pt x="80" y="1489"/>
                  </a:lnTo>
                  <a:lnTo>
                    <a:pt x="187" y="1675"/>
                  </a:lnTo>
                  <a:lnTo>
                    <a:pt x="319" y="1834"/>
                  </a:lnTo>
                  <a:lnTo>
                    <a:pt x="479" y="1967"/>
                  </a:lnTo>
                  <a:lnTo>
                    <a:pt x="665" y="2073"/>
                  </a:lnTo>
                  <a:lnTo>
                    <a:pt x="851" y="2127"/>
                  </a:lnTo>
                  <a:lnTo>
                    <a:pt x="1090" y="2153"/>
                  </a:lnTo>
                  <a:lnTo>
                    <a:pt x="1303" y="2127"/>
                  </a:lnTo>
                  <a:lnTo>
                    <a:pt x="1489" y="2073"/>
                  </a:lnTo>
                  <a:lnTo>
                    <a:pt x="1675" y="1967"/>
                  </a:lnTo>
                  <a:lnTo>
                    <a:pt x="1834" y="1834"/>
                  </a:lnTo>
                  <a:lnTo>
                    <a:pt x="1967" y="1675"/>
                  </a:lnTo>
                  <a:lnTo>
                    <a:pt x="2073" y="1489"/>
                  </a:lnTo>
                  <a:lnTo>
                    <a:pt x="2153" y="1303"/>
                  </a:lnTo>
                  <a:lnTo>
                    <a:pt x="2153" y="1064"/>
                  </a:lnTo>
                  <a:lnTo>
                    <a:pt x="2153" y="851"/>
                  </a:lnTo>
                  <a:lnTo>
                    <a:pt x="2073" y="638"/>
                  </a:lnTo>
                  <a:lnTo>
                    <a:pt x="1967" y="479"/>
                  </a:lnTo>
                  <a:lnTo>
                    <a:pt x="1834" y="320"/>
                  </a:lnTo>
                  <a:lnTo>
                    <a:pt x="1675" y="187"/>
                  </a:lnTo>
                  <a:lnTo>
                    <a:pt x="1489" y="80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14" name="Google Shape;2399;p39">
              <a:extLst>
                <a:ext uri="{FF2B5EF4-FFF2-40B4-BE49-F238E27FC236}">
                  <a16:creationId xmlns:a16="http://schemas.microsoft.com/office/drawing/2014/main" id="{B1E53FAC-BD11-F1E3-8FF1-8954F0694294}"/>
                </a:ext>
              </a:extLst>
            </p:cNvPr>
            <p:cNvSpPr/>
            <p:nvPr/>
          </p:nvSpPr>
          <p:spPr>
            <a:xfrm>
              <a:off x="7587300" y="6212757"/>
              <a:ext cx="129770" cy="136387"/>
            </a:xfrm>
            <a:custGeom>
              <a:avLst/>
              <a:gdLst/>
              <a:ahLst/>
              <a:cxnLst/>
              <a:rect l="l" t="t" r="r" b="b"/>
              <a:pathLst>
                <a:path w="2154" h="2154" extrusionOk="0">
                  <a:moveTo>
                    <a:pt x="851" y="1"/>
                  </a:moveTo>
                  <a:lnTo>
                    <a:pt x="665" y="80"/>
                  </a:lnTo>
                  <a:lnTo>
                    <a:pt x="479" y="187"/>
                  </a:lnTo>
                  <a:lnTo>
                    <a:pt x="320" y="320"/>
                  </a:lnTo>
                  <a:lnTo>
                    <a:pt x="187" y="479"/>
                  </a:lnTo>
                  <a:lnTo>
                    <a:pt x="81" y="638"/>
                  </a:lnTo>
                  <a:lnTo>
                    <a:pt x="28" y="851"/>
                  </a:lnTo>
                  <a:lnTo>
                    <a:pt x="1" y="1064"/>
                  </a:lnTo>
                  <a:lnTo>
                    <a:pt x="28" y="1303"/>
                  </a:lnTo>
                  <a:lnTo>
                    <a:pt x="81" y="1489"/>
                  </a:lnTo>
                  <a:lnTo>
                    <a:pt x="187" y="1675"/>
                  </a:lnTo>
                  <a:lnTo>
                    <a:pt x="320" y="1834"/>
                  </a:lnTo>
                  <a:lnTo>
                    <a:pt x="479" y="1967"/>
                  </a:lnTo>
                  <a:lnTo>
                    <a:pt x="665" y="2073"/>
                  </a:lnTo>
                  <a:lnTo>
                    <a:pt x="851" y="2127"/>
                  </a:lnTo>
                  <a:lnTo>
                    <a:pt x="1090" y="2153"/>
                  </a:lnTo>
                  <a:lnTo>
                    <a:pt x="1303" y="2127"/>
                  </a:lnTo>
                  <a:lnTo>
                    <a:pt x="1516" y="2073"/>
                  </a:lnTo>
                  <a:lnTo>
                    <a:pt x="1675" y="1967"/>
                  </a:lnTo>
                  <a:lnTo>
                    <a:pt x="1861" y="1834"/>
                  </a:lnTo>
                  <a:lnTo>
                    <a:pt x="1994" y="1675"/>
                  </a:lnTo>
                  <a:lnTo>
                    <a:pt x="2074" y="1489"/>
                  </a:lnTo>
                  <a:lnTo>
                    <a:pt x="2153" y="1303"/>
                  </a:lnTo>
                  <a:lnTo>
                    <a:pt x="2153" y="1064"/>
                  </a:lnTo>
                  <a:lnTo>
                    <a:pt x="2153" y="851"/>
                  </a:lnTo>
                  <a:lnTo>
                    <a:pt x="2074" y="638"/>
                  </a:lnTo>
                  <a:lnTo>
                    <a:pt x="1994" y="479"/>
                  </a:lnTo>
                  <a:lnTo>
                    <a:pt x="1861" y="320"/>
                  </a:lnTo>
                  <a:lnTo>
                    <a:pt x="1675" y="187"/>
                  </a:lnTo>
                  <a:lnTo>
                    <a:pt x="1516" y="80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15" name="Google Shape;2400;p39">
              <a:extLst>
                <a:ext uri="{FF2B5EF4-FFF2-40B4-BE49-F238E27FC236}">
                  <a16:creationId xmlns:a16="http://schemas.microsoft.com/office/drawing/2014/main" id="{351D82BD-D148-DFFC-23F6-EAE6C09ABAC9}"/>
                </a:ext>
              </a:extLst>
            </p:cNvPr>
            <p:cNvSpPr/>
            <p:nvPr/>
          </p:nvSpPr>
          <p:spPr>
            <a:xfrm>
              <a:off x="13499772" y="6212757"/>
              <a:ext cx="131337" cy="136387"/>
            </a:xfrm>
            <a:custGeom>
              <a:avLst/>
              <a:gdLst/>
              <a:ahLst/>
              <a:cxnLst/>
              <a:rect l="l" t="t" r="r" b="b"/>
              <a:pathLst>
                <a:path w="2180" h="2154" extrusionOk="0">
                  <a:moveTo>
                    <a:pt x="878" y="1"/>
                  </a:moveTo>
                  <a:lnTo>
                    <a:pt x="665" y="80"/>
                  </a:lnTo>
                  <a:lnTo>
                    <a:pt x="479" y="187"/>
                  </a:lnTo>
                  <a:lnTo>
                    <a:pt x="320" y="320"/>
                  </a:lnTo>
                  <a:lnTo>
                    <a:pt x="187" y="479"/>
                  </a:lnTo>
                  <a:lnTo>
                    <a:pt x="80" y="638"/>
                  </a:lnTo>
                  <a:lnTo>
                    <a:pt x="27" y="851"/>
                  </a:lnTo>
                  <a:lnTo>
                    <a:pt x="1" y="1064"/>
                  </a:lnTo>
                  <a:lnTo>
                    <a:pt x="27" y="1303"/>
                  </a:lnTo>
                  <a:lnTo>
                    <a:pt x="80" y="1489"/>
                  </a:lnTo>
                  <a:lnTo>
                    <a:pt x="187" y="1675"/>
                  </a:lnTo>
                  <a:lnTo>
                    <a:pt x="320" y="1834"/>
                  </a:lnTo>
                  <a:lnTo>
                    <a:pt x="479" y="1967"/>
                  </a:lnTo>
                  <a:lnTo>
                    <a:pt x="665" y="2073"/>
                  </a:lnTo>
                  <a:lnTo>
                    <a:pt x="878" y="2127"/>
                  </a:lnTo>
                  <a:lnTo>
                    <a:pt x="1090" y="2153"/>
                  </a:lnTo>
                  <a:lnTo>
                    <a:pt x="1303" y="2127"/>
                  </a:lnTo>
                  <a:lnTo>
                    <a:pt x="1515" y="2073"/>
                  </a:lnTo>
                  <a:lnTo>
                    <a:pt x="1701" y="1967"/>
                  </a:lnTo>
                  <a:lnTo>
                    <a:pt x="1861" y="1834"/>
                  </a:lnTo>
                  <a:lnTo>
                    <a:pt x="1994" y="1675"/>
                  </a:lnTo>
                  <a:lnTo>
                    <a:pt x="2100" y="1489"/>
                  </a:lnTo>
                  <a:lnTo>
                    <a:pt x="2153" y="1303"/>
                  </a:lnTo>
                  <a:lnTo>
                    <a:pt x="2180" y="1064"/>
                  </a:lnTo>
                  <a:lnTo>
                    <a:pt x="2153" y="851"/>
                  </a:lnTo>
                  <a:lnTo>
                    <a:pt x="2100" y="638"/>
                  </a:lnTo>
                  <a:lnTo>
                    <a:pt x="1994" y="479"/>
                  </a:lnTo>
                  <a:lnTo>
                    <a:pt x="1861" y="320"/>
                  </a:lnTo>
                  <a:lnTo>
                    <a:pt x="1701" y="187"/>
                  </a:lnTo>
                  <a:lnTo>
                    <a:pt x="1515" y="80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16" name="Google Shape;2401;p39">
              <a:extLst>
                <a:ext uri="{FF2B5EF4-FFF2-40B4-BE49-F238E27FC236}">
                  <a16:creationId xmlns:a16="http://schemas.microsoft.com/office/drawing/2014/main" id="{B3F758D9-999C-74B2-6F57-274FCA746B5F}"/>
                </a:ext>
              </a:extLst>
            </p:cNvPr>
            <p:cNvSpPr/>
            <p:nvPr/>
          </p:nvSpPr>
          <p:spPr>
            <a:xfrm>
              <a:off x="10553959" y="6212757"/>
              <a:ext cx="129770" cy="136387"/>
            </a:xfrm>
            <a:custGeom>
              <a:avLst/>
              <a:gdLst/>
              <a:ahLst/>
              <a:cxnLst/>
              <a:rect l="l" t="t" r="r" b="b"/>
              <a:pathLst>
                <a:path w="2154" h="2154" extrusionOk="0">
                  <a:moveTo>
                    <a:pt x="851" y="1"/>
                  </a:moveTo>
                  <a:lnTo>
                    <a:pt x="665" y="80"/>
                  </a:lnTo>
                  <a:lnTo>
                    <a:pt x="479" y="187"/>
                  </a:lnTo>
                  <a:lnTo>
                    <a:pt x="319" y="320"/>
                  </a:lnTo>
                  <a:lnTo>
                    <a:pt x="187" y="479"/>
                  </a:lnTo>
                  <a:lnTo>
                    <a:pt x="80" y="638"/>
                  </a:lnTo>
                  <a:lnTo>
                    <a:pt x="27" y="851"/>
                  </a:lnTo>
                  <a:lnTo>
                    <a:pt x="1" y="1064"/>
                  </a:lnTo>
                  <a:lnTo>
                    <a:pt x="27" y="1303"/>
                  </a:lnTo>
                  <a:lnTo>
                    <a:pt x="80" y="1489"/>
                  </a:lnTo>
                  <a:lnTo>
                    <a:pt x="187" y="1675"/>
                  </a:lnTo>
                  <a:lnTo>
                    <a:pt x="319" y="1834"/>
                  </a:lnTo>
                  <a:lnTo>
                    <a:pt x="479" y="1967"/>
                  </a:lnTo>
                  <a:lnTo>
                    <a:pt x="665" y="2073"/>
                  </a:lnTo>
                  <a:lnTo>
                    <a:pt x="851" y="2127"/>
                  </a:lnTo>
                  <a:lnTo>
                    <a:pt x="1090" y="2153"/>
                  </a:lnTo>
                  <a:lnTo>
                    <a:pt x="1303" y="2127"/>
                  </a:lnTo>
                  <a:lnTo>
                    <a:pt x="1489" y="2073"/>
                  </a:lnTo>
                  <a:lnTo>
                    <a:pt x="1675" y="1967"/>
                  </a:lnTo>
                  <a:lnTo>
                    <a:pt x="1834" y="1834"/>
                  </a:lnTo>
                  <a:lnTo>
                    <a:pt x="1967" y="1675"/>
                  </a:lnTo>
                  <a:lnTo>
                    <a:pt x="2073" y="1489"/>
                  </a:lnTo>
                  <a:lnTo>
                    <a:pt x="2153" y="1303"/>
                  </a:lnTo>
                  <a:lnTo>
                    <a:pt x="2153" y="1064"/>
                  </a:lnTo>
                  <a:lnTo>
                    <a:pt x="2153" y="851"/>
                  </a:lnTo>
                  <a:lnTo>
                    <a:pt x="2073" y="638"/>
                  </a:lnTo>
                  <a:lnTo>
                    <a:pt x="1967" y="479"/>
                  </a:lnTo>
                  <a:lnTo>
                    <a:pt x="1834" y="320"/>
                  </a:lnTo>
                  <a:lnTo>
                    <a:pt x="1675" y="187"/>
                  </a:lnTo>
                  <a:lnTo>
                    <a:pt x="1489" y="80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17" name="Google Shape;2402;p39">
              <a:extLst>
                <a:ext uri="{FF2B5EF4-FFF2-40B4-BE49-F238E27FC236}">
                  <a16:creationId xmlns:a16="http://schemas.microsoft.com/office/drawing/2014/main" id="{F2EDF9CD-69D0-6C7D-227C-6FBF5411AD4E}"/>
                </a:ext>
              </a:extLst>
            </p:cNvPr>
            <p:cNvSpPr/>
            <p:nvPr/>
          </p:nvSpPr>
          <p:spPr>
            <a:xfrm>
              <a:off x="17623263" y="6168623"/>
              <a:ext cx="131337" cy="136387"/>
            </a:xfrm>
            <a:custGeom>
              <a:avLst/>
              <a:gdLst/>
              <a:ahLst/>
              <a:cxnLst/>
              <a:rect l="l" t="t" r="r" b="b"/>
              <a:pathLst>
                <a:path w="2180" h="2154" extrusionOk="0">
                  <a:moveTo>
                    <a:pt x="878" y="1"/>
                  </a:moveTo>
                  <a:lnTo>
                    <a:pt x="665" y="80"/>
                  </a:lnTo>
                  <a:lnTo>
                    <a:pt x="479" y="187"/>
                  </a:lnTo>
                  <a:lnTo>
                    <a:pt x="320" y="320"/>
                  </a:lnTo>
                  <a:lnTo>
                    <a:pt x="187" y="479"/>
                  </a:lnTo>
                  <a:lnTo>
                    <a:pt x="80" y="638"/>
                  </a:lnTo>
                  <a:lnTo>
                    <a:pt x="27" y="851"/>
                  </a:lnTo>
                  <a:lnTo>
                    <a:pt x="1" y="1064"/>
                  </a:lnTo>
                  <a:lnTo>
                    <a:pt x="27" y="1303"/>
                  </a:lnTo>
                  <a:lnTo>
                    <a:pt x="80" y="1489"/>
                  </a:lnTo>
                  <a:lnTo>
                    <a:pt x="187" y="1675"/>
                  </a:lnTo>
                  <a:lnTo>
                    <a:pt x="320" y="1834"/>
                  </a:lnTo>
                  <a:lnTo>
                    <a:pt x="479" y="1967"/>
                  </a:lnTo>
                  <a:lnTo>
                    <a:pt x="665" y="2073"/>
                  </a:lnTo>
                  <a:lnTo>
                    <a:pt x="878" y="2127"/>
                  </a:lnTo>
                  <a:lnTo>
                    <a:pt x="1090" y="2153"/>
                  </a:lnTo>
                  <a:lnTo>
                    <a:pt x="1303" y="2127"/>
                  </a:lnTo>
                  <a:lnTo>
                    <a:pt x="1515" y="2073"/>
                  </a:lnTo>
                  <a:lnTo>
                    <a:pt x="1701" y="1967"/>
                  </a:lnTo>
                  <a:lnTo>
                    <a:pt x="1861" y="1834"/>
                  </a:lnTo>
                  <a:lnTo>
                    <a:pt x="1994" y="1675"/>
                  </a:lnTo>
                  <a:lnTo>
                    <a:pt x="2100" y="1489"/>
                  </a:lnTo>
                  <a:lnTo>
                    <a:pt x="2153" y="1303"/>
                  </a:lnTo>
                  <a:lnTo>
                    <a:pt x="2180" y="1064"/>
                  </a:lnTo>
                  <a:lnTo>
                    <a:pt x="2153" y="851"/>
                  </a:lnTo>
                  <a:lnTo>
                    <a:pt x="2100" y="638"/>
                  </a:lnTo>
                  <a:lnTo>
                    <a:pt x="1994" y="479"/>
                  </a:lnTo>
                  <a:lnTo>
                    <a:pt x="1861" y="320"/>
                  </a:lnTo>
                  <a:lnTo>
                    <a:pt x="1701" y="187"/>
                  </a:lnTo>
                  <a:lnTo>
                    <a:pt x="1515" y="80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rgbClr val="7276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18" name="Google Shape;2403;p39">
              <a:extLst>
                <a:ext uri="{FF2B5EF4-FFF2-40B4-BE49-F238E27FC236}">
                  <a16:creationId xmlns:a16="http://schemas.microsoft.com/office/drawing/2014/main" id="{A9E9D65F-49AF-E924-2EB7-7C31F7E02B69}"/>
                </a:ext>
              </a:extLst>
            </p:cNvPr>
            <p:cNvSpPr/>
            <p:nvPr/>
          </p:nvSpPr>
          <p:spPr>
            <a:xfrm>
              <a:off x="537281" y="6175232"/>
              <a:ext cx="129770" cy="136387"/>
            </a:xfrm>
            <a:custGeom>
              <a:avLst/>
              <a:gdLst/>
              <a:ahLst/>
              <a:cxnLst/>
              <a:rect l="l" t="t" r="r" b="b"/>
              <a:pathLst>
                <a:path w="2154" h="2154" extrusionOk="0">
                  <a:moveTo>
                    <a:pt x="851" y="1"/>
                  </a:moveTo>
                  <a:lnTo>
                    <a:pt x="665" y="80"/>
                  </a:lnTo>
                  <a:lnTo>
                    <a:pt x="479" y="187"/>
                  </a:lnTo>
                  <a:lnTo>
                    <a:pt x="319" y="320"/>
                  </a:lnTo>
                  <a:lnTo>
                    <a:pt x="187" y="479"/>
                  </a:lnTo>
                  <a:lnTo>
                    <a:pt x="80" y="638"/>
                  </a:lnTo>
                  <a:lnTo>
                    <a:pt x="1" y="851"/>
                  </a:lnTo>
                  <a:lnTo>
                    <a:pt x="1" y="1064"/>
                  </a:lnTo>
                  <a:lnTo>
                    <a:pt x="1" y="1303"/>
                  </a:lnTo>
                  <a:lnTo>
                    <a:pt x="80" y="1489"/>
                  </a:lnTo>
                  <a:lnTo>
                    <a:pt x="187" y="1675"/>
                  </a:lnTo>
                  <a:lnTo>
                    <a:pt x="319" y="1834"/>
                  </a:lnTo>
                  <a:lnTo>
                    <a:pt x="479" y="1967"/>
                  </a:lnTo>
                  <a:lnTo>
                    <a:pt x="665" y="2073"/>
                  </a:lnTo>
                  <a:lnTo>
                    <a:pt x="851" y="2127"/>
                  </a:lnTo>
                  <a:lnTo>
                    <a:pt x="1090" y="2153"/>
                  </a:lnTo>
                  <a:lnTo>
                    <a:pt x="1303" y="2127"/>
                  </a:lnTo>
                  <a:lnTo>
                    <a:pt x="1489" y="2073"/>
                  </a:lnTo>
                  <a:lnTo>
                    <a:pt x="1675" y="1967"/>
                  </a:lnTo>
                  <a:lnTo>
                    <a:pt x="1834" y="1834"/>
                  </a:lnTo>
                  <a:lnTo>
                    <a:pt x="1967" y="1675"/>
                  </a:lnTo>
                  <a:lnTo>
                    <a:pt x="2073" y="1489"/>
                  </a:lnTo>
                  <a:lnTo>
                    <a:pt x="2153" y="1303"/>
                  </a:lnTo>
                  <a:lnTo>
                    <a:pt x="2153" y="1064"/>
                  </a:lnTo>
                  <a:lnTo>
                    <a:pt x="2153" y="851"/>
                  </a:lnTo>
                  <a:lnTo>
                    <a:pt x="2073" y="638"/>
                  </a:lnTo>
                  <a:lnTo>
                    <a:pt x="1967" y="479"/>
                  </a:lnTo>
                  <a:lnTo>
                    <a:pt x="1834" y="320"/>
                  </a:lnTo>
                  <a:lnTo>
                    <a:pt x="1675" y="187"/>
                  </a:lnTo>
                  <a:lnTo>
                    <a:pt x="1489" y="80"/>
                  </a:lnTo>
                  <a:lnTo>
                    <a:pt x="1303" y="1"/>
                  </a:lnTo>
                  <a:close/>
                </a:path>
              </a:pathLst>
            </a:custGeom>
            <a:solidFill>
              <a:srgbClr val="7276D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20" name="Google Shape;2405;p39">
              <a:extLst>
                <a:ext uri="{FF2B5EF4-FFF2-40B4-BE49-F238E27FC236}">
                  <a16:creationId xmlns:a16="http://schemas.microsoft.com/office/drawing/2014/main" id="{12133E13-9154-B30E-A2BF-DA5D57D0D7AC}"/>
                </a:ext>
              </a:extLst>
            </p:cNvPr>
            <p:cNvSpPr/>
            <p:nvPr/>
          </p:nvSpPr>
          <p:spPr>
            <a:xfrm>
              <a:off x="11094226" y="6502185"/>
              <a:ext cx="2124593" cy="2232857"/>
            </a:xfrm>
            <a:custGeom>
              <a:avLst/>
              <a:gdLst/>
              <a:ahLst/>
              <a:cxnLst/>
              <a:rect l="l" t="t" r="r" b="b"/>
              <a:pathLst>
                <a:path w="35265" h="35264" extrusionOk="0">
                  <a:moveTo>
                    <a:pt x="17646" y="0"/>
                  </a:moveTo>
                  <a:lnTo>
                    <a:pt x="16742" y="27"/>
                  </a:lnTo>
                  <a:lnTo>
                    <a:pt x="15839" y="80"/>
                  </a:lnTo>
                  <a:lnTo>
                    <a:pt x="14962" y="213"/>
                  </a:lnTo>
                  <a:lnTo>
                    <a:pt x="14085" y="372"/>
                  </a:lnTo>
                  <a:lnTo>
                    <a:pt x="13235" y="558"/>
                  </a:lnTo>
                  <a:lnTo>
                    <a:pt x="12411" y="798"/>
                  </a:lnTo>
                  <a:lnTo>
                    <a:pt x="11587" y="1063"/>
                  </a:lnTo>
                  <a:lnTo>
                    <a:pt x="10790" y="1382"/>
                  </a:lnTo>
                  <a:lnTo>
                    <a:pt x="9993" y="1728"/>
                  </a:lnTo>
                  <a:lnTo>
                    <a:pt x="9249" y="2126"/>
                  </a:lnTo>
                  <a:lnTo>
                    <a:pt x="8504" y="2551"/>
                  </a:lnTo>
                  <a:lnTo>
                    <a:pt x="7787" y="3003"/>
                  </a:lnTo>
                  <a:lnTo>
                    <a:pt x="7096" y="3508"/>
                  </a:lnTo>
                  <a:lnTo>
                    <a:pt x="6432" y="4040"/>
                  </a:lnTo>
                  <a:lnTo>
                    <a:pt x="5794" y="4571"/>
                  </a:lnTo>
                  <a:lnTo>
                    <a:pt x="5183" y="5156"/>
                  </a:lnTo>
                  <a:lnTo>
                    <a:pt x="4598" y="5767"/>
                  </a:lnTo>
                  <a:lnTo>
                    <a:pt x="4040" y="6431"/>
                  </a:lnTo>
                  <a:lnTo>
                    <a:pt x="3509" y="7095"/>
                  </a:lnTo>
                  <a:lnTo>
                    <a:pt x="3030" y="7786"/>
                  </a:lnTo>
                  <a:lnTo>
                    <a:pt x="2552" y="8504"/>
                  </a:lnTo>
                  <a:lnTo>
                    <a:pt x="2127" y="9221"/>
                  </a:lnTo>
                  <a:lnTo>
                    <a:pt x="1755" y="9992"/>
                  </a:lnTo>
                  <a:lnTo>
                    <a:pt x="1383" y="10763"/>
                  </a:lnTo>
                  <a:lnTo>
                    <a:pt x="1090" y="11560"/>
                  </a:lnTo>
                  <a:lnTo>
                    <a:pt x="798" y="12384"/>
                  </a:lnTo>
                  <a:lnTo>
                    <a:pt x="559" y="13234"/>
                  </a:lnTo>
                  <a:lnTo>
                    <a:pt x="373" y="14084"/>
                  </a:lnTo>
                  <a:lnTo>
                    <a:pt x="213" y="14935"/>
                  </a:lnTo>
                  <a:lnTo>
                    <a:pt x="107" y="15838"/>
                  </a:lnTo>
                  <a:lnTo>
                    <a:pt x="27" y="16715"/>
                  </a:lnTo>
                  <a:lnTo>
                    <a:pt x="1" y="17645"/>
                  </a:lnTo>
                  <a:lnTo>
                    <a:pt x="27" y="18549"/>
                  </a:lnTo>
                  <a:lnTo>
                    <a:pt x="107" y="19426"/>
                  </a:lnTo>
                  <a:lnTo>
                    <a:pt x="213" y="20329"/>
                  </a:lnTo>
                  <a:lnTo>
                    <a:pt x="373" y="21180"/>
                  </a:lnTo>
                  <a:lnTo>
                    <a:pt x="559" y="22030"/>
                  </a:lnTo>
                  <a:lnTo>
                    <a:pt x="798" y="22880"/>
                  </a:lnTo>
                  <a:lnTo>
                    <a:pt x="1090" y="23704"/>
                  </a:lnTo>
                  <a:lnTo>
                    <a:pt x="1383" y="24501"/>
                  </a:lnTo>
                  <a:lnTo>
                    <a:pt x="1755" y="25272"/>
                  </a:lnTo>
                  <a:lnTo>
                    <a:pt x="2127" y="26043"/>
                  </a:lnTo>
                  <a:lnTo>
                    <a:pt x="2552" y="26787"/>
                  </a:lnTo>
                  <a:lnTo>
                    <a:pt x="3030" y="27478"/>
                  </a:lnTo>
                  <a:lnTo>
                    <a:pt x="3509" y="28195"/>
                  </a:lnTo>
                  <a:lnTo>
                    <a:pt x="4040" y="28859"/>
                  </a:lnTo>
                  <a:lnTo>
                    <a:pt x="4598" y="29497"/>
                  </a:lnTo>
                  <a:lnTo>
                    <a:pt x="5183" y="30108"/>
                  </a:lnTo>
                  <a:lnTo>
                    <a:pt x="5794" y="30693"/>
                  </a:lnTo>
                  <a:lnTo>
                    <a:pt x="6432" y="31251"/>
                  </a:lnTo>
                  <a:lnTo>
                    <a:pt x="7096" y="31756"/>
                  </a:lnTo>
                  <a:lnTo>
                    <a:pt x="7787" y="32261"/>
                  </a:lnTo>
                  <a:lnTo>
                    <a:pt x="8504" y="32713"/>
                  </a:lnTo>
                  <a:lnTo>
                    <a:pt x="9249" y="33138"/>
                  </a:lnTo>
                  <a:lnTo>
                    <a:pt x="9993" y="33536"/>
                  </a:lnTo>
                  <a:lnTo>
                    <a:pt x="10790" y="33882"/>
                  </a:lnTo>
                  <a:lnTo>
                    <a:pt x="11587" y="34201"/>
                  </a:lnTo>
                  <a:lnTo>
                    <a:pt x="12411" y="34466"/>
                  </a:lnTo>
                  <a:lnTo>
                    <a:pt x="13235" y="34706"/>
                  </a:lnTo>
                  <a:lnTo>
                    <a:pt x="14085" y="34918"/>
                  </a:lnTo>
                  <a:lnTo>
                    <a:pt x="14962" y="35051"/>
                  </a:lnTo>
                  <a:lnTo>
                    <a:pt x="15839" y="35184"/>
                  </a:lnTo>
                  <a:lnTo>
                    <a:pt x="16742" y="35237"/>
                  </a:lnTo>
                  <a:lnTo>
                    <a:pt x="17646" y="35264"/>
                  </a:lnTo>
                  <a:lnTo>
                    <a:pt x="18549" y="35237"/>
                  </a:lnTo>
                  <a:lnTo>
                    <a:pt x="19453" y="35184"/>
                  </a:lnTo>
                  <a:lnTo>
                    <a:pt x="20330" y="35051"/>
                  </a:lnTo>
                  <a:lnTo>
                    <a:pt x="21207" y="34918"/>
                  </a:lnTo>
                  <a:lnTo>
                    <a:pt x="22057" y="34706"/>
                  </a:lnTo>
                  <a:lnTo>
                    <a:pt x="22881" y="34466"/>
                  </a:lnTo>
                  <a:lnTo>
                    <a:pt x="23705" y="34201"/>
                  </a:lnTo>
                  <a:lnTo>
                    <a:pt x="24502" y="33882"/>
                  </a:lnTo>
                  <a:lnTo>
                    <a:pt x="25273" y="33536"/>
                  </a:lnTo>
                  <a:lnTo>
                    <a:pt x="26043" y="33138"/>
                  </a:lnTo>
                  <a:lnTo>
                    <a:pt x="26787" y="32713"/>
                  </a:lnTo>
                  <a:lnTo>
                    <a:pt x="27505" y="32261"/>
                  </a:lnTo>
                  <a:lnTo>
                    <a:pt x="28196" y="31756"/>
                  </a:lnTo>
                  <a:lnTo>
                    <a:pt x="28860" y="31251"/>
                  </a:lnTo>
                  <a:lnTo>
                    <a:pt x="29498" y="30693"/>
                  </a:lnTo>
                  <a:lnTo>
                    <a:pt x="30109" y="30108"/>
                  </a:lnTo>
                  <a:lnTo>
                    <a:pt x="30694" y="29497"/>
                  </a:lnTo>
                  <a:lnTo>
                    <a:pt x="31252" y="28859"/>
                  </a:lnTo>
                  <a:lnTo>
                    <a:pt x="31783" y="28195"/>
                  </a:lnTo>
                  <a:lnTo>
                    <a:pt x="32262" y="27478"/>
                  </a:lnTo>
                  <a:lnTo>
                    <a:pt x="32713" y="26787"/>
                  </a:lnTo>
                  <a:lnTo>
                    <a:pt x="33139" y="26043"/>
                  </a:lnTo>
                  <a:lnTo>
                    <a:pt x="33537" y="25272"/>
                  </a:lnTo>
                  <a:lnTo>
                    <a:pt x="33883" y="24501"/>
                  </a:lnTo>
                  <a:lnTo>
                    <a:pt x="34202" y="23704"/>
                  </a:lnTo>
                  <a:lnTo>
                    <a:pt x="34467" y="22880"/>
                  </a:lnTo>
                  <a:lnTo>
                    <a:pt x="34706" y="22030"/>
                  </a:lnTo>
                  <a:lnTo>
                    <a:pt x="34919" y="21180"/>
                  </a:lnTo>
                  <a:lnTo>
                    <a:pt x="35078" y="20329"/>
                  </a:lnTo>
                  <a:lnTo>
                    <a:pt x="35185" y="19426"/>
                  </a:lnTo>
                  <a:lnTo>
                    <a:pt x="35238" y="18549"/>
                  </a:lnTo>
                  <a:lnTo>
                    <a:pt x="35264" y="17645"/>
                  </a:lnTo>
                  <a:lnTo>
                    <a:pt x="35238" y="16715"/>
                  </a:lnTo>
                  <a:lnTo>
                    <a:pt x="35185" y="15838"/>
                  </a:lnTo>
                  <a:lnTo>
                    <a:pt x="35078" y="14935"/>
                  </a:lnTo>
                  <a:lnTo>
                    <a:pt x="34919" y="14084"/>
                  </a:lnTo>
                  <a:lnTo>
                    <a:pt x="34706" y="13234"/>
                  </a:lnTo>
                  <a:lnTo>
                    <a:pt x="34467" y="12384"/>
                  </a:lnTo>
                  <a:lnTo>
                    <a:pt x="34202" y="11560"/>
                  </a:lnTo>
                  <a:lnTo>
                    <a:pt x="33883" y="10763"/>
                  </a:lnTo>
                  <a:lnTo>
                    <a:pt x="33537" y="9992"/>
                  </a:lnTo>
                  <a:lnTo>
                    <a:pt x="33139" y="9221"/>
                  </a:lnTo>
                  <a:lnTo>
                    <a:pt x="32713" y="8504"/>
                  </a:lnTo>
                  <a:lnTo>
                    <a:pt x="32262" y="7786"/>
                  </a:lnTo>
                  <a:lnTo>
                    <a:pt x="31783" y="7095"/>
                  </a:lnTo>
                  <a:lnTo>
                    <a:pt x="31252" y="6431"/>
                  </a:lnTo>
                  <a:lnTo>
                    <a:pt x="30694" y="5767"/>
                  </a:lnTo>
                  <a:lnTo>
                    <a:pt x="30109" y="5156"/>
                  </a:lnTo>
                  <a:lnTo>
                    <a:pt x="29498" y="4571"/>
                  </a:lnTo>
                  <a:lnTo>
                    <a:pt x="28860" y="4040"/>
                  </a:lnTo>
                  <a:lnTo>
                    <a:pt x="28196" y="3508"/>
                  </a:lnTo>
                  <a:lnTo>
                    <a:pt x="27505" y="3003"/>
                  </a:lnTo>
                  <a:lnTo>
                    <a:pt x="26787" y="2551"/>
                  </a:lnTo>
                  <a:lnTo>
                    <a:pt x="26043" y="2126"/>
                  </a:lnTo>
                  <a:lnTo>
                    <a:pt x="25273" y="1728"/>
                  </a:lnTo>
                  <a:lnTo>
                    <a:pt x="24502" y="1382"/>
                  </a:lnTo>
                  <a:lnTo>
                    <a:pt x="23705" y="1063"/>
                  </a:lnTo>
                  <a:lnTo>
                    <a:pt x="22881" y="798"/>
                  </a:lnTo>
                  <a:lnTo>
                    <a:pt x="22057" y="558"/>
                  </a:lnTo>
                  <a:lnTo>
                    <a:pt x="21207" y="372"/>
                  </a:lnTo>
                  <a:lnTo>
                    <a:pt x="20330" y="213"/>
                  </a:lnTo>
                  <a:lnTo>
                    <a:pt x="19453" y="80"/>
                  </a:lnTo>
                  <a:lnTo>
                    <a:pt x="18549" y="27"/>
                  </a:lnTo>
                  <a:lnTo>
                    <a:pt x="17646" y="0"/>
                  </a:lnTo>
                  <a:close/>
                </a:path>
              </a:pathLst>
            </a:custGeom>
            <a:solidFill>
              <a:srgbClr val="00B0F0"/>
            </a:solidFill>
            <a:ln w="57150">
              <a:solidFill>
                <a:srgbClr val="00B0F0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34" name="Google Shape;2407;p39">
              <a:extLst>
                <a:ext uri="{FF2B5EF4-FFF2-40B4-BE49-F238E27FC236}">
                  <a16:creationId xmlns:a16="http://schemas.microsoft.com/office/drawing/2014/main" id="{5AFB83FA-F338-8813-0B54-2B75BBEE97C2}"/>
                </a:ext>
              </a:extLst>
            </p:cNvPr>
            <p:cNvSpPr txBox="1"/>
            <p:nvPr/>
          </p:nvSpPr>
          <p:spPr>
            <a:xfrm>
              <a:off x="10727038" y="3863021"/>
              <a:ext cx="2697263" cy="729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2800" b="1">
                  <a:solidFill>
                    <a:srgbClr val="00B0F0"/>
                  </a:solidFill>
                  <a:latin typeface="Aptos" panose="020B0004020202020204" pitchFamily="34" charset="0"/>
                  <a:ea typeface="Fira Sans Extra Condensed"/>
                  <a:cs typeface="Fira Sans Extra Condensed"/>
                  <a:sym typeface="Fira Sans Extra Condensed"/>
                </a:rPr>
                <a:t>Impacto social</a:t>
              </a:r>
              <a:endParaRPr sz="2800" b="1">
                <a:solidFill>
                  <a:srgbClr val="00B0F0"/>
                </a:solidFill>
                <a:latin typeface="Aptos" panose="020B0004020202020204" pitchFamily="34" charset="0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35" name="Google Shape;2408;p39">
              <a:extLst>
                <a:ext uri="{FF2B5EF4-FFF2-40B4-BE49-F238E27FC236}">
                  <a16:creationId xmlns:a16="http://schemas.microsoft.com/office/drawing/2014/main" id="{AFCBF221-7AE1-2796-62B6-B8C5A7B97458}"/>
                </a:ext>
              </a:extLst>
            </p:cNvPr>
            <p:cNvSpPr txBox="1"/>
            <p:nvPr/>
          </p:nvSpPr>
          <p:spPr>
            <a:xfrm>
              <a:off x="10864546" y="4564223"/>
              <a:ext cx="2490085" cy="179613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/>
              <a:r>
                <a:rPr lang="es-MX" sz="1800">
                  <a:solidFill>
                    <a:srgbClr val="2464A4"/>
                  </a:solidFill>
                  <a:latin typeface="Arial Nova" panose="020B0504020202020204" pitchFamily="34" charset="0"/>
                </a:rPr>
                <a:t>M</a:t>
              </a:r>
              <a:r>
                <a:rPr lang="es-MX" sz="1800" b="0" i="0">
                  <a:solidFill>
                    <a:srgbClr val="2464A4"/>
                  </a:solidFill>
                  <a:effectLst/>
                  <a:latin typeface="Arial Nova" panose="020B0504020202020204" pitchFamily="34" charset="0"/>
                </a:rPr>
                <a:t>ejorar las condiciones de vida de las comunidades cercanas a las operaciones mineras. </a:t>
              </a:r>
            </a:p>
          </p:txBody>
        </p:sp>
        <p:sp>
          <p:nvSpPr>
            <p:cNvPr id="37" name="Google Shape;2422;p39">
              <a:extLst>
                <a:ext uri="{FF2B5EF4-FFF2-40B4-BE49-F238E27FC236}">
                  <a16:creationId xmlns:a16="http://schemas.microsoft.com/office/drawing/2014/main" id="{89755271-8F98-A18E-70FF-E3A1A4BAD107}"/>
                </a:ext>
              </a:extLst>
            </p:cNvPr>
            <p:cNvSpPr/>
            <p:nvPr/>
          </p:nvSpPr>
          <p:spPr>
            <a:xfrm>
              <a:off x="13981677" y="4006873"/>
              <a:ext cx="2124591" cy="2232857"/>
            </a:xfrm>
            <a:custGeom>
              <a:avLst/>
              <a:gdLst/>
              <a:ahLst/>
              <a:cxnLst/>
              <a:rect l="l" t="t" r="r" b="b"/>
              <a:pathLst>
                <a:path w="35265" h="35264" extrusionOk="0">
                  <a:moveTo>
                    <a:pt x="17646" y="0"/>
                  </a:moveTo>
                  <a:lnTo>
                    <a:pt x="16742" y="27"/>
                  </a:lnTo>
                  <a:lnTo>
                    <a:pt x="15839" y="80"/>
                  </a:lnTo>
                  <a:lnTo>
                    <a:pt x="14962" y="186"/>
                  </a:lnTo>
                  <a:lnTo>
                    <a:pt x="14085" y="346"/>
                  </a:lnTo>
                  <a:lnTo>
                    <a:pt x="13234" y="559"/>
                  </a:lnTo>
                  <a:lnTo>
                    <a:pt x="12384" y="798"/>
                  </a:lnTo>
                  <a:lnTo>
                    <a:pt x="11587" y="1063"/>
                  </a:lnTo>
                  <a:lnTo>
                    <a:pt x="10789" y="1382"/>
                  </a:lnTo>
                  <a:lnTo>
                    <a:pt x="9992" y="1728"/>
                  </a:lnTo>
                  <a:lnTo>
                    <a:pt x="9248" y="2126"/>
                  </a:lnTo>
                  <a:lnTo>
                    <a:pt x="8504" y="2552"/>
                  </a:lnTo>
                  <a:lnTo>
                    <a:pt x="7787" y="3003"/>
                  </a:lnTo>
                  <a:lnTo>
                    <a:pt x="7096" y="3482"/>
                  </a:lnTo>
                  <a:lnTo>
                    <a:pt x="6431" y="4013"/>
                  </a:lnTo>
                  <a:lnTo>
                    <a:pt x="5794" y="4571"/>
                  </a:lnTo>
                  <a:lnTo>
                    <a:pt x="5182" y="5156"/>
                  </a:lnTo>
                  <a:lnTo>
                    <a:pt x="4598" y="5767"/>
                  </a:lnTo>
                  <a:lnTo>
                    <a:pt x="4040" y="6405"/>
                  </a:lnTo>
                  <a:lnTo>
                    <a:pt x="3508" y="7069"/>
                  </a:lnTo>
                  <a:lnTo>
                    <a:pt x="3030" y="7760"/>
                  </a:lnTo>
                  <a:lnTo>
                    <a:pt x="2552" y="8477"/>
                  </a:lnTo>
                  <a:lnTo>
                    <a:pt x="2126" y="9222"/>
                  </a:lnTo>
                  <a:lnTo>
                    <a:pt x="1754" y="9992"/>
                  </a:lnTo>
                  <a:lnTo>
                    <a:pt x="1382" y="10763"/>
                  </a:lnTo>
                  <a:lnTo>
                    <a:pt x="1090" y="11560"/>
                  </a:lnTo>
                  <a:lnTo>
                    <a:pt x="798" y="12384"/>
                  </a:lnTo>
                  <a:lnTo>
                    <a:pt x="558" y="13208"/>
                  </a:lnTo>
                  <a:lnTo>
                    <a:pt x="372" y="14058"/>
                  </a:lnTo>
                  <a:lnTo>
                    <a:pt x="213" y="14935"/>
                  </a:lnTo>
                  <a:lnTo>
                    <a:pt x="107" y="15812"/>
                  </a:lnTo>
                  <a:lnTo>
                    <a:pt x="27" y="16715"/>
                  </a:lnTo>
                  <a:lnTo>
                    <a:pt x="0" y="17619"/>
                  </a:lnTo>
                  <a:lnTo>
                    <a:pt x="27" y="18522"/>
                  </a:lnTo>
                  <a:lnTo>
                    <a:pt x="107" y="19426"/>
                  </a:lnTo>
                  <a:lnTo>
                    <a:pt x="213" y="20303"/>
                  </a:lnTo>
                  <a:lnTo>
                    <a:pt x="372" y="21180"/>
                  </a:lnTo>
                  <a:lnTo>
                    <a:pt x="558" y="22030"/>
                  </a:lnTo>
                  <a:lnTo>
                    <a:pt x="798" y="22854"/>
                  </a:lnTo>
                  <a:lnTo>
                    <a:pt x="1090" y="23678"/>
                  </a:lnTo>
                  <a:lnTo>
                    <a:pt x="1382" y="24475"/>
                  </a:lnTo>
                  <a:lnTo>
                    <a:pt x="1754" y="25272"/>
                  </a:lnTo>
                  <a:lnTo>
                    <a:pt x="2126" y="26016"/>
                  </a:lnTo>
                  <a:lnTo>
                    <a:pt x="2552" y="26760"/>
                  </a:lnTo>
                  <a:lnTo>
                    <a:pt x="3030" y="27478"/>
                  </a:lnTo>
                  <a:lnTo>
                    <a:pt x="3508" y="28169"/>
                  </a:lnTo>
                  <a:lnTo>
                    <a:pt x="4040" y="28833"/>
                  </a:lnTo>
                  <a:lnTo>
                    <a:pt x="4598" y="29471"/>
                  </a:lnTo>
                  <a:lnTo>
                    <a:pt x="5182" y="30082"/>
                  </a:lnTo>
                  <a:lnTo>
                    <a:pt x="5794" y="30667"/>
                  </a:lnTo>
                  <a:lnTo>
                    <a:pt x="6431" y="31225"/>
                  </a:lnTo>
                  <a:lnTo>
                    <a:pt x="7096" y="31756"/>
                  </a:lnTo>
                  <a:lnTo>
                    <a:pt x="7787" y="32234"/>
                  </a:lnTo>
                  <a:lnTo>
                    <a:pt x="8504" y="32713"/>
                  </a:lnTo>
                  <a:lnTo>
                    <a:pt x="9248" y="33138"/>
                  </a:lnTo>
                  <a:lnTo>
                    <a:pt x="9992" y="33510"/>
                  </a:lnTo>
                  <a:lnTo>
                    <a:pt x="10789" y="33882"/>
                  </a:lnTo>
                  <a:lnTo>
                    <a:pt x="11587" y="34174"/>
                  </a:lnTo>
                  <a:lnTo>
                    <a:pt x="12384" y="34467"/>
                  </a:lnTo>
                  <a:lnTo>
                    <a:pt x="13234" y="34706"/>
                  </a:lnTo>
                  <a:lnTo>
                    <a:pt x="14085" y="34892"/>
                  </a:lnTo>
                  <a:lnTo>
                    <a:pt x="14962" y="35051"/>
                  </a:lnTo>
                  <a:lnTo>
                    <a:pt x="15839" y="35158"/>
                  </a:lnTo>
                  <a:lnTo>
                    <a:pt x="16742" y="35237"/>
                  </a:lnTo>
                  <a:lnTo>
                    <a:pt x="17646" y="35264"/>
                  </a:lnTo>
                  <a:lnTo>
                    <a:pt x="18549" y="35237"/>
                  </a:lnTo>
                  <a:lnTo>
                    <a:pt x="19453" y="35158"/>
                  </a:lnTo>
                  <a:lnTo>
                    <a:pt x="20330" y="35051"/>
                  </a:lnTo>
                  <a:lnTo>
                    <a:pt x="21180" y="34892"/>
                  </a:lnTo>
                  <a:lnTo>
                    <a:pt x="22057" y="34706"/>
                  </a:lnTo>
                  <a:lnTo>
                    <a:pt x="22881" y="34467"/>
                  </a:lnTo>
                  <a:lnTo>
                    <a:pt x="23704" y="34174"/>
                  </a:lnTo>
                  <a:lnTo>
                    <a:pt x="24502" y="33882"/>
                  </a:lnTo>
                  <a:lnTo>
                    <a:pt x="25272" y="33510"/>
                  </a:lnTo>
                  <a:lnTo>
                    <a:pt x="26043" y="33138"/>
                  </a:lnTo>
                  <a:lnTo>
                    <a:pt x="26787" y="32713"/>
                  </a:lnTo>
                  <a:lnTo>
                    <a:pt x="27505" y="32234"/>
                  </a:lnTo>
                  <a:lnTo>
                    <a:pt x="28195" y="31756"/>
                  </a:lnTo>
                  <a:lnTo>
                    <a:pt x="28860" y="31225"/>
                  </a:lnTo>
                  <a:lnTo>
                    <a:pt x="29498" y="30667"/>
                  </a:lnTo>
                  <a:lnTo>
                    <a:pt x="30109" y="30082"/>
                  </a:lnTo>
                  <a:lnTo>
                    <a:pt x="30693" y="29471"/>
                  </a:lnTo>
                  <a:lnTo>
                    <a:pt x="31251" y="28833"/>
                  </a:lnTo>
                  <a:lnTo>
                    <a:pt x="31756" y="28169"/>
                  </a:lnTo>
                  <a:lnTo>
                    <a:pt x="32261" y="27478"/>
                  </a:lnTo>
                  <a:lnTo>
                    <a:pt x="32713" y="26760"/>
                  </a:lnTo>
                  <a:lnTo>
                    <a:pt x="33138" y="26016"/>
                  </a:lnTo>
                  <a:lnTo>
                    <a:pt x="33537" y="25272"/>
                  </a:lnTo>
                  <a:lnTo>
                    <a:pt x="33882" y="24475"/>
                  </a:lnTo>
                  <a:lnTo>
                    <a:pt x="34201" y="23678"/>
                  </a:lnTo>
                  <a:lnTo>
                    <a:pt x="34467" y="22854"/>
                  </a:lnTo>
                  <a:lnTo>
                    <a:pt x="34706" y="22030"/>
                  </a:lnTo>
                  <a:lnTo>
                    <a:pt x="34919" y="21180"/>
                  </a:lnTo>
                  <a:lnTo>
                    <a:pt x="35078" y="20303"/>
                  </a:lnTo>
                  <a:lnTo>
                    <a:pt x="35184" y="19426"/>
                  </a:lnTo>
                  <a:lnTo>
                    <a:pt x="35238" y="18522"/>
                  </a:lnTo>
                  <a:lnTo>
                    <a:pt x="35264" y="17619"/>
                  </a:lnTo>
                  <a:lnTo>
                    <a:pt x="35238" y="16715"/>
                  </a:lnTo>
                  <a:lnTo>
                    <a:pt x="35184" y="15812"/>
                  </a:lnTo>
                  <a:lnTo>
                    <a:pt x="35078" y="14935"/>
                  </a:lnTo>
                  <a:lnTo>
                    <a:pt x="34919" y="14058"/>
                  </a:lnTo>
                  <a:lnTo>
                    <a:pt x="34706" y="13208"/>
                  </a:lnTo>
                  <a:lnTo>
                    <a:pt x="34467" y="12384"/>
                  </a:lnTo>
                  <a:lnTo>
                    <a:pt x="34201" y="11560"/>
                  </a:lnTo>
                  <a:lnTo>
                    <a:pt x="33882" y="10763"/>
                  </a:lnTo>
                  <a:lnTo>
                    <a:pt x="33537" y="9992"/>
                  </a:lnTo>
                  <a:lnTo>
                    <a:pt x="33138" y="9222"/>
                  </a:lnTo>
                  <a:lnTo>
                    <a:pt x="32713" y="8477"/>
                  </a:lnTo>
                  <a:lnTo>
                    <a:pt x="32261" y="7760"/>
                  </a:lnTo>
                  <a:lnTo>
                    <a:pt x="31756" y="7069"/>
                  </a:lnTo>
                  <a:lnTo>
                    <a:pt x="31251" y="6405"/>
                  </a:lnTo>
                  <a:lnTo>
                    <a:pt x="30693" y="5767"/>
                  </a:lnTo>
                  <a:lnTo>
                    <a:pt x="30109" y="5156"/>
                  </a:lnTo>
                  <a:lnTo>
                    <a:pt x="29498" y="4571"/>
                  </a:lnTo>
                  <a:lnTo>
                    <a:pt x="28860" y="4013"/>
                  </a:lnTo>
                  <a:lnTo>
                    <a:pt x="28195" y="3482"/>
                  </a:lnTo>
                  <a:lnTo>
                    <a:pt x="27505" y="3003"/>
                  </a:lnTo>
                  <a:lnTo>
                    <a:pt x="26787" y="2552"/>
                  </a:lnTo>
                  <a:lnTo>
                    <a:pt x="26043" y="2126"/>
                  </a:lnTo>
                  <a:lnTo>
                    <a:pt x="25272" y="1728"/>
                  </a:lnTo>
                  <a:lnTo>
                    <a:pt x="24502" y="1382"/>
                  </a:lnTo>
                  <a:lnTo>
                    <a:pt x="23704" y="1063"/>
                  </a:lnTo>
                  <a:lnTo>
                    <a:pt x="22881" y="798"/>
                  </a:lnTo>
                  <a:lnTo>
                    <a:pt x="22057" y="559"/>
                  </a:lnTo>
                  <a:lnTo>
                    <a:pt x="21180" y="346"/>
                  </a:lnTo>
                  <a:lnTo>
                    <a:pt x="20330" y="186"/>
                  </a:lnTo>
                  <a:lnTo>
                    <a:pt x="19453" y="80"/>
                  </a:lnTo>
                  <a:lnTo>
                    <a:pt x="18549" y="27"/>
                  </a:lnTo>
                  <a:lnTo>
                    <a:pt x="17646" y="0"/>
                  </a:lnTo>
                  <a:close/>
                </a:path>
              </a:pathLst>
            </a:custGeom>
            <a:solidFill>
              <a:srgbClr val="7276DB"/>
            </a:solidFill>
            <a:ln w="57150">
              <a:solidFill>
                <a:srgbClr val="7276DB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48" name="Google Shape;2424;p39">
              <a:extLst>
                <a:ext uri="{FF2B5EF4-FFF2-40B4-BE49-F238E27FC236}">
                  <a16:creationId xmlns:a16="http://schemas.microsoft.com/office/drawing/2014/main" id="{0591BE34-B1E6-C699-128D-4284C5D772C4}"/>
                </a:ext>
              </a:extLst>
            </p:cNvPr>
            <p:cNvSpPr txBox="1"/>
            <p:nvPr/>
          </p:nvSpPr>
          <p:spPr>
            <a:xfrm>
              <a:off x="13871631" y="6500426"/>
              <a:ext cx="2697262" cy="729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s-MX" sz="2800" b="1">
                  <a:solidFill>
                    <a:srgbClr val="7276DB"/>
                  </a:solidFill>
                  <a:latin typeface="Aptos" panose="020B0004020202020204" pitchFamily="34" charset="0"/>
                </a:rPr>
                <a:t>Innovación y Colaboración</a:t>
              </a:r>
            </a:p>
          </p:txBody>
        </p:sp>
        <p:sp>
          <p:nvSpPr>
            <p:cNvPr id="49" name="Google Shape;2425;p39">
              <a:extLst>
                <a:ext uri="{FF2B5EF4-FFF2-40B4-BE49-F238E27FC236}">
                  <a16:creationId xmlns:a16="http://schemas.microsoft.com/office/drawing/2014/main" id="{702DC1F9-F55D-B5AB-3418-831733D0FDE6}"/>
                </a:ext>
              </a:extLst>
            </p:cNvPr>
            <p:cNvSpPr txBox="1"/>
            <p:nvPr/>
          </p:nvSpPr>
          <p:spPr>
            <a:xfrm>
              <a:off x="13882623" y="7371475"/>
              <a:ext cx="2668422" cy="2479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/>
              <a:r>
                <a:rPr lang="es-MX" sz="1800">
                  <a:solidFill>
                    <a:srgbClr val="2464A4"/>
                  </a:solidFill>
                  <a:latin typeface="Arial Nova" panose="020B0504020202020204" pitchFamily="34" charset="0"/>
                </a:rPr>
                <a:t>I</a:t>
              </a:r>
              <a:r>
                <a:rPr lang="es-MX" sz="1800" b="0" i="0">
                  <a:solidFill>
                    <a:srgbClr val="2464A4"/>
                  </a:solidFill>
                  <a:effectLst/>
                  <a:latin typeface="Arial Nova" panose="020B0504020202020204" pitchFamily="34" charset="0"/>
                </a:rPr>
                <a:t>nnovación en tecnologías y prácticas mineras. Esto es esencial para el desarrollo de soluciones sostenibles y eficientes.</a:t>
              </a:r>
            </a:p>
          </p:txBody>
        </p:sp>
        <p:sp>
          <p:nvSpPr>
            <p:cNvPr id="55" name="Google Shape;2437;p39">
              <a:extLst>
                <a:ext uri="{FF2B5EF4-FFF2-40B4-BE49-F238E27FC236}">
                  <a16:creationId xmlns:a16="http://schemas.microsoft.com/office/drawing/2014/main" id="{E006EF1D-43D6-E30B-7413-4B7A6B4F32A2}"/>
                </a:ext>
              </a:extLst>
            </p:cNvPr>
            <p:cNvSpPr txBox="1"/>
            <p:nvPr/>
          </p:nvSpPr>
          <p:spPr>
            <a:xfrm>
              <a:off x="1604649" y="6831097"/>
              <a:ext cx="3141792" cy="729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 algn="ctr"/>
              <a:r>
                <a:rPr lang="es-MX" sz="2800" b="1">
                  <a:solidFill>
                    <a:srgbClr val="7276DB"/>
                  </a:solidFill>
                  <a:latin typeface="Aptos" panose="020B0004020202020204" pitchFamily="34" charset="0"/>
                </a:rPr>
                <a:t>Reducción de Emisiones de Gases de Efecto Invernadero</a:t>
              </a:r>
              <a:r>
                <a:rPr lang="en" sz="2800" b="1">
                  <a:solidFill>
                    <a:srgbClr val="7276DB"/>
                  </a:solidFill>
                  <a:latin typeface="Aptos" panose="020B0004020202020204" pitchFamily="34" charset="0"/>
                  <a:sym typeface="Fira Sans Extra Condensed"/>
                </a:rPr>
                <a:t> </a:t>
              </a:r>
              <a:endParaRPr sz="2800" b="1">
                <a:solidFill>
                  <a:srgbClr val="7276DB"/>
                </a:solidFill>
                <a:latin typeface="Aptos" panose="020B0004020202020204" pitchFamily="34" charset="0"/>
                <a:sym typeface="Fira Sans Extra Condensed"/>
              </a:endParaRPr>
            </a:p>
          </p:txBody>
        </p:sp>
        <p:sp>
          <p:nvSpPr>
            <p:cNvPr id="56" name="Google Shape;2438;p39">
              <a:extLst>
                <a:ext uri="{FF2B5EF4-FFF2-40B4-BE49-F238E27FC236}">
                  <a16:creationId xmlns:a16="http://schemas.microsoft.com/office/drawing/2014/main" id="{5B5CF04E-A47F-A619-64AC-4B315C8EAF4D}"/>
                </a:ext>
              </a:extLst>
            </p:cNvPr>
            <p:cNvSpPr txBox="1"/>
            <p:nvPr/>
          </p:nvSpPr>
          <p:spPr>
            <a:xfrm>
              <a:off x="1856864" y="8114426"/>
              <a:ext cx="2615126" cy="108334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/>
              <a:r>
                <a:rPr lang="es-MX" sz="1800" b="0" i="0" dirty="0">
                  <a:solidFill>
                    <a:srgbClr val="2464A4"/>
                  </a:solidFill>
                  <a:effectLst/>
                  <a:latin typeface="Arial Nova" panose="020B0504020202020204" pitchFamily="34" charset="0"/>
                </a:rPr>
                <a:t>La minería contribuye en ~10.3% en las emisiones globales de CO2.</a:t>
              </a:r>
            </a:p>
          </p:txBody>
        </p:sp>
        <p:sp>
          <p:nvSpPr>
            <p:cNvPr id="52" name="Google Shape;2439;p39">
              <a:extLst>
                <a:ext uri="{FF2B5EF4-FFF2-40B4-BE49-F238E27FC236}">
                  <a16:creationId xmlns:a16="http://schemas.microsoft.com/office/drawing/2014/main" id="{83357260-8554-744A-63C2-6E66D1CA56C2}"/>
                </a:ext>
              </a:extLst>
            </p:cNvPr>
            <p:cNvSpPr/>
            <p:nvPr/>
          </p:nvSpPr>
          <p:spPr>
            <a:xfrm>
              <a:off x="2102131" y="4006873"/>
              <a:ext cx="2124593" cy="2232857"/>
            </a:xfrm>
            <a:custGeom>
              <a:avLst/>
              <a:gdLst/>
              <a:ahLst/>
              <a:cxnLst/>
              <a:rect l="l" t="t" r="r" b="b"/>
              <a:pathLst>
                <a:path w="35265" h="35264" extrusionOk="0">
                  <a:moveTo>
                    <a:pt x="17646" y="0"/>
                  </a:moveTo>
                  <a:lnTo>
                    <a:pt x="16742" y="27"/>
                  </a:lnTo>
                  <a:lnTo>
                    <a:pt x="15839" y="80"/>
                  </a:lnTo>
                  <a:lnTo>
                    <a:pt x="14962" y="186"/>
                  </a:lnTo>
                  <a:lnTo>
                    <a:pt x="14085" y="346"/>
                  </a:lnTo>
                  <a:lnTo>
                    <a:pt x="13234" y="559"/>
                  </a:lnTo>
                  <a:lnTo>
                    <a:pt x="12384" y="798"/>
                  </a:lnTo>
                  <a:lnTo>
                    <a:pt x="11587" y="1063"/>
                  </a:lnTo>
                  <a:lnTo>
                    <a:pt x="10763" y="1382"/>
                  </a:lnTo>
                  <a:lnTo>
                    <a:pt x="9992" y="1728"/>
                  </a:lnTo>
                  <a:lnTo>
                    <a:pt x="9222" y="2126"/>
                  </a:lnTo>
                  <a:lnTo>
                    <a:pt x="8504" y="2552"/>
                  </a:lnTo>
                  <a:lnTo>
                    <a:pt x="7787" y="3003"/>
                  </a:lnTo>
                  <a:lnTo>
                    <a:pt x="7096" y="3482"/>
                  </a:lnTo>
                  <a:lnTo>
                    <a:pt x="6432" y="4013"/>
                  </a:lnTo>
                  <a:lnTo>
                    <a:pt x="5794" y="4571"/>
                  </a:lnTo>
                  <a:lnTo>
                    <a:pt x="5183" y="5156"/>
                  </a:lnTo>
                  <a:lnTo>
                    <a:pt x="4598" y="5767"/>
                  </a:lnTo>
                  <a:lnTo>
                    <a:pt x="4040" y="6405"/>
                  </a:lnTo>
                  <a:lnTo>
                    <a:pt x="3508" y="7069"/>
                  </a:lnTo>
                  <a:lnTo>
                    <a:pt x="3030" y="7760"/>
                  </a:lnTo>
                  <a:lnTo>
                    <a:pt x="2552" y="8477"/>
                  </a:lnTo>
                  <a:lnTo>
                    <a:pt x="2127" y="9222"/>
                  </a:lnTo>
                  <a:lnTo>
                    <a:pt x="1755" y="9992"/>
                  </a:lnTo>
                  <a:lnTo>
                    <a:pt x="1382" y="10763"/>
                  </a:lnTo>
                  <a:lnTo>
                    <a:pt x="1090" y="11560"/>
                  </a:lnTo>
                  <a:lnTo>
                    <a:pt x="798" y="12384"/>
                  </a:lnTo>
                  <a:lnTo>
                    <a:pt x="559" y="13208"/>
                  </a:lnTo>
                  <a:lnTo>
                    <a:pt x="373" y="14058"/>
                  </a:lnTo>
                  <a:lnTo>
                    <a:pt x="213" y="14935"/>
                  </a:lnTo>
                  <a:lnTo>
                    <a:pt x="107" y="15812"/>
                  </a:lnTo>
                  <a:lnTo>
                    <a:pt x="27" y="16715"/>
                  </a:lnTo>
                  <a:lnTo>
                    <a:pt x="1" y="17619"/>
                  </a:lnTo>
                  <a:lnTo>
                    <a:pt x="27" y="18522"/>
                  </a:lnTo>
                  <a:lnTo>
                    <a:pt x="107" y="19426"/>
                  </a:lnTo>
                  <a:lnTo>
                    <a:pt x="213" y="20303"/>
                  </a:lnTo>
                  <a:lnTo>
                    <a:pt x="373" y="21180"/>
                  </a:lnTo>
                  <a:lnTo>
                    <a:pt x="559" y="22030"/>
                  </a:lnTo>
                  <a:lnTo>
                    <a:pt x="798" y="22854"/>
                  </a:lnTo>
                  <a:lnTo>
                    <a:pt x="1090" y="23678"/>
                  </a:lnTo>
                  <a:lnTo>
                    <a:pt x="1382" y="24475"/>
                  </a:lnTo>
                  <a:lnTo>
                    <a:pt x="1755" y="25272"/>
                  </a:lnTo>
                  <a:lnTo>
                    <a:pt x="2127" y="26016"/>
                  </a:lnTo>
                  <a:lnTo>
                    <a:pt x="2552" y="26760"/>
                  </a:lnTo>
                  <a:lnTo>
                    <a:pt x="3030" y="27478"/>
                  </a:lnTo>
                  <a:lnTo>
                    <a:pt x="3508" y="28169"/>
                  </a:lnTo>
                  <a:lnTo>
                    <a:pt x="4040" y="28833"/>
                  </a:lnTo>
                  <a:lnTo>
                    <a:pt x="4598" y="29471"/>
                  </a:lnTo>
                  <a:lnTo>
                    <a:pt x="5183" y="30082"/>
                  </a:lnTo>
                  <a:lnTo>
                    <a:pt x="5794" y="30667"/>
                  </a:lnTo>
                  <a:lnTo>
                    <a:pt x="6432" y="31225"/>
                  </a:lnTo>
                  <a:lnTo>
                    <a:pt x="7096" y="31756"/>
                  </a:lnTo>
                  <a:lnTo>
                    <a:pt x="7787" y="32234"/>
                  </a:lnTo>
                  <a:lnTo>
                    <a:pt x="8504" y="32713"/>
                  </a:lnTo>
                  <a:lnTo>
                    <a:pt x="9222" y="33138"/>
                  </a:lnTo>
                  <a:lnTo>
                    <a:pt x="9992" y="33510"/>
                  </a:lnTo>
                  <a:lnTo>
                    <a:pt x="10763" y="33882"/>
                  </a:lnTo>
                  <a:lnTo>
                    <a:pt x="11587" y="34174"/>
                  </a:lnTo>
                  <a:lnTo>
                    <a:pt x="12384" y="34467"/>
                  </a:lnTo>
                  <a:lnTo>
                    <a:pt x="13234" y="34706"/>
                  </a:lnTo>
                  <a:lnTo>
                    <a:pt x="14085" y="34892"/>
                  </a:lnTo>
                  <a:lnTo>
                    <a:pt x="14962" y="35051"/>
                  </a:lnTo>
                  <a:lnTo>
                    <a:pt x="15839" y="35158"/>
                  </a:lnTo>
                  <a:lnTo>
                    <a:pt x="16742" y="35237"/>
                  </a:lnTo>
                  <a:lnTo>
                    <a:pt x="17646" y="35264"/>
                  </a:lnTo>
                  <a:lnTo>
                    <a:pt x="18549" y="35237"/>
                  </a:lnTo>
                  <a:lnTo>
                    <a:pt x="19453" y="35158"/>
                  </a:lnTo>
                  <a:lnTo>
                    <a:pt x="20330" y="35051"/>
                  </a:lnTo>
                  <a:lnTo>
                    <a:pt x="21180" y="34892"/>
                  </a:lnTo>
                  <a:lnTo>
                    <a:pt x="22057" y="34706"/>
                  </a:lnTo>
                  <a:lnTo>
                    <a:pt x="22881" y="34467"/>
                  </a:lnTo>
                  <a:lnTo>
                    <a:pt x="23705" y="34174"/>
                  </a:lnTo>
                  <a:lnTo>
                    <a:pt x="24502" y="33882"/>
                  </a:lnTo>
                  <a:lnTo>
                    <a:pt x="25273" y="33510"/>
                  </a:lnTo>
                  <a:lnTo>
                    <a:pt x="26043" y="33138"/>
                  </a:lnTo>
                  <a:lnTo>
                    <a:pt x="26787" y="32713"/>
                  </a:lnTo>
                  <a:lnTo>
                    <a:pt x="27505" y="32234"/>
                  </a:lnTo>
                  <a:lnTo>
                    <a:pt x="28196" y="31756"/>
                  </a:lnTo>
                  <a:lnTo>
                    <a:pt x="28860" y="31225"/>
                  </a:lnTo>
                  <a:lnTo>
                    <a:pt x="29498" y="30667"/>
                  </a:lnTo>
                  <a:lnTo>
                    <a:pt x="30109" y="30082"/>
                  </a:lnTo>
                  <a:lnTo>
                    <a:pt x="30694" y="29471"/>
                  </a:lnTo>
                  <a:lnTo>
                    <a:pt x="31252" y="28833"/>
                  </a:lnTo>
                  <a:lnTo>
                    <a:pt x="31757" y="28169"/>
                  </a:lnTo>
                  <a:lnTo>
                    <a:pt x="32261" y="27478"/>
                  </a:lnTo>
                  <a:lnTo>
                    <a:pt x="32713" y="26760"/>
                  </a:lnTo>
                  <a:lnTo>
                    <a:pt x="33138" y="26016"/>
                  </a:lnTo>
                  <a:lnTo>
                    <a:pt x="33537" y="25272"/>
                  </a:lnTo>
                  <a:lnTo>
                    <a:pt x="33882" y="24475"/>
                  </a:lnTo>
                  <a:lnTo>
                    <a:pt x="34201" y="23678"/>
                  </a:lnTo>
                  <a:lnTo>
                    <a:pt x="34467" y="22854"/>
                  </a:lnTo>
                  <a:lnTo>
                    <a:pt x="34706" y="22030"/>
                  </a:lnTo>
                  <a:lnTo>
                    <a:pt x="34919" y="21180"/>
                  </a:lnTo>
                  <a:lnTo>
                    <a:pt x="35078" y="20303"/>
                  </a:lnTo>
                  <a:lnTo>
                    <a:pt x="35185" y="19426"/>
                  </a:lnTo>
                  <a:lnTo>
                    <a:pt x="35238" y="18522"/>
                  </a:lnTo>
                  <a:lnTo>
                    <a:pt x="35264" y="17619"/>
                  </a:lnTo>
                  <a:lnTo>
                    <a:pt x="35238" y="16715"/>
                  </a:lnTo>
                  <a:lnTo>
                    <a:pt x="35185" y="15812"/>
                  </a:lnTo>
                  <a:lnTo>
                    <a:pt x="35078" y="14935"/>
                  </a:lnTo>
                  <a:lnTo>
                    <a:pt x="34919" y="14058"/>
                  </a:lnTo>
                  <a:lnTo>
                    <a:pt x="34706" y="13208"/>
                  </a:lnTo>
                  <a:lnTo>
                    <a:pt x="34467" y="12384"/>
                  </a:lnTo>
                  <a:lnTo>
                    <a:pt x="34201" y="11560"/>
                  </a:lnTo>
                  <a:lnTo>
                    <a:pt x="33882" y="10763"/>
                  </a:lnTo>
                  <a:lnTo>
                    <a:pt x="33537" y="9992"/>
                  </a:lnTo>
                  <a:lnTo>
                    <a:pt x="33138" y="9222"/>
                  </a:lnTo>
                  <a:lnTo>
                    <a:pt x="32713" y="8477"/>
                  </a:lnTo>
                  <a:lnTo>
                    <a:pt x="32261" y="7760"/>
                  </a:lnTo>
                  <a:lnTo>
                    <a:pt x="31757" y="7069"/>
                  </a:lnTo>
                  <a:lnTo>
                    <a:pt x="31252" y="6405"/>
                  </a:lnTo>
                  <a:lnTo>
                    <a:pt x="30694" y="5767"/>
                  </a:lnTo>
                  <a:lnTo>
                    <a:pt x="30109" y="5156"/>
                  </a:lnTo>
                  <a:lnTo>
                    <a:pt x="29498" y="4571"/>
                  </a:lnTo>
                  <a:lnTo>
                    <a:pt x="28860" y="4013"/>
                  </a:lnTo>
                  <a:lnTo>
                    <a:pt x="28196" y="3482"/>
                  </a:lnTo>
                  <a:lnTo>
                    <a:pt x="27505" y="3003"/>
                  </a:lnTo>
                  <a:lnTo>
                    <a:pt x="26787" y="2552"/>
                  </a:lnTo>
                  <a:lnTo>
                    <a:pt x="26043" y="2126"/>
                  </a:lnTo>
                  <a:lnTo>
                    <a:pt x="25273" y="1728"/>
                  </a:lnTo>
                  <a:lnTo>
                    <a:pt x="24502" y="1382"/>
                  </a:lnTo>
                  <a:lnTo>
                    <a:pt x="23705" y="1063"/>
                  </a:lnTo>
                  <a:lnTo>
                    <a:pt x="22881" y="798"/>
                  </a:lnTo>
                  <a:lnTo>
                    <a:pt x="22057" y="559"/>
                  </a:lnTo>
                  <a:lnTo>
                    <a:pt x="21180" y="346"/>
                  </a:lnTo>
                  <a:lnTo>
                    <a:pt x="20330" y="186"/>
                  </a:lnTo>
                  <a:lnTo>
                    <a:pt x="19453" y="80"/>
                  </a:lnTo>
                  <a:lnTo>
                    <a:pt x="18549" y="27"/>
                  </a:lnTo>
                  <a:lnTo>
                    <a:pt x="17646" y="0"/>
                  </a:lnTo>
                  <a:close/>
                </a:path>
              </a:pathLst>
            </a:custGeom>
            <a:solidFill>
              <a:srgbClr val="7276DB"/>
            </a:solidFill>
            <a:ln w="57150">
              <a:solidFill>
                <a:srgbClr val="7276DB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58" name="Google Shape;2443;p39">
              <a:extLst>
                <a:ext uri="{FF2B5EF4-FFF2-40B4-BE49-F238E27FC236}">
                  <a16:creationId xmlns:a16="http://schemas.microsoft.com/office/drawing/2014/main" id="{E287445D-5952-C0CA-F855-B60F857DE02D}"/>
                </a:ext>
              </a:extLst>
            </p:cNvPr>
            <p:cNvSpPr/>
            <p:nvPr/>
          </p:nvSpPr>
          <p:spPr>
            <a:xfrm>
              <a:off x="8070723" y="4006873"/>
              <a:ext cx="2124593" cy="2232857"/>
            </a:xfrm>
            <a:custGeom>
              <a:avLst/>
              <a:gdLst/>
              <a:ahLst/>
              <a:cxnLst/>
              <a:rect l="l" t="t" r="r" b="b"/>
              <a:pathLst>
                <a:path w="35265" h="35264" extrusionOk="0">
                  <a:moveTo>
                    <a:pt x="17620" y="0"/>
                  </a:moveTo>
                  <a:lnTo>
                    <a:pt x="16716" y="27"/>
                  </a:lnTo>
                  <a:lnTo>
                    <a:pt x="15813" y="80"/>
                  </a:lnTo>
                  <a:lnTo>
                    <a:pt x="14936" y="186"/>
                  </a:lnTo>
                  <a:lnTo>
                    <a:pt x="14085" y="346"/>
                  </a:lnTo>
                  <a:lnTo>
                    <a:pt x="13208" y="559"/>
                  </a:lnTo>
                  <a:lnTo>
                    <a:pt x="12384" y="798"/>
                  </a:lnTo>
                  <a:lnTo>
                    <a:pt x="11561" y="1063"/>
                  </a:lnTo>
                  <a:lnTo>
                    <a:pt x="10763" y="1382"/>
                  </a:lnTo>
                  <a:lnTo>
                    <a:pt x="9993" y="1728"/>
                  </a:lnTo>
                  <a:lnTo>
                    <a:pt x="9222" y="2126"/>
                  </a:lnTo>
                  <a:lnTo>
                    <a:pt x="8478" y="2552"/>
                  </a:lnTo>
                  <a:lnTo>
                    <a:pt x="7761" y="3003"/>
                  </a:lnTo>
                  <a:lnTo>
                    <a:pt x="7070" y="3482"/>
                  </a:lnTo>
                  <a:lnTo>
                    <a:pt x="6405" y="4013"/>
                  </a:lnTo>
                  <a:lnTo>
                    <a:pt x="5768" y="4571"/>
                  </a:lnTo>
                  <a:lnTo>
                    <a:pt x="5156" y="5156"/>
                  </a:lnTo>
                  <a:lnTo>
                    <a:pt x="4572" y="5767"/>
                  </a:lnTo>
                  <a:lnTo>
                    <a:pt x="4014" y="6405"/>
                  </a:lnTo>
                  <a:lnTo>
                    <a:pt x="3509" y="7069"/>
                  </a:lnTo>
                  <a:lnTo>
                    <a:pt x="3004" y="7760"/>
                  </a:lnTo>
                  <a:lnTo>
                    <a:pt x="2552" y="8477"/>
                  </a:lnTo>
                  <a:lnTo>
                    <a:pt x="2127" y="9222"/>
                  </a:lnTo>
                  <a:lnTo>
                    <a:pt x="1728" y="9992"/>
                  </a:lnTo>
                  <a:lnTo>
                    <a:pt x="1383" y="10763"/>
                  </a:lnTo>
                  <a:lnTo>
                    <a:pt x="1064" y="11560"/>
                  </a:lnTo>
                  <a:lnTo>
                    <a:pt x="798" y="12384"/>
                  </a:lnTo>
                  <a:lnTo>
                    <a:pt x="559" y="13208"/>
                  </a:lnTo>
                  <a:lnTo>
                    <a:pt x="346" y="14058"/>
                  </a:lnTo>
                  <a:lnTo>
                    <a:pt x="187" y="14935"/>
                  </a:lnTo>
                  <a:lnTo>
                    <a:pt x="81" y="15812"/>
                  </a:lnTo>
                  <a:lnTo>
                    <a:pt x="28" y="16715"/>
                  </a:lnTo>
                  <a:lnTo>
                    <a:pt x="1" y="17619"/>
                  </a:lnTo>
                  <a:lnTo>
                    <a:pt x="28" y="18522"/>
                  </a:lnTo>
                  <a:lnTo>
                    <a:pt x="81" y="19426"/>
                  </a:lnTo>
                  <a:lnTo>
                    <a:pt x="187" y="20303"/>
                  </a:lnTo>
                  <a:lnTo>
                    <a:pt x="346" y="21180"/>
                  </a:lnTo>
                  <a:lnTo>
                    <a:pt x="559" y="22030"/>
                  </a:lnTo>
                  <a:lnTo>
                    <a:pt x="798" y="22854"/>
                  </a:lnTo>
                  <a:lnTo>
                    <a:pt x="1064" y="23678"/>
                  </a:lnTo>
                  <a:lnTo>
                    <a:pt x="1383" y="24475"/>
                  </a:lnTo>
                  <a:lnTo>
                    <a:pt x="1728" y="25272"/>
                  </a:lnTo>
                  <a:lnTo>
                    <a:pt x="2127" y="26016"/>
                  </a:lnTo>
                  <a:lnTo>
                    <a:pt x="2552" y="26760"/>
                  </a:lnTo>
                  <a:lnTo>
                    <a:pt x="3004" y="27478"/>
                  </a:lnTo>
                  <a:lnTo>
                    <a:pt x="3509" y="28169"/>
                  </a:lnTo>
                  <a:lnTo>
                    <a:pt x="4014" y="28833"/>
                  </a:lnTo>
                  <a:lnTo>
                    <a:pt x="4572" y="29471"/>
                  </a:lnTo>
                  <a:lnTo>
                    <a:pt x="5156" y="30082"/>
                  </a:lnTo>
                  <a:lnTo>
                    <a:pt x="5768" y="30667"/>
                  </a:lnTo>
                  <a:lnTo>
                    <a:pt x="6405" y="31225"/>
                  </a:lnTo>
                  <a:lnTo>
                    <a:pt x="7070" y="31756"/>
                  </a:lnTo>
                  <a:lnTo>
                    <a:pt x="7761" y="32234"/>
                  </a:lnTo>
                  <a:lnTo>
                    <a:pt x="8478" y="32713"/>
                  </a:lnTo>
                  <a:lnTo>
                    <a:pt x="9222" y="33138"/>
                  </a:lnTo>
                  <a:lnTo>
                    <a:pt x="9993" y="33510"/>
                  </a:lnTo>
                  <a:lnTo>
                    <a:pt x="10763" y="33882"/>
                  </a:lnTo>
                  <a:lnTo>
                    <a:pt x="11561" y="34174"/>
                  </a:lnTo>
                  <a:lnTo>
                    <a:pt x="12384" y="34467"/>
                  </a:lnTo>
                  <a:lnTo>
                    <a:pt x="13208" y="34706"/>
                  </a:lnTo>
                  <a:lnTo>
                    <a:pt x="14085" y="34892"/>
                  </a:lnTo>
                  <a:lnTo>
                    <a:pt x="14936" y="35051"/>
                  </a:lnTo>
                  <a:lnTo>
                    <a:pt x="15813" y="35158"/>
                  </a:lnTo>
                  <a:lnTo>
                    <a:pt x="16716" y="35237"/>
                  </a:lnTo>
                  <a:lnTo>
                    <a:pt x="17620" y="35264"/>
                  </a:lnTo>
                  <a:lnTo>
                    <a:pt x="18523" y="35237"/>
                  </a:lnTo>
                  <a:lnTo>
                    <a:pt x="19427" y="35158"/>
                  </a:lnTo>
                  <a:lnTo>
                    <a:pt x="20304" y="35051"/>
                  </a:lnTo>
                  <a:lnTo>
                    <a:pt x="21180" y="34892"/>
                  </a:lnTo>
                  <a:lnTo>
                    <a:pt x="22031" y="34706"/>
                  </a:lnTo>
                  <a:lnTo>
                    <a:pt x="22881" y="34467"/>
                  </a:lnTo>
                  <a:lnTo>
                    <a:pt x="23678" y="34174"/>
                  </a:lnTo>
                  <a:lnTo>
                    <a:pt x="24502" y="33882"/>
                  </a:lnTo>
                  <a:lnTo>
                    <a:pt x="25273" y="33510"/>
                  </a:lnTo>
                  <a:lnTo>
                    <a:pt x="26043" y="33138"/>
                  </a:lnTo>
                  <a:lnTo>
                    <a:pt x="26761" y="32713"/>
                  </a:lnTo>
                  <a:lnTo>
                    <a:pt x="27478" y="32234"/>
                  </a:lnTo>
                  <a:lnTo>
                    <a:pt x="28169" y="31756"/>
                  </a:lnTo>
                  <a:lnTo>
                    <a:pt x="28834" y="31225"/>
                  </a:lnTo>
                  <a:lnTo>
                    <a:pt x="29472" y="30667"/>
                  </a:lnTo>
                  <a:lnTo>
                    <a:pt x="30083" y="30082"/>
                  </a:lnTo>
                  <a:lnTo>
                    <a:pt x="30667" y="29471"/>
                  </a:lnTo>
                  <a:lnTo>
                    <a:pt x="31225" y="28833"/>
                  </a:lnTo>
                  <a:lnTo>
                    <a:pt x="31757" y="28169"/>
                  </a:lnTo>
                  <a:lnTo>
                    <a:pt x="32235" y="27478"/>
                  </a:lnTo>
                  <a:lnTo>
                    <a:pt x="32714" y="26760"/>
                  </a:lnTo>
                  <a:lnTo>
                    <a:pt x="33139" y="26016"/>
                  </a:lnTo>
                  <a:lnTo>
                    <a:pt x="33511" y="25272"/>
                  </a:lnTo>
                  <a:lnTo>
                    <a:pt x="33883" y="24475"/>
                  </a:lnTo>
                  <a:lnTo>
                    <a:pt x="34175" y="23678"/>
                  </a:lnTo>
                  <a:lnTo>
                    <a:pt x="34467" y="22854"/>
                  </a:lnTo>
                  <a:lnTo>
                    <a:pt x="34707" y="22030"/>
                  </a:lnTo>
                  <a:lnTo>
                    <a:pt x="34893" y="21180"/>
                  </a:lnTo>
                  <a:lnTo>
                    <a:pt x="35052" y="20303"/>
                  </a:lnTo>
                  <a:lnTo>
                    <a:pt x="35158" y="19426"/>
                  </a:lnTo>
                  <a:lnTo>
                    <a:pt x="35238" y="18522"/>
                  </a:lnTo>
                  <a:lnTo>
                    <a:pt x="35265" y="17619"/>
                  </a:lnTo>
                  <a:lnTo>
                    <a:pt x="35238" y="16715"/>
                  </a:lnTo>
                  <a:lnTo>
                    <a:pt x="35158" y="15812"/>
                  </a:lnTo>
                  <a:lnTo>
                    <a:pt x="35052" y="14935"/>
                  </a:lnTo>
                  <a:lnTo>
                    <a:pt x="34893" y="14058"/>
                  </a:lnTo>
                  <a:lnTo>
                    <a:pt x="34707" y="13208"/>
                  </a:lnTo>
                  <a:lnTo>
                    <a:pt x="34467" y="12384"/>
                  </a:lnTo>
                  <a:lnTo>
                    <a:pt x="34175" y="11560"/>
                  </a:lnTo>
                  <a:lnTo>
                    <a:pt x="33883" y="10763"/>
                  </a:lnTo>
                  <a:lnTo>
                    <a:pt x="33511" y="9992"/>
                  </a:lnTo>
                  <a:lnTo>
                    <a:pt x="33139" y="9222"/>
                  </a:lnTo>
                  <a:lnTo>
                    <a:pt x="32714" y="8477"/>
                  </a:lnTo>
                  <a:lnTo>
                    <a:pt x="32235" y="7760"/>
                  </a:lnTo>
                  <a:lnTo>
                    <a:pt x="31757" y="7069"/>
                  </a:lnTo>
                  <a:lnTo>
                    <a:pt x="31225" y="6405"/>
                  </a:lnTo>
                  <a:lnTo>
                    <a:pt x="30667" y="5767"/>
                  </a:lnTo>
                  <a:lnTo>
                    <a:pt x="30083" y="5156"/>
                  </a:lnTo>
                  <a:lnTo>
                    <a:pt x="29472" y="4571"/>
                  </a:lnTo>
                  <a:lnTo>
                    <a:pt x="28834" y="4013"/>
                  </a:lnTo>
                  <a:lnTo>
                    <a:pt x="28169" y="3482"/>
                  </a:lnTo>
                  <a:lnTo>
                    <a:pt x="27478" y="3003"/>
                  </a:lnTo>
                  <a:lnTo>
                    <a:pt x="26761" y="2552"/>
                  </a:lnTo>
                  <a:lnTo>
                    <a:pt x="26043" y="2126"/>
                  </a:lnTo>
                  <a:lnTo>
                    <a:pt x="25273" y="1728"/>
                  </a:lnTo>
                  <a:lnTo>
                    <a:pt x="24502" y="1382"/>
                  </a:lnTo>
                  <a:lnTo>
                    <a:pt x="23678" y="1063"/>
                  </a:lnTo>
                  <a:lnTo>
                    <a:pt x="22881" y="798"/>
                  </a:lnTo>
                  <a:lnTo>
                    <a:pt x="22031" y="559"/>
                  </a:lnTo>
                  <a:lnTo>
                    <a:pt x="21180" y="346"/>
                  </a:lnTo>
                  <a:lnTo>
                    <a:pt x="20304" y="186"/>
                  </a:lnTo>
                  <a:lnTo>
                    <a:pt x="19427" y="80"/>
                  </a:lnTo>
                  <a:lnTo>
                    <a:pt x="18523" y="27"/>
                  </a:lnTo>
                  <a:lnTo>
                    <a:pt x="17620" y="0"/>
                  </a:lnTo>
                  <a:close/>
                </a:path>
              </a:pathLst>
            </a:custGeom>
            <a:solidFill>
              <a:srgbClr val="5CC3C5"/>
            </a:solidFill>
            <a:ln w="57150">
              <a:solidFill>
                <a:srgbClr val="5CC3C5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>
                <a:solidFill>
                  <a:srgbClr val="5CC3C5"/>
                </a:solidFill>
              </a:endParaRPr>
            </a:p>
          </p:txBody>
        </p:sp>
        <p:sp>
          <p:nvSpPr>
            <p:cNvPr id="63" name="Google Shape;2445;p39">
              <a:extLst>
                <a:ext uri="{FF2B5EF4-FFF2-40B4-BE49-F238E27FC236}">
                  <a16:creationId xmlns:a16="http://schemas.microsoft.com/office/drawing/2014/main" id="{33D0D3C9-2BC8-EC41-F719-50E41CAB0E07}"/>
                </a:ext>
              </a:extLst>
            </p:cNvPr>
            <p:cNvSpPr txBox="1"/>
            <p:nvPr/>
          </p:nvSpPr>
          <p:spPr>
            <a:xfrm>
              <a:off x="7784389" y="6641995"/>
              <a:ext cx="2746487" cy="729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s-MX" sz="2800" b="1">
                  <a:solidFill>
                    <a:srgbClr val="5CC3C5"/>
                  </a:solidFill>
                  <a:latin typeface="Aptos" panose="020B0004020202020204" pitchFamily="34" charset="0"/>
                </a:rPr>
                <a:t>Cumplimiento de Normativas Ambientales</a:t>
              </a:r>
            </a:p>
          </p:txBody>
        </p:sp>
        <p:sp>
          <p:nvSpPr>
            <p:cNvPr id="66" name="Google Shape;2451;p39">
              <a:extLst>
                <a:ext uri="{FF2B5EF4-FFF2-40B4-BE49-F238E27FC236}">
                  <a16:creationId xmlns:a16="http://schemas.microsoft.com/office/drawing/2014/main" id="{938E75EC-7917-E9A4-9455-5FA689A0D835}"/>
                </a:ext>
              </a:extLst>
            </p:cNvPr>
            <p:cNvSpPr/>
            <p:nvPr/>
          </p:nvSpPr>
          <p:spPr>
            <a:xfrm>
              <a:off x="5086427" y="6502182"/>
              <a:ext cx="2124593" cy="2232857"/>
            </a:xfrm>
            <a:custGeom>
              <a:avLst/>
              <a:gdLst/>
              <a:ahLst/>
              <a:cxnLst/>
              <a:rect l="l" t="t" r="r" b="b"/>
              <a:pathLst>
                <a:path w="35265" h="35264" extrusionOk="0">
                  <a:moveTo>
                    <a:pt x="17619" y="0"/>
                  </a:moveTo>
                  <a:lnTo>
                    <a:pt x="16716" y="27"/>
                  </a:lnTo>
                  <a:lnTo>
                    <a:pt x="15839" y="80"/>
                  </a:lnTo>
                  <a:lnTo>
                    <a:pt x="14935" y="213"/>
                  </a:lnTo>
                  <a:lnTo>
                    <a:pt x="14085" y="372"/>
                  </a:lnTo>
                  <a:lnTo>
                    <a:pt x="13235" y="558"/>
                  </a:lnTo>
                  <a:lnTo>
                    <a:pt x="12384" y="798"/>
                  </a:lnTo>
                  <a:lnTo>
                    <a:pt x="11561" y="1063"/>
                  </a:lnTo>
                  <a:lnTo>
                    <a:pt x="10763" y="1382"/>
                  </a:lnTo>
                  <a:lnTo>
                    <a:pt x="9993" y="1728"/>
                  </a:lnTo>
                  <a:lnTo>
                    <a:pt x="9222" y="2126"/>
                  </a:lnTo>
                  <a:lnTo>
                    <a:pt x="8478" y="2551"/>
                  </a:lnTo>
                  <a:lnTo>
                    <a:pt x="7761" y="3003"/>
                  </a:lnTo>
                  <a:lnTo>
                    <a:pt x="7070" y="3508"/>
                  </a:lnTo>
                  <a:lnTo>
                    <a:pt x="6405" y="4040"/>
                  </a:lnTo>
                  <a:lnTo>
                    <a:pt x="5767" y="4571"/>
                  </a:lnTo>
                  <a:lnTo>
                    <a:pt x="5156" y="5156"/>
                  </a:lnTo>
                  <a:lnTo>
                    <a:pt x="4572" y="5767"/>
                  </a:lnTo>
                  <a:lnTo>
                    <a:pt x="4014" y="6431"/>
                  </a:lnTo>
                  <a:lnTo>
                    <a:pt x="3509" y="7095"/>
                  </a:lnTo>
                  <a:lnTo>
                    <a:pt x="3004" y="7786"/>
                  </a:lnTo>
                  <a:lnTo>
                    <a:pt x="2552" y="8504"/>
                  </a:lnTo>
                  <a:lnTo>
                    <a:pt x="2127" y="9221"/>
                  </a:lnTo>
                  <a:lnTo>
                    <a:pt x="1728" y="9992"/>
                  </a:lnTo>
                  <a:lnTo>
                    <a:pt x="1383" y="10763"/>
                  </a:lnTo>
                  <a:lnTo>
                    <a:pt x="1064" y="11560"/>
                  </a:lnTo>
                  <a:lnTo>
                    <a:pt x="798" y="12384"/>
                  </a:lnTo>
                  <a:lnTo>
                    <a:pt x="559" y="13234"/>
                  </a:lnTo>
                  <a:lnTo>
                    <a:pt x="346" y="14084"/>
                  </a:lnTo>
                  <a:lnTo>
                    <a:pt x="213" y="14935"/>
                  </a:lnTo>
                  <a:lnTo>
                    <a:pt x="81" y="15838"/>
                  </a:lnTo>
                  <a:lnTo>
                    <a:pt x="27" y="16715"/>
                  </a:lnTo>
                  <a:lnTo>
                    <a:pt x="1" y="17645"/>
                  </a:lnTo>
                  <a:lnTo>
                    <a:pt x="27" y="18549"/>
                  </a:lnTo>
                  <a:lnTo>
                    <a:pt x="81" y="19426"/>
                  </a:lnTo>
                  <a:lnTo>
                    <a:pt x="213" y="20329"/>
                  </a:lnTo>
                  <a:lnTo>
                    <a:pt x="346" y="21180"/>
                  </a:lnTo>
                  <a:lnTo>
                    <a:pt x="559" y="22030"/>
                  </a:lnTo>
                  <a:lnTo>
                    <a:pt x="798" y="22880"/>
                  </a:lnTo>
                  <a:lnTo>
                    <a:pt x="1064" y="23704"/>
                  </a:lnTo>
                  <a:lnTo>
                    <a:pt x="1383" y="24501"/>
                  </a:lnTo>
                  <a:lnTo>
                    <a:pt x="1728" y="25272"/>
                  </a:lnTo>
                  <a:lnTo>
                    <a:pt x="2127" y="26043"/>
                  </a:lnTo>
                  <a:lnTo>
                    <a:pt x="2552" y="26787"/>
                  </a:lnTo>
                  <a:lnTo>
                    <a:pt x="3004" y="27478"/>
                  </a:lnTo>
                  <a:lnTo>
                    <a:pt x="3509" y="28195"/>
                  </a:lnTo>
                  <a:lnTo>
                    <a:pt x="4014" y="28859"/>
                  </a:lnTo>
                  <a:lnTo>
                    <a:pt x="4572" y="29497"/>
                  </a:lnTo>
                  <a:lnTo>
                    <a:pt x="5156" y="30108"/>
                  </a:lnTo>
                  <a:lnTo>
                    <a:pt x="5767" y="30693"/>
                  </a:lnTo>
                  <a:lnTo>
                    <a:pt x="6405" y="31251"/>
                  </a:lnTo>
                  <a:lnTo>
                    <a:pt x="7070" y="31756"/>
                  </a:lnTo>
                  <a:lnTo>
                    <a:pt x="7761" y="32261"/>
                  </a:lnTo>
                  <a:lnTo>
                    <a:pt x="8478" y="32713"/>
                  </a:lnTo>
                  <a:lnTo>
                    <a:pt x="9222" y="33138"/>
                  </a:lnTo>
                  <a:lnTo>
                    <a:pt x="9993" y="33536"/>
                  </a:lnTo>
                  <a:lnTo>
                    <a:pt x="10763" y="33882"/>
                  </a:lnTo>
                  <a:lnTo>
                    <a:pt x="11561" y="34201"/>
                  </a:lnTo>
                  <a:lnTo>
                    <a:pt x="12384" y="34466"/>
                  </a:lnTo>
                  <a:lnTo>
                    <a:pt x="13235" y="34706"/>
                  </a:lnTo>
                  <a:lnTo>
                    <a:pt x="14085" y="34918"/>
                  </a:lnTo>
                  <a:lnTo>
                    <a:pt x="14935" y="35051"/>
                  </a:lnTo>
                  <a:lnTo>
                    <a:pt x="15839" y="35184"/>
                  </a:lnTo>
                  <a:lnTo>
                    <a:pt x="16716" y="35237"/>
                  </a:lnTo>
                  <a:lnTo>
                    <a:pt x="17619" y="35264"/>
                  </a:lnTo>
                  <a:lnTo>
                    <a:pt x="18550" y="35237"/>
                  </a:lnTo>
                  <a:lnTo>
                    <a:pt x="19426" y="35184"/>
                  </a:lnTo>
                  <a:lnTo>
                    <a:pt x="20303" y="35051"/>
                  </a:lnTo>
                  <a:lnTo>
                    <a:pt x="21180" y="34918"/>
                  </a:lnTo>
                  <a:lnTo>
                    <a:pt x="22031" y="34706"/>
                  </a:lnTo>
                  <a:lnTo>
                    <a:pt x="22881" y="34466"/>
                  </a:lnTo>
                  <a:lnTo>
                    <a:pt x="23705" y="34201"/>
                  </a:lnTo>
                  <a:lnTo>
                    <a:pt x="24502" y="33882"/>
                  </a:lnTo>
                  <a:lnTo>
                    <a:pt x="25273" y="33536"/>
                  </a:lnTo>
                  <a:lnTo>
                    <a:pt x="26043" y="33138"/>
                  </a:lnTo>
                  <a:lnTo>
                    <a:pt x="26761" y="32713"/>
                  </a:lnTo>
                  <a:lnTo>
                    <a:pt x="27478" y="32261"/>
                  </a:lnTo>
                  <a:lnTo>
                    <a:pt x="28169" y="31756"/>
                  </a:lnTo>
                  <a:lnTo>
                    <a:pt x="28834" y="31251"/>
                  </a:lnTo>
                  <a:lnTo>
                    <a:pt x="29498" y="30693"/>
                  </a:lnTo>
                  <a:lnTo>
                    <a:pt x="30109" y="30108"/>
                  </a:lnTo>
                  <a:lnTo>
                    <a:pt x="30694" y="29497"/>
                  </a:lnTo>
                  <a:lnTo>
                    <a:pt x="31225" y="28859"/>
                  </a:lnTo>
                  <a:lnTo>
                    <a:pt x="31757" y="28195"/>
                  </a:lnTo>
                  <a:lnTo>
                    <a:pt x="32262" y="27478"/>
                  </a:lnTo>
                  <a:lnTo>
                    <a:pt x="32713" y="26787"/>
                  </a:lnTo>
                  <a:lnTo>
                    <a:pt x="33139" y="26043"/>
                  </a:lnTo>
                  <a:lnTo>
                    <a:pt x="33511" y="25272"/>
                  </a:lnTo>
                  <a:lnTo>
                    <a:pt x="33883" y="24501"/>
                  </a:lnTo>
                  <a:lnTo>
                    <a:pt x="34202" y="23704"/>
                  </a:lnTo>
                  <a:lnTo>
                    <a:pt x="34467" y="22880"/>
                  </a:lnTo>
                  <a:lnTo>
                    <a:pt x="34707" y="22030"/>
                  </a:lnTo>
                  <a:lnTo>
                    <a:pt x="34893" y="21180"/>
                  </a:lnTo>
                  <a:lnTo>
                    <a:pt x="35052" y="20329"/>
                  </a:lnTo>
                  <a:lnTo>
                    <a:pt x="35158" y="19426"/>
                  </a:lnTo>
                  <a:lnTo>
                    <a:pt x="35238" y="18549"/>
                  </a:lnTo>
                  <a:lnTo>
                    <a:pt x="35265" y="17645"/>
                  </a:lnTo>
                  <a:lnTo>
                    <a:pt x="35238" y="16715"/>
                  </a:lnTo>
                  <a:lnTo>
                    <a:pt x="35158" y="15838"/>
                  </a:lnTo>
                  <a:lnTo>
                    <a:pt x="35052" y="14935"/>
                  </a:lnTo>
                  <a:lnTo>
                    <a:pt x="34893" y="14084"/>
                  </a:lnTo>
                  <a:lnTo>
                    <a:pt x="34707" y="13234"/>
                  </a:lnTo>
                  <a:lnTo>
                    <a:pt x="34467" y="12384"/>
                  </a:lnTo>
                  <a:lnTo>
                    <a:pt x="34202" y="11560"/>
                  </a:lnTo>
                  <a:lnTo>
                    <a:pt x="33883" y="10763"/>
                  </a:lnTo>
                  <a:lnTo>
                    <a:pt x="33511" y="9992"/>
                  </a:lnTo>
                  <a:lnTo>
                    <a:pt x="33139" y="9221"/>
                  </a:lnTo>
                  <a:lnTo>
                    <a:pt x="32713" y="8504"/>
                  </a:lnTo>
                  <a:lnTo>
                    <a:pt x="32262" y="7786"/>
                  </a:lnTo>
                  <a:lnTo>
                    <a:pt x="31757" y="7095"/>
                  </a:lnTo>
                  <a:lnTo>
                    <a:pt x="31225" y="6431"/>
                  </a:lnTo>
                  <a:lnTo>
                    <a:pt x="30694" y="5767"/>
                  </a:lnTo>
                  <a:lnTo>
                    <a:pt x="30109" y="5156"/>
                  </a:lnTo>
                  <a:lnTo>
                    <a:pt x="29498" y="4571"/>
                  </a:lnTo>
                  <a:lnTo>
                    <a:pt x="28834" y="4040"/>
                  </a:lnTo>
                  <a:lnTo>
                    <a:pt x="28169" y="3508"/>
                  </a:lnTo>
                  <a:lnTo>
                    <a:pt x="27478" y="3003"/>
                  </a:lnTo>
                  <a:lnTo>
                    <a:pt x="26761" y="2551"/>
                  </a:lnTo>
                  <a:lnTo>
                    <a:pt x="26043" y="2126"/>
                  </a:lnTo>
                  <a:lnTo>
                    <a:pt x="25273" y="1728"/>
                  </a:lnTo>
                  <a:lnTo>
                    <a:pt x="24502" y="1382"/>
                  </a:lnTo>
                  <a:lnTo>
                    <a:pt x="23705" y="1063"/>
                  </a:lnTo>
                  <a:lnTo>
                    <a:pt x="22881" y="798"/>
                  </a:lnTo>
                  <a:lnTo>
                    <a:pt x="22031" y="558"/>
                  </a:lnTo>
                  <a:lnTo>
                    <a:pt x="21180" y="372"/>
                  </a:lnTo>
                  <a:lnTo>
                    <a:pt x="20303" y="213"/>
                  </a:lnTo>
                  <a:lnTo>
                    <a:pt x="19426" y="80"/>
                  </a:lnTo>
                  <a:lnTo>
                    <a:pt x="18550" y="27"/>
                  </a:lnTo>
                  <a:lnTo>
                    <a:pt x="17619" y="0"/>
                  </a:lnTo>
                  <a:close/>
                </a:path>
              </a:pathLst>
            </a:custGeom>
            <a:solidFill>
              <a:srgbClr val="2262A1"/>
            </a:solidFill>
            <a:ln w="57150">
              <a:solidFill>
                <a:srgbClr val="2262A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/>
            </a:p>
          </p:txBody>
        </p:sp>
        <p:sp>
          <p:nvSpPr>
            <p:cNvPr id="78" name="Google Shape;2453;p39">
              <a:extLst>
                <a:ext uri="{FF2B5EF4-FFF2-40B4-BE49-F238E27FC236}">
                  <a16:creationId xmlns:a16="http://schemas.microsoft.com/office/drawing/2014/main" id="{32765EBA-BE37-7DBF-E9B1-0DF0814C4F71}"/>
                </a:ext>
              </a:extLst>
            </p:cNvPr>
            <p:cNvSpPr txBox="1"/>
            <p:nvPr/>
          </p:nvSpPr>
          <p:spPr>
            <a:xfrm>
              <a:off x="4836603" y="3632536"/>
              <a:ext cx="2697263" cy="7294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/>
              <a:r>
                <a:rPr lang="es-MX" sz="2800" b="1">
                  <a:solidFill>
                    <a:srgbClr val="2262A1"/>
                  </a:solidFill>
                  <a:latin typeface="Aptos" panose="020B0004020202020204" pitchFamily="34" charset="0"/>
                </a:rPr>
                <a:t>Contribución a la Transición Energética</a:t>
              </a: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800" b="1">
                <a:solidFill>
                  <a:srgbClr val="2262A1"/>
                </a:solidFill>
                <a:latin typeface="Aptos" panose="020B0004020202020204" pitchFamily="34" charset="0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79" name="Google Shape;2454;p39">
              <a:extLst>
                <a:ext uri="{FF2B5EF4-FFF2-40B4-BE49-F238E27FC236}">
                  <a16:creationId xmlns:a16="http://schemas.microsoft.com/office/drawing/2014/main" id="{3F2B0A8E-3D64-1B25-8DD1-F5AF2981FF89}"/>
                </a:ext>
              </a:extLst>
            </p:cNvPr>
            <p:cNvSpPr txBox="1"/>
            <p:nvPr/>
          </p:nvSpPr>
          <p:spPr>
            <a:xfrm>
              <a:off x="4904310" y="4570284"/>
              <a:ext cx="2505473" cy="12339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/>
              <a:r>
                <a:rPr lang="es-MX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P</a:t>
              </a:r>
              <a:r>
                <a:rPr lang="es-MX" sz="1800" b="0" i="0" dirty="0">
                  <a:solidFill>
                    <a:srgbClr val="2464A4"/>
                  </a:solidFill>
                  <a:effectLst/>
                  <a:latin typeface="Arial Nova" panose="020B0504020202020204" pitchFamily="34" charset="0"/>
                </a:rPr>
                <a:t>rovisión de materias primas criticas para tecnologías de energía renovable, como baterías y paneles solares.</a:t>
              </a:r>
            </a:p>
          </p:txBody>
        </p:sp>
        <p:sp>
          <p:nvSpPr>
            <p:cNvPr id="87" name="CuadroTexto 86">
              <a:extLst>
                <a:ext uri="{FF2B5EF4-FFF2-40B4-BE49-F238E27FC236}">
                  <a16:creationId xmlns:a16="http://schemas.microsoft.com/office/drawing/2014/main" id="{B86A8806-AB55-9811-5302-48C62A40437A}"/>
                </a:ext>
              </a:extLst>
            </p:cNvPr>
            <p:cNvSpPr txBox="1"/>
            <p:nvPr/>
          </p:nvSpPr>
          <p:spPr>
            <a:xfrm>
              <a:off x="7960629" y="7776925"/>
              <a:ext cx="2372010" cy="1694250"/>
            </a:xfrm>
            <a:prstGeom prst="rect">
              <a:avLst/>
            </a:prstGeom>
            <a:noFill/>
          </p:spPr>
          <p:txBody>
            <a:bodyPr wrap="square" anchor="t">
              <a:spAutoFit/>
            </a:bodyPr>
            <a:lstStyle/>
            <a:p>
              <a:pPr algn="ctr"/>
              <a:r>
                <a:rPr lang="es-MX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A nivel global, hay un </a:t>
              </a:r>
              <a:r>
                <a:rPr lang="es-MX" sz="1800" b="1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creciente </a:t>
              </a:r>
              <a:r>
                <a:rPr lang="es-MX" sz="1800" dirty="0">
                  <a:solidFill>
                    <a:srgbClr val="2464A4"/>
                  </a:solidFill>
                  <a:latin typeface="Arial Nova" panose="020B0504020202020204" pitchFamily="34" charset="0"/>
                </a:rPr>
                <a:t>número de regulaciones que exigen la reducción de emisiones de carbono.</a:t>
              </a:r>
              <a:endParaRPr lang="es-PE" sz="1800" dirty="0">
                <a:solidFill>
                  <a:srgbClr val="2464A4"/>
                </a:solidFill>
                <a:latin typeface="Arial Nova" panose="020B0504020202020204" pitchFamily="34" charset="0"/>
              </a:endParaRPr>
            </a:p>
          </p:txBody>
        </p:sp>
        <p:pic>
          <p:nvPicPr>
            <p:cNvPr id="92" name="Imagen 91">
              <a:extLst>
                <a:ext uri="{FF2B5EF4-FFF2-40B4-BE49-F238E27FC236}">
                  <a16:creationId xmlns:a16="http://schemas.microsoft.com/office/drawing/2014/main" id="{6BD73B6F-7FB9-D145-9F7B-E7E935CFA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61943" y="6780460"/>
              <a:ext cx="1476241" cy="1476241"/>
            </a:xfrm>
            <a:prstGeom prst="rect">
              <a:avLst/>
            </a:prstGeom>
          </p:spPr>
        </p:pic>
        <p:pic>
          <p:nvPicPr>
            <p:cNvPr id="3" name="Imagen 2" descr="Logotipo, Icono&#10;&#10;Descripción generada automáticamente">
              <a:extLst>
                <a:ext uri="{FF2B5EF4-FFF2-40B4-BE49-F238E27FC236}">
                  <a16:creationId xmlns:a16="http://schemas.microsoft.com/office/drawing/2014/main" id="{3089E9C5-5660-F7A8-33FA-112167DB2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8257" y="4392429"/>
              <a:ext cx="1334578" cy="1334578"/>
            </a:xfrm>
            <a:prstGeom prst="rect">
              <a:avLst/>
            </a:prstGeom>
          </p:spPr>
        </p:pic>
        <p:pic>
          <p:nvPicPr>
            <p:cNvPr id="22" name="Imagen 21" descr="Icono&#10;&#10;Descripción generada automáticamente">
              <a:extLst>
                <a:ext uri="{FF2B5EF4-FFF2-40B4-BE49-F238E27FC236}">
                  <a16:creationId xmlns:a16="http://schemas.microsoft.com/office/drawing/2014/main" id="{391A9D27-19AB-28F2-110F-DAF79D870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76683" y="4417184"/>
              <a:ext cx="1334578" cy="1334578"/>
            </a:xfrm>
            <a:prstGeom prst="rect">
              <a:avLst/>
            </a:prstGeom>
          </p:spPr>
        </p:pic>
        <p:pic>
          <p:nvPicPr>
            <p:cNvPr id="24" name="Imagen 23" descr="Icono&#10;&#10;Descripción generada automáticamente">
              <a:extLst>
                <a:ext uri="{FF2B5EF4-FFF2-40B4-BE49-F238E27FC236}">
                  <a16:creationId xmlns:a16="http://schemas.microsoft.com/office/drawing/2014/main" id="{A2EA2685-270C-C8B7-52CF-FE505C21886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2895" y="4421865"/>
              <a:ext cx="1339599" cy="1339599"/>
            </a:xfrm>
            <a:prstGeom prst="rect">
              <a:avLst/>
            </a:prstGeom>
          </p:spPr>
        </p:pic>
        <p:pic>
          <p:nvPicPr>
            <p:cNvPr id="26" name="Imagen 25" descr="Icono&#10;&#10;Descripción generada automáticamente">
              <a:extLst>
                <a:ext uri="{FF2B5EF4-FFF2-40B4-BE49-F238E27FC236}">
                  <a16:creationId xmlns:a16="http://schemas.microsoft.com/office/drawing/2014/main" id="{C74A0161-461A-884B-598C-9FA3EFB13E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26193" y="6921525"/>
              <a:ext cx="1329896" cy="13298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14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F0C7549-AB56-527A-2B52-8852F42B18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97" y="2486197"/>
            <a:ext cx="11220449" cy="6971662"/>
          </a:xfrm>
          <a:prstGeom prst="rect">
            <a:avLst/>
          </a:prstGeom>
        </p:spPr>
      </p:pic>
      <p:sp>
        <p:nvSpPr>
          <p:cNvPr id="4" name="Rectangle 9">
            <a:extLst>
              <a:ext uri="{FF2B5EF4-FFF2-40B4-BE49-F238E27FC236}">
                <a16:creationId xmlns:a16="http://schemas.microsoft.com/office/drawing/2014/main" id="{B0AFC74F-6763-3B71-22AB-037413AD5E4D}"/>
              </a:ext>
            </a:extLst>
          </p:cNvPr>
          <p:cNvSpPr/>
          <p:nvPr/>
        </p:nvSpPr>
        <p:spPr>
          <a:xfrm>
            <a:off x="-23446" y="0"/>
            <a:ext cx="18311446" cy="2100587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48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9ED73424-3D1C-FAE6-2317-F3EF40A4CE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4765" y="173446"/>
            <a:ext cx="1697708" cy="1538336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450AFB09-36ED-BD94-ECB6-E175F16710AD}"/>
              </a:ext>
            </a:extLst>
          </p:cNvPr>
          <p:cNvSpPr txBox="1"/>
          <p:nvPr/>
        </p:nvSpPr>
        <p:spPr>
          <a:xfrm>
            <a:off x="2259811" y="385610"/>
            <a:ext cx="137449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4200" b="1" dirty="0">
                <a:solidFill>
                  <a:schemeClr val="bg1"/>
                </a:solidFill>
                <a:latin typeface="Aptos" panose="020B0004020202020204" pitchFamily="34" charset="0"/>
              </a:rPr>
              <a:t>La velocidad está marcada por el suministro renovable (PPA verde) y por uso del Hidrógeno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AACEC0-DE69-F7F8-67FB-026B87B41BC7}"/>
              </a:ext>
            </a:extLst>
          </p:cNvPr>
          <p:cNvSpPr/>
          <p:nvPr/>
        </p:nvSpPr>
        <p:spPr>
          <a:xfrm>
            <a:off x="3333749" y="4598889"/>
            <a:ext cx="1676401" cy="78442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903F6C-EA75-6F37-6D0C-7D0491A576D1}"/>
              </a:ext>
            </a:extLst>
          </p:cNvPr>
          <p:cNvSpPr/>
          <p:nvPr/>
        </p:nvSpPr>
        <p:spPr>
          <a:xfrm>
            <a:off x="3333749" y="6643227"/>
            <a:ext cx="1676401" cy="8527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0892B5-9621-0350-DE5B-895E09A37FB2}"/>
              </a:ext>
            </a:extLst>
          </p:cNvPr>
          <p:cNvSpPr txBox="1"/>
          <p:nvPr/>
        </p:nvSpPr>
        <p:spPr>
          <a:xfrm>
            <a:off x="11480224" y="3127469"/>
            <a:ext cx="6572249" cy="5940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>
              <a:buFont typeface="+mj-lt"/>
              <a:buAutoNum type="arabicPeriod"/>
            </a:pPr>
            <a:r>
              <a:rPr lang="es-ES" sz="2000" b="1" i="0" dirty="0">
                <a:solidFill>
                  <a:srgbClr val="111111"/>
                </a:solidFill>
                <a:effectLst/>
                <a:latin typeface="-apple-system"/>
              </a:rPr>
              <a:t>Uso de Energías Renovables</a:t>
            </a:r>
            <a:r>
              <a:rPr lang="es-ES" sz="2000" dirty="0">
                <a:solidFill>
                  <a:srgbClr val="111111"/>
                </a:solidFill>
                <a:latin typeface="-apple-system"/>
              </a:rPr>
              <a:t>, </a:t>
            </a:r>
            <a:r>
              <a:rPr lang="es-ES" sz="2000" b="0" i="0" dirty="0">
                <a:solidFill>
                  <a:srgbClr val="111111"/>
                </a:solidFill>
                <a:effectLst/>
                <a:latin typeface="-apple-system"/>
              </a:rPr>
              <a:t>como la solar y la eólica, en sus operaciones para reducir la dependencia de combustibles fósiles.</a:t>
            </a:r>
          </a:p>
          <a:p>
            <a:pPr marL="457200" indent="-457200" algn="l">
              <a:buFont typeface="+mj-lt"/>
              <a:buAutoNum type="arabicPeriod"/>
            </a:pPr>
            <a:r>
              <a:rPr lang="es-ES" sz="2000" b="1" i="0" dirty="0">
                <a:solidFill>
                  <a:srgbClr val="111111"/>
                </a:solidFill>
                <a:effectLst/>
                <a:latin typeface="-apple-system"/>
              </a:rPr>
              <a:t>Captura y Almacenamiento de Carbono (CCS)</a:t>
            </a:r>
            <a:r>
              <a:rPr lang="es-ES" sz="2000" dirty="0">
                <a:solidFill>
                  <a:srgbClr val="111111"/>
                </a:solidFill>
                <a:latin typeface="-apple-system"/>
              </a:rPr>
              <a:t> </a:t>
            </a:r>
            <a:r>
              <a:rPr lang="es-ES" sz="2000" b="0" i="0" dirty="0">
                <a:solidFill>
                  <a:srgbClr val="111111"/>
                </a:solidFill>
                <a:effectLst/>
                <a:latin typeface="-apple-system"/>
              </a:rPr>
              <a:t>para reducir las emisiones de CO2 generadas durante los procesos mineros.</a:t>
            </a:r>
          </a:p>
          <a:p>
            <a:pPr marL="457200" indent="-457200" algn="l">
              <a:buFont typeface="+mj-lt"/>
              <a:buAutoNum type="arabicPeriod"/>
            </a:pPr>
            <a:r>
              <a:rPr lang="es-ES" sz="2000" b="1" i="0" dirty="0">
                <a:solidFill>
                  <a:srgbClr val="111111"/>
                </a:solidFill>
                <a:effectLst/>
                <a:latin typeface="-apple-system"/>
              </a:rPr>
              <a:t>Optimización de Procesos</a:t>
            </a:r>
            <a:r>
              <a:rPr lang="es-ES" sz="2000" b="0" i="0" dirty="0">
                <a:solidFill>
                  <a:srgbClr val="111111"/>
                </a:solidFill>
                <a:effectLst/>
                <a:latin typeface="-apple-system"/>
              </a:rPr>
              <a:t>: Mejora de la eficiencia en los procesos de extracción y procesamiento de minerales para reducir el consumo de energía y las emisiones asociadas.</a:t>
            </a:r>
          </a:p>
          <a:p>
            <a:pPr marL="457200" indent="-457200" algn="l">
              <a:buFont typeface="+mj-lt"/>
              <a:buAutoNum type="arabicPeriod"/>
            </a:pPr>
            <a:r>
              <a:rPr lang="es-ES" sz="2000" b="1" i="0" dirty="0">
                <a:solidFill>
                  <a:srgbClr val="111111"/>
                </a:solidFill>
                <a:effectLst/>
                <a:latin typeface="-apple-system"/>
              </a:rPr>
              <a:t>Electrificación de Equipos</a:t>
            </a:r>
            <a:r>
              <a:rPr lang="es-ES" sz="2000" b="0" i="0" dirty="0">
                <a:solidFill>
                  <a:srgbClr val="111111"/>
                </a:solidFill>
                <a:effectLst/>
                <a:latin typeface="-apple-system"/>
              </a:rPr>
              <a:t>: Sustitución de maquinaria y vehículos que funcionan con combustibles fósiles por alternativas eléctricas o híbridas e hidrógeno.</a:t>
            </a:r>
          </a:p>
          <a:p>
            <a:pPr marL="457200" indent="-457200" algn="l">
              <a:buFont typeface="+mj-lt"/>
              <a:buAutoNum type="arabicPeriod"/>
            </a:pPr>
            <a:r>
              <a:rPr lang="es-ES" sz="2000" b="1" i="0" dirty="0">
                <a:solidFill>
                  <a:srgbClr val="111111"/>
                </a:solidFill>
                <a:effectLst/>
                <a:latin typeface="-apple-system"/>
              </a:rPr>
              <a:t>Gestión de Residuos</a:t>
            </a:r>
            <a:r>
              <a:rPr lang="es-ES" sz="2000" b="0" i="0" dirty="0">
                <a:solidFill>
                  <a:srgbClr val="111111"/>
                </a:solidFill>
                <a:effectLst/>
                <a:latin typeface="-apple-system"/>
              </a:rPr>
              <a:t>: Implementación de sistemas de recuperación y reciclaje de recursos para reducir la cantidad de desechos generados y reutilizar materiales.</a:t>
            </a:r>
          </a:p>
          <a:p>
            <a:pPr marL="457200" indent="-457200" algn="l">
              <a:buFont typeface="+mj-lt"/>
              <a:buAutoNum type="arabicPeriod"/>
            </a:pPr>
            <a:r>
              <a:rPr lang="es-ES" sz="2000" b="1" i="0" dirty="0">
                <a:solidFill>
                  <a:srgbClr val="111111"/>
                </a:solidFill>
                <a:effectLst/>
                <a:latin typeface="-apple-system"/>
              </a:rPr>
              <a:t>Innovación Tecnológica</a:t>
            </a:r>
            <a:r>
              <a:rPr lang="es-ES" sz="2000" b="0" i="0" dirty="0">
                <a:solidFill>
                  <a:srgbClr val="111111"/>
                </a:solidFill>
                <a:effectLst/>
                <a:latin typeface="-apple-system"/>
              </a:rPr>
              <a:t>: Uso de inteligencia artificial y el Internet de las cosas (</a:t>
            </a:r>
            <a:r>
              <a:rPr lang="es-ES" sz="2000" b="0" i="0" dirty="0" err="1">
                <a:solidFill>
                  <a:srgbClr val="111111"/>
                </a:solidFill>
                <a:effectLst/>
                <a:latin typeface="-apple-system"/>
              </a:rPr>
              <a:t>IoT</a:t>
            </a:r>
            <a:r>
              <a:rPr lang="es-ES" sz="2000" b="0" i="0" dirty="0">
                <a:solidFill>
                  <a:srgbClr val="111111"/>
                </a:solidFill>
                <a:effectLst/>
                <a:latin typeface="-apple-system"/>
              </a:rPr>
              <a:t>), para monitorear y optimizar las operaciones mineras, reduciendo así las emisiones.</a:t>
            </a:r>
          </a:p>
        </p:txBody>
      </p:sp>
    </p:spTree>
    <p:extLst>
      <p:ext uri="{BB962C8B-B14F-4D97-AF65-F5344CB8AC3E}">
        <p14:creationId xmlns:p14="http://schemas.microsoft.com/office/powerpoint/2010/main" val="54833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9">
            <a:extLst>
              <a:ext uri="{FF2B5EF4-FFF2-40B4-BE49-F238E27FC236}">
                <a16:creationId xmlns:a16="http://schemas.microsoft.com/office/drawing/2014/main" id="{15BC9816-A31E-71D0-F1B2-993BD5C8D4A9}"/>
              </a:ext>
            </a:extLst>
          </p:cNvPr>
          <p:cNvSpPr/>
          <p:nvPr/>
        </p:nvSpPr>
        <p:spPr>
          <a:xfrm>
            <a:off x="-15744" y="1670053"/>
            <a:ext cx="18303744" cy="6016207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27">
              <a:defRPr/>
            </a:pPr>
            <a:endParaRPr lang="en-US" sz="324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626C125D-1DF8-4A3D-4F1D-AA0322801C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85" t="21068" r="6490" b="8649"/>
          <a:stretch/>
        </p:blipFill>
        <p:spPr>
          <a:xfrm>
            <a:off x="8893017" y="2164378"/>
            <a:ext cx="9402685" cy="4616253"/>
          </a:xfrm>
          <a:prstGeom prst="rect">
            <a:avLst/>
          </a:prstGeom>
          <a:ln>
            <a:noFill/>
          </a:ln>
        </p:spPr>
      </p:pic>
      <p:sp>
        <p:nvSpPr>
          <p:cNvPr id="8" name="CuadroTexto 73">
            <a:extLst>
              <a:ext uri="{FF2B5EF4-FFF2-40B4-BE49-F238E27FC236}">
                <a16:creationId xmlns:a16="http://schemas.microsoft.com/office/drawing/2014/main" id="{9117FF4D-D2B1-EC2E-AC61-BF975FB91C9C}"/>
              </a:ext>
            </a:extLst>
          </p:cNvPr>
          <p:cNvSpPr txBox="1"/>
          <p:nvPr/>
        </p:nvSpPr>
        <p:spPr>
          <a:xfrm>
            <a:off x="16071859" y="7221826"/>
            <a:ext cx="197908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371546">
              <a:defRPr/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</a:rPr>
              <a:t>Fuente [9]: ENGIE Impact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ED34D77-B392-2C39-A122-7C0CC454C62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2175473" y="4970424"/>
            <a:ext cx="171457" cy="25006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625" b="0" i="0" kern="1200">
                <a:solidFill>
                  <a:srgbClr val="585858"/>
                </a:solidFill>
                <a:latin typeface="Franklin Gothic Medium"/>
                <a:ea typeface="+mn-ea"/>
                <a:cs typeface="Franklin Gothic Medium"/>
              </a:defRPr>
            </a:lvl1pPr>
            <a:lvl2pPr marL="6858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6858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624">
              <a:spcBef>
                <a:spcPts val="143"/>
              </a:spcBef>
            </a:pPr>
            <a:fld id="{81D60167-4931-47E6-BA6A-407CBD079E47}" type="slidenum">
              <a:rPr lang="en-US" spc="12"/>
              <a:pPr marL="47624">
                <a:spcBef>
                  <a:spcPts val="143"/>
                </a:spcBef>
              </a:pPr>
              <a:t>8</a:t>
            </a:fld>
            <a:endParaRPr lang="en-US" sz="1260" spc="15"/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2A1F2886-C000-99DB-D96F-36BEE5C409A6}"/>
              </a:ext>
            </a:extLst>
          </p:cNvPr>
          <p:cNvSpPr/>
          <p:nvPr/>
        </p:nvSpPr>
        <p:spPr>
          <a:xfrm>
            <a:off x="-23446" y="0"/>
            <a:ext cx="18311446" cy="1670053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48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6F00FD8A-0A07-B873-3F12-8C14EC53F3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353236" y="65858"/>
            <a:ext cx="1697708" cy="1538336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3BE4A858-D6A3-E120-ABDF-6679019A076F}"/>
              </a:ext>
            </a:extLst>
          </p:cNvPr>
          <p:cNvSpPr txBox="1">
            <a:spLocks/>
          </p:cNvSpPr>
          <p:nvPr/>
        </p:nvSpPr>
        <p:spPr>
          <a:xfrm>
            <a:off x="2086545" y="445955"/>
            <a:ext cx="13480689" cy="12665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baseline="0">
                <a:solidFill>
                  <a:srgbClr val="649AD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371600"/>
            <a:r>
              <a:rPr lang="es-ES" sz="3600" b="1" dirty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+mn-cs"/>
              </a:rPr>
              <a:t>Los miembros del ICMM se han comprometido con el objetivo de cero emisiones netas (alcance 1 y 2) para 2050</a:t>
            </a:r>
            <a:br>
              <a:rPr lang="es-ES_tradnl" sz="3600" b="1" dirty="0">
                <a:solidFill>
                  <a:schemeClr val="bg1"/>
                </a:solidFill>
                <a:latin typeface="Aptos" panose="020B0004020202020204" pitchFamily="34" charset="0"/>
                <a:ea typeface="+mn-ea"/>
                <a:cs typeface="+mn-cs"/>
              </a:rPr>
            </a:br>
            <a:r>
              <a:rPr lang="es-PE" sz="3600" dirty="0"/>
              <a:t>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F3FFDED-1B2F-E735-6A8F-159ABBDD0979}"/>
              </a:ext>
            </a:extLst>
          </p:cNvPr>
          <p:cNvSpPr txBox="1"/>
          <p:nvPr/>
        </p:nvSpPr>
        <p:spPr>
          <a:xfrm>
            <a:off x="8826889" y="2206804"/>
            <a:ext cx="1979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800" b="1" dirty="0">
                <a:solidFill>
                  <a:schemeClr val="bg1"/>
                </a:solidFill>
                <a:highlight>
                  <a:srgbClr val="00AAFF"/>
                </a:highlight>
                <a:latin typeface="Aptos" panose="020B0004020202020204" pitchFamily="34" charset="0"/>
              </a:rPr>
              <a:t>Compañía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D93DFA8-3F0E-8F76-AC04-33710996AFF9}"/>
              </a:ext>
            </a:extLst>
          </p:cNvPr>
          <p:cNvSpPr txBox="1"/>
          <p:nvPr/>
        </p:nvSpPr>
        <p:spPr>
          <a:xfrm>
            <a:off x="10177398" y="2191363"/>
            <a:ext cx="5065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800" b="1" dirty="0">
                <a:solidFill>
                  <a:schemeClr val="bg1"/>
                </a:solidFill>
                <a:highlight>
                  <a:srgbClr val="00AAFF"/>
                </a:highlight>
                <a:latin typeface="Aptos" panose="020B0004020202020204" pitchFamily="34" charset="0"/>
              </a:rPr>
              <a:t>Objetivos de descarbonización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4F1BC5D-819F-F027-9307-FF82A710C870}"/>
              </a:ext>
            </a:extLst>
          </p:cNvPr>
          <p:cNvSpPr txBox="1"/>
          <p:nvPr/>
        </p:nvSpPr>
        <p:spPr>
          <a:xfrm>
            <a:off x="15947813" y="2199057"/>
            <a:ext cx="15678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200" b="1" dirty="0">
                <a:solidFill>
                  <a:schemeClr val="bg1"/>
                </a:solidFill>
                <a:highlight>
                  <a:srgbClr val="00AAFF"/>
                </a:highlight>
                <a:latin typeface="Aptos" panose="020B0004020202020204" pitchFamily="34" charset="0"/>
              </a:rPr>
              <a:t>Objetivos y estándare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68A4CC0-D4DC-2AB2-9EDE-CCBA0D3B9E22}"/>
              </a:ext>
            </a:extLst>
          </p:cNvPr>
          <p:cNvSpPr txBox="1"/>
          <p:nvPr/>
        </p:nvSpPr>
        <p:spPr>
          <a:xfrm>
            <a:off x="17342891" y="2299085"/>
            <a:ext cx="9528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100" b="1" dirty="0">
                <a:solidFill>
                  <a:schemeClr val="bg1"/>
                </a:solidFill>
                <a:highlight>
                  <a:srgbClr val="00AAFF"/>
                </a:highlight>
                <a:latin typeface="Aptos" panose="020B0004020202020204" pitchFamily="34" charset="0"/>
              </a:rPr>
              <a:t>Ambición</a:t>
            </a:r>
          </a:p>
        </p:txBody>
      </p:sp>
      <p:pic>
        <p:nvPicPr>
          <p:cNvPr id="14" name="Picture 2" descr="International Council of Mining and Metals (ICMM) | | Guía Minera de Chile">
            <a:extLst>
              <a:ext uri="{FF2B5EF4-FFF2-40B4-BE49-F238E27FC236}">
                <a16:creationId xmlns:a16="http://schemas.microsoft.com/office/drawing/2014/main" id="{7C3AF6E9-C57D-5832-108F-7011B1C84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5410" y="4024887"/>
            <a:ext cx="2269094" cy="181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6BBD5C0-1C85-51B7-2811-F0403B0AFB5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917" t="18815" r="36666" b="11851"/>
          <a:stretch/>
        </p:blipFill>
        <p:spPr>
          <a:xfrm>
            <a:off x="0" y="3550606"/>
            <a:ext cx="2321270" cy="3230026"/>
          </a:xfrm>
          <a:prstGeom prst="rect">
            <a:avLst/>
          </a:prstGeom>
        </p:spPr>
      </p:pic>
      <p:pic>
        <p:nvPicPr>
          <p:cNvPr id="17" name="Picture 2" descr="International Council of Mining and Metals (ICMM) | | Guía Minera de Chile">
            <a:extLst>
              <a:ext uri="{FF2B5EF4-FFF2-40B4-BE49-F238E27FC236}">
                <a16:creationId xmlns:a16="http://schemas.microsoft.com/office/drawing/2014/main" id="{6062C329-A832-8530-B992-D14B38F90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166" y="1803506"/>
            <a:ext cx="2269094" cy="181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Net zero commitment graphic">
            <a:extLst>
              <a:ext uri="{FF2B5EF4-FFF2-40B4-BE49-F238E27FC236}">
                <a16:creationId xmlns:a16="http://schemas.microsoft.com/office/drawing/2014/main" id="{FADE7EC5-A38D-7BE8-FE9E-44C715A46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1270" y="2185067"/>
            <a:ext cx="6505620" cy="4595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peech Bubble: Rectangle 18">
            <a:extLst>
              <a:ext uri="{FF2B5EF4-FFF2-40B4-BE49-F238E27FC236}">
                <a16:creationId xmlns:a16="http://schemas.microsoft.com/office/drawing/2014/main" id="{9B7797B8-266D-D1F3-FE53-2C742617D162}"/>
              </a:ext>
            </a:extLst>
          </p:cNvPr>
          <p:cNvSpPr/>
          <p:nvPr/>
        </p:nvSpPr>
        <p:spPr>
          <a:xfrm>
            <a:off x="1676292" y="7952656"/>
            <a:ext cx="14271521" cy="1915403"/>
          </a:xfrm>
          <a:prstGeom prst="wedgeRectCallout">
            <a:avLst>
              <a:gd name="adj1" fmla="val -10958"/>
              <a:gd name="adj2" fmla="val 3868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546"/>
            <a:r>
              <a:rPr lang="es-CL" sz="2800" dirty="0">
                <a:solidFill>
                  <a:srgbClr val="2D92AD"/>
                </a:solidFill>
                <a:latin typeface="Arial Nova" panose="020B0504020202020204" pitchFamily="34" charset="0"/>
              </a:rPr>
              <a:t>En la mayoría de los casos con el PPA verde es suficiente para de reducir las emisiones actuales en 30% hasta el 2030, pero para alcanzar la carbono-neutralidad, el foco estará en el uso del hidrógeno en el transporte del mineral</a:t>
            </a:r>
            <a:endParaRPr lang="es-CL" sz="2800" b="1" dirty="0">
              <a:solidFill>
                <a:srgbClr val="2D92AD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7096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5">
            <a:extLst>
              <a:ext uri="{FF2B5EF4-FFF2-40B4-BE49-F238E27FC236}">
                <a16:creationId xmlns:a16="http://schemas.microsoft.com/office/drawing/2014/main" id="{A0A56776-EED8-B553-A3CC-238430827183}"/>
              </a:ext>
            </a:extLst>
          </p:cNvPr>
          <p:cNvSpPr txBox="1"/>
          <p:nvPr/>
        </p:nvSpPr>
        <p:spPr>
          <a:xfrm>
            <a:off x="663191" y="379726"/>
            <a:ext cx="1543505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_tradnl" sz="4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orama Global: </a:t>
            </a:r>
            <a:r>
              <a:rPr lang="es-PE" sz="4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rógeno</a:t>
            </a:r>
            <a:r>
              <a:rPr lang="es-ES_tradnl" sz="4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jo en Emisione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65DAFC9-89D7-B34C-842D-B329FB9EDC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195471"/>
              </p:ext>
            </p:extLst>
          </p:nvPr>
        </p:nvGraphicFramePr>
        <p:xfrm>
          <a:off x="12824333" y="2471544"/>
          <a:ext cx="4712673" cy="2811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07102">
                  <a:extLst>
                    <a:ext uri="{9D8B030D-6E8A-4147-A177-3AD203B41FA5}">
                      <a16:colId xmlns:a16="http://schemas.microsoft.com/office/drawing/2014/main" val="3547145044"/>
                    </a:ext>
                  </a:extLst>
                </a:gridCol>
                <a:gridCol w="2105571">
                  <a:extLst>
                    <a:ext uri="{9D8B030D-6E8A-4147-A177-3AD203B41FA5}">
                      <a16:colId xmlns:a16="http://schemas.microsoft.com/office/drawing/2014/main" val="2421120495"/>
                    </a:ext>
                  </a:extLst>
                </a:gridCol>
              </a:tblGrid>
              <a:tr h="196351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2000" b="1" i="0" u="none" strike="noStrike" noProof="0">
                          <a:solidFill>
                            <a:schemeClr val="bg1"/>
                          </a:solidFill>
                          <a:effectLst/>
                          <a:latin typeface="Arial Nova"/>
                          <a:cs typeface="Arial"/>
                        </a:rPr>
                        <a:t>Países</a:t>
                      </a:r>
                    </a:p>
                  </a:txBody>
                  <a:tcPr marL="9525" marR="9525" marT="9525" marB="0" anchor="ctr">
                    <a:solidFill>
                      <a:srgbClr val="5EC6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20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Arial Nova"/>
                          <a:cs typeface="Arial"/>
                        </a:rPr>
                        <a:t>kg CO2-eq/kg H2</a:t>
                      </a:r>
                      <a:endParaRPr lang="es-PE" sz="2000" b="1" i="0" u="none" strike="noStrike" noProof="0" dirty="0">
                        <a:solidFill>
                          <a:schemeClr val="bg1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rgbClr val="5EC6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31696"/>
                  </a:ext>
                </a:extLst>
              </a:tr>
              <a:tr h="572272">
                <a:tc>
                  <a:txBody>
                    <a:bodyPr/>
                    <a:lstStyle/>
                    <a:p>
                      <a:pPr algn="ctr" fontAlgn="ctr"/>
                      <a:endParaRPr lang="en-US" sz="1800" u="none" strike="noStrike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endParaRPr lang="en-US" sz="1800" u="none" strike="noStrike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r>
                        <a:rPr lang="en-US" sz="1800" u="none" strike="noStrike" err="1">
                          <a:effectLst/>
                          <a:latin typeface="Arial Nova"/>
                          <a:cs typeface="Arial"/>
                        </a:rPr>
                        <a:t>Reino</a:t>
                      </a:r>
                      <a:r>
                        <a:rPr lang="en-US" sz="1800" u="none" strike="noStrike">
                          <a:effectLst/>
                          <a:latin typeface="Arial Nova"/>
                          <a:cs typeface="Arial"/>
                        </a:rPr>
                        <a:t> </a:t>
                      </a:r>
                      <a:r>
                        <a:rPr lang="en-US" sz="1800" u="none" strike="noStrike" err="1">
                          <a:effectLst/>
                          <a:latin typeface="Arial Nova"/>
                          <a:cs typeface="Arial"/>
                        </a:rPr>
                        <a:t>Unido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Arial Nova"/>
                          <a:cs typeface="Arial"/>
                        </a:rPr>
                        <a:t>2.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891769"/>
                  </a:ext>
                </a:extLst>
              </a:tr>
              <a:tr h="572272">
                <a:tc>
                  <a:txBody>
                    <a:bodyPr/>
                    <a:lstStyle/>
                    <a:p>
                      <a:pPr algn="ctr" fontAlgn="ctr"/>
                      <a:endParaRPr lang="en-US" sz="1800" u="none" strike="noStrike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endParaRPr lang="en-US" sz="1800" u="none" strike="noStrike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r>
                        <a:rPr lang="en-US" sz="1800" u="none" strike="noStrike">
                          <a:effectLst/>
                          <a:latin typeface="Arial Nova"/>
                          <a:cs typeface="Arial"/>
                        </a:rPr>
                        <a:t>Unión </a:t>
                      </a:r>
                      <a:r>
                        <a:rPr lang="en-US" sz="1800" u="none" strike="noStrike" err="1">
                          <a:effectLst/>
                          <a:latin typeface="Arial Nova"/>
                          <a:cs typeface="Arial"/>
                        </a:rPr>
                        <a:t>Europea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Arial Nova"/>
                          <a:cs typeface="Arial"/>
                        </a:rPr>
                        <a:t>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5066736"/>
                  </a:ext>
                </a:extLst>
              </a:tr>
              <a:tr h="572272">
                <a:tc>
                  <a:txBody>
                    <a:bodyPr/>
                    <a:lstStyle/>
                    <a:p>
                      <a:pPr algn="ctr" fontAlgn="ctr"/>
                      <a:endParaRPr lang="en-US" sz="1800" u="none" strike="noStrike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endParaRPr lang="en-US" sz="1800" u="none" strike="noStrike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 Nova"/>
                          <a:cs typeface="Arial"/>
                        </a:rPr>
                        <a:t>USA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 dirty="0">
                          <a:effectLst/>
                          <a:latin typeface="Arial Nova"/>
                          <a:cs typeface="Arial"/>
                        </a:rPr>
                        <a:t>De 4 a 0.4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358021"/>
                  </a:ext>
                </a:extLst>
              </a:tr>
            </a:tbl>
          </a:graphicData>
        </a:graphic>
      </p:graphicFrame>
      <p:pic>
        <p:nvPicPr>
          <p:cNvPr id="1026" name="Picture 2" descr="Bandera del Reino Unido">
            <a:extLst>
              <a:ext uri="{FF2B5EF4-FFF2-40B4-BE49-F238E27FC236}">
                <a16:creationId xmlns:a16="http://schemas.microsoft.com/office/drawing/2014/main" id="{6E2D5391-0511-682D-4953-81B05CF26A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3913" y="2870255"/>
            <a:ext cx="518082" cy="531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andera de Europa - Wikipedia, la enciclopedia libre">
            <a:extLst>
              <a:ext uri="{FF2B5EF4-FFF2-40B4-BE49-F238E27FC236}">
                <a16:creationId xmlns:a16="http://schemas.microsoft.com/office/drawing/2014/main" id="{A8020937-C3F2-47B7-946F-C40D1E479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3913" y="3740670"/>
            <a:ext cx="518082" cy="34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6166ED02-4102-CC8A-5C62-C22269890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6935" y="4549479"/>
            <a:ext cx="568723" cy="466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100">
            <a:extLst>
              <a:ext uri="{FF2B5EF4-FFF2-40B4-BE49-F238E27FC236}">
                <a16:creationId xmlns:a16="http://schemas.microsoft.com/office/drawing/2014/main" id="{CD8B2E85-EA92-E467-8188-A5BAB5102999}"/>
              </a:ext>
            </a:extLst>
          </p:cNvPr>
          <p:cNvSpPr txBox="1"/>
          <p:nvPr/>
        </p:nvSpPr>
        <p:spPr>
          <a:xfrm rot="10800000" flipV="1">
            <a:off x="14095807" y="9720442"/>
            <a:ext cx="3845500" cy="186832"/>
          </a:xfrm>
          <a:prstGeom prst="rect">
            <a:avLst/>
          </a:prstGeom>
        </p:spPr>
        <p:txBody>
          <a:bodyPr vert="horz" wrap="square" lIns="0" tIns="25005" rIns="0" bIns="0" rtlCol="0" anchor="t">
            <a:spAutoFit/>
          </a:bodyPr>
          <a:lstStyle/>
          <a:p>
            <a:pPr marR="9525">
              <a:defRPr/>
            </a:pPr>
            <a:r>
              <a:rPr lang="es-ES" sz="1050" dirty="0">
                <a:solidFill>
                  <a:schemeClr val="bg2">
                    <a:lumMod val="75000"/>
                  </a:schemeClr>
                </a:solidFill>
                <a:latin typeface="Arial Nova"/>
                <a:sym typeface="Arial"/>
              </a:rPr>
              <a:t>Fuente [12]: *</a:t>
            </a:r>
            <a:r>
              <a:rPr lang="es-ES" sz="1050" dirty="0" err="1">
                <a:solidFill>
                  <a:schemeClr val="bg2">
                    <a:lumMod val="75000"/>
                  </a:schemeClr>
                </a:solidFill>
                <a:latin typeface="Arial Nova"/>
                <a:sym typeface="Arial"/>
              </a:rPr>
              <a:t>BloombergNEF</a:t>
            </a:r>
            <a:r>
              <a:rPr lang="es-ES" sz="1050" dirty="0">
                <a:solidFill>
                  <a:schemeClr val="bg2">
                    <a:lumMod val="75000"/>
                  </a:schemeClr>
                </a:solidFill>
                <a:latin typeface="Arial Nova"/>
                <a:sym typeface="Arial"/>
              </a:rPr>
              <a:t>, 2023</a:t>
            </a:r>
            <a:endParaRPr sz="1050" dirty="0">
              <a:solidFill>
                <a:schemeClr val="bg2">
                  <a:lumMod val="75000"/>
                </a:schemeClr>
              </a:solidFill>
              <a:latin typeface="Arial Nova"/>
              <a:sym typeface="Arial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593F0EA6-988B-BBD7-E6E3-ECF459D573A5}"/>
              </a:ext>
            </a:extLst>
          </p:cNvPr>
          <p:cNvSpPr/>
          <p:nvPr/>
        </p:nvSpPr>
        <p:spPr>
          <a:xfrm>
            <a:off x="1257" y="-6279"/>
            <a:ext cx="18286744" cy="1849339"/>
          </a:xfrm>
          <a:prstGeom prst="rect">
            <a:avLst/>
          </a:prstGeom>
          <a:solidFill>
            <a:srgbClr val="5EC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" marR="8573" algn="ctr" defTabSz="1142955">
              <a:lnSpc>
                <a:spcPts val="5436"/>
              </a:lnSpc>
              <a:spcBef>
                <a:spcPts val="864"/>
              </a:spcBef>
              <a:defRPr/>
            </a:pPr>
            <a:r>
              <a:rPr lang="es-ES" sz="3600" b="1" dirty="0">
                <a:solidFill>
                  <a:prstClr val="white"/>
                </a:solidFill>
                <a:latin typeface="Aptos"/>
                <a:cs typeface="Arial"/>
              </a:rPr>
              <a:t>El hidrógeno es la sustancia que más abunda en el planeta y en el futuro              contribuirá a descarbonizar diversos sectores de la economía</a:t>
            </a:r>
            <a:endParaRPr lang="en-US" sz="4800" dirty="0">
              <a:solidFill>
                <a:prstClr val="black"/>
              </a:solidFill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:a16="http://schemas.microsoft.com/office/drawing/2014/main" id="{ADA43DB9-CB05-91DA-BCB9-E5E867EF9F9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3" t="10938" r="10075" b="7503"/>
          <a:stretch/>
        </p:blipFill>
        <p:spPr>
          <a:xfrm>
            <a:off x="16598993" y="10766"/>
            <a:ext cx="1672259" cy="1515276"/>
          </a:xfrm>
          <a:prstGeom prst="rect">
            <a:avLst/>
          </a:prstGeom>
        </p:spPr>
      </p:pic>
      <p:sp>
        <p:nvSpPr>
          <p:cNvPr id="14" name="Arrow: Right 29">
            <a:extLst>
              <a:ext uri="{FF2B5EF4-FFF2-40B4-BE49-F238E27FC236}">
                <a16:creationId xmlns:a16="http://schemas.microsoft.com/office/drawing/2014/main" id="{0D497559-A71D-6697-01CF-5836C5B3F48B}"/>
              </a:ext>
            </a:extLst>
          </p:cNvPr>
          <p:cNvSpPr/>
          <p:nvPr/>
        </p:nvSpPr>
        <p:spPr>
          <a:xfrm>
            <a:off x="2556409" y="1989213"/>
            <a:ext cx="6848733" cy="658069"/>
          </a:xfrm>
          <a:prstGeom prst="rightArrow">
            <a:avLst/>
          </a:prstGeom>
          <a:gradFill flip="none" rotWithShape="1">
            <a:gsLst>
              <a:gs pos="23000">
                <a:schemeClr val="bg2"/>
              </a:gs>
              <a:gs pos="59000">
                <a:srgbClr val="009FE3"/>
              </a:gs>
              <a:gs pos="78000">
                <a:srgbClr val="00B05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 defTabSz="1371546"/>
            <a:r>
              <a:rPr lang="en-US" sz="2101" b="1" dirty="0">
                <a:solidFill>
                  <a:srgbClr val="FFFFFF"/>
                </a:solidFill>
                <a:latin typeface="Arial Nova" panose="020B0504020202020204" pitchFamily="34" charset="0"/>
              </a:rPr>
              <a:t>Nivel de </a:t>
            </a:r>
            <a:r>
              <a:rPr lang="es-CL" sz="2101" b="1" dirty="0">
                <a:solidFill>
                  <a:srgbClr val="FFFFFF"/>
                </a:solidFill>
                <a:latin typeface="Arial Nova" panose="020B0504020202020204" pitchFamily="34" charset="0"/>
              </a:rPr>
              <a:t>sostenibilidad</a:t>
            </a:r>
            <a:r>
              <a:rPr lang="en-US" sz="2101" b="1" dirty="0">
                <a:solidFill>
                  <a:srgbClr val="FFFFFF"/>
                </a:solidFill>
                <a:latin typeface="Arial Nova" panose="020B0504020202020204" pitchFamily="34" charset="0"/>
              </a:rPr>
              <a:t> H</a:t>
            </a:r>
            <a:r>
              <a:rPr lang="en-US" sz="2101" b="1" baseline="-25000" dirty="0">
                <a:solidFill>
                  <a:srgbClr val="FFFFFF"/>
                </a:solidFill>
                <a:latin typeface="Arial Nova" panose="020B0504020202020204" pitchFamily="34" charset="0"/>
              </a:rPr>
              <a:t>2</a:t>
            </a:r>
            <a:endParaRPr lang="en-US" sz="2101" b="1" dirty="0">
              <a:solidFill>
                <a:srgbClr val="FFFFFF"/>
              </a:solidFill>
              <a:latin typeface="Arial Nova" panose="020B050402020202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58241B2-B9BE-CAE3-511A-92302FA0C587}"/>
              </a:ext>
            </a:extLst>
          </p:cNvPr>
          <p:cNvGrpSpPr/>
          <p:nvPr/>
        </p:nvGrpSpPr>
        <p:grpSpPr>
          <a:xfrm>
            <a:off x="384855" y="2659482"/>
            <a:ext cx="11368994" cy="4941035"/>
            <a:chOff x="1010105" y="2929147"/>
            <a:chExt cx="15978915" cy="6592472"/>
          </a:xfrm>
        </p:grpSpPr>
        <p:sp>
          <p:nvSpPr>
            <p:cNvPr id="16" name="Rectangle 2">
              <a:extLst>
                <a:ext uri="{FF2B5EF4-FFF2-40B4-BE49-F238E27FC236}">
                  <a16:creationId xmlns:a16="http://schemas.microsoft.com/office/drawing/2014/main" id="{F79378EF-04D5-8201-3721-4B1B5542B387}"/>
                </a:ext>
              </a:extLst>
            </p:cNvPr>
            <p:cNvSpPr/>
            <p:nvPr/>
          </p:nvSpPr>
          <p:spPr>
            <a:xfrm>
              <a:off x="3966843" y="3572103"/>
              <a:ext cx="2049694" cy="4170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46"/>
              <a:endParaRPr lang="es-CL" sz="12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040B3847-3B8C-1F77-10A5-653562326C17}"/>
                </a:ext>
              </a:extLst>
            </p:cNvPr>
            <p:cNvSpPr/>
            <p:nvPr/>
          </p:nvSpPr>
          <p:spPr>
            <a:xfrm>
              <a:off x="3694577" y="5552026"/>
              <a:ext cx="1024846" cy="4170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46"/>
              <a:endParaRPr lang="es-CL" sz="12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91D2FCC8-7680-BFE3-FB30-780E459A5776}"/>
                </a:ext>
              </a:extLst>
            </p:cNvPr>
            <p:cNvSpPr/>
            <p:nvPr/>
          </p:nvSpPr>
          <p:spPr>
            <a:xfrm>
              <a:off x="6535893" y="5585832"/>
              <a:ext cx="1024846" cy="4170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371546"/>
              <a:endParaRPr lang="es-CL" sz="1200">
                <a:solidFill>
                  <a:srgbClr val="434343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9" name="TextBox 5">
              <a:extLst>
                <a:ext uri="{FF2B5EF4-FFF2-40B4-BE49-F238E27FC236}">
                  <a16:creationId xmlns:a16="http://schemas.microsoft.com/office/drawing/2014/main" id="{AA555417-A7A2-05D1-5594-9725D3AB9A1F}"/>
                </a:ext>
              </a:extLst>
            </p:cNvPr>
            <p:cNvSpPr txBox="1"/>
            <p:nvPr/>
          </p:nvSpPr>
          <p:spPr>
            <a:xfrm>
              <a:off x="3896011" y="7708136"/>
              <a:ext cx="4061435" cy="6980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Emisiones CO</a:t>
              </a:r>
              <a:r>
                <a:rPr lang="es-CL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 </a:t>
              </a:r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= 9 – 11 ton/ton H</a:t>
              </a:r>
              <a:r>
                <a:rPr lang="es-CL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  <a:endParaRPr lang="es-CL" sz="1400">
                <a:solidFill>
                  <a:srgbClr val="2262A1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20" name="TextBox 6">
              <a:extLst>
                <a:ext uri="{FF2B5EF4-FFF2-40B4-BE49-F238E27FC236}">
                  <a16:creationId xmlns:a16="http://schemas.microsoft.com/office/drawing/2014/main" id="{7675547E-BC1C-C5FA-F787-57F48530A52B}"/>
                </a:ext>
              </a:extLst>
            </p:cNvPr>
            <p:cNvSpPr txBox="1"/>
            <p:nvPr/>
          </p:nvSpPr>
          <p:spPr>
            <a:xfrm>
              <a:off x="8186366" y="7708136"/>
              <a:ext cx="4297789" cy="410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371546"/>
              <a:r>
                <a:rPr lang="es-CL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Emisiones CO</a:t>
              </a:r>
              <a:r>
                <a:rPr lang="es-CL" sz="1400" baseline="-250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2 </a:t>
              </a:r>
              <a:r>
                <a:rPr lang="es-CL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= Hasta 4 ton/ton H</a:t>
              </a:r>
              <a:r>
                <a:rPr lang="es-CL" sz="1400" baseline="-250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  <a:endParaRPr lang="es-CL" sz="1400" dirty="0">
                <a:solidFill>
                  <a:srgbClr val="2262A1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21" name="TextBox 7">
              <a:extLst>
                <a:ext uri="{FF2B5EF4-FFF2-40B4-BE49-F238E27FC236}">
                  <a16:creationId xmlns:a16="http://schemas.microsoft.com/office/drawing/2014/main" id="{CDD701F1-DC53-D436-B805-6127071826E7}"/>
                </a:ext>
              </a:extLst>
            </p:cNvPr>
            <p:cNvSpPr txBox="1"/>
            <p:nvPr/>
          </p:nvSpPr>
          <p:spPr>
            <a:xfrm>
              <a:off x="12851416" y="7708136"/>
              <a:ext cx="4137604" cy="6980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Emisiones CO</a:t>
              </a:r>
              <a:r>
                <a:rPr lang="es-CL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 </a:t>
              </a:r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= 0,3 – 1 ton/ton H</a:t>
              </a:r>
              <a:r>
                <a:rPr lang="es-CL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</a:p>
          </p:txBody>
        </p:sp>
        <p:sp>
          <p:nvSpPr>
            <p:cNvPr id="22" name="TextBox 8">
              <a:extLst>
                <a:ext uri="{FF2B5EF4-FFF2-40B4-BE49-F238E27FC236}">
                  <a16:creationId xmlns:a16="http://schemas.microsoft.com/office/drawing/2014/main" id="{489D0064-8AC5-6111-EA69-1962DD8310C5}"/>
                </a:ext>
              </a:extLst>
            </p:cNvPr>
            <p:cNvSpPr txBox="1"/>
            <p:nvPr/>
          </p:nvSpPr>
          <p:spPr>
            <a:xfrm>
              <a:off x="3667670" y="5230835"/>
              <a:ext cx="1533122" cy="80075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Gas Natural /</a:t>
              </a:r>
            </a:p>
            <a:p>
              <a:pPr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Carbono / </a:t>
              </a:r>
            </a:p>
            <a:p>
              <a:pPr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Lignito</a:t>
              </a:r>
            </a:p>
          </p:txBody>
        </p:sp>
        <p:sp>
          <p:nvSpPr>
            <p:cNvPr id="23" name="TextBox 9">
              <a:extLst>
                <a:ext uri="{FF2B5EF4-FFF2-40B4-BE49-F238E27FC236}">
                  <a16:creationId xmlns:a16="http://schemas.microsoft.com/office/drawing/2014/main" id="{3363C3B7-34DD-5F8D-072E-C1B98760D142}"/>
                </a:ext>
              </a:extLst>
            </p:cNvPr>
            <p:cNvSpPr txBox="1"/>
            <p:nvPr/>
          </p:nvSpPr>
          <p:spPr>
            <a:xfrm>
              <a:off x="6403193" y="5655093"/>
              <a:ext cx="1289182" cy="349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353A3D"/>
                  </a:solidFill>
                  <a:latin typeface="Arial Nova" panose="020B0504020202020204" pitchFamily="34" charset="0"/>
                </a:rPr>
                <a:t>Hidrógeno</a:t>
              </a:r>
            </a:p>
          </p:txBody>
        </p:sp>
        <p:sp>
          <p:nvSpPr>
            <p:cNvPr id="24" name="TextBox 10">
              <a:extLst>
                <a:ext uri="{FF2B5EF4-FFF2-40B4-BE49-F238E27FC236}">
                  <a16:creationId xmlns:a16="http://schemas.microsoft.com/office/drawing/2014/main" id="{565DC3D5-FC77-5F9B-4738-363C829A9E2A}"/>
                </a:ext>
              </a:extLst>
            </p:cNvPr>
            <p:cNvSpPr txBox="1"/>
            <p:nvPr/>
          </p:nvSpPr>
          <p:spPr>
            <a:xfrm>
              <a:off x="10757877" y="5655093"/>
              <a:ext cx="1289182" cy="349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Hidrógeno</a:t>
              </a:r>
            </a:p>
          </p:txBody>
        </p:sp>
        <p:sp>
          <p:nvSpPr>
            <p:cNvPr id="25" name="TextBox 11">
              <a:extLst>
                <a:ext uri="{FF2B5EF4-FFF2-40B4-BE49-F238E27FC236}">
                  <a16:creationId xmlns:a16="http://schemas.microsoft.com/office/drawing/2014/main" id="{7F9AFBED-E221-88AA-ADDF-544A52AF9D55}"/>
                </a:ext>
              </a:extLst>
            </p:cNvPr>
            <p:cNvSpPr txBox="1"/>
            <p:nvPr/>
          </p:nvSpPr>
          <p:spPr>
            <a:xfrm>
              <a:off x="12811087" y="5658846"/>
              <a:ext cx="786520" cy="349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Agua</a:t>
              </a:r>
            </a:p>
          </p:txBody>
        </p:sp>
        <p:sp>
          <p:nvSpPr>
            <p:cNvPr id="26" name="TextBox 12">
              <a:extLst>
                <a:ext uri="{FF2B5EF4-FFF2-40B4-BE49-F238E27FC236}">
                  <a16:creationId xmlns:a16="http://schemas.microsoft.com/office/drawing/2014/main" id="{04707EE6-8379-1E1C-1E8D-4345CFB85B02}"/>
                </a:ext>
              </a:extLst>
            </p:cNvPr>
            <p:cNvSpPr txBox="1"/>
            <p:nvPr/>
          </p:nvSpPr>
          <p:spPr>
            <a:xfrm>
              <a:off x="15202735" y="5655093"/>
              <a:ext cx="1289182" cy="349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Hidrógeno</a:t>
              </a:r>
            </a:p>
          </p:txBody>
        </p:sp>
        <p:sp>
          <p:nvSpPr>
            <p:cNvPr id="27" name="TextBox 13">
              <a:extLst>
                <a:ext uri="{FF2B5EF4-FFF2-40B4-BE49-F238E27FC236}">
                  <a16:creationId xmlns:a16="http://schemas.microsoft.com/office/drawing/2014/main" id="{9F294944-22A4-7877-9C17-92D67137AA01}"/>
                </a:ext>
              </a:extLst>
            </p:cNvPr>
            <p:cNvSpPr txBox="1"/>
            <p:nvPr/>
          </p:nvSpPr>
          <p:spPr>
            <a:xfrm>
              <a:off x="12194548" y="5250192"/>
              <a:ext cx="1993816" cy="574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Energía renovable</a:t>
              </a:r>
            </a:p>
          </p:txBody>
        </p:sp>
        <p:sp>
          <p:nvSpPr>
            <p:cNvPr id="28" name="TextBox 14">
              <a:extLst>
                <a:ext uri="{FF2B5EF4-FFF2-40B4-BE49-F238E27FC236}">
                  <a16:creationId xmlns:a16="http://schemas.microsoft.com/office/drawing/2014/main" id="{CA434D88-9472-01DA-83AA-EF10C629197B}"/>
                </a:ext>
              </a:extLst>
            </p:cNvPr>
            <p:cNvSpPr txBox="1"/>
            <p:nvPr/>
          </p:nvSpPr>
          <p:spPr>
            <a:xfrm>
              <a:off x="1107290" y="8402023"/>
              <a:ext cx="2507829" cy="432955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spAutoFit/>
            </a:bodyPr>
            <a:lstStyle/>
            <a:p>
              <a:pPr defTabSz="323987">
                <a:spcAft>
                  <a:spcPts val="450"/>
                </a:spcAft>
                <a:buClr>
                  <a:srgbClr val="00AAFF"/>
                </a:buClr>
              </a:pPr>
              <a:r>
                <a:rPr lang="en-US" sz="1400" b="1" dirty="0">
                  <a:solidFill>
                    <a:srgbClr val="7276DB"/>
                  </a:solidFill>
                  <a:latin typeface="Arial Nova" panose="020B0504020202020204" pitchFamily="34" charset="0"/>
                </a:rPr>
                <a:t>Nivel de </a:t>
              </a:r>
              <a:r>
                <a:rPr lang="es-CL" sz="1400" b="1" dirty="0">
                  <a:solidFill>
                    <a:srgbClr val="7276DB"/>
                  </a:solidFill>
                  <a:latin typeface="Arial Nova" panose="020B0504020202020204" pitchFamily="34" charset="0"/>
                </a:rPr>
                <a:t>madurez</a:t>
              </a:r>
            </a:p>
          </p:txBody>
        </p:sp>
        <p:sp>
          <p:nvSpPr>
            <p:cNvPr id="45" name="TextBox 15">
              <a:extLst>
                <a:ext uri="{FF2B5EF4-FFF2-40B4-BE49-F238E27FC236}">
                  <a16:creationId xmlns:a16="http://schemas.microsoft.com/office/drawing/2014/main" id="{AB604C05-6CE9-829F-AACF-1E47D1673821}"/>
                </a:ext>
              </a:extLst>
            </p:cNvPr>
            <p:cNvSpPr txBox="1"/>
            <p:nvPr/>
          </p:nvSpPr>
          <p:spPr>
            <a:xfrm>
              <a:off x="3999576" y="8398844"/>
              <a:ext cx="3597981" cy="4106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Disponible comercialmente</a:t>
              </a:r>
            </a:p>
          </p:txBody>
        </p:sp>
        <p:sp>
          <p:nvSpPr>
            <p:cNvPr id="46" name="TextBox 16">
              <a:extLst>
                <a:ext uri="{FF2B5EF4-FFF2-40B4-BE49-F238E27FC236}">
                  <a16:creationId xmlns:a16="http://schemas.microsoft.com/office/drawing/2014/main" id="{84DC0658-B3F7-46F8-8940-C55EE01BCF7D}"/>
                </a:ext>
              </a:extLst>
            </p:cNvPr>
            <p:cNvSpPr txBox="1"/>
            <p:nvPr/>
          </p:nvSpPr>
          <p:spPr>
            <a:xfrm>
              <a:off x="8875071" y="8398844"/>
              <a:ext cx="2684022" cy="4106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Adopción temprana</a:t>
              </a:r>
            </a:p>
          </p:txBody>
        </p:sp>
        <p:sp>
          <p:nvSpPr>
            <p:cNvPr id="47" name="TextBox 17">
              <a:extLst>
                <a:ext uri="{FF2B5EF4-FFF2-40B4-BE49-F238E27FC236}">
                  <a16:creationId xmlns:a16="http://schemas.microsoft.com/office/drawing/2014/main" id="{41DC6D50-6F33-0174-AE3E-C36D3E4FD17F}"/>
                </a:ext>
              </a:extLst>
            </p:cNvPr>
            <p:cNvSpPr txBox="1"/>
            <p:nvPr/>
          </p:nvSpPr>
          <p:spPr>
            <a:xfrm>
              <a:off x="13578199" y="8398844"/>
              <a:ext cx="2684022" cy="4106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Adopción temprana</a:t>
              </a:r>
            </a:p>
          </p:txBody>
        </p:sp>
        <p:sp>
          <p:nvSpPr>
            <p:cNvPr id="48" name="TextBox 18">
              <a:extLst>
                <a:ext uri="{FF2B5EF4-FFF2-40B4-BE49-F238E27FC236}">
                  <a16:creationId xmlns:a16="http://schemas.microsoft.com/office/drawing/2014/main" id="{61DC705F-7B52-CAFB-23AE-3D4856FECA6A}"/>
                </a:ext>
              </a:extLst>
            </p:cNvPr>
            <p:cNvSpPr txBox="1"/>
            <p:nvPr/>
          </p:nvSpPr>
          <p:spPr>
            <a:xfrm>
              <a:off x="1107290" y="9088664"/>
              <a:ext cx="2507829" cy="432955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spAutoFit/>
            </a:bodyPr>
            <a:lstStyle/>
            <a:p>
              <a:pPr defTabSz="323987">
                <a:spcAft>
                  <a:spcPts val="450"/>
                </a:spcAft>
                <a:buClr>
                  <a:srgbClr val="00AAFF"/>
                </a:buClr>
              </a:pPr>
              <a:r>
                <a:rPr lang="es-CL" sz="1400" b="1">
                  <a:solidFill>
                    <a:srgbClr val="7276DB"/>
                  </a:solidFill>
                  <a:latin typeface="Arial Nova" panose="020B0504020202020204" pitchFamily="34" charset="0"/>
                </a:rPr>
                <a:t>Huella</a:t>
              </a:r>
              <a:r>
                <a:rPr lang="en-US" sz="1400" b="1">
                  <a:solidFill>
                    <a:srgbClr val="7276DB"/>
                  </a:solidFill>
                  <a:latin typeface="Arial Nova" panose="020B0504020202020204" pitchFamily="34" charset="0"/>
                </a:rPr>
                <a:t> </a:t>
              </a:r>
              <a:r>
                <a:rPr lang="es-CL" sz="1400" b="1">
                  <a:solidFill>
                    <a:srgbClr val="7276DB"/>
                  </a:solidFill>
                  <a:latin typeface="Arial Nova" panose="020B0504020202020204" pitchFamily="34" charset="0"/>
                </a:rPr>
                <a:t>hídrica</a:t>
              </a:r>
              <a:r>
                <a:rPr lang="en-US" sz="1400" b="1" baseline="30000">
                  <a:solidFill>
                    <a:srgbClr val="7276DB"/>
                  </a:solidFill>
                  <a:latin typeface="Arial Nova" panose="020B0504020202020204" pitchFamily="34" charset="0"/>
                </a:rPr>
                <a:t>1</a:t>
              </a:r>
              <a:endParaRPr lang="en-US" sz="1400" b="1">
                <a:solidFill>
                  <a:srgbClr val="7276DB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49" name="TextBox 19">
              <a:extLst>
                <a:ext uri="{FF2B5EF4-FFF2-40B4-BE49-F238E27FC236}">
                  <a16:creationId xmlns:a16="http://schemas.microsoft.com/office/drawing/2014/main" id="{70A4974C-0C4C-6100-3CC7-1DC73B62D727}"/>
                </a:ext>
              </a:extLst>
            </p:cNvPr>
            <p:cNvSpPr txBox="1"/>
            <p:nvPr/>
          </p:nvSpPr>
          <p:spPr>
            <a:xfrm>
              <a:off x="4822906" y="9073942"/>
              <a:ext cx="1951319" cy="4106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pt-BR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14-17 L/kg H</a:t>
              </a:r>
              <a:r>
                <a:rPr lang="pt-BR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  <a:endParaRPr lang="es-CL" sz="1400">
                <a:solidFill>
                  <a:srgbClr val="2262A1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50" name="TextBox 20">
              <a:extLst>
                <a:ext uri="{FF2B5EF4-FFF2-40B4-BE49-F238E27FC236}">
                  <a16:creationId xmlns:a16="http://schemas.microsoft.com/office/drawing/2014/main" id="{03733DB6-3B7C-BEF1-3333-FB7AB0ABF304}"/>
                </a:ext>
              </a:extLst>
            </p:cNvPr>
            <p:cNvSpPr txBox="1"/>
            <p:nvPr/>
          </p:nvSpPr>
          <p:spPr>
            <a:xfrm>
              <a:off x="8185987" y="9073942"/>
              <a:ext cx="4062206" cy="4106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14-17 L/kgH</a:t>
              </a:r>
              <a:r>
                <a:rPr lang="es-CL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 </a:t>
              </a:r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(para gas natural)</a:t>
              </a:r>
            </a:p>
          </p:txBody>
        </p:sp>
        <p:sp>
          <p:nvSpPr>
            <p:cNvPr id="51" name="TextBox 21">
              <a:extLst>
                <a:ext uri="{FF2B5EF4-FFF2-40B4-BE49-F238E27FC236}">
                  <a16:creationId xmlns:a16="http://schemas.microsoft.com/office/drawing/2014/main" id="{470C64E3-FF80-5113-EECD-7CF8E09028A7}"/>
                </a:ext>
              </a:extLst>
            </p:cNvPr>
            <p:cNvSpPr txBox="1"/>
            <p:nvPr/>
          </p:nvSpPr>
          <p:spPr>
            <a:xfrm>
              <a:off x="8088532" y="5230836"/>
              <a:ext cx="1533122" cy="8007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Gas Natural /</a:t>
              </a:r>
            </a:p>
            <a:p>
              <a:pPr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Carbono / </a:t>
              </a:r>
            </a:p>
            <a:p>
              <a:pPr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Lignito</a:t>
              </a:r>
            </a:p>
          </p:txBody>
        </p:sp>
        <p:sp>
          <p:nvSpPr>
            <p:cNvPr id="52" name="TextBox 22">
              <a:extLst>
                <a:ext uri="{FF2B5EF4-FFF2-40B4-BE49-F238E27FC236}">
                  <a16:creationId xmlns:a16="http://schemas.microsoft.com/office/drawing/2014/main" id="{F5E7A92E-4644-2FA0-0F6C-8B8FD7F31743}"/>
                </a:ext>
              </a:extLst>
            </p:cNvPr>
            <p:cNvSpPr txBox="1"/>
            <p:nvPr/>
          </p:nvSpPr>
          <p:spPr>
            <a:xfrm>
              <a:off x="13953392" y="9069682"/>
              <a:ext cx="1933648" cy="4106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9-11 L/kgH2</a:t>
              </a:r>
            </a:p>
          </p:txBody>
        </p:sp>
        <p:sp>
          <p:nvSpPr>
            <p:cNvPr id="53" name="TextBox 23">
              <a:extLst>
                <a:ext uri="{FF2B5EF4-FFF2-40B4-BE49-F238E27FC236}">
                  <a16:creationId xmlns:a16="http://schemas.microsoft.com/office/drawing/2014/main" id="{EE52B4A2-EA1A-5F3C-AA6F-5464347A86AB}"/>
                </a:ext>
              </a:extLst>
            </p:cNvPr>
            <p:cNvSpPr txBox="1"/>
            <p:nvPr/>
          </p:nvSpPr>
          <p:spPr>
            <a:xfrm>
              <a:off x="1107290" y="7714970"/>
              <a:ext cx="2507829" cy="720406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spAutoFit/>
            </a:bodyPr>
            <a:lstStyle/>
            <a:p>
              <a:pPr defTabSz="323987">
                <a:spcAft>
                  <a:spcPts val="450"/>
                </a:spcAft>
                <a:buClr>
                  <a:srgbClr val="00AAFF"/>
                </a:buClr>
              </a:pPr>
              <a:r>
                <a:rPr lang="es-CL" sz="1400" b="1" dirty="0">
                  <a:solidFill>
                    <a:srgbClr val="7276DB"/>
                  </a:solidFill>
                  <a:latin typeface="Arial Nova" panose="020B0504020202020204" pitchFamily="34" charset="0"/>
                </a:rPr>
                <a:t>Huella de carbono</a:t>
              </a:r>
              <a:r>
                <a:rPr lang="es-CL" sz="1400" b="1" baseline="30000" dirty="0">
                  <a:solidFill>
                    <a:srgbClr val="7276DB"/>
                  </a:solidFill>
                  <a:latin typeface="Arial Nova" panose="020B0504020202020204" pitchFamily="34" charset="0"/>
                </a:rPr>
                <a:t>1</a:t>
              </a:r>
            </a:p>
          </p:txBody>
        </p:sp>
        <p:sp>
          <p:nvSpPr>
            <p:cNvPr id="54" name="TextBox 24">
              <a:extLst>
                <a:ext uri="{FF2B5EF4-FFF2-40B4-BE49-F238E27FC236}">
                  <a16:creationId xmlns:a16="http://schemas.microsoft.com/office/drawing/2014/main" id="{BC1AFD7A-5568-C111-2A94-D8370A503007}"/>
                </a:ext>
              </a:extLst>
            </p:cNvPr>
            <p:cNvSpPr txBox="1"/>
            <p:nvPr/>
          </p:nvSpPr>
          <p:spPr>
            <a:xfrm>
              <a:off x="1089853" y="3452079"/>
              <a:ext cx="2249737" cy="720406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spAutoFit/>
            </a:bodyPr>
            <a:lstStyle/>
            <a:p>
              <a:pPr defTabSz="323987">
                <a:spcAft>
                  <a:spcPts val="450"/>
                </a:spcAft>
                <a:buClr>
                  <a:srgbClr val="00AAFF"/>
                </a:buClr>
              </a:pPr>
              <a:r>
                <a:rPr lang="es-CL" sz="1400" b="1" dirty="0">
                  <a:solidFill>
                    <a:srgbClr val="7276DB"/>
                  </a:solidFill>
                  <a:latin typeface="Arial Nova" panose="020B0504020202020204" pitchFamily="34" charset="0"/>
                </a:rPr>
                <a:t>Rutas de producción</a:t>
              </a:r>
            </a:p>
          </p:txBody>
        </p:sp>
        <p:cxnSp>
          <p:nvCxnSpPr>
            <p:cNvPr id="55" name="Straight Connector 25">
              <a:extLst>
                <a:ext uri="{FF2B5EF4-FFF2-40B4-BE49-F238E27FC236}">
                  <a16:creationId xmlns:a16="http://schemas.microsoft.com/office/drawing/2014/main" id="{9C9FA919-80F7-E058-0027-9DC6FBC46B5B}"/>
                </a:ext>
              </a:extLst>
            </p:cNvPr>
            <p:cNvCxnSpPr>
              <a:cxnSpLocks/>
            </p:cNvCxnSpPr>
            <p:nvPr/>
          </p:nvCxnSpPr>
          <p:spPr>
            <a:xfrm>
              <a:off x="1010105" y="7585053"/>
              <a:ext cx="15978913" cy="0"/>
            </a:xfrm>
            <a:prstGeom prst="line">
              <a:avLst/>
            </a:prstGeom>
            <a:ln w="635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26">
              <a:extLst>
                <a:ext uri="{FF2B5EF4-FFF2-40B4-BE49-F238E27FC236}">
                  <a16:creationId xmlns:a16="http://schemas.microsoft.com/office/drawing/2014/main" id="{0D660827-2250-B34F-286A-0D4F8EF83DE9}"/>
                </a:ext>
              </a:extLst>
            </p:cNvPr>
            <p:cNvCxnSpPr>
              <a:cxnSpLocks/>
            </p:cNvCxnSpPr>
            <p:nvPr/>
          </p:nvCxnSpPr>
          <p:spPr>
            <a:xfrm>
              <a:off x="1010105" y="8304522"/>
              <a:ext cx="15978913" cy="0"/>
            </a:xfrm>
            <a:prstGeom prst="line">
              <a:avLst/>
            </a:prstGeom>
            <a:ln w="635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27">
              <a:extLst>
                <a:ext uri="{FF2B5EF4-FFF2-40B4-BE49-F238E27FC236}">
                  <a16:creationId xmlns:a16="http://schemas.microsoft.com/office/drawing/2014/main" id="{E77B9271-B566-2ED8-3E18-242C7B037968}"/>
                </a:ext>
              </a:extLst>
            </p:cNvPr>
            <p:cNvCxnSpPr>
              <a:cxnSpLocks/>
            </p:cNvCxnSpPr>
            <p:nvPr/>
          </p:nvCxnSpPr>
          <p:spPr>
            <a:xfrm>
              <a:off x="1010105" y="8922539"/>
              <a:ext cx="15978913" cy="0"/>
            </a:xfrm>
            <a:prstGeom prst="line">
              <a:avLst/>
            </a:prstGeom>
            <a:ln w="635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28">
              <a:extLst>
                <a:ext uri="{FF2B5EF4-FFF2-40B4-BE49-F238E27FC236}">
                  <a16:creationId xmlns:a16="http://schemas.microsoft.com/office/drawing/2014/main" id="{A7044B78-4476-BCF2-BD1E-953D548642E6}"/>
                </a:ext>
              </a:extLst>
            </p:cNvPr>
            <p:cNvCxnSpPr>
              <a:cxnSpLocks/>
            </p:cNvCxnSpPr>
            <p:nvPr/>
          </p:nvCxnSpPr>
          <p:spPr>
            <a:xfrm>
              <a:off x="1010105" y="9499348"/>
              <a:ext cx="15978913" cy="0"/>
            </a:xfrm>
            <a:prstGeom prst="line">
              <a:avLst/>
            </a:prstGeom>
            <a:ln w="6350">
              <a:solidFill>
                <a:schemeClr val="bg2">
                  <a:lumMod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30">
              <a:extLst>
                <a:ext uri="{FF2B5EF4-FFF2-40B4-BE49-F238E27FC236}">
                  <a16:creationId xmlns:a16="http://schemas.microsoft.com/office/drawing/2014/main" id="{E175F7EE-6B36-8128-CB6D-0321B3343225}"/>
                </a:ext>
              </a:extLst>
            </p:cNvPr>
            <p:cNvSpPr/>
            <p:nvPr/>
          </p:nvSpPr>
          <p:spPr>
            <a:xfrm>
              <a:off x="3841105" y="7274189"/>
              <a:ext cx="12598691" cy="295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60" name="Rectangle 31">
              <a:extLst>
                <a:ext uri="{FF2B5EF4-FFF2-40B4-BE49-F238E27FC236}">
                  <a16:creationId xmlns:a16="http://schemas.microsoft.com/office/drawing/2014/main" id="{439C7DE7-97CD-000B-1B76-923491DFF882}"/>
                </a:ext>
              </a:extLst>
            </p:cNvPr>
            <p:cNvSpPr/>
            <p:nvPr/>
          </p:nvSpPr>
          <p:spPr>
            <a:xfrm>
              <a:off x="5850380" y="3539264"/>
              <a:ext cx="465426" cy="5254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61" name="Rectangle 32">
              <a:extLst>
                <a:ext uri="{FF2B5EF4-FFF2-40B4-BE49-F238E27FC236}">
                  <a16:creationId xmlns:a16="http://schemas.microsoft.com/office/drawing/2014/main" id="{34E91DA8-A344-05B4-E4D0-4F0D670363E2}"/>
                </a:ext>
              </a:extLst>
            </p:cNvPr>
            <p:cNvSpPr/>
            <p:nvPr/>
          </p:nvSpPr>
          <p:spPr>
            <a:xfrm>
              <a:off x="3770861" y="6165164"/>
              <a:ext cx="4082150" cy="80865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62" name="Rectangle 33">
              <a:extLst>
                <a:ext uri="{FF2B5EF4-FFF2-40B4-BE49-F238E27FC236}">
                  <a16:creationId xmlns:a16="http://schemas.microsoft.com/office/drawing/2014/main" id="{4BE74DA7-FD04-9C32-C825-4A4F2BD77980}"/>
                </a:ext>
              </a:extLst>
            </p:cNvPr>
            <p:cNvSpPr/>
            <p:nvPr/>
          </p:nvSpPr>
          <p:spPr>
            <a:xfrm>
              <a:off x="8165653" y="6165164"/>
              <a:ext cx="4082150" cy="808655"/>
            </a:xfrm>
            <a:prstGeom prst="rect">
              <a:avLst/>
            </a:prstGeom>
            <a:solidFill>
              <a:srgbClr val="CCEF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63" name="Rectangle 34">
              <a:extLst>
                <a:ext uri="{FF2B5EF4-FFF2-40B4-BE49-F238E27FC236}">
                  <a16:creationId xmlns:a16="http://schemas.microsoft.com/office/drawing/2014/main" id="{F71E3A1D-3FBA-121D-162A-D9E2D1605791}"/>
                </a:ext>
              </a:extLst>
            </p:cNvPr>
            <p:cNvSpPr/>
            <p:nvPr/>
          </p:nvSpPr>
          <p:spPr>
            <a:xfrm>
              <a:off x="12560443" y="6165164"/>
              <a:ext cx="4082150" cy="808655"/>
            </a:xfrm>
            <a:prstGeom prst="rect">
              <a:avLst/>
            </a:prstGeom>
            <a:solidFill>
              <a:srgbClr val="D2F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cxnSp>
          <p:nvCxnSpPr>
            <p:cNvPr id="1024" name="Straight Arrow Connector 35">
              <a:extLst>
                <a:ext uri="{FF2B5EF4-FFF2-40B4-BE49-F238E27FC236}">
                  <a16:creationId xmlns:a16="http://schemas.microsoft.com/office/drawing/2014/main" id="{61FEFE42-BFB3-C9A2-B7C3-58537810F330}"/>
                </a:ext>
              </a:extLst>
            </p:cNvPr>
            <p:cNvCxnSpPr>
              <a:cxnSpLocks/>
            </p:cNvCxnSpPr>
            <p:nvPr/>
          </p:nvCxnSpPr>
          <p:spPr>
            <a:xfrm>
              <a:off x="12682421" y="5605606"/>
              <a:ext cx="1104725" cy="0"/>
            </a:xfrm>
            <a:prstGeom prst="straightConnector1">
              <a:avLst/>
            </a:prstGeom>
            <a:ln w="9525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Straight Arrow Connector 36">
              <a:extLst>
                <a:ext uri="{FF2B5EF4-FFF2-40B4-BE49-F238E27FC236}">
                  <a16:creationId xmlns:a16="http://schemas.microsoft.com/office/drawing/2014/main" id="{F59998E6-BDEF-214D-9D02-068F919C8CE9}"/>
                </a:ext>
              </a:extLst>
            </p:cNvPr>
            <p:cNvCxnSpPr>
              <a:cxnSpLocks/>
            </p:cNvCxnSpPr>
            <p:nvPr/>
          </p:nvCxnSpPr>
          <p:spPr>
            <a:xfrm>
              <a:off x="8238525" y="6012767"/>
              <a:ext cx="1104725" cy="0"/>
            </a:xfrm>
            <a:prstGeom prst="straightConnector1">
              <a:avLst/>
            </a:prstGeom>
            <a:ln w="9525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7" name="Straight Arrow Connector 37">
              <a:extLst>
                <a:ext uri="{FF2B5EF4-FFF2-40B4-BE49-F238E27FC236}">
                  <a16:creationId xmlns:a16="http://schemas.microsoft.com/office/drawing/2014/main" id="{DEA8CD06-4325-E5F3-7971-30A7BA338843}"/>
                </a:ext>
              </a:extLst>
            </p:cNvPr>
            <p:cNvCxnSpPr>
              <a:cxnSpLocks/>
            </p:cNvCxnSpPr>
            <p:nvPr/>
          </p:nvCxnSpPr>
          <p:spPr>
            <a:xfrm>
              <a:off x="3770860" y="6013505"/>
              <a:ext cx="1104725" cy="0"/>
            </a:xfrm>
            <a:prstGeom prst="straightConnector1">
              <a:avLst/>
            </a:prstGeom>
            <a:ln w="9525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9" name="Straight Arrow Connector 38">
              <a:extLst>
                <a:ext uri="{FF2B5EF4-FFF2-40B4-BE49-F238E27FC236}">
                  <a16:creationId xmlns:a16="http://schemas.microsoft.com/office/drawing/2014/main" id="{F9CAE4EF-FE93-DFF6-4A7D-CF2F7E7214C5}"/>
                </a:ext>
              </a:extLst>
            </p:cNvPr>
            <p:cNvCxnSpPr>
              <a:cxnSpLocks/>
            </p:cNvCxnSpPr>
            <p:nvPr/>
          </p:nvCxnSpPr>
          <p:spPr>
            <a:xfrm>
              <a:off x="6495423" y="6011765"/>
              <a:ext cx="1104725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0" name="Straight Arrow Connector 39">
              <a:extLst>
                <a:ext uri="{FF2B5EF4-FFF2-40B4-BE49-F238E27FC236}">
                  <a16:creationId xmlns:a16="http://schemas.microsoft.com/office/drawing/2014/main" id="{F5F0B1C7-70AD-8A91-5AD3-6FFE0AC2DCB7}"/>
                </a:ext>
              </a:extLst>
            </p:cNvPr>
            <p:cNvCxnSpPr>
              <a:cxnSpLocks/>
            </p:cNvCxnSpPr>
            <p:nvPr/>
          </p:nvCxnSpPr>
          <p:spPr>
            <a:xfrm>
              <a:off x="10850104" y="6011765"/>
              <a:ext cx="1104725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1" name="Straight Arrow Connector 40">
              <a:extLst>
                <a:ext uri="{FF2B5EF4-FFF2-40B4-BE49-F238E27FC236}">
                  <a16:creationId xmlns:a16="http://schemas.microsoft.com/office/drawing/2014/main" id="{06334A05-3E27-6B28-A251-911AD12CD905}"/>
                </a:ext>
              </a:extLst>
            </p:cNvPr>
            <p:cNvCxnSpPr>
              <a:cxnSpLocks/>
            </p:cNvCxnSpPr>
            <p:nvPr/>
          </p:nvCxnSpPr>
          <p:spPr>
            <a:xfrm>
              <a:off x="15335070" y="6011765"/>
              <a:ext cx="1104725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3" name="Straight Arrow Connector 41">
              <a:extLst>
                <a:ext uri="{FF2B5EF4-FFF2-40B4-BE49-F238E27FC236}">
                  <a16:creationId xmlns:a16="http://schemas.microsoft.com/office/drawing/2014/main" id="{B0F9911C-6CCA-3616-A73F-7454B08C4A65}"/>
                </a:ext>
              </a:extLst>
            </p:cNvPr>
            <p:cNvCxnSpPr>
              <a:cxnSpLocks/>
            </p:cNvCxnSpPr>
            <p:nvPr/>
          </p:nvCxnSpPr>
          <p:spPr>
            <a:xfrm>
              <a:off x="12682421" y="6011765"/>
              <a:ext cx="1104725" cy="0"/>
            </a:xfrm>
            <a:prstGeom prst="straightConnector1">
              <a:avLst/>
            </a:prstGeom>
            <a:ln w="9525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5" name="Rectangle 42">
              <a:extLst>
                <a:ext uri="{FF2B5EF4-FFF2-40B4-BE49-F238E27FC236}">
                  <a16:creationId xmlns:a16="http://schemas.microsoft.com/office/drawing/2014/main" id="{51DC12D5-6758-0554-394C-CAF677C38F5E}"/>
                </a:ext>
              </a:extLst>
            </p:cNvPr>
            <p:cNvSpPr/>
            <p:nvPr/>
          </p:nvSpPr>
          <p:spPr>
            <a:xfrm>
              <a:off x="5194919" y="5605565"/>
              <a:ext cx="974459" cy="80865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036" name="Rectangle 43">
              <a:extLst>
                <a:ext uri="{FF2B5EF4-FFF2-40B4-BE49-F238E27FC236}">
                  <a16:creationId xmlns:a16="http://schemas.microsoft.com/office/drawing/2014/main" id="{2469799B-8EDB-D453-9692-0C7C47EF2655}"/>
                </a:ext>
              </a:extLst>
            </p:cNvPr>
            <p:cNvSpPr/>
            <p:nvPr/>
          </p:nvSpPr>
          <p:spPr>
            <a:xfrm>
              <a:off x="13986885" y="5518751"/>
              <a:ext cx="1151660" cy="80865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pic>
          <p:nvPicPr>
            <p:cNvPr id="1037" name="Picture 4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C9B5ABE-3D26-79AE-46D1-1404D491E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90819" y="5272669"/>
              <a:ext cx="1151658" cy="1151658"/>
            </a:xfrm>
            <a:prstGeom prst="rect">
              <a:avLst/>
            </a:prstGeom>
            <a:ln>
              <a:noFill/>
            </a:ln>
          </p:spPr>
        </p:pic>
        <p:sp>
          <p:nvSpPr>
            <p:cNvPr id="1039" name="TextBox 45">
              <a:extLst>
                <a:ext uri="{FF2B5EF4-FFF2-40B4-BE49-F238E27FC236}">
                  <a16:creationId xmlns:a16="http://schemas.microsoft.com/office/drawing/2014/main" id="{93C73AB4-418E-73FE-120F-B8F06D639225}"/>
                </a:ext>
              </a:extLst>
            </p:cNvPr>
            <p:cNvSpPr txBox="1"/>
            <p:nvPr/>
          </p:nvSpPr>
          <p:spPr>
            <a:xfrm>
              <a:off x="15283090" y="5291145"/>
              <a:ext cx="1089594" cy="349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Oxígeno</a:t>
              </a:r>
            </a:p>
          </p:txBody>
        </p:sp>
        <p:cxnSp>
          <p:nvCxnSpPr>
            <p:cNvPr id="1041" name="Straight Arrow Connector 46">
              <a:extLst>
                <a:ext uri="{FF2B5EF4-FFF2-40B4-BE49-F238E27FC236}">
                  <a16:creationId xmlns:a16="http://schemas.microsoft.com/office/drawing/2014/main" id="{75223502-3F0C-5E70-D46E-7A4DB372C2BA}"/>
                </a:ext>
              </a:extLst>
            </p:cNvPr>
            <p:cNvCxnSpPr>
              <a:cxnSpLocks/>
            </p:cNvCxnSpPr>
            <p:nvPr/>
          </p:nvCxnSpPr>
          <p:spPr>
            <a:xfrm>
              <a:off x="15315635" y="5659471"/>
              <a:ext cx="1104725" cy="0"/>
            </a:xfrm>
            <a:prstGeom prst="straightConnector1">
              <a:avLst/>
            </a:prstGeom>
            <a:ln w="95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42" name="Picture 47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51F496BC-DE37-3A15-0959-4C0BCA8CCE3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4461" y="5332489"/>
              <a:ext cx="1075613" cy="1075613"/>
            </a:xfrm>
            <a:prstGeom prst="rect">
              <a:avLst/>
            </a:prstGeom>
            <a:ln>
              <a:noFill/>
            </a:ln>
          </p:spPr>
        </p:pic>
        <p:sp>
          <p:nvSpPr>
            <p:cNvPr id="1043" name="Rectangle 48">
              <a:extLst>
                <a:ext uri="{FF2B5EF4-FFF2-40B4-BE49-F238E27FC236}">
                  <a16:creationId xmlns:a16="http://schemas.microsoft.com/office/drawing/2014/main" id="{DE8A694F-F229-3439-9257-20D6ED26A2AE}"/>
                </a:ext>
              </a:extLst>
            </p:cNvPr>
            <p:cNvSpPr/>
            <p:nvPr/>
          </p:nvSpPr>
          <p:spPr>
            <a:xfrm>
              <a:off x="9615783" y="5546902"/>
              <a:ext cx="956725" cy="80865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  <p:pic>
          <p:nvPicPr>
            <p:cNvPr id="1044" name="Picture 49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C0796FDF-A18D-2119-B1F8-A0539CA4BD2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5673" y="5332489"/>
              <a:ext cx="1075613" cy="1075613"/>
            </a:xfrm>
            <a:prstGeom prst="rect">
              <a:avLst/>
            </a:prstGeom>
            <a:ln>
              <a:noFill/>
            </a:ln>
          </p:spPr>
        </p:pic>
        <p:sp>
          <p:nvSpPr>
            <p:cNvPr id="1045" name="TextBox 50">
              <a:extLst>
                <a:ext uri="{FF2B5EF4-FFF2-40B4-BE49-F238E27FC236}">
                  <a16:creationId xmlns:a16="http://schemas.microsoft.com/office/drawing/2014/main" id="{C04B795C-41AA-6B0A-8D85-C0EA53D4E5B8}"/>
                </a:ext>
              </a:extLst>
            </p:cNvPr>
            <p:cNvSpPr txBox="1"/>
            <p:nvPr/>
          </p:nvSpPr>
          <p:spPr>
            <a:xfrm>
              <a:off x="3605251" y="3025920"/>
              <a:ext cx="4158436" cy="492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n-US" sz="1800" b="1">
                  <a:solidFill>
                    <a:srgbClr val="434343"/>
                  </a:solidFill>
                  <a:latin typeface="Arial Nova" panose="020B0504020202020204" pitchFamily="34" charset="0"/>
                </a:rPr>
                <a:t>H</a:t>
              </a:r>
              <a:r>
                <a:rPr lang="en-US" sz="1800" b="1" baseline="-25000">
                  <a:solidFill>
                    <a:srgbClr val="434343"/>
                  </a:solidFill>
                  <a:latin typeface="Arial Nova" panose="020B0504020202020204" pitchFamily="34" charset="0"/>
                </a:rPr>
                <a:t>2</a:t>
              </a:r>
              <a:r>
                <a:rPr lang="en-US" sz="1800" b="1">
                  <a:solidFill>
                    <a:srgbClr val="434343"/>
                  </a:solidFill>
                  <a:latin typeface="Arial Nova" panose="020B0504020202020204" pitchFamily="34" charset="0"/>
                </a:rPr>
                <a:t> gris, negro y café</a:t>
              </a:r>
              <a:endParaRPr lang="en-US" sz="1800" b="1" baseline="-25000">
                <a:solidFill>
                  <a:srgbClr val="434343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046" name="TextBox 51">
              <a:extLst>
                <a:ext uri="{FF2B5EF4-FFF2-40B4-BE49-F238E27FC236}">
                  <a16:creationId xmlns:a16="http://schemas.microsoft.com/office/drawing/2014/main" id="{9709DB04-5A80-902C-C719-744BA6562ACC}"/>
                </a:ext>
              </a:extLst>
            </p:cNvPr>
            <p:cNvSpPr txBox="1"/>
            <p:nvPr/>
          </p:nvSpPr>
          <p:spPr>
            <a:xfrm>
              <a:off x="8089370" y="3025920"/>
              <a:ext cx="4158432" cy="492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n-US" sz="1800" b="1" dirty="0">
                  <a:solidFill>
                    <a:srgbClr val="00AAFF"/>
                  </a:solidFill>
                  <a:latin typeface="Arial Nova" panose="020B0504020202020204" pitchFamily="34" charset="0"/>
                </a:rPr>
                <a:t>H</a:t>
              </a:r>
              <a:r>
                <a:rPr lang="en-US" sz="1800" b="1" baseline="-25000" dirty="0">
                  <a:solidFill>
                    <a:srgbClr val="00AAFF"/>
                  </a:solidFill>
                  <a:latin typeface="Arial Nova" panose="020B0504020202020204" pitchFamily="34" charset="0"/>
                </a:rPr>
                <a:t>2</a:t>
              </a:r>
              <a:r>
                <a:rPr lang="en-US" sz="1800" b="1" dirty="0">
                  <a:solidFill>
                    <a:srgbClr val="00AAFF"/>
                  </a:solidFill>
                  <a:latin typeface="Arial Nova" panose="020B0504020202020204" pitchFamily="34" charset="0"/>
                </a:rPr>
                <a:t> </a:t>
              </a:r>
              <a:r>
                <a:rPr lang="en-US" sz="1800" b="1" dirty="0" err="1">
                  <a:solidFill>
                    <a:srgbClr val="00AAFF"/>
                  </a:solidFill>
                  <a:latin typeface="Arial Nova" panose="020B0504020202020204" pitchFamily="34" charset="0"/>
                </a:rPr>
                <a:t>azul</a:t>
              </a:r>
              <a:endParaRPr lang="en-US" sz="1800" b="1" baseline="-25000" dirty="0">
                <a:solidFill>
                  <a:srgbClr val="00AAFF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047" name="TextBox 52">
              <a:extLst>
                <a:ext uri="{FF2B5EF4-FFF2-40B4-BE49-F238E27FC236}">
                  <a16:creationId xmlns:a16="http://schemas.microsoft.com/office/drawing/2014/main" id="{1980C62F-8228-092C-9086-8CD49E19B6B0}"/>
                </a:ext>
              </a:extLst>
            </p:cNvPr>
            <p:cNvSpPr txBox="1"/>
            <p:nvPr/>
          </p:nvSpPr>
          <p:spPr>
            <a:xfrm>
              <a:off x="12484155" y="3025920"/>
              <a:ext cx="4158432" cy="492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371546"/>
              <a:r>
                <a:rPr lang="en-US" sz="1800" b="1">
                  <a:solidFill>
                    <a:srgbClr val="1ED284">
                      <a:lumMod val="75000"/>
                    </a:srgbClr>
                  </a:solidFill>
                  <a:latin typeface="Arial Nova" panose="020B0504020202020204" pitchFamily="34" charset="0"/>
                </a:rPr>
                <a:t>H</a:t>
              </a:r>
              <a:r>
                <a:rPr lang="en-US" sz="1800" b="1" baseline="-25000">
                  <a:solidFill>
                    <a:srgbClr val="1ED284">
                      <a:lumMod val="75000"/>
                    </a:srgbClr>
                  </a:solidFill>
                  <a:latin typeface="Arial Nova" panose="020B0504020202020204" pitchFamily="34" charset="0"/>
                </a:rPr>
                <a:t>2</a:t>
              </a:r>
              <a:r>
                <a:rPr lang="en-US" sz="1800" b="1">
                  <a:solidFill>
                    <a:srgbClr val="1ED284">
                      <a:lumMod val="75000"/>
                    </a:srgbClr>
                  </a:solidFill>
                  <a:latin typeface="Arial Nova" panose="020B0504020202020204" pitchFamily="34" charset="0"/>
                </a:rPr>
                <a:t> </a:t>
              </a:r>
              <a:r>
                <a:rPr lang="en-US" sz="1800" b="1" err="1">
                  <a:solidFill>
                    <a:srgbClr val="1ED284">
                      <a:lumMod val="75000"/>
                    </a:srgbClr>
                  </a:solidFill>
                  <a:latin typeface="Arial Nova" panose="020B0504020202020204" pitchFamily="34" charset="0"/>
                </a:rPr>
                <a:t>verde</a:t>
              </a:r>
              <a:endParaRPr lang="en-US" sz="1800" b="1" baseline="-25000">
                <a:solidFill>
                  <a:srgbClr val="1ED284">
                    <a:lumMod val="75000"/>
                  </a:srgbClr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048" name="TextBox 53">
              <a:extLst>
                <a:ext uri="{FF2B5EF4-FFF2-40B4-BE49-F238E27FC236}">
                  <a16:creationId xmlns:a16="http://schemas.microsoft.com/office/drawing/2014/main" id="{5133879C-3383-48A9-79EF-C6E71993D7E8}"/>
                </a:ext>
              </a:extLst>
            </p:cNvPr>
            <p:cNvSpPr txBox="1"/>
            <p:nvPr/>
          </p:nvSpPr>
          <p:spPr>
            <a:xfrm>
              <a:off x="5966301" y="5026603"/>
              <a:ext cx="687957" cy="349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CO</a:t>
              </a:r>
              <a:r>
                <a:rPr lang="es-CL" sz="1100" baseline="-25000">
                  <a:solidFill>
                    <a:srgbClr val="434343"/>
                  </a:solidFill>
                  <a:latin typeface="Arial Nova" panose="020B0504020202020204" pitchFamily="34" charset="0"/>
                </a:rPr>
                <a:t>2</a:t>
              </a:r>
            </a:p>
          </p:txBody>
        </p:sp>
        <p:sp>
          <p:nvSpPr>
            <p:cNvPr id="1049" name="TextBox 54">
              <a:extLst>
                <a:ext uri="{FF2B5EF4-FFF2-40B4-BE49-F238E27FC236}">
                  <a16:creationId xmlns:a16="http://schemas.microsoft.com/office/drawing/2014/main" id="{411CC80D-4854-CA7B-1CB6-53FE449EF203}"/>
                </a:ext>
              </a:extLst>
            </p:cNvPr>
            <p:cNvSpPr txBox="1"/>
            <p:nvPr/>
          </p:nvSpPr>
          <p:spPr>
            <a:xfrm>
              <a:off x="10362794" y="5026603"/>
              <a:ext cx="687957" cy="349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CO</a:t>
              </a:r>
              <a:r>
                <a:rPr lang="es-CL" sz="1100" baseline="-25000">
                  <a:solidFill>
                    <a:srgbClr val="434343"/>
                  </a:solidFill>
                  <a:latin typeface="Arial Nova" panose="020B0504020202020204" pitchFamily="34" charset="0"/>
                </a:rPr>
                <a:t>2</a:t>
              </a:r>
            </a:p>
          </p:txBody>
        </p:sp>
        <p:sp>
          <p:nvSpPr>
            <p:cNvPr id="1050" name="TextBox 55">
              <a:extLst>
                <a:ext uri="{FF2B5EF4-FFF2-40B4-BE49-F238E27FC236}">
                  <a16:creationId xmlns:a16="http://schemas.microsoft.com/office/drawing/2014/main" id="{1DD9161B-E4EB-6A02-9397-DB8AACA748BF}"/>
                </a:ext>
              </a:extLst>
            </p:cNvPr>
            <p:cNvSpPr txBox="1"/>
            <p:nvPr/>
          </p:nvSpPr>
          <p:spPr>
            <a:xfrm>
              <a:off x="10638994" y="6379623"/>
              <a:ext cx="897188" cy="702557"/>
            </a:xfrm>
            <a:prstGeom prst="ellipse">
              <a:avLst/>
            </a:prstGeom>
            <a:solidFill>
              <a:srgbClr val="E5F6FF"/>
            </a:solidFill>
          </p:spPr>
          <p:txBody>
            <a:bodyPr wrap="square" rtlCol="0">
              <a:spAutoFit/>
            </a:bodyPr>
            <a:lstStyle/>
            <a:p>
              <a:pPr algn="ctr" defTabSz="1371546"/>
              <a:r>
                <a:rPr lang="es-CL" sz="1100">
                  <a:solidFill>
                    <a:srgbClr val="434343"/>
                  </a:solidFill>
                  <a:latin typeface="Arial Nova" panose="020B0504020202020204" pitchFamily="34" charset="0"/>
                </a:rPr>
                <a:t>CO</a:t>
              </a:r>
              <a:r>
                <a:rPr lang="es-CL" sz="1100" baseline="-25000">
                  <a:solidFill>
                    <a:srgbClr val="434343"/>
                  </a:solidFill>
                  <a:latin typeface="Arial Nova" panose="020B0504020202020204" pitchFamily="34" charset="0"/>
                </a:rPr>
                <a:t>2</a:t>
              </a:r>
            </a:p>
          </p:txBody>
        </p:sp>
        <p:cxnSp>
          <p:nvCxnSpPr>
            <p:cNvPr id="1051" name="Connector: Elbow 56">
              <a:extLst>
                <a:ext uri="{FF2B5EF4-FFF2-40B4-BE49-F238E27FC236}">
                  <a16:creationId xmlns:a16="http://schemas.microsoft.com/office/drawing/2014/main" id="{62B14FD3-3C19-B1DF-F1CA-DC75CFD618E1}"/>
                </a:ext>
              </a:extLst>
            </p:cNvPr>
            <p:cNvCxnSpPr>
              <a:cxnSpLocks/>
              <a:stCxn id="1044" idx="2"/>
              <a:endCxn id="1050" idx="2"/>
            </p:cNvCxnSpPr>
            <p:nvPr/>
          </p:nvCxnSpPr>
          <p:spPr>
            <a:xfrm rot="16200000" flipH="1">
              <a:off x="10209838" y="6301745"/>
              <a:ext cx="322799" cy="535514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2" name="TextBox 57">
              <a:extLst>
                <a:ext uri="{FF2B5EF4-FFF2-40B4-BE49-F238E27FC236}">
                  <a16:creationId xmlns:a16="http://schemas.microsoft.com/office/drawing/2014/main" id="{7C2C8B60-348C-392C-99FC-DA863436FBAD}"/>
                </a:ext>
              </a:extLst>
            </p:cNvPr>
            <p:cNvSpPr txBox="1"/>
            <p:nvPr/>
          </p:nvSpPr>
          <p:spPr>
            <a:xfrm>
              <a:off x="3605256" y="3582947"/>
              <a:ext cx="2976216" cy="985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371546"/>
              <a:r>
                <a:rPr lang="pt-BR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El </a:t>
              </a:r>
              <a:r>
                <a:rPr lang="es-PE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combustible fósil se reforma o gasifica a H</a:t>
              </a:r>
              <a:r>
                <a:rPr lang="es-PE" sz="1400" baseline="-250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  <a:r>
                <a:rPr lang="es-PE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, y se libera CO</a:t>
              </a:r>
              <a:r>
                <a:rPr lang="es-PE" sz="1400" baseline="-250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  <a:endParaRPr lang="es-PE" sz="1400" dirty="0">
                <a:solidFill>
                  <a:srgbClr val="2262A1"/>
                </a:solidFill>
                <a:latin typeface="Arial Nova" panose="020B0504020202020204" pitchFamily="34" charset="0"/>
              </a:endParaRPr>
            </a:p>
          </p:txBody>
        </p:sp>
        <p:sp>
          <p:nvSpPr>
            <p:cNvPr id="1053" name="TextBox 58">
              <a:extLst>
                <a:ext uri="{FF2B5EF4-FFF2-40B4-BE49-F238E27FC236}">
                  <a16:creationId xmlns:a16="http://schemas.microsoft.com/office/drawing/2014/main" id="{3EB485F4-05DD-B459-6714-2D626D5B7695}"/>
                </a:ext>
              </a:extLst>
            </p:cNvPr>
            <p:cNvSpPr txBox="1"/>
            <p:nvPr/>
          </p:nvSpPr>
          <p:spPr>
            <a:xfrm>
              <a:off x="8194339" y="3582945"/>
              <a:ext cx="4053461" cy="985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371546"/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El combustible fósil se reforma o gasifica a H</a:t>
              </a:r>
              <a:r>
                <a:rPr lang="es-CL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, y el CO</a:t>
              </a:r>
              <a:r>
                <a:rPr lang="es-CL" sz="1400" baseline="-25000">
                  <a:solidFill>
                    <a:srgbClr val="2262A1"/>
                  </a:solidFill>
                  <a:latin typeface="Arial Nova" panose="020B0504020202020204" pitchFamily="34" charset="0"/>
                </a:rPr>
                <a:t>2 </a:t>
              </a:r>
              <a:r>
                <a:rPr lang="es-CL" sz="1400">
                  <a:solidFill>
                    <a:srgbClr val="2262A1"/>
                  </a:solidFill>
                  <a:latin typeface="Arial Nova" panose="020B0504020202020204" pitchFamily="34" charset="0"/>
                </a:rPr>
                <a:t>se captura y almacena</a:t>
              </a:r>
            </a:p>
          </p:txBody>
        </p:sp>
        <p:sp>
          <p:nvSpPr>
            <p:cNvPr id="1054" name="TextBox 59">
              <a:extLst>
                <a:ext uri="{FF2B5EF4-FFF2-40B4-BE49-F238E27FC236}">
                  <a16:creationId xmlns:a16="http://schemas.microsoft.com/office/drawing/2014/main" id="{9D0A3A53-6FAD-37FA-6708-0B841A92531A}"/>
                </a:ext>
              </a:extLst>
            </p:cNvPr>
            <p:cNvSpPr txBox="1"/>
            <p:nvPr/>
          </p:nvSpPr>
          <p:spPr>
            <a:xfrm>
              <a:off x="12533497" y="3582945"/>
              <a:ext cx="4123030" cy="9855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371546"/>
              <a:r>
                <a:rPr lang="es-CL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El agua se separa en H</a:t>
              </a:r>
              <a:r>
                <a:rPr lang="es-CL" sz="1400" baseline="-250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2</a:t>
              </a:r>
              <a:r>
                <a:rPr lang="es-CL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 y O</a:t>
              </a:r>
              <a:r>
                <a:rPr lang="es-CL" sz="1400" baseline="-250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2 </a:t>
              </a:r>
              <a:r>
                <a:rPr lang="es-CL" sz="1400" dirty="0">
                  <a:solidFill>
                    <a:srgbClr val="2262A1"/>
                  </a:solidFill>
                  <a:latin typeface="Arial Nova" panose="020B0504020202020204" pitchFamily="34" charset="0"/>
                </a:rPr>
                <a:t>utilizando electricidad renovable en un electrolizador</a:t>
              </a:r>
            </a:p>
          </p:txBody>
        </p:sp>
        <p:sp>
          <p:nvSpPr>
            <p:cNvPr id="1055" name="Rectangle: Rounded Corners 60">
              <a:extLst>
                <a:ext uri="{FF2B5EF4-FFF2-40B4-BE49-F238E27FC236}">
                  <a16:creationId xmlns:a16="http://schemas.microsoft.com/office/drawing/2014/main" id="{9A0ECC83-922F-3D8D-DA14-369F5D5CEC17}"/>
                </a:ext>
              </a:extLst>
            </p:cNvPr>
            <p:cNvSpPr/>
            <p:nvPr/>
          </p:nvSpPr>
          <p:spPr>
            <a:xfrm>
              <a:off x="1010105" y="2929147"/>
              <a:ext cx="15978913" cy="4360635"/>
            </a:xfrm>
            <a:prstGeom prst="roundRect">
              <a:avLst>
                <a:gd name="adj" fmla="val 7832"/>
              </a:avLst>
            </a:prstGeom>
            <a:noFill/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546"/>
              <a:endParaRPr lang="es-CL" sz="2000">
                <a:solidFill>
                  <a:srgbClr val="FFFFFF"/>
                </a:solidFill>
                <a:latin typeface="Arial Nova" panose="020B0504020202020204" pitchFamily="34" charset="0"/>
              </a:endParaRPr>
            </a:p>
          </p:txBody>
        </p:sp>
      </p:grpSp>
      <p:graphicFrame>
        <p:nvGraphicFramePr>
          <p:cNvPr id="1056" name="Table 7">
            <a:extLst>
              <a:ext uri="{FF2B5EF4-FFF2-40B4-BE49-F238E27FC236}">
                <a16:creationId xmlns:a16="http://schemas.microsoft.com/office/drawing/2014/main" id="{3E68A02A-7A3A-A07F-605A-F67110CC5D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92136"/>
              </p:ext>
            </p:extLst>
          </p:nvPr>
        </p:nvGraphicFramePr>
        <p:xfrm>
          <a:off x="12728000" y="5464733"/>
          <a:ext cx="4901192" cy="2811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1393">
                  <a:extLst>
                    <a:ext uri="{9D8B030D-6E8A-4147-A177-3AD203B41FA5}">
                      <a16:colId xmlns:a16="http://schemas.microsoft.com/office/drawing/2014/main" val="3547145044"/>
                    </a:ext>
                  </a:extLst>
                </a:gridCol>
                <a:gridCol w="2189799">
                  <a:extLst>
                    <a:ext uri="{9D8B030D-6E8A-4147-A177-3AD203B41FA5}">
                      <a16:colId xmlns:a16="http://schemas.microsoft.com/office/drawing/2014/main" val="2421120495"/>
                    </a:ext>
                  </a:extLst>
                </a:gridCol>
              </a:tblGrid>
              <a:tr h="47527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20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Arial Nova"/>
                          <a:cs typeface="Arial"/>
                        </a:rPr>
                        <a:t>Países</a:t>
                      </a:r>
                    </a:p>
                  </a:txBody>
                  <a:tcPr marL="9525" marR="9525" marT="9525" marB="0" anchor="ctr">
                    <a:solidFill>
                      <a:srgbClr val="5EC6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chemeClr val="bg1"/>
                          </a:solidFill>
                          <a:effectLst/>
                          <a:latin typeface="Arial Nova"/>
                          <a:cs typeface="Arial"/>
                        </a:rPr>
                        <a:t>kg CO2-eq/kg H2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rgbClr val="5EC6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531696"/>
                  </a:ext>
                </a:extLst>
              </a:tr>
              <a:tr h="470540">
                <a:tc>
                  <a:txBody>
                    <a:bodyPr/>
                    <a:lstStyle/>
                    <a:p>
                      <a:pPr algn="ctr" fontAlgn="ctr"/>
                      <a:endParaRPr lang="en-US" sz="1800" u="none" strike="noStrike" dirty="0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endParaRPr lang="en-US" sz="1800" u="none" strike="noStrike" dirty="0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r>
                        <a:rPr lang="en-US" sz="1800" u="none" strike="noStrike" dirty="0" err="1">
                          <a:effectLst/>
                          <a:latin typeface="Arial Nova"/>
                          <a:cs typeface="Arial"/>
                        </a:rPr>
                        <a:t>Canadá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 Nova"/>
                          <a:cs typeface="Arial"/>
                        </a:rPr>
                        <a:t>De 4 a 0.7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9587739"/>
                  </a:ext>
                </a:extLst>
              </a:tr>
              <a:tr h="470540">
                <a:tc>
                  <a:txBody>
                    <a:bodyPr/>
                    <a:lstStyle/>
                    <a:p>
                      <a:pPr algn="ctr" fontAlgn="ctr"/>
                      <a:endParaRPr lang="en-US" sz="1800" u="none" strike="noStrike" dirty="0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endParaRPr lang="en-US" sz="1800" u="none" strike="noStrike" dirty="0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 Nova"/>
                          <a:cs typeface="Arial"/>
                        </a:rPr>
                        <a:t>Francia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 Nova"/>
                          <a:cs typeface="Arial"/>
                        </a:rPr>
                        <a:t>3.38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469412"/>
                  </a:ext>
                </a:extLst>
              </a:tr>
              <a:tr h="470540">
                <a:tc>
                  <a:txBody>
                    <a:bodyPr/>
                    <a:lstStyle/>
                    <a:p>
                      <a:pPr algn="ctr" fontAlgn="ctr"/>
                      <a:endParaRPr lang="en-US" sz="1800" u="none" strike="noStrike" dirty="0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endParaRPr lang="en-US" sz="1800" u="none" strike="noStrike" dirty="0">
                        <a:effectLst/>
                        <a:latin typeface="Arial Nova"/>
                        <a:cs typeface="Arial"/>
                      </a:endParaRPr>
                    </a:p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 Nova"/>
                          <a:cs typeface="Arial"/>
                        </a:rPr>
                        <a:t>China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Arial Nova"/>
                          <a:cs typeface="Arial"/>
                        </a:rPr>
                        <a:t>4.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ova"/>
                        <a:cs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73067"/>
                  </a:ext>
                </a:extLst>
              </a:tr>
            </a:tbl>
          </a:graphicData>
        </a:graphic>
      </p:graphicFrame>
      <p:pic>
        <p:nvPicPr>
          <p:cNvPr id="1034" name="Picture 10" descr="Bandera de Canadá - Wikipedia, la enciclopedia libre">
            <a:extLst>
              <a:ext uri="{FF2B5EF4-FFF2-40B4-BE49-F238E27FC236}">
                <a16:creationId xmlns:a16="http://schemas.microsoft.com/office/drawing/2014/main" id="{5206C01D-963C-F74F-E62F-7B452FEF1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5957" y="5911808"/>
            <a:ext cx="639701" cy="31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546DAB9E-0A3E-53D0-BA5F-9D5C72A792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447" y="6696458"/>
            <a:ext cx="568723" cy="37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Bandera de República Popular China">
            <a:extLst>
              <a:ext uri="{FF2B5EF4-FFF2-40B4-BE49-F238E27FC236}">
                <a16:creationId xmlns:a16="http://schemas.microsoft.com/office/drawing/2014/main" id="{D8FCDD3A-CFCF-7A00-B29A-6C2B0467A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447" y="7538791"/>
            <a:ext cx="610548" cy="406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3">
            <a:extLst>
              <a:ext uri="{FF2B5EF4-FFF2-40B4-BE49-F238E27FC236}">
                <a16:creationId xmlns:a16="http://schemas.microsoft.com/office/drawing/2014/main" id="{000172AB-F6B4-13D4-D037-3E73D83EB937}"/>
              </a:ext>
            </a:extLst>
          </p:cNvPr>
          <p:cNvSpPr txBox="1"/>
          <p:nvPr/>
        </p:nvSpPr>
        <p:spPr>
          <a:xfrm>
            <a:off x="2758325" y="8341705"/>
            <a:ext cx="10827397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MX" sz="2400" b="1" dirty="0">
                <a:solidFill>
                  <a:srgbClr val="5B9BD5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"</a:t>
            </a:r>
            <a:r>
              <a:rPr lang="es-MX" sz="2400" b="1" dirty="0">
                <a:solidFill>
                  <a:srgbClr val="002060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Regulaciones claras </a:t>
            </a:r>
            <a:r>
              <a:rPr lang="es-MX" sz="2400" b="1" dirty="0">
                <a:solidFill>
                  <a:srgbClr val="5B9BD5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y sistemas de certificación basados en la </a:t>
            </a:r>
            <a:r>
              <a:rPr lang="es-MX" sz="2400" b="1" dirty="0">
                <a:solidFill>
                  <a:srgbClr val="002060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intensidad de emisiones de la producción de hidrógeno </a:t>
            </a:r>
            <a:r>
              <a:rPr lang="es-MX" sz="2400" b="1" dirty="0">
                <a:solidFill>
                  <a:srgbClr val="5B9BD5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proporcionarán la </a:t>
            </a:r>
            <a:r>
              <a:rPr lang="es-MX" sz="2400" b="1" dirty="0">
                <a:solidFill>
                  <a:srgbClr val="002060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transparencia</a:t>
            </a:r>
            <a:r>
              <a:rPr lang="es-MX" sz="2400" b="1" dirty="0">
                <a:solidFill>
                  <a:srgbClr val="5B9BD5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 necesaria para impulsar las inversiones en </a:t>
            </a:r>
            <a:r>
              <a:rPr lang="es-MX" sz="2400" b="1" dirty="0">
                <a:solidFill>
                  <a:srgbClr val="002060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infraestructura en el sector.</a:t>
            </a:r>
            <a:endParaRPr lang="en-US" sz="2400" b="1" dirty="0">
              <a:solidFill>
                <a:srgbClr val="002060"/>
              </a:solidFill>
              <a:latin typeface="Arial Nova" panose="020B0504020202020204" pitchFamily="34" charset="0"/>
              <a:cs typeface="Times New Roman" panose="02020603050405020304" pitchFamily="18" charset="0"/>
            </a:endParaRPr>
          </a:p>
          <a:p>
            <a:pPr algn="r">
              <a:defRPr/>
            </a:pPr>
            <a:r>
              <a:rPr lang="es-ES" sz="1600" b="1" dirty="0">
                <a:solidFill>
                  <a:srgbClr val="002060"/>
                </a:solidFill>
                <a:latin typeface="Arial Nova" panose="020B0504020202020204" pitchFamily="34" charset="0"/>
                <a:cs typeface="Times New Roman" panose="02020603050405020304" pitchFamily="18" charset="0"/>
              </a:rPr>
              <a:t>IEA (2023)</a:t>
            </a:r>
          </a:p>
        </p:txBody>
      </p:sp>
      <p:pic>
        <p:nvPicPr>
          <p:cNvPr id="4" name="Picture 11">
            <a:extLst>
              <a:ext uri="{FF2B5EF4-FFF2-40B4-BE49-F238E27FC236}">
                <a16:creationId xmlns:a16="http://schemas.microsoft.com/office/drawing/2014/main" id="{6FE61E9D-9C6B-4D41-2F57-BB0ABD17837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8235731"/>
            <a:ext cx="2758325" cy="1671536"/>
          </a:xfrm>
          <a:prstGeom prst="rect">
            <a:avLst/>
          </a:prstGeom>
        </p:spPr>
      </p:pic>
      <p:cxnSp>
        <p:nvCxnSpPr>
          <p:cNvPr id="12" name="Straight Connector 8">
            <a:extLst>
              <a:ext uri="{FF2B5EF4-FFF2-40B4-BE49-F238E27FC236}">
                <a16:creationId xmlns:a16="http://schemas.microsoft.com/office/drawing/2014/main" id="{DA43EFA0-2233-F3A5-E2B8-37E48AFC1C39}"/>
              </a:ext>
            </a:extLst>
          </p:cNvPr>
          <p:cNvCxnSpPr>
            <a:cxnSpLocks/>
          </p:cNvCxnSpPr>
          <p:nvPr/>
        </p:nvCxnSpPr>
        <p:spPr>
          <a:xfrm>
            <a:off x="12273834" y="2157199"/>
            <a:ext cx="0" cy="571816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86088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lk3n8mQqtmvYZL0iVA2A"/>
</p:tagLst>
</file>

<file path=ppt/theme/theme1.xml><?xml version="1.0" encoding="utf-8"?>
<a:theme xmlns:a="http://schemas.openxmlformats.org/drawingml/2006/main" name="2_Custom Design">
  <a:themeElements>
    <a:clrScheme name="geometric">
      <a:dk1>
        <a:sysClr val="windowText" lastClr="000000"/>
      </a:dk1>
      <a:lt1>
        <a:sysClr val="window" lastClr="FFFFFF"/>
      </a:lt1>
      <a:dk2>
        <a:srgbClr val="44546A"/>
      </a:dk2>
      <a:lt2>
        <a:srgbClr val="EBECEF"/>
      </a:lt2>
      <a:accent1>
        <a:srgbClr val="1E46F0"/>
      </a:accent1>
      <a:accent2>
        <a:srgbClr val="5F01D2"/>
      </a:accent2>
      <a:accent3>
        <a:srgbClr val="0CB080"/>
      </a:accent3>
      <a:accent4>
        <a:srgbClr val="FFAA11"/>
      </a:accent4>
      <a:accent5>
        <a:srgbClr val="FC4A4A"/>
      </a:accent5>
      <a:accent6>
        <a:srgbClr val="F6045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Custom Design">
  <a:themeElements>
    <a:clrScheme name="geometric">
      <a:dk1>
        <a:sysClr val="windowText" lastClr="000000"/>
      </a:dk1>
      <a:lt1>
        <a:sysClr val="window" lastClr="FFFFFF"/>
      </a:lt1>
      <a:dk2>
        <a:srgbClr val="44546A"/>
      </a:dk2>
      <a:lt2>
        <a:srgbClr val="EBECEF"/>
      </a:lt2>
      <a:accent1>
        <a:srgbClr val="1E46F0"/>
      </a:accent1>
      <a:accent2>
        <a:srgbClr val="5F01D2"/>
      </a:accent2>
      <a:accent3>
        <a:srgbClr val="0CB080"/>
      </a:accent3>
      <a:accent4>
        <a:srgbClr val="FFAA11"/>
      </a:accent4>
      <a:accent5>
        <a:srgbClr val="FC4A4A"/>
      </a:accent5>
      <a:accent6>
        <a:srgbClr val="F6045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7259998-bb36-4d11-af99-f6b310701f7e">
      <Terms xmlns="http://schemas.microsoft.com/office/infopath/2007/PartnerControls"/>
    </lcf76f155ced4ddcb4097134ff3c332f>
    <TaxCatchAll xmlns="92779ef7-1f9d-43ab-bba6-522e2dbb94a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7962961D692FD429192C5376498DEFB" ma:contentTypeVersion="11" ma:contentTypeDescription="Crear nuevo documento." ma:contentTypeScope="" ma:versionID="6e7aab2b4c433178a50c6a946be12380">
  <xsd:schema xmlns:xsd="http://www.w3.org/2001/XMLSchema" xmlns:xs="http://www.w3.org/2001/XMLSchema" xmlns:p="http://schemas.microsoft.com/office/2006/metadata/properties" xmlns:ns2="47259998-bb36-4d11-af99-f6b310701f7e" xmlns:ns3="92779ef7-1f9d-43ab-bba6-522e2dbb94a9" targetNamespace="http://schemas.microsoft.com/office/2006/metadata/properties" ma:root="true" ma:fieldsID="ae4654d85e8a5fc0171338232afef451" ns2:_="" ns3:_="">
    <xsd:import namespace="47259998-bb36-4d11-af99-f6b310701f7e"/>
    <xsd:import namespace="92779ef7-1f9d-43ab-bba6-522e2dbb94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259998-bb36-4d11-af99-f6b310701f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Etiquetas de imagen" ma:readOnly="false" ma:fieldId="{5cf76f15-5ced-4ddc-b409-7134ff3c332f}" ma:taxonomyMulti="true" ma:sspId="bdf25a0a-231e-4ee5-aee6-a5306c7535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779ef7-1f9d-43ab-bba6-522e2dbb94a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1edaf66e-59c5-402a-881f-198e1defd83d}" ma:internalName="TaxCatchAll" ma:showField="CatchAllData" ma:web="92779ef7-1f9d-43ab-bba6-522e2dbb94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BC6917-B26C-40CB-8CCC-6574908FDFCC}">
  <ds:schemaRefs>
    <ds:schemaRef ds:uri="http://purl.org/dc/dcmitype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47259998-bb36-4d11-af99-f6b310701f7e"/>
    <ds:schemaRef ds:uri="http://purl.org/dc/elements/1.1/"/>
    <ds:schemaRef ds:uri="92779ef7-1f9d-43ab-bba6-522e2dbb94a9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7EBC8BB6-A10D-43B7-9891-FBBF51E4FF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944E1E4-4924-4006-AB74-42CF38A41717}">
  <ds:schemaRefs>
    <ds:schemaRef ds:uri="47259998-bb36-4d11-af99-f6b310701f7e"/>
    <ds:schemaRef ds:uri="92779ef7-1f9d-43ab-bba6-522e2dbb94a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0</TotalTime>
  <Words>2430</Words>
  <Application>Microsoft Office PowerPoint</Application>
  <PresentationFormat>Custom</PresentationFormat>
  <Paragraphs>309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-apple-system</vt:lpstr>
      <vt:lpstr>Aptos</vt:lpstr>
      <vt:lpstr>Arial</vt:lpstr>
      <vt:lpstr>Arial Black</vt:lpstr>
      <vt:lpstr>Arial Narrow</vt:lpstr>
      <vt:lpstr>Arial Nova</vt:lpstr>
      <vt:lpstr>Calibri</vt:lpstr>
      <vt:lpstr>Sora</vt:lpstr>
      <vt:lpstr>Sora Light</vt:lpstr>
      <vt:lpstr>2_Custom Design</vt:lpstr>
      <vt:lpstr>3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nangkit</dc:creator>
  <cp:lastModifiedBy>Daniel Cámac</cp:lastModifiedBy>
  <cp:revision>5</cp:revision>
  <dcterms:created xsi:type="dcterms:W3CDTF">2023-11-13T02:05:37Z</dcterms:created>
  <dcterms:modified xsi:type="dcterms:W3CDTF">2024-09-09T02:5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962961D692FD429192C5376498DEFB</vt:lpwstr>
  </property>
  <property fmtid="{D5CDD505-2E9C-101B-9397-08002B2CF9AE}" pid="3" name="MediaServiceImageTags">
    <vt:lpwstr/>
  </property>
</Properties>
</file>